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01.svg" ContentType="image/svg+xml"/>
  <Override PartName="/ppt/media/image140.svg" ContentType="image/svg+xml"/>
  <Override PartName="/ppt/media/image142.svg" ContentType="image/svg+xml"/>
  <Override PartName="/ppt/media/image144.svg" ContentType="image/svg+xml"/>
  <Override PartName="/ppt/media/image165.svg" ContentType="image/svg+xml"/>
  <Override PartName="/ppt/media/image167.svg" ContentType="image/svg+xml"/>
  <Override PartName="/ppt/media/image169.svg" ContentType="image/svg+xml"/>
  <Override PartName="/ppt/media/image171.svg" ContentType="image/svg+xml"/>
  <Override PartName="/ppt/media/image173.svg" ContentType="image/svg+xml"/>
  <Override PartName="/ppt/media/image175.svg" ContentType="image/svg+xml"/>
  <Override PartName="/ppt/media/image177.svg" ContentType="image/svg+xml"/>
  <Override PartName="/ppt/media/image179.svg" ContentType="image/svg+xml"/>
  <Override PartName="/ppt/media/image181.svg" ContentType="image/svg+xml"/>
  <Override PartName="/ppt/media/image183.svg" ContentType="image/svg+xml"/>
  <Override PartName="/ppt/media/image185.svg" ContentType="image/svg+xml"/>
  <Override PartName="/ppt/media/image97.svg" ContentType="image/svg+xml"/>
  <Override PartName="/ppt/media/image9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"/>
  </p:notesMasterIdLst>
  <p:handoutMasterIdLst>
    <p:handoutMasterId r:id="rId52"/>
  </p:handoutMasterIdLst>
  <p:sldIdLst>
    <p:sldId id="258" r:id="rId3"/>
    <p:sldId id="262" r:id="rId4"/>
    <p:sldId id="359" r:id="rId5"/>
    <p:sldId id="263" r:id="rId6"/>
    <p:sldId id="265" r:id="rId8"/>
    <p:sldId id="305" r:id="rId9"/>
    <p:sldId id="350" r:id="rId10"/>
    <p:sldId id="306" r:id="rId11"/>
    <p:sldId id="269" r:id="rId12"/>
    <p:sldId id="271" r:id="rId13"/>
    <p:sldId id="301" r:id="rId14"/>
    <p:sldId id="270" r:id="rId15"/>
    <p:sldId id="310" r:id="rId16"/>
    <p:sldId id="318" r:id="rId17"/>
    <p:sldId id="358" r:id="rId18"/>
    <p:sldId id="327" r:id="rId19"/>
    <p:sldId id="323" r:id="rId20"/>
    <p:sldId id="268" r:id="rId21"/>
    <p:sldId id="319" r:id="rId22"/>
    <p:sldId id="322" r:id="rId23"/>
    <p:sldId id="341" r:id="rId24"/>
    <p:sldId id="311" r:id="rId25"/>
    <p:sldId id="321" r:id="rId26"/>
    <p:sldId id="317" r:id="rId27"/>
    <p:sldId id="336" r:id="rId28"/>
    <p:sldId id="338" r:id="rId29"/>
    <p:sldId id="335" r:id="rId30"/>
    <p:sldId id="337" r:id="rId31"/>
    <p:sldId id="351" r:id="rId32"/>
    <p:sldId id="339" r:id="rId33"/>
    <p:sldId id="360" r:id="rId34"/>
    <p:sldId id="343" r:id="rId35"/>
    <p:sldId id="344" r:id="rId36"/>
    <p:sldId id="346" r:id="rId37"/>
    <p:sldId id="345" r:id="rId38"/>
    <p:sldId id="362" r:id="rId39"/>
    <p:sldId id="330" r:id="rId40"/>
    <p:sldId id="324" r:id="rId41"/>
    <p:sldId id="302" r:id="rId42"/>
    <p:sldId id="277" r:id="rId43"/>
    <p:sldId id="275" r:id="rId44"/>
    <p:sldId id="276" r:id="rId45"/>
    <p:sldId id="303" r:id="rId46"/>
    <p:sldId id="272" r:id="rId47"/>
    <p:sldId id="287" r:id="rId48"/>
    <p:sldId id="273" r:id="rId49"/>
    <p:sldId id="283" r:id="rId50"/>
    <p:sldId id="356" r:id="rId51"/>
  </p:sldIdLst>
  <p:sldSz cx="12192000" cy="6858000"/>
  <p:notesSz cx="6858000" cy="9144000"/>
  <p:custDataLst>
    <p:tags r:id="rId5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69BF"/>
    <a:srgbClr val="FFC000"/>
    <a:srgbClr val="FFF2CC"/>
    <a:srgbClr val="0060B0"/>
    <a:srgbClr val="A20000"/>
    <a:srgbClr val="0070BC"/>
    <a:srgbClr val="7AB9E0"/>
    <a:srgbClr val="0069C0"/>
    <a:srgbClr val="1FE4DF"/>
    <a:srgbClr val="70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68" autoAdjust="0"/>
    <p:restoredTop sz="96182" autoAdjust="0"/>
  </p:normalViewPr>
  <p:slideViewPr>
    <p:cSldViewPr snapToGrid="0">
      <p:cViewPr varScale="1">
        <p:scale>
          <a:sx n="68" d="100"/>
          <a:sy n="68" d="100"/>
        </p:scale>
        <p:origin x="888" y="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6" Type="http://schemas.openxmlformats.org/officeDocument/2006/relationships/tags" Target="tags/tag838.xml"/><Relationship Id="rId55" Type="http://schemas.openxmlformats.org/officeDocument/2006/relationships/tableStyles" Target="tableStyles.xml"/><Relationship Id="rId54" Type="http://schemas.openxmlformats.org/officeDocument/2006/relationships/viewProps" Target="viewProps.xml"/><Relationship Id="rId53" Type="http://schemas.openxmlformats.org/officeDocument/2006/relationships/presProps" Target="presProps.xml"/><Relationship Id="rId52" Type="http://schemas.openxmlformats.org/officeDocument/2006/relationships/handoutMaster" Target="handoutMasters/handoutMaster1.xml"/><Relationship Id="rId51" Type="http://schemas.openxmlformats.org/officeDocument/2006/relationships/slide" Target="slides/slide48.xml"/><Relationship Id="rId50" Type="http://schemas.openxmlformats.org/officeDocument/2006/relationships/slide" Target="slides/slide47.xml"/><Relationship Id="rId5" Type="http://schemas.openxmlformats.org/officeDocument/2006/relationships/slide" Target="slides/slide3.xml"/><Relationship Id="rId49" Type="http://schemas.openxmlformats.org/officeDocument/2006/relationships/slide" Target="slides/slide46.xml"/><Relationship Id="rId48" Type="http://schemas.openxmlformats.org/officeDocument/2006/relationships/slide" Target="slides/slide45.xml"/><Relationship Id="rId47" Type="http://schemas.openxmlformats.org/officeDocument/2006/relationships/slide" Target="slides/slide44.xml"/><Relationship Id="rId46" Type="http://schemas.openxmlformats.org/officeDocument/2006/relationships/slide" Target="slides/slide43.xml"/><Relationship Id="rId45" Type="http://schemas.openxmlformats.org/officeDocument/2006/relationships/slide" Target="slides/slide42.xml"/><Relationship Id="rId44" Type="http://schemas.openxmlformats.org/officeDocument/2006/relationships/slide" Target="slides/slide4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slide" Target="slides/slide2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2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4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6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7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35AA6-2AE5-4F88-9AC2-FCBA42C210A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熊猫办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 wrap="square">
            <a:normAutofit/>
          </a:bodyPr>
          <a:lstStyle/>
          <a:p>
            <a:fld id="{5592522B-0F24-4480-B9DD-A9474A6880D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 wrap="square">
            <a:normAutofit/>
          </a:bodyPr>
          <a:lstStyle/>
          <a:p>
            <a:fld id="{BE5F26B5-172A-4DC2-B0B7-181CFC56B87C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/>
              <a:t>熊猫办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184.xml"/><Relationship Id="rId8" Type="http://schemas.openxmlformats.org/officeDocument/2006/relationships/tags" Target="../tags/tag183.xml"/><Relationship Id="rId7" Type="http://schemas.openxmlformats.org/officeDocument/2006/relationships/tags" Target="../tags/tag182.x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4" Type="http://schemas.openxmlformats.org/officeDocument/2006/relationships/tags" Target="../tags/tag179.xml"/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7" Type="http://schemas.openxmlformats.org/officeDocument/2006/relationships/notesSlide" Target="../notesSlides/notesSlide7.xml"/><Relationship Id="rId16" Type="http://schemas.openxmlformats.org/officeDocument/2006/relationships/slideLayout" Target="../slideLayouts/slideLayout2.xml"/><Relationship Id="rId15" Type="http://schemas.openxmlformats.org/officeDocument/2006/relationships/image" Target="../media/image3.png"/><Relationship Id="rId14" Type="http://schemas.openxmlformats.org/officeDocument/2006/relationships/tags" Target="../tags/tag188.xml"/><Relationship Id="rId13" Type="http://schemas.openxmlformats.org/officeDocument/2006/relationships/tags" Target="../tags/tag187.xml"/><Relationship Id="rId12" Type="http://schemas.openxmlformats.org/officeDocument/2006/relationships/tags" Target="../tags/tag186.xml"/><Relationship Id="rId11" Type="http://schemas.openxmlformats.org/officeDocument/2006/relationships/image" Target="../media/image45.jpeg"/><Relationship Id="rId10" Type="http://schemas.openxmlformats.org/officeDocument/2006/relationships/tags" Target="../tags/tag185.xml"/><Relationship Id="rId1" Type="http://schemas.openxmlformats.org/officeDocument/2006/relationships/tags" Target="../tags/tag1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197.xml"/><Relationship Id="rId8" Type="http://schemas.openxmlformats.org/officeDocument/2006/relationships/tags" Target="../tags/tag196.xml"/><Relationship Id="rId7" Type="http://schemas.openxmlformats.org/officeDocument/2006/relationships/tags" Target="../tags/tag195.xml"/><Relationship Id="rId6" Type="http://schemas.openxmlformats.org/officeDocument/2006/relationships/tags" Target="../tags/tag194.xml"/><Relationship Id="rId5" Type="http://schemas.openxmlformats.org/officeDocument/2006/relationships/tags" Target="../tags/tag193.xml"/><Relationship Id="rId4" Type="http://schemas.openxmlformats.org/officeDocument/2006/relationships/tags" Target="../tags/tag192.xml"/><Relationship Id="rId30" Type="http://schemas.openxmlformats.org/officeDocument/2006/relationships/notesSlide" Target="../notesSlides/notesSlide8.xml"/><Relationship Id="rId3" Type="http://schemas.openxmlformats.org/officeDocument/2006/relationships/tags" Target="../tags/tag191.xml"/><Relationship Id="rId29" Type="http://schemas.openxmlformats.org/officeDocument/2006/relationships/slideLayout" Target="../slideLayouts/slideLayout2.xml"/><Relationship Id="rId28" Type="http://schemas.openxmlformats.org/officeDocument/2006/relationships/tags" Target="../tags/tag215.xml"/><Relationship Id="rId27" Type="http://schemas.openxmlformats.org/officeDocument/2006/relationships/tags" Target="../tags/tag214.xml"/><Relationship Id="rId26" Type="http://schemas.openxmlformats.org/officeDocument/2006/relationships/tags" Target="../tags/tag213.xml"/><Relationship Id="rId25" Type="http://schemas.openxmlformats.org/officeDocument/2006/relationships/tags" Target="../tags/tag212.xml"/><Relationship Id="rId24" Type="http://schemas.openxmlformats.org/officeDocument/2006/relationships/tags" Target="../tags/tag211.xml"/><Relationship Id="rId23" Type="http://schemas.openxmlformats.org/officeDocument/2006/relationships/tags" Target="../tags/tag210.xml"/><Relationship Id="rId22" Type="http://schemas.openxmlformats.org/officeDocument/2006/relationships/tags" Target="../tags/tag209.xml"/><Relationship Id="rId21" Type="http://schemas.openxmlformats.org/officeDocument/2006/relationships/tags" Target="../tags/tag208.xml"/><Relationship Id="rId20" Type="http://schemas.openxmlformats.org/officeDocument/2006/relationships/tags" Target="../tags/tag207.xml"/><Relationship Id="rId2" Type="http://schemas.openxmlformats.org/officeDocument/2006/relationships/tags" Target="../tags/tag190.xml"/><Relationship Id="rId19" Type="http://schemas.openxmlformats.org/officeDocument/2006/relationships/tags" Target="../tags/tag206.xml"/><Relationship Id="rId18" Type="http://schemas.openxmlformats.org/officeDocument/2006/relationships/tags" Target="../tags/tag205.xml"/><Relationship Id="rId17" Type="http://schemas.openxmlformats.org/officeDocument/2006/relationships/image" Target="../media/image3.png"/><Relationship Id="rId16" Type="http://schemas.openxmlformats.org/officeDocument/2006/relationships/tags" Target="../tags/tag204.xml"/><Relationship Id="rId15" Type="http://schemas.openxmlformats.org/officeDocument/2006/relationships/tags" Target="../tags/tag203.xml"/><Relationship Id="rId14" Type="http://schemas.openxmlformats.org/officeDocument/2006/relationships/tags" Target="../tags/tag202.xml"/><Relationship Id="rId13" Type="http://schemas.openxmlformats.org/officeDocument/2006/relationships/tags" Target="../tags/tag201.xml"/><Relationship Id="rId12" Type="http://schemas.openxmlformats.org/officeDocument/2006/relationships/tags" Target="../tags/tag200.xml"/><Relationship Id="rId11" Type="http://schemas.openxmlformats.org/officeDocument/2006/relationships/tags" Target="../tags/tag199.xml"/><Relationship Id="rId10" Type="http://schemas.openxmlformats.org/officeDocument/2006/relationships/tags" Target="../tags/tag198.xml"/><Relationship Id="rId1" Type="http://schemas.openxmlformats.org/officeDocument/2006/relationships/tags" Target="../tags/tag189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8" Type="http://schemas.openxmlformats.org/officeDocument/2006/relationships/image" Target="../media/image48.jpeg"/><Relationship Id="rId7" Type="http://schemas.openxmlformats.org/officeDocument/2006/relationships/tags" Target="../tags/tag219.xml"/><Relationship Id="rId6" Type="http://schemas.openxmlformats.org/officeDocument/2006/relationships/image" Target="../media/image47.jpeg"/><Relationship Id="rId5" Type="http://schemas.openxmlformats.org/officeDocument/2006/relationships/tags" Target="../tags/tag218.xml"/><Relationship Id="rId4" Type="http://schemas.openxmlformats.org/officeDocument/2006/relationships/image" Target="../media/image46.jpeg"/><Relationship Id="rId35" Type="http://schemas.openxmlformats.org/officeDocument/2006/relationships/notesSlide" Target="../notesSlides/notesSlide9.xml"/><Relationship Id="rId34" Type="http://schemas.openxmlformats.org/officeDocument/2006/relationships/slideLayout" Target="../slideLayouts/slideLayout2.xml"/><Relationship Id="rId33" Type="http://schemas.openxmlformats.org/officeDocument/2006/relationships/tags" Target="../tags/tag237.xml"/><Relationship Id="rId32" Type="http://schemas.openxmlformats.org/officeDocument/2006/relationships/image" Target="../media/image55.jpeg"/><Relationship Id="rId31" Type="http://schemas.openxmlformats.org/officeDocument/2006/relationships/tags" Target="../tags/tag236.xml"/><Relationship Id="rId30" Type="http://schemas.openxmlformats.org/officeDocument/2006/relationships/tags" Target="../tags/tag235.xml"/><Relationship Id="rId3" Type="http://schemas.openxmlformats.org/officeDocument/2006/relationships/tags" Target="../tags/tag217.xml"/><Relationship Id="rId29" Type="http://schemas.openxmlformats.org/officeDocument/2006/relationships/image" Target="../media/image54.jpeg"/><Relationship Id="rId28" Type="http://schemas.openxmlformats.org/officeDocument/2006/relationships/image" Target="../media/image53.jpeg"/><Relationship Id="rId27" Type="http://schemas.openxmlformats.org/officeDocument/2006/relationships/tags" Target="../tags/tag234.xml"/><Relationship Id="rId26" Type="http://schemas.openxmlformats.org/officeDocument/2006/relationships/tags" Target="../tags/tag233.xml"/><Relationship Id="rId25" Type="http://schemas.openxmlformats.org/officeDocument/2006/relationships/tags" Target="../tags/tag232.xml"/><Relationship Id="rId24" Type="http://schemas.openxmlformats.org/officeDocument/2006/relationships/tags" Target="../tags/tag231.xml"/><Relationship Id="rId23" Type="http://schemas.openxmlformats.org/officeDocument/2006/relationships/tags" Target="../tags/tag230.xml"/><Relationship Id="rId22" Type="http://schemas.openxmlformats.org/officeDocument/2006/relationships/tags" Target="../tags/tag229.xml"/><Relationship Id="rId21" Type="http://schemas.openxmlformats.org/officeDocument/2006/relationships/tags" Target="../tags/tag228.xml"/><Relationship Id="rId20" Type="http://schemas.openxmlformats.org/officeDocument/2006/relationships/tags" Target="../tags/tag227.xml"/><Relationship Id="rId2" Type="http://schemas.openxmlformats.org/officeDocument/2006/relationships/image" Target="../media/image3.png"/><Relationship Id="rId19" Type="http://schemas.openxmlformats.org/officeDocument/2006/relationships/tags" Target="../tags/tag226.xml"/><Relationship Id="rId18" Type="http://schemas.openxmlformats.org/officeDocument/2006/relationships/tags" Target="../tags/tag225.xml"/><Relationship Id="rId17" Type="http://schemas.openxmlformats.org/officeDocument/2006/relationships/tags" Target="../tags/tag224.xml"/><Relationship Id="rId16" Type="http://schemas.openxmlformats.org/officeDocument/2006/relationships/image" Target="../media/image52.png"/><Relationship Id="rId15" Type="http://schemas.openxmlformats.org/officeDocument/2006/relationships/tags" Target="../tags/tag223.xml"/><Relationship Id="rId14" Type="http://schemas.openxmlformats.org/officeDocument/2006/relationships/image" Target="../media/image51.jpeg"/><Relationship Id="rId13" Type="http://schemas.openxmlformats.org/officeDocument/2006/relationships/tags" Target="../tags/tag222.xml"/><Relationship Id="rId12" Type="http://schemas.openxmlformats.org/officeDocument/2006/relationships/image" Target="../media/image50.jpeg"/><Relationship Id="rId11" Type="http://schemas.openxmlformats.org/officeDocument/2006/relationships/tags" Target="../tags/tag221.xml"/><Relationship Id="rId10" Type="http://schemas.openxmlformats.org/officeDocument/2006/relationships/image" Target="../media/image49.jpeg"/><Relationship Id="rId1" Type="http://schemas.openxmlformats.org/officeDocument/2006/relationships/tags" Target="../tags/tag216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62.jpeg"/><Relationship Id="rId8" Type="http://schemas.openxmlformats.org/officeDocument/2006/relationships/image" Target="../media/image61.jpeg"/><Relationship Id="rId7" Type="http://schemas.openxmlformats.org/officeDocument/2006/relationships/image" Target="../media/image60.jpeg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Relationship Id="rId3" Type="http://schemas.openxmlformats.org/officeDocument/2006/relationships/image" Target="../media/image56.jpeg"/><Relationship Id="rId21" Type="http://schemas.openxmlformats.org/officeDocument/2006/relationships/notesSlide" Target="../notesSlides/notesSlide10.xml"/><Relationship Id="rId20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9" Type="http://schemas.openxmlformats.org/officeDocument/2006/relationships/image" Target="../media/image72.jpeg"/><Relationship Id="rId18" Type="http://schemas.openxmlformats.org/officeDocument/2006/relationships/image" Target="../media/image71.jpeg"/><Relationship Id="rId17" Type="http://schemas.openxmlformats.org/officeDocument/2006/relationships/image" Target="../media/image70.jpeg"/><Relationship Id="rId16" Type="http://schemas.openxmlformats.org/officeDocument/2006/relationships/image" Target="../media/image69.jpeg"/><Relationship Id="rId15" Type="http://schemas.openxmlformats.org/officeDocument/2006/relationships/image" Target="../media/image68.jpeg"/><Relationship Id="rId14" Type="http://schemas.openxmlformats.org/officeDocument/2006/relationships/image" Target="../media/image67.jpeg"/><Relationship Id="rId13" Type="http://schemas.openxmlformats.org/officeDocument/2006/relationships/image" Target="../media/image66.jpeg"/><Relationship Id="rId12" Type="http://schemas.openxmlformats.org/officeDocument/2006/relationships/image" Target="../media/image65.jpeg"/><Relationship Id="rId11" Type="http://schemas.openxmlformats.org/officeDocument/2006/relationships/image" Target="../media/image64.jpeg"/><Relationship Id="rId10" Type="http://schemas.openxmlformats.org/officeDocument/2006/relationships/image" Target="../media/image63.jpeg"/><Relationship Id="rId1" Type="http://schemas.openxmlformats.org/officeDocument/2006/relationships/tags" Target="../tags/tag238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246.xml"/><Relationship Id="rId8" Type="http://schemas.openxmlformats.org/officeDocument/2006/relationships/tags" Target="../tags/tag245.xml"/><Relationship Id="rId7" Type="http://schemas.openxmlformats.org/officeDocument/2006/relationships/tags" Target="../tags/tag244.x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4" Type="http://schemas.openxmlformats.org/officeDocument/2006/relationships/tags" Target="../tags/tag241.xml"/><Relationship Id="rId3" Type="http://schemas.openxmlformats.org/officeDocument/2006/relationships/tags" Target="../tags/tag240.xml"/><Relationship Id="rId29" Type="http://schemas.openxmlformats.org/officeDocument/2006/relationships/notesSlide" Target="../notesSlides/notesSlide11.xml"/><Relationship Id="rId28" Type="http://schemas.openxmlformats.org/officeDocument/2006/relationships/slideLayout" Target="../slideLayouts/slideLayout2.xml"/><Relationship Id="rId27" Type="http://schemas.openxmlformats.org/officeDocument/2006/relationships/image" Target="../media/image73.png"/><Relationship Id="rId26" Type="http://schemas.openxmlformats.org/officeDocument/2006/relationships/tags" Target="../tags/tag263.xml"/><Relationship Id="rId25" Type="http://schemas.openxmlformats.org/officeDocument/2006/relationships/tags" Target="../tags/tag262.xml"/><Relationship Id="rId24" Type="http://schemas.openxmlformats.org/officeDocument/2006/relationships/tags" Target="../tags/tag261.xml"/><Relationship Id="rId23" Type="http://schemas.openxmlformats.org/officeDocument/2006/relationships/tags" Target="../tags/tag260.xml"/><Relationship Id="rId22" Type="http://schemas.openxmlformats.org/officeDocument/2006/relationships/tags" Target="../tags/tag259.xml"/><Relationship Id="rId21" Type="http://schemas.openxmlformats.org/officeDocument/2006/relationships/tags" Target="../tags/tag258.xml"/><Relationship Id="rId20" Type="http://schemas.openxmlformats.org/officeDocument/2006/relationships/tags" Target="../tags/tag257.xml"/><Relationship Id="rId2" Type="http://schemas.openxmlformats.org/officeDocument/2006/relationships/image" Target="../media/image3.png"/><Relationship Id="rId19" Type="http://schemas.openxmlformats.org/officeDocument/2006/relationships/tags" Target="../tags/tag256.xml"/><Relationship Id="rId18" Type="http://schemas.openxmlformats.org/officeDocument/2006/relationships/tags" Target="../tags/tag255.xml"/><Relationship Id="rId17" Type="http://schemas.openxmlformats.org/officeDocument/2006/relationships/tags" Target="../tags/tag254.xml"/><Relationship Id="rId16" Type="http://schemas.openxmlformats.org/officeDocument/2006/relationships/tags" Target="../tags/tag253.xml"/><Relationship Id="rId15" Type="http://schemas.openxmlformats.org/officeDocument/2006/relationships/tags" Target="../tags/tag252.xml"/><Relationship Id="rId14" Type="http://schemas.openxmlformats.org/officeDocument/2006/relationships/tags" Target="../tags/tag251.xml"/><Relationship Id="rId13" Type="http://schemas.openxmlformats.org/officeDocument/2006/relationships/tags" Target="../tags/tag250.xml"/><Relationship Id="rId12" Type="http://schemas.openxmlformats.org/officeDocument/2006/relationships/tags" Target="../tags/tag249.xml"/><Relationship Id="rId11" Type="http://schemas.openxmlformats.org/officeDocument/2006/relationships/tags" Target="../tags/tag248.xml"/><Relationship Id="rId10" Type="http://schemas.openxmlformats.org/officeDocument/2006/relationships/tags" Target="../tags/tag247.xml"/><Relationship Id="rId1" Type="http://schemas.openxmlformats.org/officeDocument/2006/relationships/tags" Target="../tags/tag239.xm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tags" Target="../tags/tag264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272.xml"/><Relationship Id="rId8" Type="http://schemas.openxmlformats.org/officeDocument/2006/relationships/tags" Target="../tags/tag271.xml"/><Relationship Id="rId7" Type="http://schemas.openxmlformats.org/officeDocument/2006/relationships/tags" Target="../tags/tag270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Relationship Id="rId3" Type="http://schemas.openxmlformats.org/officeDocument/2006/relationships/tags" Target="../tags/tag266.xml"/><Relationship Id="rId2" Type="http://schemas.openxmlformats.org/officeDocument/2006/relationships/image" Target="../media/image3.png"/><Relationship Id="rId19" Type="http://schemas.openxmlformats.org/officeDocument/2006/relationships/notesSlide" Target="../notesSlides/notesSlide13.xml"/><Relationship Id="rId18" Type="http://schemas.openxmlformats.org/officeDocument/2006/relationships/slideLayout" Target="../slideLayouts/slideLayout2.xml"/><Relationship Id="rId17" Type="http://schemas.openxmlformats.org/officeDocument/2006/relationships/image" Target="../media/image75.png"/><Relationship Id="rId16" Type="http://schemas.openxmlformats.org/officeDocument/2006/relationships/image" Target="../media/image74.png"/><Relationship Id="rId15" Type="http://schemas.openxmlformats.org/officeDocument/2006/relationships/tags" Target="../tags/tag278.xml"/><Relationship Id="rId14" Type="http://schemas.openxmlformats.org/officeDocument/2006/relationships/tags" Target="../tags/tag277.xml"/><Relationship Id="rId13" Type="http://schemas.openxmlformats.org/officeDocument/2006/relationships/tags" Target="../tags/tag276.xml"/><Relationship Id="rId12" Type="http://schemas.openxmlformats.org/officeDocument/2006/relationships/tags" Target="../tags/tag275.xml"/><Relationship Id="rId11" Type="http://schemas.openxmlformats.org/officeDocument/2006/relationships/tags" Target="../tags/tag274.xml"/><Relationship Id="rId10" Type="http://schemas.openxmlformats.org/officeDocument/2006/relationships/tags" Target="../tags/tag273.xml"/><Relationship Id="rId1" Type="http://schemas.openxmlformats.org/officeDocument/2006/relationships/tags" Target="../tags/tag265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79.jpeg"/><Relationship Id="rId8" Type="http://schemas.openxmlformats.org/officeDocument/2006/relationships/image" Target="../media/image78.jpeg"/><Relationship Id="rId7" Type="http://schemas.openxmlformats.org/officeDocument/2006/relationships/image" Target="../media/image77.jpeg"/><Relationship Id="rId6" Type="http://schemas.openxmlformats.org/officeDocument/2006/relationships/image" Target="../media/image76.jpeg"/><Relationship Id="rId5" Type="http://schemas.openxmlformats.org/officeDocument/2006/relationships/tags" Target="../tags/tag282.xml"/><Relationship Id="rId4" Type="http://schemas.openxmlformats.org/officeDocument/2006/relationships/tags" Target="../tags/tag281.xml"/><Relationship Id="rId3" Type="http://schemas.openxmlformats.org/officeDocument/2006/relationships/tags" Target="../tags/tag280.xml"/><Relationship Id="rId2" Type="http://schemas.openxmlformats.org/officeDocument/2006/relationships/image" Target="../media/image3.png"/><Relationship Id="rId12" Type="http://schemas.openxmlformats.org/officeDocument/2006/relationships/notesSlide" Target="../notesSlides/notesSlide14.xml"/><Relationship Id="rId11" Type="http://schemas.openxmlformats.org/officeDocument/2006/relationships/slideLayout" Target="../slideLayouts/slideLayout2.xml"/><Relationship Id="rId10" Type="http://schemas.openxmlformats.org/officeDocument/2006/relationships/image" Target="../media/image80.jpeg"/><Relationship Id="rId1" Type="http://schemas.openxmlformats.org/officeDocument/2006/relationships/tags" Target="../tags/tag27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image" Target="../media/image87.jpeg"/><Relationship Id="rId8" Type="http://schemas.openxmlformats.org/officeDocument/2006/relationships/image" Target="../media/image86.jpeg"/><Relationship Id="rId7" Type="http://schemas.openxmlformats.org/officeDocument/2006/relationships/image" Target="../media/image85.jpeg"/><Relationship Id="rId6" Type="http://schemas.openxmlformats.org/officeDocument/2006/relationships/image" Target="../media/image84.jpeg"/><Relationship Id="rId5" Type="http://schemas.openxmlformats.org/officeDocument/2006/relationships/image" Target="../media/image83.jpeg"/><Relationship Id="rId4" Type="http://schemas.openxmlformats.org/officeDocument/2006/relationships/image" Target="../media/image82.jpeg"/><Relationship Id="rId3" Type="http://schemas.openxmlformats.org/officeDocument/2006/relationships/image" Target="../media/image81.jpeg"/><Relationship Id="rId2" Type="http://schemas.openxmlformats.org/officeDocument/2006/relationships/image" Target="../media/image3.png"/><Relationship Id="rId19" Type="http://schemas.openxmlformats.org/officeDocument/2006/relationships/notesSlide" Target="../notesSlides/notesSlide15.xml"/><Relationship Id="rId18" Type="http://schemas.openxmlformats.org/officeDocument/2006/relationships/slideLayout" Target="../slideLayouts/slideLayout2.xml"/><Relationship Id="rId17" Type="http://schemas.openxmlformats.org/officeDocument/2006/relationships/image" Target="../media/image95.jpeg"/><Relationship Id="rId16" Type="http://schemas.openxmlformats.org/officeDocument/2006/relationships/image" Target="../media/image94.jpeg"/><Relationship Id="rId15" Type="http://schemas.openxmlformats.org/officeDocument/2006/relationships/image" Target="../media/image93.jpeg"/><Relationship Id="rId14" Type="http://schemas.openxmlformats.org/officeDocument/2006/relationships/image" Target="../media/image92.jpeg"/><Relationship Id="rId13" Type="http://schemas.openxmlformats.org/officeDocument/2006/relationships/image" Target="../media/image91.jpeg"/><Relationship Id="rId12" Type="http://schemas.openxmlformats.org/officeDocument/2006/relationships/image" Target="../media/image90.jpeg"/><Relationship Id="rId11" Type="http://schemas.openxmlformats.org/officeDocument/2006/relationships/image" Target="../media/image89.jpeg"/><Relationship Id="rId10" Type="http://schemas.openxmlformats.org/officeDocument/2006/relationships/image" Target="../media/image88.jpeg"/><Relationship Id="rId1" Type="http://schemas.openxmlformats.org/officeDocument/2006/relationships/tags" Target="../tags/tag283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3.xml"/><Relationship Id="rId8" Type="http://schemas.openxmlformats.org/officeDocument/2006/relationships/tags" Target="../tags/tag12.xml"/><Relationship Id="rId7" Type="http://schemas.openxmlformats.org/officeDocument/2006/relationships/tags" Target="../tags/tag11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10" Type="http://schemas.openxmlformats.org/officeDocument/2006/relationships/image" Target="../media/image5.png"/><Relationship Id="rId1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291.xml"/><Relationship Id="rId8" Type="http://schemas.openxmlformats.org/officeDocument/2006/relationships/tags" Target="../tags/tag290.xml"/><Relationship Id="rId7" Type="http://schemas.openxmlformats.org/officeDocument/2006/relationships/tags" Target="../tags/tag289.x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41" Type="http://schemas.openxmlformats.org/officeDocument/2006/relationships/notesSlide" Target="../notesSlides/notesSlide16.xml"/><Relationship Id="rId40" Type="http://schemas.openxmlformats.org/officeDocument/2006/relationships/slideLayout" Target="../slideLayouts/slideLayout2.xml"/><Relationship Id="rId4" Type="http://schemas.openxmlformats.org/officeDocument/2006/relationships/tags" Target="../tags/tag286.xml"/><Relationship Id="rId39" Type="http://schemas.openxmlformats.org/officeDocument/2006/relationships/image" Target="../media/image102.png"/><Relationship Id="rId38" Type="http://schemas.openxmlformats.org/officeDocument/2006/relationships/tags" Target="../tags/tag314.xml"/><Relationship Id="rId37" Type="http://schemas.openxmlformats.org/officeDocument/2006/relationships/image" Target="../media/image101.svg"/><Relationship Id="rId36" Type="http://schemas.openxmlformats.org/officeDocument/2006/relationships/image" Target="../media/image100.png"/><Relationship Id="rId35" Type="http://schemas.openxmlformats.org/officeDocument/2006/relationships/tags" Target="../tags/tag313.xml"/><Relationship Id="rId34" Type="http://schemas.openxmlformats.org/officeDocument/2006/relationships/image" Target="../media/image99.svg"/><Relationship Id="rId33" Type="http://schemas.openxmlformats.org/officeDocument/2006/relationships/image" Target="../media/image98.png"/><Relationship Id="rId32" Type="http://schemas.openxmlformats.org/officeDocument/2006/relationships/tags" Target="../tags/tag312.xml"/><Relationship Id="rId31" Type="http://schemas.openxmlformats.org/officeDocument/2006/relationships/image" Target="../media/image97.svg"/><Relationship Id="rId30" Type="http://schemas.openxmlformats.org/officeDocument/2006/relationships/image" Target="../media/image96.png"/><Relationship Id="rId3" Type="http://schemas.openxmlformats.org/officeDocument/2006/relationships/tags" Target="../tags/tag285.xml"/><Relationship Id="rId29" Type="http://schemas.openxmlformats.org/officeDocument/2006/relationships/tags" Target="../tags/tag311.xml"/><Relationship Id="rId28" Type="http://schemas.openxmlformats.org/officeDocument/2006/relationships/tags" Target="../tags/tag310.xml"/><Relationship Id="rId27" Type="http://schemas.openxmlformats.org/officeDocument/2006/relationships/tags" Target="../tags/tag309.xml"/><Relationship Id="rId26" Type="http://schemas.openxmlformats.org/officeDocument/2006/relationships/tags" Target="../tags/tag308.xml"/><Relationship Id="rId25" Type="http://schemas.openxmlformats.org/officeDocument/2006/relationships/tags" Target="../tags/tag307.xml"/><Relationship Id="rId24" Type="http://schemas.openxmlformats.org/officeDocument/2006/relationships/tags" Target="../tags/tag306.xml"/><Relationship Id="rId23" Type="http://schemas.openxmlformats.org/officeDocument/2006/relationships/tags" Target="../tags/tag305.xml"/><Relationship Id="rId22" Type="http://schemas.openxmlformats.org/officeDocument/2006/relationships/tags" Target="../tags/tag304.xml"/><Relationship Id="rId21" Type="http://schemas.openxmlformats.org/officeDocument/2006/relationships/tags" Target="../tags/tag303.xml"/><Relationship Id="rId20" Type="http://schemas.openxmlformats.org/officeDocument/2006/relationships/tags" Target="../tags/tag302.xml"/><Relationship Id="rId2" Type="http://schemas.openxmlformats.org/officeDocument/2006/relationships/image" Target="../media/image3.png"/><Relationship Id="rId19" Type="http://schemas.openxmlformats.org/officeDocument/2006/relationships/tags" Target="../tags/tag301.xml"/><Relationship Id="rId18" Type="http://schemas.openxmlformats.org/officeDocument/2006/relationships/tags" Target="../tags/tag300.xml"/><Relationship Id="rId17" Type="http://schemas.openxmlformats.org/officeDocument/2006/relationships/tags" Target="../tags/tag299.xml"/><Relationship Id="rId16" Type="http://schemas.openxmlformats.org/officeDocument/2006/relationships/tags" Target="../tags/tag298.xml"/><Relationship Id="rId15" Type="http://schemas.openxmlformats.org/officeDocument/2006/relationships/tags" Target="../tags/tag297.xml"/><Relationship Id="rId14" Type="http://schemas.openxmlformats.org/officeDocument/2006/relationships/tags" Target="../tags/tag296.xml"/><Relationship Id="rId13" Type="http://schemas.openxmlformats.org/officeDocument/2006/relationships/tags" Target="../tags/tag295.xml"/><Relationship Id="rId12" Type="http://schemas.openxmlformats.org/officeDocument/2006/relationships/tags" Target="../tags/tag294.xml"/><Relationship Id="rId11" Type="http://schemas.openxmlformats.org/officeDocument/2006/relationships/tags" Target="../tags/tag293.xml"/><Relationship Id="rId10" Type="http://schemas.openxmlformats.org/officeDocument/2006/relationships/tags" Target="../tags/tag292.xml"/><Relationship Id="rId1" Type="http://schemas.openxmlformats.org/officeDocument/2006/relationships/tags" Target="../tags/tag284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7.jpeg"/><Relationship Id="rId8" Type="http://schemas.openxmlformats.org/officeDocument/2006/relationships/image" Target="../media/image106.jpeg"/><Relationship Id="rId7" Type="http://schemas.openxmlformats.org/officeDocument/2006/relationships/image" Target="../media/image105.jpeg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tags" Target="../tags/tag317.xml"/><Relationship Id="rId3" Type="http://schemas.openxmlformats.org/officeDocument/2006/relationships/tags" Target="../tags/tag316.xml"/><Relationship Id="rId2" Type="http://schemas.openxmlformats.org/officeDocument/2006/relationships/image" Target="../media/image3.png"/><Relationship Id="rId11" Type="http://schemas.openxmlformats.org/officeDocument/2006/relationships/notesSlide" Target="../notesSlides/notesSlide17.xml"/><Relationship Id="rId10" Type="http://schemas.openxmlformats.org/officeDocument/2006/relationships/slideLayout" Target="../slideLayouts/slideLayout2.xml"/><Relationship Id="rId1" Type="http://schemas.openxmlformats.org/officeDocument/2006/relationships/tags" Target="../tags/tag315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323.xml"/><Relationship Id="rId8" Type="http://schemas.openxmlformats.org/officeDocument/2006/relationships/tags" Target="../tags/tag322.xml"/><Relationship Id="rId7" Type="http://schemas.openxmlformats.org/officeDocument/2006/relationships/image" Target="../media/image109.png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4" Type="http://schemas.openxmlformats.org/officeDocument/2006/relationships/image" Target="../media/image108.png"/><Relationship Id="rId3" Type="http://schemas.openxmlformats.org/officeDocument/2006/relationships/tags" Target="../tags/tag319.xml"/><Relationship Id="rId27" Type="http://schemas.openxmlformats.org/officeDocument/2006/relationships/notesSlide" Target="../notesSlides/notesSlide18.xml"/><Relationship Id="rId26" Type="http://schemas.openxmlformats.org/officeDocument/2006/relationships/slideLayout" Target="../slideLayouts/slideLayout2.xml"/><Relationship Id="rId25" Type="http://schemas.openxmlformats.org/officeDocument/2006/relationships/tags" Target="../tags/tag331.xml"/><Relationship Id="rId24" Type="http://schemas.openxmlformats.org/officeDocument/2006/relationships/image" Target="../media/image117.png"/><Relationship Id="rId23" Type="http://schemas.openxmlformats.org/officeDocument/2006/relationships/tags" Target="../tags/tag330.xml"/><Relationship Id="rId22" Type="http://schemas.openxmlformats.org/officeDocument/2006/relationships/image" Target="../media/image116.png"/><Relationship Id="rId21" Type="http://schemas.openxmlformats.org/officeDocument/2006/relationships/tags" Target="../tags/tag329.xml"/><Relationship Id="rId20" Type="http://schemas.openxmlformats.org/officeDocument/2006/relationships/image" Target="../media/image115.png"/><Relationship Id="rId2" Type="http://schemas.openxmlformats.org/officeDocument/2006/relationships/image" Target="../media/image3.png"/><Relationship Id="rId19" Type="http://schemas.openxmlformats.org/officeDocument/2006/relationships/tags" Target="../tags/tag328.xml"/><Relationship Id="rId18" Type="http://schemas.openxmlformats.org/officeDocument/2006/relationships/image" Target="../media/image114.png"/><Relationship Id="rId17" Type="http://schemas.openxmlformats.org/officeDocument/2006/relationships/tags" Target="../tags/tag327.xml"/><Relationship Id="rId16" Type="http://schemas.openxmlformats.org/officeDocument/2006/relationships/image" Target="../media/image113.png"/><Relationship Id="rId15" Type="http://schemas.openxmlformats.org/officeDocument/2006/relationships/tags" Target="../tags/tag326.xml"/><Relationship Id="rId14" Type="http://schemas.openxmlformats.org/officeDocument/2006/relationships/image" Target="../media/image112.png"/><Relationship Id="rId13" Type="http://schemas.openxmlformats.org/officeDocument/2006/relationships/tags" Target="../tags/tag325.xml"/><Relationship Id="rId12" Type="http://schemas.openxmlformats.org/officeDocument/2006/relationships/image" Target="../media/image111.png"/><Relationship Id="rId11" Type="http://schemas.openxmlformats.org/officeDocument/2006/relationships/tags" Target="../tags/tag324.xml"/><Relationship Id="rId10" Type="http://schemas.openxmlformats.org/officeDocument/2006/relationships/image" Target="../media/image110.png"/><Relationship Id="rId1" Type="http://schemas.openxmlformats.org/officeDocument/2006/relationships/tags" Target="../tags/tag318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24.jpeg"/><Relationship Id="rId8" Type="http://schemas.openxmlformats.org/officeDocument/2006/relationships/image" Target="../media/image123.jpeg"/><Relationship Id="rId7" Type="http://schemas.openxmlformats.org/officeDocument/2006/relationships/image" Target="../media/image122.jpeg"/><Relationship Id="rId6" Type="http://schemas.openxmlformats.org/officeDocument/2006/relationships/image" Target="../media/image121.jpeg"/><Relationship Id="rId5" Type="http://schemas.openxmlformats.org/officeDocument/2006/relationships/image" Target="../media/image120.jpeg"/><Relationship Id="rId4" Type="http://schemas.openxmlformats.org/officeDocument/2006/relationships/image" Target="../media/image119.jpeg"/><Relationship Id="rId3" Type="http://schemas.openxmlformats.org/officeDocument/2006/relationships/image" Target="../media/image118.jpeg"/><Relationship Id="rId2" Type="http://schemas.openxmlformats.org/officeDocument/2006/relationships/image" Target="../media/image3.png"/><Relationship Id="rId14" Type="http://schemas.openxmlformats.org/officeDocument/2006/relationships/notesSlide" Target="../notesSlides/notesSlide19.xml"/><Relationship Id="rId13" Type="http://schemas.openxmlformats.org/officeDocument/2006/relationships/slideLayout" Target="../slideLayouts/slideLayout2.xml"/><Relationship Id="rId12" Type="http://schemas.openxmlformats.org/officeDocument/2006/relationships/image" Target="../media/image127.jpeg"/><Relationship Id="rId11" Type="http://schemas.openxmlformats.org/officeDocument/2006/relationships/image" Target="../media/image126.jpeg"/><Relationship Id="rId10" Type="http://schemas.openxmlformats.org/officeDocument/2006/relationships/image" Target="../media/image125.jpeg"/><Relationship Id="rId1" Type="http://schemas.openxmlformats.org/officeDocument/2006/relationships/tags" Target="../tags/tag332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30.jpeg"/><Relationship Id="rId8" Type="http://schemas.openxmlformats.org/officeDocument/2006/relationships/tags" Target="../tags/tag337.xml"/><Relationship Id="rId7" Type="http://schemas.openxmlformats.org/officeDocument/2006/relationships/image" Target="../media/image129.jpeg"/><Relationship Id="rId6" Type="http://schemas.openxmlformats.org/officeDocument/2006/relationships/tags" Target="../tags/tag336.xml"/><Relationship Id="rId5" Type="http://schemas.openxmlformats.org/officeDocument/2006/relationships/image" Target="../media/image128.jpeg"/><Relationship Id="rId4" Type="http://schemas.openxmlformats.org/officeDocument/2006/relationships/tags" Target="../tags/tag335.xml"/><Relationship Id="rId3" Type="http://schemas.openxmlformats.org/officeDocument/2006/relationships/tags" Target="../tags/tag334.xml"/><Relationship Id="rId21" Type="http://schemas.openxmlformats.org/officeDocument/2006/relationships/notesSlide" Target="../notesSlides/notesSlide20.xml"/><Relationship Id="rId20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9" Type="http://schemas.openxmlformats.org/officeDocument/2006/relationships/image" Target="../media/image132.jpeg"/><Relationship Id="rId18" Type="http://schemas.openxmlformats.org/officeDocument/2006/relationships/tags" Target="../tags/tag345.xml"/><Relationship Id="rId17" Type="http://schemas.openxmlformats.org/officeDocument/2006/relationships/tags" Target="../tags/tag344.xml"/><Relationship Id="rId16" Type="http://schemas.openxmlformats.org/officeDocument/2006/relationships/tags" Target="../tags/tag343.xml"/><Relationship Id="rId15" Type="http://schemas.openxmlformats.org/officeDocument/2006/relationships/tags" Target="../tags/tag342.xml"/><Relationship Id="rId14" Type="http://schemas.openxmlformats.org/officeDocument/2006/relationships/tags" Target="../tags/tag341.xml"/><Relationship Id="rId13" Type="http://schemas.openxmlformats.org/officeDocument/2006/relationships/tags" Target="../tags/tag340.xml"/><Relationship Id="rId12" Type="http://schemas.openxmlformats.org/officeDocument/2006/relationships/tags" Target="../tags/tag339.xml"/><Relationship Id="rId11" Type="http://schemas.openxmlformats.org/officeDocument/2006/relationships/image" Target="../media/image131.jpeg"/><Relationship Id="rId10" Type="http://schemas.openxmlformats.org/officeDocument/2006/relationships/tags" Target="../tags/tag338.xml"/><Relationship Id="rId1" Type="http://schemas.openxmlformats.org/officeDocument/2006/relationships/tags" Target="../tags/tag33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34.jpeg"/><Relationship Id="rId5" Type="http://schemas.openxmlformats.org/officeDocument/2006/relationships/tags" Target="../tags/tag348.xml"/><Relationship Id="rId4" Type="http://schemas.openxmlformats.org/officeDocument/2006/relationships/image" Target="../media/image133.jpeg"/><Relationship Id="rId3" Type="http://schemas.openxmlformats.org/officeDocument/2006/relationships/tags" Target="../tags/tag347.xml"/><Relationship Id="rId2" Type="http://schemas.openxmlformats.org/officeDocument/2006/relationships/image" Target="../media/image3.png"/><Relationship Id="rId1" Type="http://schemas.openxmlformats.org/officeDocument/2006/relationships/tags" Target="../tags/tag34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38.jpeg"/><Relationship Id="rId5" Type="http://schemas.openxmlformats.org/officeDocument/2006/relationships/image" Target="../media/image137.jpeg"/><Relationship Id="rId4" Type="http://schemas.openxmlformats.org/officeDocument/2006/relationships/image" Target="../media/image136.jpeg"/><Relationship Id="rId3" Type="http://schemas.openxmlformats.org/officeDocument/2006/relationships/image" Target="../media/image135.jpeg"/><Relationship Id="rId2" Type="http://schemas.openxmlformats.org/officeDocument/2006/relationships/image" Target="../media/image3.png"/><Relationship Id="rId1" Type="http://schemas.openxmlformats.org/officeDocument/2006/relationships/tags" Target="../tags/tag349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tags" Target="../tags/tag355.xml"/><Relationship Id="rId8" Type="http://schemas.openxmlformats.org/officeDocument/2006/relationships/image" Target="../media/image140.svg"/><Relationship Id="rId7" Type="http://schemas.openxmlformats.org/officeDocument/2006/relationships/image" Target="../media/image139.png"/><Relationship Id="rId6" Type="http://schemas.openxmlformats.org/officeDocument/2006/relationships/tags" Target="../tags/tag354.xml"/><Relationship Id="rId5" Type="http://schemas.openxmlformats.org/officeDocument/2006/relationships/tags" Target="../tags/tag353.xml"/><Relationship Id="rId4" Type="http://schemas.openxmlformats.org/officeDocument/2006/relationships/tags" Target="../tags/tag352.xml"/><Relationship Id="rId37" Type="http://schemas.openxmlformats.org/officeDocument/2006/relationships/notesSlide" Target="../notesSlides/notesSlide23.xml"/><Relationship Id="rId36" Type="http://schemas.openxmlformats.org/officeDocument/2006/relationships/slideLayout" Target="../slideLayouts/slideLayout2.xml"/><Relationship Id="rId35" Type="http://schemas.openxmlformats.org/officeDocument/2006/relationships/tags" Target="../tags/tag377.xml"/><Relationship Id="rId34" Type="http://schemas.openxmlformats.org/officeDocument/2006/relationships/tags" Target="../tags/tag376.xml"/><Relationship Id="rId33" Type="http://schemas.openxmlformats.org/officeDocument/2006/relationships/tags" Target="../tags/tag375.xml"/><Relationship Id="rId32" Type="http://schemas.openxmlformats.org/officeDocument/2006/relationships/tags" Target="../tags/tag374.xml"/><Relationship Id="rId31" Type="http://schemas.openxmlformats.org/officeDocument/2006/relationships/tags" Target="../tags/tag373.xml"/><Relationship Id="rId30" Type="http://schemas.openxmlformats.org/officeDocument/2006/relationships/tags" Target="../tags/tag372.xml"/><Relationship Id="rId3" Type="http://schemas.openxmlformats.org/officeDocument/2006/relationships/tags" Target="../tags/tag351.xml"/><Relationship Id="rId29" Type="http://schemas.openxmlformats.org/officeDocument/2006/relationships/tags" Target="../tags/tag371.xml"/><Relationship Id="rId28" Type="http://schemas.openxmlformats.org/officeDocument/2006/relationships/tags" Target="../tags/tag370.xml"/><Relationship Id="rId27" Type="http://schemas.openxmlformats.org/officeDocument/2006/relationships/tags" Target="../tags/tag369.xml"/><Relationship Id="rId26" Type="http://schemas.openxmlformats.org/officeDocument/2006/relationships/tags" Target="../tags/tag368.xml"/><Relationship Id="rId25" Type="http://schemas.openxmlformats.org/officeDocument/2006/relationships/tags" Target="../tags/tag367.xml"/><Relationship Id="rId24" Type="http://schemas.openxmlformats.org/officeDocument/2006/relationships/tags" Target="../tags/tag366.xml"/><Relationship Id="rId23" Type="http://schemas.openxmlformats.org/officeDocument/2006/relationships/tags" Target="../tags/tag365.xml"/><Relationship Id="rId22" Type="http://schemas.openxmlformats.org/officeDocument/2006/relationships/tags" Target="../tags/tag364.xml"/><Relationship Id="rId21" Type="http://schemas.openxmlformats.org/officeDocument/2006/relationships/tags" Target="../tags/tag363.xml"/><Relationship Id="rId20" Type="http://schemas.openxmlformats.org/officeDocument/2006/relationships/tags" Target="../tags/tag362.xml"/><Relationship Id="rId2" Type="http://schemas.openxmlformats.org/officeDocument/2006/relationships/image" Target="../media/image3.png"/><Relationship Id="rId19" Type="http://schemas.openxmlformats.org/officeDocument/2006/relationships/tags" Target="../tags/tag361.xml"/><Relationship Id="rId18" Type="http://schemas.openxmlformats.org/officeDocument/2006/relationships/tags" Target="../tags/tag360.xml"/><Relationship Id="rId17" Type="http://schemas.openxmlformats.org/officeDocument/2006/relationships/tags" Target="../tags/tag359.xml"/><Relationship Id="rId16" Type="http://schemas.openxmlformats.org/officeDocument/2006/relationships/tags" Target="../tags/tag358.xml"/><Relationship Id="rId15" Type="http://schemas.openxmlformats.org/officeDocument/2006/relationships/tags" Target="../tags/tag357.xml"/><Relationship Id="rId14" Type="http://schemas.openxmlformats.org/officeDocument/2006/relationships/image" Target="../media/image144.svg"/><Relationship Id="rId13" Type="http://schemas.openxmlformats.org/officeDocument/2006/relationships/image" Target="../media/image143.png"/><Relationship Id="rId12" Type="http://schemas.openxmlformats.org/officeDocument/2006/relationships/tags" Target="../tags/tag356.xml"/><Relationship Id="rId11" Type="http://schemas.openxmlformats.org/officeDocument/2006/relationships/image" Target="../media/image142.svg"/><Relationship Id="rId10" Type="http://schemas.openxmlformats.org/officeDocument/2006/relationships/image" Target="../media/image141.png"/><Relationship Id="rId1" Type="http://schemas.openxmlformats.org/officeDocument/2006/relationships/tags" Target="../tags/tag350.xml"/></Relationships>
</file>

<file path=ppt/slides/_rels/slide28.xml.rels><?xml version="1.0" encoding="UTF-8" standalone="yes"?>
<Relationships xmlns="http://schemas.openxmlformats.org/package/2006/relationships"><Relationship Id="rId9" Type="http://schemas.openxmlformats.org/officeDocument/2006/relationships/tags" Target="../tags/tag385.xml"/><Relationship Id="rId8" Type="http://schemas.openxmlformats.org/officeDocument/2006/relationships/tags" Target="../tags/tag384.xml"/><Relationship Id="rId7" Type="http://schemas.openxmlformats.org/officeDocument/2006/relationships/tags" Target="../tags/tag383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4" Type="http://schemas.openxmlformats.org/officeDocument/2006/relationships/tags" Target="../tags/tag380.xml"/><Relationship Id="rId3" Type="http://schemas.openxmlformats.org/officeDocument/2006/relationships/tags" Target="../tags/tag379.xml"/><Relationship Id="rId21" Type="http://schemas.openxmlformats.org/officeDocument/2006/relationships/notesSlide" Target="../notesSlides/notesSlide24.xml"/><Relationship Id="rId20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9" Type="http://schemas.openxmlformats.org/officeDocument/2006/relationships/tags" Target="../tags/tag395.xml"/><Relationship Id="rId18" Type="http://schemas.openxmlformats.org/officeDocument/2006/relationships/tags" Target="../tags/tag394.xml"/><Relationship Id="rId17" Type="http://schemas.openxmlformats.org/officeDocument/2006/relationships/tags" Target="../tags/tag393.xml"/><Relationship Id="rId16" Type="http://schemas.openxmlformats.org/officeDocument/2006/relationships/tags" Target="../tags/tag392.xml"/><Relationship Id="rId15" Type="http://schemas.openxmlformats.org/officeDocument/2006/relationships/tags" Target="../tags/tag391.xml"/><Relationship Id="rId14" Type="http://schemas.openxmlformats.org/officeDocument/2006/relationships/tags" Target="../tags/tag390.xml"/><Relationship Id="rId13" Type="http://schemas.openxmlformats.org/officeDocument/2006/relationships/tags" Target="../tags/tag389.xml"/><Relationship Id="rId12" Type="http://schemas.openxmlformats.org/officeDocument/2006/relationships/tags" Target="../tags/tag388.xml"/><Relationship Id="rId11" Type="http://schemas.openxmlformats.org/officeDocument/2006/relationships/tags" Target="../tags/tag387.xml"/><Relationship Id="rId10" Type="http://schemas.openxmlformats.org/officeDocument/2006/relationships/tags" Target="../tags/tag386.xml"/><Relationship Id="rId1" Type="http://schemas.openxmlformats.org/officeDocument/2006/relationships/tags" Target="../tags/tag378.xml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5.x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45.png"/><Relationship Id="rId6" Type="http://schemas.openxmlformats.org/officeDocument/2006/relationships/tags" Target="../tags/tag400.xml"/><Relationship Id="rId5" Type="http://schemas.openxmlformats.org/officeDocument/2006/relationships/tags" Target="../tags/tag399.xml"/><Relationship Id="rId4" Type="http://schemas.openxmlformats.org/officeDocument/2006/relationships/tags" Target="../tags/tag398.xml"/><Relationship Id="rId3" Type="http://schemas.openxmlformats.org/officeDocument/2006/relationships/tags" Target="../tags/tag397.xml"/><Relationship Id="rId2" Type="http://schemas.openxmlformats.org/officeDocument/2006/relationships/image" Target="../media/image3.png"/><Relationship Id="rId1" Type="http://schemas.openxmlformats.org/officeDocument/2006/relationships/tags" Target="../tags/tag39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6.jpeg"/><Relationship Id="rId8" Type="http://schemas.openxmlformats.org/officeDocument/2006/relationships/tags" Target="../tags/tag407.xml"/><Relationship Id="rId7" Type="http://schemas.openxmlformats.org/officeDocument/2006/relationships/tags" Target="../tags/tag406.xml"/><Relationship Id="rId6" Type="http://schemas.openxmlformats.org/officeDocument/2006/relationships/tags" Target="../tags/tag405.xml"/><Relationship Id="rId5" Type="http://schemas.openxmlformats.org/officeDocument/2006/relationships/tags" Target="../tags/tag404.xml"/><Relationship Id="rId4" Type="http://schemas.openxmlformats.org/officeDocument/2006/relationships/tags" Target="../tags/tag403.xml"/><Relationship Id="rId3" Type="http://schemas.openxmlformats.org/officeDocument/2006/relationships/tags" Target="../tags/tag402.xml"/><Relationship Id="rId2" Type="http://schemas.openxmlformats.org/officeDocument/2006/relationships/image" Target="../media/image3.png"/><Relationship Id="rId11" Type="http://schemas.openxmlformats.org/officeDocument/2006/relationships/notesSlide" Target="../notesSlides/notesSlide26.xml"/><Relationship Id="rId10" Type="http://schemas.openxmlformats.org/officeDocument/2006/relationships/slideLayout" Target="../slideLayouts/slideLayout2.xml"/><Relationship Id="rId1" Type="http://schemas.openxmlformats.org/officeDocument/2006/relationships/tags" Target="../tags/tag401.xml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tags" Target="../tags/tag415.xml"/><Relationship Id="rId8" Type="http://schemas.openxmlformats.org/officeDocument/2006/relationships/tags" Target="../tags/tag414.xml"/><Relationship Id="rId7" Type="http://schemas.openxmlformats.org/officeDocument/2006/relationships/tags" Target="../tags/tag413.xml"/><Relationship Id="rId6" Type="http://schemas.openxmlformats.org/officeDocument/2006/relationships/tags" Target="../tags/tag412.xml"/><Relationship Id="rId5" Type="http://schemas.openxmlformats.org/officeDocument/2006/relationships/tags" Target="../tags/tag411.xml"/><Relationship Id="rId4" Type="http://schemas.openxmlformats.org/officeDocument/2006/relationships/tags" Target="../tags/tag410.xml"/><Relationship Id="rId3" Type="http://schemas.openxmlformats.org/officeDocument/2006/relationships/tags" Target="../tags/tag409.xml"/><Relationship Id="rId2" Type="http://schemas.openxmlformats.org/officeDocument/2006/relationships/image" Target="../media/image3.png"/><Relationship Id="rId14" Type="http://schemas.openxmlformats.org/officeDocument/2006/relationships/notesSlide" Target="../notesSlides/notesSlide27.xml"/><Relationship Id="rId13" Type="http://schemas.openxmlformats.org/officeDocument/2006/relationships/slideLayout" Target="../slideLayouts/slideLayout2.xml"/><Relationship Id="rId12" Type="http://schemas.openxmlformats.org/officeDocument/2006/relationships/tags" Target="../tags/tag418.xml"/><Relationship Id="rId11" Type="http://schemas.openxmlformats.org/officeDocument/2006/relationships/tags" Target="../tags/tag417.xml"/><Relationship Id="rId10" Type="http://schemas.openxmlformats.org/officeDocument/2006/relationships/tags" Target="../tags/tag416.xml"/><Relationship Id="rId1" Type="http://schemas.openxmlformats.org/officeDocument/2006/relationships/tags" Target="../tags/tag408.xml"/></Relationships>
</file>

<file path=ppt/slides/_rels/slide3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8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tags" Target="../tags/tag419.xml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9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tags" Target="../tags/tag420.xml"/></Relationships>
</file>

<file path=ppt/slides/_rels/slide3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0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tags" Target="../tags/tag421.xml"/></Relationships>
</file>

<file path=ppt/slides/_rels/slide35.xml.rels><?xml version="1.0" encoding="UTF-8" standalone="yes"?>
<Relationships xmlns="http://schemas.openxmlformats.org/package/2006/relationships"><Relationship Id="rId9" Type="http://schemas.openxmlformats.org/officeDocument/2006/relationships/tags" Target="../tags/tag429.xml"/><Relationship Id="rId8" Type="http://schemas.openxmlformats.org/officeDocument/2006/relationships/tags" Target="../tags/tag428.xml"/><Relationship Id="rId7" Type="http://schemas.openxmlformats.org/officeDocument/2006/relationships/tags" Target="../tags/tag427.xml"/><Relationship Id="rId6" Type="http://schemas.openxmlformats.org/officeDocument/2006/relationships/tags" Target="../tags/tag426.xml"/><Relationship Id="rId5" Type="http://schemas.openxmlformats.org/officeDocument/2006/relationships/tags" Target="../tags/tag425.xml"/><Relationship Id="rId4" Type="http://schemas.openxmlformats.org/officeDocument/2006/relationships/tags" Target="../tags/tag424.xml"/><Relationship Id="rId30" Type="http://schemas.openxmlformats.org/officeDocument/2006/relationships/notesSlide" Target="../notesSlides/notesSlide31.xml"/><Relationship Id="rId3" Type="http://schemas.openxmlformats.org/officeDocument/2006/relationships/tags" Target="../tags/tag423.xml"/><Relationship Id="rId29" Type="http://schemas.openxmlformats.org/officeDocument/2006/relationships/slideLayout" Target="../slideLayouts/slideLayout2.xml"/><Relationship Id="rId28" Type="http://schemas.openxmlformats.org/officeDocument/2006/relationships/tags" Target="../tags/tag448.xml"/><Relationship Id="rId27" Type="http://schemas.openxmlformats.org/officeDocument/2006/relationships/tags" Target="../tags/tag447.xml"/><Relationship Id="rId26" Type="http://schemas.openxmlformats.org/officeDocument/2006/relationships/tags" Target="../tags/tag446.xml"/><Relationship Id="rId25" Type="http://schemas.openxmlformats.org/officeDocument/2006/relationships/tags" Target="../tags/tag445.xml"/><Relationship Id="rId24" Type="http://schemas.openxmlformats.org/officeDocument/2006/relationships/tags" Target="../tags/tag444.xml"/><Relationship Id="rId23" Type="http://schemas.openxmlformats.org/officeDocument/2006/relationships/tags" Target="../tags/tag443.xml"/><Relationship Id="rId22" Type="http://schemas.openxmlformats.org/officeDocument/2006/relationships/tags" Target="../tags/tag442.xml"/><Relationship Id="rId21" Type="http://schemas.openxmlformats.org/officeDocument/2006/relationships/tags" Target="../tags/tag441.xml"/><Relationship Id="rId20" Type="http://schemas.openxmlformats.org/officeDocument/2006/relationships/tags" Target="../tags/tag440.xml"/><Relationship Id="rId2" Type="http://schemas.openxmlformats.org/officeDocument/2006/relationships/image" Target="../media/image3.png"/><Relationship Id="rId19" Type="http://schemas.openxmlformats.org/officeDocument/2006/relationships/tags" Target="../tags/tag439.xml"/><Relationship Id="rId18" Type="http://schemas.openxmlformats.org/officeDocument/2006/relationships/tags" Target="../tags/tag438.xml"/><Relationship Id="rId17" Type="http://schemas.openxmlformats.org/officeDocument/2006/relationships/tags" Target="../tags/tag437.xml"/><Relationship Id="rId16" Type="http://schemas.openxmlformats.org/officeDocument/2006/relationships/tags" Target="../tags/tag436.xml"/><Relationship Id="rId15" Type="http://schemas.openxmlformats.org/officeDocument/2006/relationships/tags" Target="../tags/tag435.xml"/><Relationship Id="rId14" Type="http://schemas.openxmlformats.org/officeDocument/2006/relationships/tags" Target="../tags/tag434.xml"/><Relationship Id="rId13" Type="http://schemas.openxmlformats.org/officeDocument/2006/relationships/tags" Target="../tags/tag433.xml"/><Relationship Id="rId12" Type="http://schemas.openxmlformats.org/officeDocument/2006/relationships/tags" Target="../tags/tag432.xml"/><Relationship Id="rId11" Type="http://schemas.openxmlformats.org/officeDocument/2006/relationships/tags" Target="../tags/tag431.xml"/><Relationship Id="rId10" Type="http://schemas.openxmlformats.org/officeDocument/2006/relationships/tags" Target="../tags/tag430.xml"/><Relationship Id="rId1" Type="http://schemas.openxmlformats.org/officeDocument/2006/relationships/tags" Target="../tags/tag422.xml"/></Relationships>
</file>

<file path=ppt/slides/_rels/slide36.xml.rels><?xml version="1.0" encoding="UTF-8" standalone="yes"?>
<Relationships xmlns="http://schemas.openxmlformats.org/package/2006/relationships"><Relationship Id="rId9" Type="http://schemas.openxmlformats.org/officeDocument/2006/relationships/tags" Target="../tags/tag454.xml"/><Relationship Id="rId8" Type="http://schemas.openxmlformats.org/officeDocument/2006/relationships/tags" Target="../tags/tag453.xml"/><Relationship Id="rId7" Type="http://schemas.openxmlformats.org/officeDocument/2006/relationships/image" Target="../media/image148.jpeg"/><Relationship Id="rId6" Type="http://schemas.openxmlformats.org/officeDocument/2006/relationships/tags" Target="../tags/tag452.xml"/><Relationship Id="rId5" Type="http://schemas.openxmlformats.org/officeDocument/2006/relationships/image" Target="../media/image147.jpeg"/><Relationship Id="rId4" Type="http://schemas.openxmlformats.org/officeDocument/2006/relationships/tags" Target="../tags/tag451.xml"/><Relationship Id="rId3" Type="http://schemas.openxmlformats.org/officeDocument/2006/relationships/tags" Target="../tags/tag450.xml"/><Relationship Id="rId2" Type="http://schemas.openxmlformats.org/officeDocument/2006/relationships/image" Target="../media/image3.png"/><Relationship Id="rId19" Type="http://schemas.openxmlformats.org/officeDocument/2006/relationships/notesSlide" Target="../notesSlides/notesSlide32.xml"/><Relationship Id="rId18" Type="http://schemas.openxmlformats.org/officeDocument/2006/relationships/slideLayout" Target="../slideLayouts/slideLayout2.xml"/><Relationship Id="rId17" Type="http://schemas.openxmlformats.org/officeDocument/2006/relationships/tags" Target="../tags/tag462.xml"/><Relationship Id="rId16" Type="http://schemas.openxmlformats.org/officeDocument/2006/relationships/tags" Target="../tags/tag461.xml"/><Relationship Id="rId15" Type="http://schemas.openxmlformats.org/officeDocument/2006/relationships/tags" Target="../tags/tag460.xml"/><Relationship Id="rId14" Type="http://schemas.openxmlformats.org/officeDocument/2006/relationships/tags" Target="../tags/tag459.xml"/><Relationship Id="rId13" Type="http://schemas.openxmlformats.org/officeDocument/2006/relationships/tags" Target="../tags/tag458.xml"/><Relationship Id="rId12" Type="http://schemas.openxmlformats.org/officeDocument/2006/relationships/tags" Target="../tags/tag457.xml"/><Relationship Id="rId11" Type="http://schemas.openxmlformats.org/officeDocument/2006/relationships/tags" Target="../tags/tag456.xml"/><Relationship Id="rId10" Type="http://schemas.openxmlformats.org/officeDocument/2006/relationships/tags" Target="../tags/tag455.xml"/><Relationship Id="rId1" Type="http://schemas.openxmlformats.org/officeDocument/2006/relationships/tags" Target="../tags/tag449.xml"/></Relationships>
</file>

<file path=ppt/slides/_rels/slide37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9.jpeg"/><Relationship Id="rId8" Type="http://schemas.openxmlformats.org/officeDocument/2006/relationships/tags" Target="../tags/tag469.xml"/><Relationship Id="rId7" Type="http://schemas.openxmlformats.org/officeDocument/2006/relationships/tags" Target="../tags/tag468.xml"/><Relationship Id="rId6" Type="http://schemas.openxmlformats.org/officeDocument/2006/relationships/tags" Target="../tags/tag467.xml"/><Relationship Id="rId5" Type="http://schemas.openxmlformats.org/officeDocument/2006/relationships/tags" Target="../tags/tag466.xml"/><Relationship Id="rId4" Type="http://schemas.openxmlformats.org/officeDocument/2006/relationships/tags" Target="../tags/tag465.xml"/><Relationship Id="rId3" Type="http://schemas.openxmlformats.org/officeDocument/2006/relationships/tags" Target="../tags/tag464.xml"/><Relationship Id="rId21" Type="http://schemas.openxmlformats.org/officeDocument/2006/relationships/notesSlide" Target="../notesSlides/notesSlide33.xml"/><Relationship Id="rId20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9" Type="http://schemas.openxmlformats.org/officeDocument/2006/relationships/tags" Target="../tags/tag479.xml"/><Relationship Id="rId18" Type="http://schemas.openxmlformats.org/officeDocument/2006/relationships/tags" Target="../tags/tag478.xml"/><Relationship Id="rId17" Type="http://schemas.openxmlformats.org/officeDocument/2006/relationships/tags" Target="../tags/tag477.xml"/><Relationship Id="rId16" Type="http://schemas.openxmlformats.org/officeDocument/2006/relationships/tags" Target="../tags/tag476.xml"/><Relationship Id="rId15" Type="http://schemas.openxmlformats.org/officeDocument/2006/relationships/tags" Target="../tags/tag475.xml"/><Relationship Id="rId14" Type="http://schemas.openxmlformats.org/officeDocument/2006/relationships/tags" Target="../tags/tag474.xml"/><Relationship Id="rId13" Type="http://schemas.openxmlformats.org/officeDocument/2006/relationships/tags" Target="../tags/tag473.xml"/><Relationship Id="rId12" Type="http://schemas.openxmlformats.org/officeDocument/2006/relationships/tags" Target="../tags/tag472.xml"/><Relationship Id="rId11" Type="http://schemas.openxmlformats.org/officeDocument/2006/relationships/tags" Target="../tags/tag471.xml"/><Relationship Id="rId10" Type="http://schemas.openxmlformats.org/officeDocument/2006/relationships/tags" Target="../tags/tag470.xml"/><Relationship Id="rId1" Type="http://schemas.openxmlformats.org/officeDocument/2006/relationships/tags" Target="../tags/tag463.xml"/></Relationships>
</file>

<file path=ppt/slides/_rels/slide3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1.jpeg"/><Relationship Id="rId8" Type="http://schemas.openxmlformats.org/officeDocument/2006/relationships/tags" Target="../tags/tag485.xml"/><Relationship Id="rId7" Type="http://schemas.openxmlformats.org/officeDocument/2006/relationships/image" Target="../media/image150.jpeg"/><Relationship Id="rId6" Type="http://schemas.openxmlformats.org/officeDocument/2006/relationships/tags" Target="../tags/tag484.xml"/><Relationship Id="rId5" Type="http://schemas.openxmlformats.org/officeDocument/2006/relationships/tags" Target="../tags/tag483.xml"/><Relationship Id="rId4" Type="http://schemas.openxmlformats.org/officeDocument/2006/relationships/tags" Target="../tags/tag482.xml"/><Relationship Id="rId3" Type="http://schemas.openxmlformats.org/officeDocument/2006/relationships/tags" Target="../tags/tag481.xml"/><Relationship Id="rId25" Type="http://schemas.openxmlformats.org/officeDocument/2006/relationships/notesSlide" Target="../notesSlides/notesSlide34.xml"/><Relationship Id="rId24" Type="http://schemas.openxmlformats.org/officeDocument/2006/relationships/slideLayout" Target="../slideLayouts/slideLayout2.xml"/><Relationship Id="rId23" Type="http://schemas.openxmlformats.org/officeDocument/2006/relationships/tags" Target="../tags/tag498.xml"/><Relationship Id="rId22" Type="http://schemas.openxmlformats.org/officeDocument/2006/relationships/tags" Target="../tags/tag497.xml"/><Relationship Id="rId21" Type="http://schemas.openxmlformats.org/officeDocument/2006/relationships/tags" Target="../tags/tag496.xml"/><Relationship Id="rId20" Type="http://schemas.openxmlformats.org/officeDocument/2006/relationships/tags" Target="../tags/tag495.xml"/><Relationship Id="rId2" Type="http://schemas.openxmlformats.org/officeDocument/2006/relationships/image" Target="../media/image3.png"/><Relationship Id="rId19" Type="http://schemas.openxmlformats.org/officeDocument/2006/relationships/tags" Target="../tags/tag494.xml"/><Relationship Id="rId18" Type="http://schemas.openxmlformats.org/officeDocument/2006/relationships/tags" Target="../tags/tag493.xml"/><Relationship Id="rId17" Type="http://schemas.openxmlformats.org/officeDocument/2006/relationships/tags" Target="../tags/tag492.xml"/><Relationship Id="rId16" Type="http://schemas.openxmlformats.org/officeDocument/2006/relationships/tags" Target="../tags/tag491.xml"/><Relationship Id="rId15" Type="http://schemas.openxmlformats.org/officeDocument/2006/relationships/tags" Target="../tags/tag490.xml"/><Relationship Id="rId14" Type="http://schemas.openxmlformats.org/officeDocument/2006/relationships/tags" Target="../tags/tag489.xml"/><Relationship Id="rId13" Type="http://schemas.openxmlformats.org/officeDocument/2006/relationships/tags" Target="../tags/tag488.xml"/><Relationship Id="rId12" Type="http://schemas.openxmlformats.org/officeDocument/2006/relationships/tags" Target="../tags/tag487.xml"/><Relationship Id="rId11" Type="http://schemas.openxmlformats.org/officeDocument/2006/relationships/image" Target="../media/image152.jpeg"/><Relationship Id="rId10" Type="http://schemas.openxmlformats.org/officeDocument/2006/relationships/tags" Target="../tags/tag486.xml"/><Relationship Id="rId1" Type="http://schemas.openxmlformats.org/officeDocument/2006/relationships/tags" Target="../tags/tag48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tags" Target="../tags/tag19.xml"/><Relationship Id="rId7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0" Type="http://schemas.openxmlformats.org/officeDocument/2006/relationships/notesSlide" Target="../notesSlides/notesSlide1.xml"/><Relationship Id="rId1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9" Type="http://schemas.openxmlformats.org/officeDocument/2006/relationships/tags" Target="../tags/tag506.xml"/><Relationship Id="rId8" Type="http://schemas.openxmlformats.org/officeDocument/2006/relationships/tags" Target="../tags/tag505.xml"/><Relationship Id="rId7" Type="http://schemas.openxmlformats.org/officeDocument/2006/relationships/tags" Target="../tags/tag504.xml"/><Relationship Id="rId6" Type="http://schemas.openxmlformats.org/officeDocument/2006/relationships/tags" Target="../tags/tag503.xml"/><Relationship Id="rId5" Type="http://schemas.openxmlformats.org/officeDocument/2006/relationships/tags" Target="../tags/tag502.xml"/><Relationship Id="rId4" Type="http://schemas.openxmlformats.org/officeDocument/2006/relationships/tags" Target="../tags/tag501.xml"/><Relationship Id="rId36" Type="http://schemas.openxmlformats.org/officeDocument/2006/relationships/notesSlide" Target="../notesSlides/notesSlide35.xml"/><Relationship Id="rId35" Type="http://schemas.openxmlformats.org/officeDocument/2006/relationships/slideLayout" Target="../slideLayouts/slideLayout2.xml"/><Relationship Id="rId34" Type="http://schemas.openxmlformats.org/officeDocument/2006/relationships/image" Target="../media/image3.png"/><Relationship Id="rId33" Type="http://schemas.openxmlformats.org/officeDocument/2006/relationships/tags" Target="../tags/tag530.xml"/><Relationship Id="rId32" Type="http://schemas.openxmlformats.org/officeDocument/2006/relationships/tags" Target="../tags/tag529.xml"/><Relationship Id="rId31" Type="http://schemas.openxmlformats.org/officeDocument/2006/relationships/tags" Target="../tags/tag528.xml"/><Relationship Id="rId30" Type="http://schemas.openxmlformats.org/officeDocument/2006/relationships/tags" Target="../tags/tag527.xml"/><Relationship Id="rId3" Type="http://schemas.openxmlformats.org/officeDocument/2006/relationships/tags" Target="../tags/tag500.xml"/><Relationship Id="rId29" Type="http://schemas.openxmlformats.org/officeDocument/2006/relationships/tags" Target="../tags/tag526.xml"/><Relationship Id="rId28" Type="http://schemas.openxmlformats.org/officeDocument/2006/relationships/tags" Target="../tags/tag525.xml"/><Relationship Id="rId27" Type="http://schemas.openxmlformats.org/officeDocument/2006/relationships/tags" Target="../tags/tag524.xml"/><Relationship Id="rId26" Type="http://schemas.openxmlformats.org/officeDocument/2006/relationships/tags" Target="../tags/tag523.xml"/><Relationship Id="rId25" Type="http://schemas.openxmlformats.org/officeDocument/2006/relationships/tags" Target="../tags/tag522.xml"/><Relationship Id="rId24" Type="http://schemas.openxmlformats.org/officeDocument/2006/relationships/tags" Target="../tags/tag521.xml"/><Relationship Id="rId23" Type="http://schemas.openxmlformats.org/officeDocument/2006/relationships/tags" Target="../tags/tag520.xml"/><Relationship Id="rId22" Type="http://schemas.openxmlformats.org/officeDocument/2006/relationships/tags" Target="../tags/tag519.xml"/><Relationship Id="rId21" Type="http://schemas.openxmlformats.org/officeDocument/2006/relationships/tags" Target="../tags/tag518.xml"/><Relationship Id="rId20" Type="http://schemas.openxmlformats.org/officeDocument/2006/relationships/tags" Target="../tags/tag517.xml"/><Relationship Id="rId2" Type="http://schemas.openxmlformats.org/officeDocument/2006/relationships/image" Target="../media/image153.jpeg"/><Relationship Id="rId19" Type="http://schemas.openxmlformats.org/officeDocument/2006/relationships/tags" Target="../tags/tag516.xml"/><Relationship Id="rId18" Type="http://schemas.openxmlformats.org/officeDocument/2006/relationships/tags" Target="../tags/tag515.xml"/><Relationship Id="rId17" Type="http://schemas.openxmlformats.org/officeDocument/2006/relationships/tags" Target="../tags/tag514.xml"/><Relationship Id="rId16" Type="http://schemas.openxmlformats.org/officeDocument/2006/relationships/tags" Target="../tags/tag513.xml"/><Relationship Id="rId15" Type="http://schemas.openxmlformats.org/officeDocument/2006/relationships/tags" Target="../tags/tag512.xml"/><Relationship Id="rId14" Type="http://schemas.openxmlformats.org/officeDocument/2006/relationships/tags" Target="../tags/tag511.xml"/><Relationship Id="rId13" Type="http://schemas.openxmlformats.org/officeDocument/2006/relationships/tags" Target="../tags/tag510.xml"/><Relationship Id="rId12" Type="http://schemas.openxmlformats.org/officeDocument/2006/relationships/tags" Target="../tags/tag509.xml"/><Relationship Id="rId11" Type="http://schemas.openxmlformats.org/officeDocument/2006/relationships/tags" Target="../tags/tag508.xml"/><Relationship Id="rId10" Type="http://schemas.openxmlformats.org/officeDocument/2006/relationships/tags" Target="../tags/tag507.xml"/><Relationship Id="rId1" Type="http://schemas.openxmlformats.org/officeDocument/2006/relationships/tags" Target="../tags/tag499.xml"/></Relationships>
</file>

<file path=ppt/slides/_rels/slide4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5.jpeg"/><Relationship Id="rId8" Type="http://schemas.openxmlformats.org/officeDocument/2006/relationships/tags" Target="../tags/tag536.xml"/><Relationship Id="rId7" Type="http://schemas.openxmlformats.org/officeDocument/2006/relationships/tags" Target="../tags/tag535.xml"/><Relationship Id="rId6" Type="http://schemas.openxmlformats.org/officeDocument/2006/relationships/tags" Target="../tags/tag534.xml"/><Relationship Id="rId5" Type="http://schemas.openxmlformats.org/officeDocument/2006/relationships/tags" Target="../tags/tag533.xml"/><Relationship Id="rId4" Type="http://schemas.openxmlformats.org/officeDocument/2006/relationships/image" Target="../media/image154.png"/><Relationship Id="rId3" Type="http://schemas.openxmlformats.org/officeDocument/2006/relationships/tags" Target="../tags/tag532.xml"/><Relationship Id="rId2" Type="http://schemas.openxmlformats.org/officeDocument/2006/relationships/image" Target="../media/image3.png"/><Relationship Id="rId15" Type="http://schemas.openxmlformats.org/officeDocument/2006/relationships/notesSlide" Target="../notesSlides/notesSlide36.xml"/><Relationship Id="rId14" Type="http://schemas.openxmlformats.org/officeDocument/2006/relationships/slideLayout" Target="../slideLayouts/slideLayout2.xml"/><Relationship Id="rId13" Type="http://schemas.openxmlformats.org/officeDocument/2006/relationships/tags" Target="../tags/tag539.xml"/><Relationship Id="rId12" Type="http://schemas.openxmlformats.org/officeDocument/2006/relationships/tags" Target="../tags/tag538.xml"/><Relationship Id="rId11" Type="http://schemas.openxmlformats.org/officeDocument/2006/relationships/image" Target="../media/image156.jpeg"/><Relationship Id="rId10" Type="http://schemas.openxmlformats.org/officeDocument/2006/relationships/tags" Target="../tags/tag537.xml"/><Relationship Id="rId1" Type="http://schemas.openxmlformats.org/officeDocument/2006/relationships/tags" Target="../tags/tag531.xml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tags" Target="../tags/tag545.xml"/><Relationship Id="rId8" Type="http://schemas.openxmlformats.org/officeDocument/2006/relationships/image" Target="../media/image158.png"/><Relationship Id="rId7" Type="http://schemas.openxmlformats.org/officeDocument/2006/relationships/tags" Target="../tags/tag544.xml"/><Relationship Id="rId6" Type="http://schemas.openxmlformats.org/officeDocument/2006/relationships/image" Target="../media/image157.png"/><Relationship Id="rId5" Type="http://schemas.openxmlformats.org/officeDocument/2006/relationships/tags" Target="../tags/tag543.xml"/><Relationship Id="rId4" Type="http://schemas.openxmlformats.org/officeDocument/2006/relationships/tags" Target="../tags/tag542.xml"/><Relationship Id="rId3" Type="http://schemas.openxmlformats.org/officeDocument/2006/relationships/tags" Target="../tags/tag541.xml"/><Relationship Id="rId20" Type="http://schemas.openxmlformats.org/officeDocument/2006/relationships/notesSlide" Target="../notesSlides/notesSlide37.xml"/><Relationship Id="rId2" Type="http://schemas.openxmlformats.org/officeDocument/2006/relationships/image" Target="../media/image3.png"/><Relationship Id="rId19" Type="http://schemas.openxmlformats.org/officeDocument/2006/relationships/slideLayout" Target="../slideLayouts/slideLayout2.xml"/><Relationship Id="rId18" Type="http://schemas.openxmlformats.org/officeDocument/2006/relationships/image" Target="../media/image163.png"/><Relationship Id="rId17" Type="http://schemas.openxmlformats.org/officeDocument/2006/relationships/tags" Target="../tags/tag549.xml"/><Relationship Id="rId16" Type="http://schemas.openxmlformats.org/officeDocument/2006/relationships/image" Target="../media/image162.png"/><Relationship Id="rId15" Type="http://schemas.openxmlformats.org/officeDocument/2006/relationships/tags" Target="../tags/tag548.xml"/><Relationship Id="rId14" Type="http://schemas.openxmlformats.org/officeDocument/2006/relationships/image" Target="../media/image161.png"/><Relationship Id="rId13" Type="http://schemas.openxmlformats.org/officeDocument/2006/relationships/tags" Target="../tags/tag547.xml"/><Relationship Id="rId12" Type="http://schemas.openxmlformats.org/officeDocument/2006/relationships/image" Target="../media/image160.png"/><Relationship Id="rId11" Type="http://schemas.openxmlformats.org/officeDocument/2006/relationships/tags" Target="../tags/tag546.xml"/><Relationship Id="rId10" Type="http://schemas.openxmlformats.org/officeDocument/2006/relationships/image" Target="../media/image159.png"/><Relationship Id="rId1" Type="http://schemas.openxmlformats.org/officeDocument/2006/relationships/tags" Target="../tags/tag54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44.xml.rels><?xml version="1.0" encoding="UTF-8" standalone="yes"?>
<Relationships xmlns="http://schemas.openxmlformats.org/package/2006/relationships"><Relationship Id="rId9" Type="http://schemas.openxmlformats.org/officeDocument/2006/relationships/tags" Target="../tags/tag553.xml"/><Relationship Id="rId8" Type="http://schemas.openxmlformats.org/officeDocument/2006/relationships/image" Target="../media/image167.svg"/><Relationship Id="rId7" Type="http://schemas.openxmlformats.org/officeDocument/2006/relationships/image" Target="../media/image166.png"/><Relationship Id="rId6" Type="http://schemas.openxmlformats.org/officeDocument/2006/relationships/tags" Target="../tags/tag552.xml"/><Relationship Id="rId5" Type="http://schemas.openxmlformats.org/officeDocument/2006/relationships/image" Target="../media/image165.svg"/><Relationship Id="rId4" Type="http://schemas.openxmlformats.org/officeDocument/2006/relationships/image" Target="../media/image164.png"/><Relationship Id="rId32" Type="http://schemas.openxmlformats.org/officeDocument/2006/relationships/notesSlide" Target="../notesSlides/notesSlide38.xml"/><Relationship Id="rId31" Type="http://schemas.openxmlformats.org/officeDocument/2006/relationships/slideLayout" Target="../slideLayouts/slideLayout2.xml"/><Relationship Id="rId30" Type="http://schemas.openxmlformats.org/officeDocument/2006/relationships/tags" Target="../tags/tag566.xml"/><Relationship Id="rId3" Type="http://schemas.openxmlformats.org/officeDocument/2006/relationships/tags" Target="../tags/tag551.xml"/><Relationship Id="rId29" Type="http://schemas.openxmlformats.org/officeDocument/2006/relationships/tags" Target="../tags/tag565.xml"/><Relationship Id="rId28" Type="http://schemas.openxmlformats.org/officeDocument/2006/relationships/tags" Target="../tags/tag564.xml"/><Relationship Id="rId27" Type="http://schemas.openxmlformats.org/officeDocument/2006/relationships/tags" Target="../tags/tag563.xml"/><Relationship Id="rId26" Type="http://schemas.openxmlformats.org/officeDocument/2006/relationships/tags" Target="../tags/tag562.xml"/><Relationship Id="rId25" Type="http://schemas.openxmlformats.org/officeDocument/2006/relationships/tags" Target="../tags/tag561.xml"/><Relationship Id="rId24" Type="http://schemas.openxmlformats.org/officeDocument/2006/relationships/tags" Target="../tags/tag560.xml"/><Relationship Id="rId23" Type="http://schemas.openxmlformats.org/officeDocument/2006/relationships/tags" Target="../tags/tag559.xml"/><Relationship Id="rId22" Type="http://schemas.openxmlformats.org/officeDocument/2006/relationships/image" Target="../media/image175.svg"/><Relationship Id="rId21" Type="http://schemas.openxmlformats.org/officeDocument/2006/relationships/image" Target="../media/image174.png"/><Relationship Id="rId20" Type="http://schemas.openxmlformats.org/officeDocument/2006/relationships/tags" Target="../tags/tag558.xml"/><Relationship Id="rId2" Type="http://schemas.openxmlformats.org/officeDocument/2006/relationships/image" Target="../media/image3.png"/><Relationship Id="rId19" Type="http://schemas.openxmlformats.org/officeDocument/2006/relationships/image" Target="../media/image173.svg"/><Relationship Id="rId18" Type="http://schemas.openxmlformats.org/officeDocument/2006/relationships/image" Target="../media/image172.png"/><Relationship Id="rId17" Type="http://schemas.openxmlformats.org/officeDocument/2006/relationships/tags" Target="../tags/tag557.xml"/><Relationship Id="rId16" Type="http://schemas.openxmlformats.org/officeDocument/2006/relationships/image" Target="../media/image171.svg"/><Relationship Id="rId15" Type="http://schemas.openxmlformats.org/officeDocument/2006/relationships/image" Target="../media/image170.png"/><Relationship Id="rId14" Type="http://schemas.openxmlformats.org/officeDocument/2006/relationships/tags" Target="../tags/tag556.xml"/><Relationship Id="rId13" Type="http://schemas.openxmlformats.org/officeDocument/2006/relationships/image" Target="../media/image169.svg"/><Relationship Id="rId12" Type="http://schemas.openxmlformats.org/officeDocument/2006/relationships/image" Target="../media/image168.png"/><Relationship Id="rId11" Type="http://schemas.openxmlformats.org/officeDocument/2006/relationships/tags" Target="../tags/tag555.xml"/><Relationship Id="rId10" Type="http://schemas.openxmlformats.org/officeDocument/2006/relationships/tags" Target="../tags/tag554.xml"/><Relationship Id="rId1" Type="http://schemas.openxmlformats.org/officeDocument/2006/relationships/tags" Target="../tags/tag550.xml"/></Relationships>
</file>

<file path=ppt/slides/_rels/slide45.xml.rels><?xml version="1.0" encoding="UTF-8" standalone="yes"?>
<Relationships xmlns="http://schemas.openxmlformats.org/package/2006/relationships"><Relationship Id="rId99" Type="http://schemas.openxmlformats.org/officeDocument/2006/relationships/tags" Target="../tags/tag665.xml"/><Relationship Id="rId98" Type="http://schemas.openxmlformats.org/officeDocument/2006/relationships/tags" Target="../tags/tag664.xml"/><Relationship Id="rId97" Type="http://schemas.openxmlformats.org/officeDocument/2006/relationships/tags" Target="../tags/tag663.xml"/><Relationship Id="rId96" Type="http://schemas.openxmlformats.org/officeDocument/2006/relationships/tags" Target="../tags/tag662.xml"/><Relationship Id="rId95" Type="http://schemas.openxmlformats.org/officeDocument/2006/relationships/tags" Target="../tags/tag661.xml"/><Relationship Id="rId94" Type="http://schemas.openxmlformats.org/officeDocument/2006/relationships/tags" Target="../tags/tag660.xml"/><Relationship Id="rId93" Type="http://schemas.openxmlformats.org/officeDocument/2006/relationships/tags" Target="../tags/tag659.xml"/><Relationship Id="rId92" Type="http://schemas.openxmlformats.org/officeDocument/2006/relationships/tags" Target="../tags/tag658.xml"/><Relationship Id="rId91" Type="http://schemas.openxmlformats.org/officeDocument/2006/relationships/tags" Target="../tags/tag657.xml"/><Relationship Id="rId90" Type="http://schemas.openxmlformats.org/officeDocument/2006/relationships/tags" Target="../tags/tag656.xml"/><Relationship Id="rId9" Type="http://schemas.openxmlformats.org/officeDocument/2006/relationships/tags" Target="../tags/tag575.xml"/><Relationship Id="rId89" Type="http://schemas.openxmlformats.org/officeDocument/2006/relationships/tags" Target="../tags/tag655.xml"/><Relationship Id="rId88" Type="http://schemas.openxmlformats.org/officeDocument/2006/relationships/tags" Target="../tags/tag654.xml"/><Relationship Id="rId87" Type="http://schemas.openxmlformats.org/officeDocument/2006/relationships/tags" Target="../tags/tag653.xml"/><Relationship Id="rId86" Type="http://schemas.openxmlformats.org/officeDocument/2006/relationships/tags" Target="../tags/tag652.xml"/><Relationship Id="rId85" Type="http://schemas.openxmlformats.org/officeDocument/2006/relationships/tags" Target="../tags/tag651.xml"/><Relationship Id="rId84" Type="http://schemas.openxmlformats.org/officeDocument/2006/relationships/tags" Target="../tags/tag650.xml"/><Relationship Id="rId83" Type="http://schemas.openxmlformats.org/officeDocument/2006/relationships/tags" Target="../tags/tag649.xml"/><Relationship Id="rId82" Type="http://schemas.openxmlformats.org/officeDocument/2006/relationships/tags" Target="../tags/tag648.xml"/><Relationship Id="rId81" Type="http://schemas.openxmlformats.org/officeDocument/2006/relationships/tags" Target="../tags/tag647.xml"/><Relationship Id="rId80" Type="http://schemas.openxmlformats.org/officeDocument/2006/relationships/tags" Target="../tags/tag646.xml"/><Relationship Id="rId8" Type="http://schemas.openxmlformats.org/officeDocument/2006/relationships/tags" Target="../tags/tag574.xml"/><Relationship Id="rId79" Type="http://schemas.openxmlformats.org/officeDocument/2006/relationships/tags" Target="../tags/tag645.xml"/><Relationship Id="rId78" Type="http://schemas.openxmlformats.org/officeDocument/2006/relationships/tags" Target="../tags/tag644.xml"/><Relationship Id="rId77" Type="http://schemas.openxmlformats.org/officeDocument/2006/relationships/tags" Target="../tags/tag643.xml"/><Relationship Id="rId76" Type="http://schemas.openxmlformats.org/officeDocument/2006/relationships/tags" Target="../tags/tag642.xml"/><Relationship Id="rId75" Type="http://schemas.openxmlformats.org/officeDocument/2006/relationships/tags" Target="../tags/tag641.xml"/><Relationship Id="rId74" Type="http://schemas.openxmlformats.org/officeDocument/2006/relationships/tags" Target="../tags/tag640.xml"/><Relationship Id="rId73" Type="http://schemas.openxmlformats.org/officeDocument/2006/relationships/tags" Target="../tags/tag639.xml"/><Relationship Id="rId72" Type="http://schemas.openxmlformats.org/officeDocument/2006/relationships/tags" Target="../tags/tag638.xml"/><Relationship Id="rId71" Type="http://schemas.openxmlformats.org/officeDocument/2006/relationships/tags" Target="../tags/tag637.xml"/><Relationship Id="rId70" Type="http://schemas.openxmlformats.org/officeDocument/2006/relationships/tags" Target="../tags/tag636.xml"/><Relationship Id="rId7" Type="http://schemas.openxmlformats.org/officeDocument/2006/relationships/tags" Target="../tags/tag573.xml"/><Relationship Id="rId69" Type="http://schemas.openxmlformats.org/officeDocument/2006/relationships/tags" Target="../tags/tag635.xml"/><Relationship Id="rId68" Type="http://schemas.openxmlformats.org/officeDocument/2006/relationships/tags" Target="../tags/tag634.xml"/><Relationship Id="rId67" Type="http://schemas.openxmlformats.org/officeDocument/2006/relationships/tags" Target="../tags/tag633.xml"/><Relationship Id="rId66" Type="http://schemas.openxmlformats.org/officeDocument/2006/relationships/tags" Target="../tags/tag632.xml"/><Relationship Id="rId65" Type="http://schemas.openxmlformats.org/officeDocument/2006/relationships/tags" Target="../tags/tag631.xml"/><Relationship Id="rId64" Type="http://schemas.openxmlformats.org/officeDocument/2006/relationships/tags" Target="../tags/tag630.xml"/><Relationship Id="rId63" Type="http://schemas.openxmlformats.org/officeDocument/2006/relationships/tags" Target="../tags/tag629.xml"/><Relationship Id="rId62" Type="http://schemas.openxmlformats.org/officeDocument/2006/relationships/tags" Target="../tags/tag628.xml"/><Relationship Id="rId61" Type="http://schemas.openxmlformats.org/officeDocument/2006/relationships/tags" Target="../tags/tag627.xml"/><Relationship Id="rId60" Type="http://schemas.openxmlformats.org/officeDocument/2006/relationships/tags" Target="../tags/tag626.xml"/><Relationship Id="rId6" Type="http://schemas.openxmlformats.org/officeDocument/2006/relationships/tags" Target="../tags/tag572.xml"/><Relationship Id="rId59" Type="http://schemas.openxmlformats.org/officeDocument/2006/relationships/tags" Target="../tags/tag625.xml"/><Relationship Id="rId58" Type="http://schemas.openxmlformats.org/officeDocument/2006/relationships/tags" Target="../tags/tag624.xml"/><Relationship Id="rId57" Type="http://schemas.openxmlformats.org/officeDocument/2006/relationships/tags" Target="../tags/tag623.xml"/><Relationship Id="rId56" Type="http://schemas.openxmlformats.org/officeDocument/2006/relationships/tags" Target="../tags/tag622.xml"/><Relationship Id="rId55" Type="http://schemas.openxmlformats.org/officeDocument/2006/relationships/tags" Target="../tags/tag621.xml"/><Relationship Id="rId54" Type="http://schemas.openxmlformats.org/officeDocument/2006/relationships/tags" Target="../tags/tag620.xml"/><Relationship Id="rId53" Type="http://schemas.openxmlformats.org/officeDocument/2006/relationships/tags" Target="../tags/tag619.xml"/><Relationship Id="rId52" Type="http://schemas.openxmlformats.org/officeDocument/2006/relationships/tags" Target="../tags/tag618.xml"/><Relationship Id="rId51" Type="http://schemas.openxmlformats.org/officeDocument/2006/relationships/tags" Target="../tags/tag617.xml"/><Relationship Id="rId50" Type="http://schemas.openxmlformats.org/officeDocument/2006/relationships/tags" Target="../tags/tag616.xml"/><Relationship Id="rId5" Type="http://schemas.openxmlformats.org/officeDocument/2006/relationships/tags" Target="../tags/tag571.xml"/><Relationship Id="rId49" Type="http://schemas.openxmlformats.org/officeDocument/2006/relationships/tags" Target="../tags/tag615.xml"/><Relationship Id="rId48" Type="http://schemas.openxmlformats.org/officeDocument/2006/relationships/tags" Target="../tags/tag614.xml"/><Relationship Id="rId47" Type="http://schemas.openxmlformats.org/officeDocument/2006/relationships/tags" Target="../tags/tag613.xml"/><Relationship Id="rId46" Type="http://schemas.openxmlformats.org/officeDocument/2006/relationships/tags" Target="../tags/tag612.xml"/><Relationship Id="rId45" Type="http://schemas.openxmlformats.org/officeDocument/2006/relationships/tags" Target="../tags/tag611.xml"/><Relationship Id="rId44" Type="http://schemas.openxmlformats.org/officeDocument/2006/relationships/tags" Target="../tags/tag610.xml"/><Relationship Id="rId43" Type="http://schemas.openxmlformats.org/officeDocument/2006/relationships/tags" Target="../tags/tag609.xml"/><Relationship Id="rId42" Type="http://schemas.openxmlformats.org/officeDocument/2006/relationships/tags" Target="../tags/tag608.xml"/><Relationship Id="rId41" Type="http://schemas.openxmlformats.org/officeDocument/2006/relationships/tags" Target="../tags/tag607.xml"/><Relationship Id="rId40" Type="http://schemas.openxmlformats.org/officeDocument/2006/relationships/tags" Target="../tags/tag606.xml"/><Relationship Id="rId4" Type="http://schemas.openxmlformats.org/officeDocument/2006/relationships/tags" Target="../tags/tag570.xml"/><Relationship Id="rId39" Type="http://schemas.openxmlformats.org/officeDocument/2006/relationships/tags" Target="../tags/tag605.xml"/><Relationship Id="rId38" Type="http://schemas.openxmlformats.org/officeDocument/2006/relationships/tags" Target="../tags/tag604.xml"/><Relationship Id="rId37" Type="http://schemas.openxmlformats.org/officeDocument/2006/relationships/tags" Target="../tags/tag603.xml"/><Relationship Id="rId36" Type="http://schemas.openxmlformats.org/officeDocument/2006/relationships/tags" Target="../tags/tag602.xml"/><Relationship Id="rId35" Type="http://schemas.openxmlformats.org/officeDocument/2006/relationships/tags" Target="../tags/tag601.xml"/><Relationship Id="rId34" Type="http://schemas.openxmlformats.org/officeDocument/2006/relationships/tags" Target="../tags/tag600.xml"/><Relationship Id="rId33" Type="http://schemas.openxmlformats.org/officeDocument/2006/relationships/tags" Target="../tags/tag599.xml"/><Relationship Id="rId32" Type="http://schemas.openxmlformats.org/officeDocument/2006/relationships/tags" Target="../tags/tag598.xml"/><Relationship Id="rId31" Type="http://schemas.openxmlformats.org/officeDocument/2006/relationships/tags" Target="../tags/tag597.xml"/><Relationship Id="rId30" Type="http://schemas.openxmlformats.org/officeDocument/2006/relationships/tags" Target="../tags/tag596.xml"/><Relationship Id="rId3" Type="http://schemas.openxmlformats.org/officeDocument/2006/relationships/tags" Target="../tags/tag569.xml"/><Relationship Id="rId29" Type="http://schemas.openxmlformats.org/officeDocument/2006/relationships/tags" Target="../tags/tag595.xml"/><Relationship Id="rId28" Type="http://schemas.openxmlformats.org/officeDocument/2006/relationships/tags" Target="../tags/tag594.xml"/><Relationship Id="rId27" Type="http://schemas.openxmlformats.org/officeDocument/2006/relationships/tags" Target="../tags/tag593.xml"/><Relationship Id="rId26" Type="http://schemas.openxmlformats.org/officeDocument/2006/relationships/tags" Target="../tags/tag592.xml"/><Relationship Id="rId25" Type="http://schemas.openxmlformats.org/officeDocument/2006/relationships/tags" Target="../tags/tag591.xml"/><Relationship Id="rId24" Type="http://schemas.openxmlformats.org/officeDocument/2006/relationships/tags" Target="../tags/tag590.xml"/><Relationship Id="rId230" Type="http://schemas.openxmlformats.org/officeDocument/2006/relationships/notesSlide" Target="../notesSlides/notesSlide39.xml"/><Relationship Id="rId23" Type="http://schemas.openxmlformats.org/officeDocument/2006/relationships/tags" Target="../tags/tag589.xml"/><Relationship Id="rId229" Type="http://schemas.openxmlformats.org/officeDocument/2006/relationships/slideLayout" Target="../slideLayouts/slideLayout2.xml"/><Relationship Id="rId228" Type="http://schemas.openxmlformats.org/officeDocument/2006/relationships/image" Target="../media/image3.png"/><Relationship Id="rId227" Type="http://schemas.openxmlformats.org/officeDocument/2006/relationships/tags" Target="../tags/tag793.xml"/><Relationship Id="rId226" Type="http://schemas.openxmlformats.org/officeDocument/2006/relationships/tags" Target="../tags/tag792.xml"/><Relationship Id="rId225" Type="http://schemas.openxmlformats.org/officeDocument/2006/relationships/tags" Target="../tags/tag791.xml"/><Relationship Id="rId224" Type="http://schemas.openxmlformats.org/officeDocument/2006/relationships/tags" Target="../tags/tag790.xml"/><Relationship Id="rId223" Type="http://schemas.openxmlformats.org/officeDocument/2006/relationships/tags" Target="../tags/tag789.xml"/><Relationship Id="rId222" Type="http://schemas.openxmlformats.org/officeDocument/2006/relationships/tags" Target="../tags/tag788.xml"/><Relationship Id="rId221" Type="http://schemas.openxmlformats.org/officeDocument/2006/relationships/tags" Target="../tags/tag787.xml"/><Relationship Id="rId220" Type="http://schemas.openxmlformats.org/officeDocument/2006/relationships/tags" Target="../tags/tag786.xml"/><Relationship Id="rId22" Type="http://schemas.openxmlformats.org/officeDocument/2006/relationships/tags" Target="../tags/tag588.xml"/><Relationship Id="rId219" Type="http://schemas.openxmlformats.org/officeDocument/2006/relationships/tags" Target="../tags/tag785.xml"/><Relationship Id="rId218" Type="http://schemas.openxmlformats.org/officeDocument/2006/relationships/tags" Target="../tags/tag784.xml"/><Relationship Id="rId217" Type="http://schemas.openxmlformats.org/officeDocument/2006/relationships/tags" Target="../tags/tag783.xml"/><Relationship Id="rId216" Type="http://schemas.openxmlformats.org/officeDocument/2006/relationships/tags" Target="../tags/tag782.xml"/><Relationship Id="rId215" Type="http://schemas.openxmlformats.org/officeDocument/2006/relationships/tags" Target="../tags/tag781.xml"/><Relationship Id="rId214" Type="http://schemas.openxmlformats.org/officeDocument/2006/relationships/tags" Target="../tags/tag780.xml"/><Relationship Id="rId213" Type="http://schemas.openxmlformats.org/officeDocument/2006/relationships/tags" Target="../tags/tag779.xml"/><Relationship Id="rId212" Type="http://schemas.openxmlformats.org/officeDocument/2006/relationships/tags" Target="../tags/tag778.xml"/><Relationship Id="rId211" Type="http://schemas.openxmlformats.org/officeDocument/2006/relationships/tags" Target="../tags/tag777.xml"/><Relationship Id="rId210" Type="http://schemas.openxmlformats.org/officeDocument/2006/relationships/tags" Target="../tags/tag776.xml"/><Relationship Id="rId21" Type="http://schemas.openxmlformats.org/officeDocument/2006/relationships/tags" Target="../tags/tag587.xml"/><Relationship Id="rId209" Type="http://schemas.openxmlformats.org/officeDocument/2006/relationships/tags" Target="../tags/tag775.xml"/><Relationship Id="rId208" Type="http://schemas.openxmlformats.org/officeDocument/2006/relationships/tags" Target="../tags/tag774.xml"/><Relationship Id="rId207" Type="http://schemas.openxmlformats.org/officeDocument/2006/relationships/tags" Target="../tags/tag773.xml"/><Relationship Id="rId206" Type="http://schemas.openxmlformats.org/officeDocument/2006/relationships/tags" Target="../tags/tag772.xml"/><Relationship Id="rId205" Type="http://schemas.openxmlformats.org/officeDocument/2006/relationships/tags" Target="../tags/tag771.xml"/><Relationship Id="rId204" Type="http://schemas.openxmlformats.org/officeDocument/2006/relationships/tags" Target="../tags/tag770.xml"/><Relationship Id="rId203" Type="http://schemas.openxmlformats.org/officeDocument/2006/relationships/tags" Target="../tags/tag769.xml"/><Relationship Id="rId202" Type="http://schemas.openxmlformats.org/officeDocument/2006/relationships/tags" Target="../tags/tag768.xml"/><Relationship Id="rId201" Type="http://schemas.openxmlformats.org/officeDocument/2006/relationships/tags" Target="../tags/tag767.xml"/><Relationship Id="rId200" Type="http://schemas.openxmlformats.org/officeDocument/2006/relationships/tags" Target="../tags/tag766.xml"/><Relationship Id="rId20" Type="http://schemas.openxmlformats.org/officeDocument/2006/relationships/tags" Target="../tags/tag586.xml"/><Relationship Id="rId2" Type="http://schemas.openxmlformats.org/officeDocument/2006/relationships/tags" Target="../tags/tag568.xml"/><Relationship Id="rId199" Type="http://schemas.openxmlformats.org/officeDocument/2006/relationships/tags" Target="../tags/tag765.xml"/><Relationship Id="rId198" Type="http://schemas.openxmlformats.org/officeDocument/2006/relationships/tags" Target="../tags/tag764.xml"/><Relationship Id="rId197" Type="http://schemas.openxmlformats.org/officeDocument/2006/relationships/tags" Target="../tags/tag763.xml"/><Relationship Id="rId196" Type="http://schemas.openxmlformats.org/officeDocument/2006/relationships/tags" Target="../tags/tag762.xml"/><Relationship Id="rId195" Type="http://schemas.openxmlformats.org/officeDocument/2006/relationships/tags" Target="../tags/tag761.xml"/><Relationship Id="rId194" Type="http://schemas.openxmlformats.org/officeDocument/2006/relationships/tags" Target="../tags/tag760.xml"/><Relationship Id="rId193" Type="http://schemas.openxmlformats.org/officeDocument/2006/relationships/tags" Target="../tags/tag759.xml"/><Relationship Id="rId192" Type="http://schemas.openxmlformats.org/officeDocument/2006/relationships/tags" Target="../tags/tag758.xml"/><Relationship Id="rId191" Type="http://schemas.openxmlformats.org/officeDocument/2006/relationships/tags" Target="../tags/tag757.xml"/><Relationship Id="rId190" Type="http://schemas.openxmlformats.org/officeDocument/2006/relationships/tags" Target="../tags/tag756.xml"/><Relationship Id="rId19" Type="http://schemas.openxmlformats.org/officeDocument/2006/relationships/tags" Target="../tags/tag585.xml"/><Relationship Id="rId189" Type="http://schemas.openxmlformats.org/officeDocument/2006/relationships/tags" Target="../tags/tag755.xml"/><Relationship Id="rId188" Type="http://schemas.openxmlformats.org/officeDocument/2006/relationships/tags" Target="../tags/tag754.xml"/><Relationship Id="rId187" Type="http://schemas.openxmlformats.org/officeDocument/2006/relationships/tags" Target="../tags/tag753.xml"/><Relationship Id="rId186" Type="http://schemas.openxmlformats.org/officeDocument/2006/relationships/tags" Target="../tags/tag752.xml"/><Relationship Id="rId185" Type="http://schemas.openxmlformats.org/officeDocument/2006/relationships/tags" Target="../tags/tag751.xml"/><Relationship Id="rId184" Type="http://schemas.openxmlformats.org/officeDocument/2006/relationships/tags" Target="../tags/tag750.xml"/><Relationship Id="rId183" Type="http://schemas.openxmlformats.org/officeDocument/2006/relationships/tags" Target="../tags/tag749.xml"/><Relationship Id="rId182" Type="http://schemas.openxmlformats.org/officeDocument/2006/relationships/tags" Target="../tags/tag748.xml"/><Relationship Id="rId181" Type="http://schemas.openxmlformats.org/officeDocument/2006/relationships/tags" Target="../tags/tag747.xml"/><Relationship Id="rId180" Type="http://schemas.openxmlformats.org/officeDocument/2006/relationships/tags" Target="../tags/tag746.xml"/><Relationship Id="rId18" Type="http://schemas.openxmlformats.org/officeDocument/2006/relationships/tags" Target="../tags/tag584.xml"/><Relationship Id="rId179" Type="http://schemas.openxmlformats.org/officeDocument/2006/relationships/tags" Target="../tags/tag745.xml"/><Relationship Id="rId178" Type="http://schemas.openxmlformats.org/officeDocument/2006/relationships/tags" Target="../tags/tag744.xml"/><Relationship Id="rId177" Type="http://schemas.openxmlformats.org/officeDocument/2006/relationships/tags" Target="../tags/tag743.xml"/><Relationship Id="rId176" Type="http://schemas.openxmlformats.org/officeDocument/2006/relationships/tags" Target="../tags/tag742.xml"/><Relationship Id="rId175" Type="http://schemas.openxmlformats.org/officeDocument/2006/relationships/tags" Target="../tags/tag741.xml"/><Relationship Id="rId174" Type="http://schemas.openxmlformats.org/officeDocument/2006/relationships/tags" Target="../tags/tag740.xml"/><Relationship Id="rId173" Type="http://schemas.openxmlformats.org/officeDocument/2006/relationships/tags" Target="../tags/tag739.xml"/><Relationship Id="rId172" Type="http://schemas.openxmlformats.org/officeDocument/2006/relationships/tags" Target="../tags/tag738.xml"/><Relationship Id="rId171" Type="http://schemas.openxmlformats.org/officeDocument/2006/relationships/tags" Target="../tags/tag737.xml"/><Relationship Id="rId170" Type="http://schemas.openxmlformats.org/officeDocument/2006/relationships/tags" Target="../tags/tag736.xml"/><Relationship Id="rId17" Type="http://schemas.openxmlformats.org/officeDocument/2006/relationships/tags" Target="../tags/tag583.xml"/><Relationship Id="rId169" Type="http://schemas.openxmlformats.org/officeDocument/2006/relationships/tags" Target="../tags/tag735.xml"/><Relationship Id="rId168" Type="http://schemas.openxmlformats.org/officeDocument/2006/relationships/tags" Target="../tags/tag734.xml"/><Relationship Id="rId167" Type="http://schemas.openxmlformats.org/officeDocument/2006/relationships/tags" Target="../tags/tag733.xml"/><Relationship Id="rId166" Type="http://schemas.openxmlformats.org/officeDocument/2006/relationships/tags" Target="../tags/tag732.xml"/><Relationship Id="rId165" Type="http://schemas.openxmlformats.org/officeDocument/2006/relationships/tags" Target="../tags/tag731.xml"/><Relationship Id="rId164" Type="http://schemas.openxmlformats.org/officeDocument/2006/relationships/tags" Target="../tags/tag730.xml"/><Relationship Id="rId163" Type="http://schemas.openxmlformats.org/officeDocument/2006/relationships/tags" Target="../tags/tag729.xml"/><Relationship Id="rId162" Type="http://schemas.openxmlformats.org/officeDocument/2006/relationships/tags" Target="../tags/tag728.xml"/><Relationship Id="rId161" Type="http://schemas.openxmlformats.org/officeDocument/2006/relationships/tags" Target="../tags/tag727.xml"/><Relationship Id="rId160" Type="http://schemas.openxmlformats.org/officeDocument/2006/relationships/tags" Target="../tags/tag726.xml"/><Relationship Id="rId16" Type="http://schemas.openxmlformats.org/officeDocument/2006/relationships/tags" Target="../tags/tag582.xml"/><Relationship Id="rId159" Type="http://schemas.openxmlformats.org/officeDocument/2006/relationships/tags" Target="../tags/tag725.xml"/><Relationship Id="rId158" Type="http://schemas.openxmlformats.org/officeDocument/2006/relationships/tags" Target="../tags/tag724.xml"/><Relationship Id="rId157" Type="http://schemas.openxmlformats.org/officeDocument/2006/relationships/tags" Target="../tags/tag723.xml"/><Relationship Id="rId156" Type="http://schemas.openxmlformats.org/officeDocument/2006/relationships/tags" Target="../tags/tag722.xml"/><Relationship Id="rId155" Type="http://schemas.openxmlformats.org/officeDocument/2006/relationships/tags" Target="../tags/tag721.xml"/><Relationship Id="rId154" Type="http://schemas.openxmlformats.org/officeDocument/2006/relationships/tags" Target="../tags/tag720.xml"/><Relationship Id="rId153" Type="http://schemas.openxmlformats.org/officeDocument/2006/relationships/tags" Target="../tags/tag719.xml"/><Relationship Id="rId152" Type="http://schemas.openxmlformats.org/officeDocument/2006/relationships/tags" Target="../tags/tag718.xml"/><Relationship Id="rId151" Type="http://schemas.openxmlformats.org/officeDocument/2006/relationships/tags" Target="../tags/tag717.xml"/><Relationship Id="rId150" Type="http://schemas.openxmlformats.org/officeDocument/2006/relationships/tags" Target="../tags/tag716.xml"/><Relationship Id="rId15" Type="http://schemas.openxmlformats.org/officeDocument/2006/relationships/tags" Target="../tags/tag581.xml"/><Relationship Id="rId149" Type="http://schemas.openxmlformats.org/officeDocument/2006/relationships/tags" Target="../tags/tag715.xml"/><Relationship Id="rId148" Type="http://schemas.openxmlformats.org/officeDocument/2006/relationships/tags" Target="../tags/tag714.xml"/><Relationship Id="rId147" Type="http://schemas.openxmlformats.org/officeDocument/2006/relationships/tags" Target="../tags/tag713.xml"/><Relationship Id="rId146" Type="http://schemas.openxmlformats.org/officeDocument/2006/relationships/tags" Target="../tags/tag712.xml"/><Relationship Id="rId145" Type="http://schemas.openxmlformats.org/officeDocument/2006/relationships/tags" Target="../tags/tag711.xml"/><Relationship Id="rId144" Type="http://schemas.openxmlformats.org/officeDocument/2006/relationships/tags" Target="../tags/tag710.xml"/><Relationship Id="rId143" Type="http://schemas.openxmlformats.org/officeDocument/2006/relationships/tags" Target="../tags/tag709.xml"/><Relationship Id="rId142" Type="http://schemas.openxmlformats.org/officeDocument/2006/relationships/tags" Target="../tags/tag708.xml"/><Relationship Id="rId141" Type="http://schemas.openxmlformats.org/officeDocument/2006/relationships/tags" Target="../tags/tag707.xml"/><Relationship Id="rId140" Type="http://schemas.openxmlformats.org/officeDocument/2006/relationships/tags" Target="../tags/tag706.xml"/><Relationship Id="rId14" Type="http://schemas.openxmlformats.org/officeDocument/2006/relationships/tags" Target="../tags/tag580.xml"/><Relationship Id="rId139" Type="http://schemas.openxmlformats.org/officeDocument/2006/relationships/tags" Target="../tags/tag705.xml"/><Relationship Id="rId138" Type="http://schemas.openxmlformats.org/officeDocument/2006/relationships/tags" Target="../tags/tag704.xml"/><Relationship Id="rId137" Type="http://schemas.openxmlformats.org/officeDocument/2006/relationships/tags" Target="../tags/tag703.xml"/><Relationship Id="rId136" Type="http://schemas.openxmlformats.org/officeDocument/2006/relationships/tags" Target="../tags/tag702.xml"/><Relationship Id="rId135" Type="http://schemas.openxmlformats.org/officeDocument/2006/relationships/tags" Target="../tags/tag701.xml"/><Relationship Id="rId134" Type="http://schemas.openxmlformats.org/officeDocument/2006/relationships/tags" Target="../tags/tag700.xml"/><Relationship Id="rId133" Type="http://schemas.openxmlformats.org/officeDocument/2006/relationships/tags" Target="../tags/tag699.xml"/><Relationship Id="rId132" Type="http://schemas.openxmlformats.org/officeDocument/2006/relationships/tags" Target="../tags/tag698.xml"/><Relationship Id="rId131" Type="http://schemas.openxmlformats.org/officeDocument/2006/relationships/tags" Target="../tags/tag697.xml"/><Relationship Id="rId130" Type="http://schemas.openxmlformats.org/officeDocument/2006/relationships/tags" Target="../tags/tag696.xml"/><Relationship Id="rId13" Type="http://schemas.openxmlformats.org/officeDocument/2006/relationships/tags" Target="../tags/tag579.xml"/><Relationship Id="rId129" Type="http://schemas.openxmlformats.org/officeDocument/2006/relationships/tags" Target="../tags/tag695.xml"/><Relationship Id="rId128" Type="http://schemas.openxmlformats.org/officeDocument/2006/relationships/tags" Target="../tags/tag694.xml"/><Relationship Id="rId127" Type="http://schemas.openxmlformats.org/officeDocument/2006/relationships/tags" Target="../tags/tag693.xml"/><Relationship Id="rId126" Type="http://schemas.openxmlformats.org/officeDocument/2006/relationships/tags" Target="../tags/tag692.xml"/><Relationship Id="rId125" Type="http://schemas.openxmlformats.org/officeDocument/2006/relationships/tags" Target="../tags/tag691.xml"/><Relationship Id="rId124" Type="http://schemas.openxmlformats.org/officeDocument/2006/relationships/tags" Target="../tags/tag690.xml"/><Relationship Id="rId123" Type="http://schemas.openxmlformats.org/officeDocument/2006/relationships/tags" Target="../tags/tag689.xml"/><Relationship Id="rId122" Type="http://schemas.openxmlformats.org/officeDocument/2006/relationships/tags" Target="../tags/tag688.xml"/><Relationship Id="rId121" Type="http://schemas.openxmlformats.org/officeDocument/2006/relationships/tags" Target="../tags/tag687.xml"/><Relationship Id="rId120" Type="http://schemas.openxmlformats.org/officeDocument/2006/relationships/tags" Target="../tags/tag686.xml"/><Relationship Id="rId12" Type="http://schemas.openxmlformats.org/officeDocument/2006/relationships/tags" Target="../tags/tag578.xml"/><Relationship Id="rId119" Type="http://schemas.openxmlformats.org/officeDocument/2006/relationships/tags" Target="../tags/tag685.xml"/><Relationship Id="rId118" Type="http://schemas.openxmlformats.org/officeDocument/2006/relationships/tags" Target="../tags/tag684.xml"/><Relationship Id="rId117" Type="http://schemas.openxmlformats.org/officeDocument/2006/relationships/tags" Target="../tags/tag683.xml"/><Relationship Id="rId116" Type="http://schemas.openxmlformats.org/officeDocument/2006/relationships/tags" Target="../tags/tag682.xml"/><Relationship Id="rId115" Type="http://schemas.openxmlformats.org/officeDocument/2006/relationships/tags" Target="../tags/tag681.xml"/><Relationship Id="rId114" Type="http://schemas.openxmlformats.org/officeDocument/2006/relationships/tags" Target="../tags/tag680.xml"/><Relationship Id="rId113" Type="http://schemas.openxmlformats.org/officeDocument/2006/relationships/tags" Target="../tags/tag679.xml"/><Relationship Id="rId112" Type="http://schemas.openxmlformats.org/officeDocument/2006/relationships/tags" Target="../tags/tag678.xml"/><Relationship Id="rId111" Type="http://schemas.openxmlformats.org/officeDocument/2006/relationships/tags" Target="../tags/tag677.xml"/><Relationship Id="rId110" Type="http://schemas.openxmlformats.org/officeDocument/2006/relationships/tags" Target="../tags/tag676.xml"/><Relationship Id="rId11" Type="http://schemas.openxmlformats.org/officeDocument/2006/relationships/tags" Target="../tags/tag577.xml"/><Relationship Id="rId109" Type="http://schemas.openxmlformats.org/officeDocument/2006/relationships/tags" Target="../tags/tag675.xml"/><Relationship Id="rId108" Type="http://schemas.openxmlformats.org/officeDocument/2006/relationships/tags" Target="../tags/tag674.xml"/><Relationship Id="rId107" Type="http://schemas.openxmlformats.org/officeDocument/2006/relationships/tags" Target="../tags/tag673.xml"/><Relationship Id="rId106" Type="http://schemas.openxmlformats.org/officeDocument/2006/relationships/tags" Target="../tags/tag672.xml"/><Relationship Id="rId105" Type="http://schemas.openxmlformats.org/officeDocument/2006/relationships/tags" Target="../tags/tag671.xml"/><Relationship Id="rId104" Type="http://schemas.openxmlformats.org/officeDocument/2006/relationships/tags" Target="../tags/tag670.xml"/><Relationship Id="rId103" Type="http://schemas.openxmlformats.org/officeDocument/2006/relationships/tags" Target="../tags/tag669.xml"/><Relationship Id="rId102" Type="http://schemas.openxmlformats.org/officeDocument/2006/relationships/tags" Target="../tags/tag668.xml"/><Relationship Id="rId101" Type="http://schemas.openxmlformats.org/officeDocument/2006/relationships/tags" Target="../tags/tag667.xml"/><Relationship Id="rId100" Type="http://schemas.openxmlformats.org/officeDocument/2006/relationships/tags" Target="../tags/tag666.xml"/><Relationship Id="rId10" Type="http://schemas.openxmlformats.org/officeDocument/2006/relationships/tags" Target="../tags/tag576.xml"/><Relationship Id="rId1" Type="http://schemas.openxmlformats.org/officeDocument/2006/relationships/tags" Target="../tags/tag567.xml"/></Relationships>
</file>

<file path=ppt/slides/_rels/slide46.xml.rels><?xml version="1.0" encoding="UTF-8" standalone="yes"?>
<Relationships xmlns="http://schemas.openxmlformats.org/package/2006/relationships"><Relationship Id="rId9" Type="http://schemas.openxmlformats.org/officeDocument/2006/relationships/tags" Target="../tags/tag797.xml"/><Relationship Id="rId8" Type="http://schemas.openxmlformats.org/officeDocument/2006/relationships/image" Target="../media/image179.svg"/><Relationship Id="rId7" Type="http://schemas.openxmlformats.org/officeDocument/2006/relationships/image" Target="../media/image178.png"/><Relationship Id="rId6" Type="http://schemas.openxmlformats.org/officeDocument/2006/relationships/tags" Target="../tags/tag796.xml"/><Relationship Id="rId5" Type="http://schemas.openxmlformats.org/officeDocument/2006/relationships/image" Target="../media/image177.svg"/><Relationship Id="rId4" Type="http://schemas.openxmlformats.org/officeDocument/2006/relationships/image" Target="../media/image176.png"/><Relationship Id="rId3" Type="http://schemas.openxmlformats.org/officeDocument/2006/relationships/tags" Target="../tags/tag795.xml"/><Relationship Id="rId26" Type="http://schemas.openxmlformats.org/officeDocument/2006/relationships/notesSlide" Target="../notesSlides/notesSlide40.xml"/><Relationship Id="rId25" Type="http://schemas.openxmlformats.org/officeDocument/2006/relationships/slideLayout" Target="../slideLayouts/slideLayout2.xml"/><Relationship Id="rId24" Type="http://schemas.openxmlformats.org/officeDocument/2006/relationships/tags" Target="../tags/tag806.xml"/><Relationship Id="rId23" Type="http://schemas.openxmlformats.org/officeDocument/2006/relationships/tags" Target="../tags/tag805.xml"/><Relationship Id="rId22" Type="http://schemas.openxmlformats.org/officeDocument/2006/relationships/tags" Target="../tags/tag804.xml"/><Relationship Id="rId21" Type="http://schemas.openxmlformats.org/officeDocument/2006/relationships/tags" Target="../tags/tag803.xml"/><Relationship Id="rId20" Type="http://schemas.openxmlformats.org/officeDocument/2006/relationships/image" Target="../media/image185.svg"/><Relationship Id="rId2" Type="http://schemas.openxmlformats.org/officeDocument/2006/relationships/image" Target="../media/image3.png"/><Relationship Id="rId19" Type="http://schemas.openxmlformats.org/officeDocument/2006/relationships/image" Target="../media/image184.png"/><Relationship Id="rId18" Type="http://schemas.openxmlformats.org/officeDocument/2006/relationships/tags" Target="../tags/tag802.xml"/><Relationship Id="rId17" Type="http://schemas.openxmlformats.org/officeDocument/2006/relationships/image" Target="../media/image183.svg"/><Relationship Id="rId16" Type="http://schemas.openxmlformats.org/officeDocument/2006/relationships/image" Target="../media/image182.png"/><Relationship Id="rId15" Type="http://schemas.openxmlformats.org/officeDocument/2006/relationships/tags" Target="../tags/tag801.xml"/><Relationship Id="rId14" Type="http://schemas.openxmlformats.org/officeDocument/2006/relationships/image" Target="../media/image181.svg"/><Relationship Id="rId13" Type="http://schemas.openxmlformats.org/officeDocument/2006/relationships/image" Target="../media/image180.png"/><Relationship Id="rId12" Type="http://schemas.openxmlformats.org/officeDocument/2006/relationships/tags" Target="../tags/tag800.xml"/><Relationship Id="rId11" Type="http://schemas.openxmlformats.org/officeDocument/2006/relationships/tags" Target="../tags/tag799.xml"/><Relationship Id="rId10" Type="http://schemas.openxmlformats.org/officeDocument/2006/relationships/tags" Target="../tags/tag798.xml"/><Relationship Id="rId1" Type="http://schemas.openxmlformats.org/officeDocument/2006/relationships/tags" Target="../tags/tag794.xml"/></Relationships>
</file>

<file path=ppt/slides/_rels/slide47.xml.rels><?xml version="1.0" encoding="UTF-8" standalone="yes"?>
<Relationships xmlns="http://schemas.openxmlformats.org/package/2006/relationships"><Relationship Id="rId9" Type="http://schemas.openxmlformats.org/officeDocument/2006/relationships/tags" Target="../tags/tag815.xml"/><Relationship Id="rId8" Type="http://schemas.openxmlformats.org/officeDocument/2006/relationships/tags" Target="../tags/tag814.xml"/><Relationship Id="rId7" Type="http://schemas.openxmlformats.org/officeDocument/2006/relationships/tags" Target="../tags/tag813.xml"/><Relationship Id="rId6" Type="http://schemas.openxmlformats.org/officeDocument/2006/relationships/tags" Target="../tags/tag812.xml"/><Relationship Id="rId5" Type="http://schemas.openxmlformats.org/officeDocument/2006/relationships/tags" Target="../tags/tag811.xml"/><Relationship Id="rId4" Type="http://schemas.openxmlformats.org/officeDocument/2006/relationships/tags" Target="../tags/tag810.xml"/><Relationship Id="rId3" Type="http://schemas.openxmlformats.org/officeDocument/2006/relationships/tags" Target="../tags/tag809.xml"/><Relationship Id="rId28" Type="http://schemas.openxmlformats.org/officeDocument/2006/relationships/notesSlide" Target="../notesSlides/notesSlide41.xml"/><Relationship Id="rId27" Type="http://schemas.openxmlformats.org/officeDocument/2006/relationships/slideLayout" Target="../slideLayouts/slideLayout2.xml"/><Relationship Id="rId26" Type="http://schemas.openxmlformats.org/officeDocument/2006/relationships/image" Target="../media/image3.png"/><Relationship Id="rId25" Type="http://schemas.openxmlformats.org/officeDocument/2006/relationships/tags" Target="../tags/tag831.xml"/><Relationship Id="rId24" Type="http://schemas.openxmlformats.org/officeDocument/2006/relationships/tags" Target="../tags/tag830.xml"/><Relationship Id="rId23" Type="http://schemas.openxmlformats.org/officeDocument/2006/relationships/tags" Target="../tags/tag829.xml"/><Relationship Id="rId22" Type="http://schemas.openxmlformats.org/officeDocument/2006/relationships/tags" Target="../tags/tag828.xml"/><Relationship Id="rId21" Type="http://schemas.openxmlformats.org/officeDocument/2006/relationships/tags" Target="../tags/tag827.xml"/><Relationship Id="rId20" Type="http://schemas.openxmlformats.org/officeDocument/2006/relationships/tags" Target="../tags/tag826.xml"/><Relationship Id="rId2" Type="http://schemas.openxmlformats.org/officeDocument/2006/relationships/tags" Target="../tags/tag808.xml"/><Relationship Id="rId19" Type="http://schemas.openxmlformats.org/officeDocument/2006/relationships/tags" Target="../tags/tag825.xml"/><Relationship Id="rId18" Type="http://schemas.openxmlformats.org/officeDocument/2006/relationships/tags" Target="../tags/tag824.xml"/><Relationship Id="rId17" Type="http://schemas.openxmlformats.org/officeDocument/2006/relationships/tags" Target="../tags/tag823.xml"/><Relationship Id="rId16" Type="http://schemas.openxmlformats.org/officeDocument/2006/relationships/tags" Target="../tags/tag822.xml"/><Relationship Id="rId15" Type="http://schemas.openxmlformats.org/officeDocument/2006/relationships/tags" Target="../tags/tag821.xml"/><Relationship Id="rId14" Type="http://schemas.openxmlformats.org/officeDocument/2006/relationships/tags" Target="../tags/tag820.xml"/><Relationship Id="rId13" Type="http://schemas.openxmlformats.org/officeDocument/2006/relationships/tags" Target="../tags/tag819.xml"/><Relationship Id="rId12" Type="http://schemas.openxmlformats.org/officeDocument/2006/relationships/tags" Target="../tags/tag818.xml"/><Relationship Id="rId11" Type="http://schemas.openxmlformats.org/officeDocument/2006/relationships/tags" Target="../tags/tag817.xml"/><Relationship Id="rId10" Type="http://schemas.openxmlformats.org/officeDocument/2006/relationships/tags" Target="../tags/tag816.xml"/><Relationship Id="rId1" Type="http://schemas.openxmlformats.org/officeDocument/2006/relationships/tags" Target="../tags/tag807.xml"/></Relationships>
</file>

<file path=ppt/slides/_rels/slide4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8.jpeg"/><Relationship Id="rId8" Type="http://schemas.openxmlformats.org/officeDocument/2006/relationships/tags" Target="../tags/tag836.xml"/><Relationship Id="rId7" Type="http://schemas.openxmlformats.org/officeDocument/2006/relationships/tags" Target="../tags/tag835.xml"/><Relationship Id="rId6" Type="http://schemas.openxmlformats.org/officeDocument/2006/relationships/tags" Target="../tags/tag834.xml"/><Relationship Id="rId5" Type="http://schemas.openxmlformats.org/officeDocument/2006/relationships/image" Target="../media/image187.png"/><Relationship Id="rId4" Type="http://schemas.openxmlformats.org/officeDocument/2006/relationships/tags" Target="../tags/tag833.xml"/><Relationship Id="rId3" Type="http://schemas.openxmlformats.org/officeDocument/2006/relationships/image" Target="../media/image186.emf"/><Relationship Id="rId2" Type="http://schemas.openxmlformats.org/officeDocument/2006/relationships/oleObject" Target="../embeddings/oleObject1.bin"/><Relationship Id="rId13" Type="http://schemas.openxmlformats.org/officeDocument/2006/relationships/notesSlide" Target="../notesSlides/notesSlide42.xml"/><Relationship Id="rId12" Type="http://schemas.openxmlformats.org/officeDocument/2006/relationships/vmlDrawing" Target="../drawings/vmlDrawing1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837.xml"/><Relationship Id="rId1" Type="http://schemas.openxmlformats.org/officeDocument/2006/relationships/tags" Target="../tags/tag832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8" Type="http://schemas.openxmlformats.org/officeDocument/2006/relationships/tags" Target="../tags/tag26.xml"/><Relationship Id="rId7" Type="http://schemas.openxmlformats.org/officeDocument/2006/relationships/tags" Target="../tags/tag25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4" Type="http://schemas.openxmlformats.org/officeDocument/2006/relationships/notesSlide" Target="../notesSlides/notesSlide2.xml"/><Relationship Id="rId43" Type="http://schemas.openxmlformats.org/officeDocument/2006/relationships/slideLayout" Target="../slideLayouts/slideLayout2.xml"/><Relationship Id="rId42" Type="http://schemas.openxmlformats.org/officeDocument/2006/relationships/tags" Target="../tags/tag60.xml"/><Relationship Id="rId41" Type="http://schemas.openxmlformats.org/officeDocument/2006/relationships/tags" Target="../tags/tag59.xml"/><Relationship Id="rId40" Type="http://schemas.openxmlformats.org/officeDocument/2006/relationships/tags" Target="../tags/tag58.xml"/><Relationship Id="rId4" Type="http://schemas.openxmlformats.org/officeDocument/2006/relationships/tags" Target="../tags/tag22.xml"/><Relationship Id="rId39" Type="http://schemas.openxmlformats.org/officeDocument/2006/relationships/tags" Target="../tags/tag57.xml"/><Relationship Id="rId38" Type="http://schemas.openxmlformats.org/officeDocument/2006/relationships/tags" Target="../tags/tag56.xml"/><Relationship Id="rId37" Type="http://schemas.openxmlformats.org/officeDocument/2006/relationships/tags" Target="../tags/tag55.xml"/><Relationship Id="rId36" Type="http://schemas.openxmlformats.org/officeDocument/2006/relationships/tags" Target="../tags/tag54.xml"/><Relationship Id="rId35" Type="http://schemas.openxmlformats.org/officeDocument/2006/relationships/tags" Target="../tags/tag53.xml"/><Relationship Id="rId34" Type="http://schemas.openxmlformats.org/officeDocument/2006/relationships/tags" Target="../tags/tag52.xml"/><Relationship Id="rId33" Type="http://schemas.openxmlformats.org/officeDocument/2006/relationships/tags" Target="../tags/tag51.xml"/><Relationship Id="rId32" Type="http://schemas.openxmlformats.org/officeDocument/2006/relationships/tags" Target="../tags/tag50.xml"/><Relationship Id="rId31" Type="http://schemas.openxmlformats.org/officeDocument/2006/relationships/tags" Target="../tags/tag49.xml"/><Relationship Id="rId30" Type="http://schemas.openxmlformats.org/officeDocument/2006/relationships/tags" Target="../tags/tag48.xml"/><Relationship Id="rId3" Type="http://schemas.openxmlformats.org/officeDocument/2006/relationships/tags" Target="../tags/tag21.xml"/><Relationship Id="rId29" Type="http://schemas.openxmlformats.org/officeDocument/2006/relationships/tags" Target="../tags/tag47.xml"/><Relationship Id="rId28" Type="http://schemas.openxmlformats.org/officeDocument/2006/relationships/tags" Target="../tags/tag46.xml"/><Relationship Id="rId27" Type="http://schemas.openxmlformats.org/officeDocument/2006/relationships/tags" Target="../tags/tag45.xml"/><Relationship Id="rId26" Type="http://schemas.openxmlformats.org/officeDocument/2006/relationships/tags" Target="../tags/tag44.xml"/><Relationship Id="rId25" Type="http://schemas.openxmlformats.org/officeDocument/2006/relationships/tags" Target="../tags/tag43.xml"/><Relationship Id="rId24" Type="http://schemas.openxmlformats.org/officeDocument/2006/relationships/tags" Target="../tags/tag42.xml"/><Relationship Id="rId23" Type="http://schemas.openxmlformats.org/officeDocument/2006/relationships/tags" Target="../tags/tag41.xml"/><Relationship Id="rId22" Type="http://schemas.openxmlformats.org/officeDocument/2006/relationships/tags" Target="../tags/tag40.xml"/><Relationship Id="rId21" Type="http://schemas.openxmlformats.org/officeDocument/2006/relationships/tags" Target="../tags/tag39.xml"/><Relationship Id="rId20" Type="http://schemas.openxmlformats.org/officeDocument/2006/relationships/tags" Target="../tags/tag38.xml"/><Relationship Id="rId2" Type="http://schemas.openxmlformats.org/officeDocument/2006/relationships/image" Target="../media/image3.png"/><Relationship Id="rId19" Type="http://schemas.openxmlformats.org/officeDocument/2006/relationships/tags" Target="../tags/tag37.xml"/><Relationship Id="rId18" Type="http://schemas.openxmlformats.org/officeDocument/2006/relationships/tags" Target="../tags/tag36.xml"/><Relationship Id="rId17" Type="http://schemas.openxmlformats.org/officeDocument/2006/relationships/tags" Target="../tags/tag35.xml"/><Relationship Id="rId16" Type="http://schemas.openxmlformats.org/officeDocument/2006/relationships/tags" Target="../tags/tag34.xml"/><Relationship Id="rId15" Type="http://schemas.openxmlformats.org/officeDocument/2006/relationships/tags" Target="../tags/tag33.xml"/><Relationship Id="rId14" Type="http://schemas.openxmlformats.org/officeDocument/2006/relationships/tags" Target="../tags/tag32.xml"/><Relationship Id="rId13" Type="http://schemas.openxmlformats.org/officeDocument/2006/relationships/tags" Target="../tags/tag31.xml"/><Relationship Id="rId12" Type="http://schemas.openxmlformats.org/officeDocument/2006/relationships/tags" Target="../tags/tag30.xml"/><Relationship Id="rId11" Type="http://schemas.openxmlformats.org/officeDocument/2006/relationships/tags" Target="../tags/tag29.xml"/><Relationship Id="rId10" Type="http://schemas.openxmlformats.org/officeDocument/2006/relationships/tags" Target="../tags/tag28.xml"/><Relationship Id="rId1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tags" Target="../tags/tag66.xml"/><Relationship Id="rId7" Type="http://schemas.openxmlformats.org/officeDocument/2006/relationships/tags" Target="../tags/tag65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4" Type="http://schemas.openxmlformats.org/officeDocument/2006/relationships/notesSlide" Target="../notesSlides/notesSlide3.xml"/><Relationship Id="rId13" Type="http://schemas.openxmlformats.org/officeDocument/2006/relationships/slideLayout" Target="../slideLayouts/slideLayout2.xml"/><Relationship Id="rId12" Type="http://schemas.openxmlformats.org/officeDocument/2006/relationships/tags" Target="../tags/tag70.xml"/><Relationship Id="rId11" Type="http://schemas.openxmlformats.org/officeDocument/2006/relationships/tags" Target="../tags/tag69.xml"/><Relationship Id="rId10" Type="http://schemas.openxmlformats.org/officeDocument/2006/relationships/tags" Target="../tags/tag68.xml"/><Relationship Id="rId1" Type="http://schemas.openxmlformats.org/officeDocument/2006/relationships/tags" Target="../tags/tag61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78.xml"/><Relationship Id="rId8" Type="http://schemas.openxmlformats.org/officeDocument/2006/relationships/tags" Target="../tags/tag77.xml"/><Relationship Id="rId7" Type="http://schemas.openxmlformats.org/officeDocument/2006/relationships/tags" Target="../tags/tag76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tags" Target="../tags/tag72.xml"/><Relationship Id="rId26" Type="http://schemas.openxmlformats.org/officeDocument/2006/relationships/notesSlide" Target="../notesSlides/notesSlide4.xml"/><Relationship Id="rId25" Type="http://schemas.openxmlformats.org/officeDocument/2006/relationships/slideLayout" Target="../slideLayouts/slideLayout2.xml"/><Relationship Id="rId24" Type="http://schemas.openxmlformats.org/officeDocument/2006/relationships/tags" Target="../tags/tag92.xml"/><Relationship Id="rId23" Type="http://schemas.openxmlformats.org/officeDocument/2006/relationships/tags" Target="../tags/tag91.xml"/><Relationship Id="rId22" Type="http://schemas.openxmlformats.org/officeDocument/2006/relationships/tags" Target="../tags/tag90.xml"/><Relationship Id="rId21" Type="http://schemas.openxmlformats.org/officeDocument/2006/relationships/tags" Target="../tags/tag89.xml"/><Relationship Id="rId20" Type="http://schemas.openxmlformats.org/officeDocument/2006/relationships/tags" Target="../tags/tag88.xml"/><Relationship Id="rId2" Type="http://schemas.openxmlformats.org/officeDocument/2006/relationships/image" Target="../media/image3.png"/><Relationship Id="rId19" Type="http://schemas.openxmlformats.org/officeDocument/2006/relationships/tags" Target="../tags/tag87.xml"/><Relationship Id="rId18" Type="http://schemas.openxmlformats.org/officeDocument/2006/relationships/tags" Target="../tags/tag86.xml"/><Relationship Id="rId17" Type="http://schemas.openxmlformats.org/officeDocument/2006/relationships/tags" Target="../tags/tag85.xml"/><Relationship Id="rId16" Type="http://schemas.openxmlformats.org/officeDocument/2006/relationships/tags" Target="../tags/tag84.xml"/><Relationship Id="rId15" Type="http://schemas.openxmlformats.org/officeDocument/2006/relationships/tags" Target="../tags/tag83.xml"/><Relationship Id="rId14" Type="http://schemas.openxmlformats.org/officeDocument/2006/relationships/image" Target="../media/image9.png"/><Relationship Id="rId13" Type="http://schemas.openxmlformats.org/officeDocument/2006/relationships/tags" Target="../tags/tag82.xml"/><Relationship Id="rId12" Type="http://schemas.openxmlformats.org/officeDocument/2006/relationships/tags" Target="../tags/tag81.xml"/><Relationship Id="rId11" Type="http://schemas.openxmlformats.org/officeDocument/2006/relationships/tags" Target="../tags/tag80.xml"/><Relationship Id="rId10" Type="http://schemas.openxmlformats.org/officeDocument/2006/relationships/tags" Target="../tags/tag79.xml"/><Relationship Id="rId1" Type="http://schemas.openxmlformats.org/officeDocument/2006/relationships/tags" Target="../tags/tag71.xml"/></Relationships>
</file>

<file path=ppt/slides/_rels/slide8.xml.rels><?xml version="1.0" encoding="UTF-8" standalone="yes"?>
<Relationships xmlns="http://schemas.openxmlformats.org/package/2006/relationships"><Relationship Id="rId99" Type="http://schemas.openxmlformats.org/officeDocument/2006/relationships/tags" Target="../tags/tag162.xml"/><Relationship Id="rId98" Type="http://schemas.openxmlformats.org/officeDocument/2006/relationships/image" Target="../media/image37.png"/><Relationship Id="rId97" Type="http://schemas.openxmlformats.org/officeDocument/2006/relationships/tags" Target="../tags/tag161.xml"/><Relationship Id="rId96" Type="http://schemas.openxmlformats.org/officeDocument/2006/relationships/tags" Target="../tags/tag160.xml"/><Relationship Id="rId95" Type="http://schemas.openxmlformats.org/officeDocument/2006/relationships/image" Target="../media/image36.png"/><Relationship Id="rId94" Type="http://schemas.openxmlformats.org/officeDocument/2006/relationships/image" Target="../media/image35.png"/><Relationship Id="rId93" Type="http://schemas.openxmlformats.org/officeDocument/2006/relationships/image" Target="../media/image34.png"/><Relationship Id="rId92" Type="http://schemas.openxmlformats.org/officeDocument/2006/relationships/image" Target="../media/image33.png"/><Relationship Id="rId91" Type="http://schemas.openxmlformats.org/officeDocument/2006/relationships/image" Target="../media/image32.png"/><Relationship Id="rId90" Type="http://schemas.openxmlformats.org/officeDocument/2006/relationships/tags" Target="../tags/tag159.xml"/><Relationship Id="rId9" Type="http://schemas.openxmlformats.org/officeDocument/2006/relationships/tags" Target="../tags/tag100.xml"/><Relationship Id="rId89" Type="http://schemas.openxmlformats.org/officeDocument/2006/relationships/tags" Target="../tags/tag158.xml"/><Relationship Id="rId88" Type="http://schemas.openxmlformats.org/officeDocument/2006/relationships/tags" Target="../tags/tag157.xml"/><Relationship Id="rId87" Type="http://schemas.openxmlformats.org/officeDocument/2006/relationships/tags" Target="../tags/tag156.xml"/><Relationship Id="rId86" Type="http://schemas.openxmlformats.org/officeDocument/2006/relationships/tags" Target="../tags/tag155.xml"/><Relationship Id="rId85" Type="http://schemas.openxmlformats.org/officeDocument/2006/relationships/tags" Target="../tags/tag154.xml"/><Relationship Id="rId84" Type="http://schemas.openxmlformats.org/officeDocument/2006/relationships/tags" Target="../tags/tag153.xml"/><Relationship Id="rId83" Type="http://schemas.openxmlformats.org/officeDocument/2006/relationships/tags" Target="../tags/tag152.xml"/><Relationship Id="rId82" Type="http://schemas.openxmlformats.org/officeDocument/2006/relationships/tags" Target="../tags/tag151.xml"/><Relationship Id="rId81" Type="http://schemas.openxmlformats.org/officeDocument/2006/relationships/tags" Target="../tags/tag150.xml"/><Relationship Id="rId80" Type="http://schemas.openxmlformats.org/officeDocument/2006/relationships/tags" Target="../tags/tag149.xml"/><Relationship Id="rId8" Type="http://schemas.openxmlformats.org/officeDocument/2006/relationships/tags" Target="../tags/tag99.xml"/><Relationship Id="rId79" Type="http://schemas.openxmlformats.org/officeDocument/2006/relationships/tags" Target="../tags/tag148.xml"/><Relationship Id="rId78" Type="http://schemas.openxmlformats.org/officeDocument/2006/relationships/image" Target="../media/image31.png"/><Relationship Id="rId77" Type="http://schemas.openxmlformats.org/officeDocument/2006/relationships/image" Target="../media/image30.png"/><Relationship Id="rId76" Type="http://schemas.openxmlformats.org/officeDocument/2006/relationships/image" Target="../media/image29.png"/><Relationship Id="rId75" Type="http://schemas.openxmlformats.org/officeDocument/2006/relationships/image" Target="../media/image28.png"/><Relationship Id="rId74" Type="http://schemas.openxmlformats.org/officeDocument/2006/relationships/image" Target="../media/image27.png"/><Relationship Id="rId73" Type="http://schemas.openxmlformats.org/officeDocument/2006/relationships/image" Target="../media/image26.png"/><Relationship Id="rId72" Type="http://schemas.openxmlformats.org/officeDocument/2006/relationships/image" Target="../media/image25.png"/><Relationship Id="rId71" Type="http://schemas.openxmlformats.org/officeDocument/2006/relationships/image" Target="../media/image24.png"/><Relationship Id="rId70" Type="http://schemas.openxmlformats.org/officeDocument/2006/relationships/image" Target="../media/image23.png"/><Relationship Id="rId7" Type="http://schemas.openxmlformats.org/officeDocument/2006/relationships/tags" Target="../tags/tag98.xml"/><Relationship Id="rId69" Type="http://schemas.openxmlformats.org/officeDocument/2006/relationships/image" Target="../media/image22.png"/><Relationship Id="rId68" Type="http://schemas.openxmlformats.org/officeDocument/2006/relationships/image" Target="../media/image21.png"/><Relationship Id="rId67" Type="http://schemas.openxmlformats.org/officeDocument/2006/relationships/image" Target="../media/image20.png"/><Relationship Id="rId66" Type="http://schemas.openxmlformats.org/officeDocument/2006/relationships/image" Target="../media/image19.png"/><Relationship Id="rId65" Type="http://schemas.openxmlformats.org/officeDocument/2006/relationships/image" Target="../media/image18.png"/><Relationship Id="rId64" Type="http://schemas.openxmlformats.org/officeDocument/2006/relationships/image" Target="../media/image17.png"/><Relationship Id="rId63" Type="http://schemas.openxmlformats.org/officeDocument/2006/relationships/image" Target="../media/image16.png"/><Relationship Id="rId62" Type="http://schemas.openxmlformats.org/officeDocument/2006/relationships/tags" Target="../tags/tag147.xml"/><Relationship Id="rId61" Type="http://schemas.openxmlformats.org/officeDocument/2006/relationships/image" Target="../media/image15.png"/><Relationship Id="rId60" Type="http://schemas.openxmlformats.org/officeDocument/2006/relationships/image" Target="../media/image14.png"/><Relationship Id="rId6" Type="http://schemas.openxmlformats.org/officeDocument/2006/relationships/tags" Target="../tags/tag97.xml"/><Relationship Id="rId59" Type="http://schemas.openxmlformats.org/officeDocument/2006/relationships/image" Target="../media/image13.png"/><Relationship Id="rId58" Type="http://schemas.openxmlformats.org/officeDocument/2006/relationships/image" Target="../media/image12.png"/><Relationship Id="rId57" Type="http://schemas.openxmlformats.org/officeDocument/2006/relationships/image" Target="../media/image11.png"/><Relationship Id="rId56" Type="http://schemas.openxmlformats.org/officeDocument/2006/relationships/image" Target="../media/image10.png"/><Relationship Id="rId55" Type="http://schemas.openxmlformats.org/officeDocument/2006/relationships/tags" Target="../tags/tag146.xml"/><Relationship Id="rId54" Type="http://schemas.openxmlformats.org/officeDocument/2006/relationships/tags" Target="../tags/tag145.xml"/><Relationship Id="rId53" Type="http://schemas.openxmlformats.org/officeDocument/2006/relationships/tags" Target="../tags/tag144.xml"/><Relationship Id="rId52" Type="http://schemas.openxmlformats.org/officeDocument/2006/relationships/tags" Target="../tags/tag143.xml"/><Relationship Id="rId51" Type="http://schemas.openxmlformats.org/officeDocument/2006/relationships/tags" Target="../tags/tag142.xml"/><Relationship Id="rId50" Type="http://schemas.openxmlformats.org/officeDocument/2006/relationships/tags" Target="../tags/tag141.xml"/><Relationship Id="rId5" Type="http://schemas.openxmlformats.org/officeDocument/2006/relationships/tags" Target="../tags/tag96.xml"/><Relationship Id="rId49" Type="http://schemas.openxmlformats.org/officeDocument/2006/relationships/tags" Target="../tags/tag140.xml"/><Relationship Id="rId48" Type="http://schemas.openxmlformats.org/officeDocument/2006/relationships/tags" Target="../tags/tag139.xml"/><Relationship Id="rId47" Type="http://schemas.openxmlformats.org/officeDocument/2006/relationships/tags" Target="../tags/tag138.xml"/><Relationship Id="rId46" Type="http://schemas.openxmlformats.org/officeDocument/2006/relationships/tags" Target="../tags/tag137.xml"/><Relationship Id="rId45" Type="http://schemas.openxmlformats.org/officeDocument/2006/relationships/tags" Target="../tags/tag136.xml"/><Relationship Id="rId44" Type="http://schemas.openxmlformats.org/officeDocument/2006/relationships/tags" Target="../tags/tag135.xml"/><Relationship Id="rId43" Type="http://schemas.openxmlformats.org/officeDocument/2006/relationships/tags" Target="../tags/tag134.xml"/><Relationship Id="rId42" Type="http://schemas.openxmlformats.org/officeDocument/2006/relationships/tags" Target="../tags/tag133.xml"/><Relationship Id="rId41" Type="http://schemas.openxmlformats.org/officeDocument/2006/relationships/tags" Target="../tags/tag132.xml"/><Relationship Id="rId40" Type="http://schemas.openxmlformats.org/officeDocument/2006/relationships/tags" Target="../tags/tag131.xml"/><Relationship Id="rId4" Type="http://schemas.openxmlformats.org/officeDocument/2006/relationships/tags" Target="../tags/tag95.xml"/><Relationship Id="rId39" Type="http://schemas.openxmlformats.org/officeDocument/2006/relationships/tags" Target="../tags/tag130.xml"/><Relationship Id="rId38" Type="http://schemas.openxmlformats.org/officeDocument/2006/relationships/tags" Target="../tags/tag129.xml"/><Relationship Id="rId37" Type="http://schemas.openxmlformats.org/officeDocument/2006/relationships/tags" Target="../tags/tag128.xml"/><Relationship Id="rId36" Type="http://schemas.openxmlformats.org/officeDocument/2006/relationships/tags" Target="../tags/tag127.xml"/><Relationship Id="rId35" Type="http://schemas.openxmlformats.org/officeDocument/2006/relationships/tags" Target="../tags/tag126.xml"/><Relationship Id="rId34" Type="http://schemas.openxmlformats.org/officeDocument/2006/relationships/tags" Target="../tags/tag125.xml"/><Relationship Id="rId33" Type="http://schemas.openxmlformats.org/officeDocument/2006/relationships/tags" Target="../tags/tag124.xml"/><Relationship Id="rId32" Type="http://schemas.openxmlformats.org/officeDocument/2006/relationships/tags" Target="../tags/tag123.xml"/><Relationship Id="rId31" Type="http://schemas.openxmlformats.org/officeDocument/2006/relationships/tags" Target="../tags/tag122.xml"/><Relationship Id="rId30" Type="http://schemas.openxmlformats.org/officeDocument/2006/relationships/tags" Target="../tags/tag121.xml"/><Relationship Id="rId3" Type="http://schemas.openxmlformats.org/officeDocument/2006/relationships/tags" Target="../tags/tag94.xml"/><Relationship Id="rId29" Type="http://schemas.openxmlformats.org/officeDocument/2006/relationships/tags" Target="../tags/tag120.xml"/><Relationship Id="rId28" Type="http://schemas.openxmlformats.org/officeDocument/2006/relationships/tags" Target="../tags/tag119.xml"/><Relationship Id="rId27" Type="http://schemas.openxmlformats.org/officeDocument/2006/relationships/tags" Target="../tags/tag118.xml"/><Relationship Id="rId26" Type="http://schemas.openxmlformats.org/officeDocument/2006/relationships/tags" Target="../tags/tag117.xml"/><Relationship Id="rId25" Type="http://schemas.openxmlformats.org/officeDocument/2006/relationships/tags" Target="../tags/tag116.xml"/><Relationship Id="rId24" Type="http://schemas.openxmlformats.org/officeDocument/2006/relationships/tags" Target="../tags/tag115.xml"/><Relationship Id="rId23" Type="http://schemas.openxmlformats.org/officeDocument/2006/relationships/tags" Target="../tags/tag114.xml"/><Relationship Id="rId22" Type="http://schemas.openxmlformats.org/officeDocument/2006/relationships/tags" Target="../tags/tag113.xml"/><Relationship Id="rId21" Type="http://schemas.openxmlformats.org/officeDocument/2006/relationships/tags" Target="../tags/tag112.xml"/><Relationship Id="rId20" Type="http://schemas.openxmlformats.org/officeDocument/2006/relationships/tags" Target="../tags/tag111.xml"/><Relationship Id="rId2" Type="http://schemas.openxmlformats.org/officeDocument/2006/relationships/image" Target="../media/image3.png"/><Relationship Id="rId19" Type="http://schemas.openxmlformats.org/officeDocument/2006/relationships/tags" Target="../tags/tag110.xml"/><Relationship Id="rId18" Type="http://schemas.openxmlformats.org/officeDocument/2006/relationships/tags" Target="../tags/tag109.xml"/><Relationship Id="rId17" Type="http://schemas.openxmlformats.org/officeDocument/2006/relationships/tags" Target="../tags/tag108.xml"/><Relationship Id="rId16" Type="http://schemas.openxmlformats.org/officeDocument/2006/relationships/tags" Target="../tags/tag107.xml"/><Relationship Id="rId15" Type="http://schemas.openxmlformats.org/officeDocument/2006/relationships/tags" Target="../tags/tag106.xml"/><Relationship Id="rId14" Type="http://schemas.openxmlformats.org/officeDocument/2006/relationships/tags" Target="../tags/tag105.xml"/><Relationship Id="rId13" Type="http://schemas.openxmlformats.org/officeDocument/2006/relationships/tags" Target="../tags/tag104.xml"/><Relationship Id="rId12" Type="http://schemas.openxmlformats.org/officeDocument/2006/relationships/tags" Target="../tags/tag103.xml"/><Relationship Id="rId111" Type="http://schemas.openxmlformats.org/officeDocument/2006/relationships/notesSlide" Target="../notesSlides/notesSlide5.xml"/><Relationship Id="rId110" Type="http://schemas.openxmlformats.org/officeDocument/2006/relationships/slideLayout" Target="../slideLayouts/slideLayout2.xml"/><Relationship Id="rId11" Type="http://schemas.openxmlformats.org/officeDocument/2006/relationships/tags" Target="../tags/tag102.xml"/><Relationship Id="rId109" Type="http://schemas.openxmlformats.org/officeDocument/2006/relationships/image" Target="../media/image44.png"/><Relationship Id="rId108" Type="http://schemas.openxmlformats.org/officeDocument/2006/relationships/image" Target="../media/image43.png"/><Relationship Id="rId107" Type="http://schemas.openxmlformats.org/officeDocument/2006/relationships/image" Target="../media/image42.png"/><Relationship Id="rId106" Type="http://schemas.openxmlformats.org/officeDocument/2006/relationships/image" Target="../media/image41.png"/><Relationship Id="rId105" Type="http://schemas.openxmlformats.org/officeDocument/2006/relationships/image" Target="../media/image40.png"/><Relationship Id="rId104" Type="http://schemas.openxmlformats.org/officeDocument/2006/relationships/image" Target="../media/image39.png"/><Relationship Id="rId103" Type="http://schemas.openxmlformats.org/officeDocument/2006/relationships/image" Target="../media/image38.jpeg"/><Relationship Id="rId102" Type="http://schemas.openxmlformats.org/officeDocument/2006/relationships/tags" Target="../tags/tag165.xml"/><Relationship Id="rId101" Type="http://schemas.openxmlformats.org/officeDocument/2006/relationships/tags" Target="../tags/tag164.xml"/><Relationship Id="rId100" Type="http://schemas.openxmlformats.org/officeDocument/2006/relationships/tags" Target="../tags/tag163.xml"/><Relationship Id="rId10" Type="http://schemas.openxmlformats.org/officeDocument/2006/relationships/tags" Target="../tags/tag101.xml"/><Relationship Id="rId1" Type="http://schemas.openxmlformats.org/officeDocument/2006/relationships/tags" Target="../tags/tag9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174.xml"/><Relationship Id="rId8" Type="http://schemas.openxmlformats.org/officeDocument/2006/relationships/tags" Target="../tags/tag173.xml"/><Relationship Id="rId7" Type="http://schemas.openxmlformats.org/officeDocument/2006/relationships/tags" Target="../tags/tag17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3" Type="http://schemas.openxmlformats.org/officeDocument/2006/relationships/notesSlide" Target="../notesSlides/notesSlide6.xml"/><Relationship Id="rId12" Type="http://schemas.openxmlformats.org/officeDocument/2006/relationships/slideLayout" Target="../slideLayouts/slideLayout2.xml"/><Relationship Id="rId11" Type="http://schemas.openxmlformats.org/officeDocument/2006/relationships/image" Target="../media/image3.png"/><Relationship Id="rId10" Type="http://schemas.openxmlformats.org/officeDocument/2006/relationships/tags" Target="../tags/tag175.xml"/><Relationship Id="rId1" Type="http://schemas.openxmlformats.org/officeDocument/2006/relationships/tags" Target="../tags/tag1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-261" y="1121629"/>
            <a:ext cx="12192001" cy="5804316"/>
          </a:xfrm>
          <a:prstGeom prst="rect">
            <a:avLst/>
          </a:prstGeom>
          <a:blipFill dpi="0" rotWithShape="1">
            <a:blip r:embed="rId1">
              <a:alphaModFix amt="10000"/>
            </a:blip>
            <a:srcRect/>
            <a:stretch>
              <a:fillRect t="1" b="-181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7281261" y="0"/>
            <a:ext cx="4472589" cy="6858000"/>
          </a:xfrm>
          <a:prstGeom prst="rect">
            <a:avLst/>
          </a:prstGeom>
          <a:pattFill prst="wdUpDiag">
            <a:fgClr>
              <a:srgbClr val="8EBAE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任意多边形: 形状 8"/>
          <p:cNvSpPr/>
          <p:nvPr/>
        </p:nvSpPr>
        <p:spPr>
          <a:xfrm>
            <a:off x="0" y="0"/>
            <a:ext cx="1498719" cy="1657350"/>
          </a:xfrm>
          <a:custGeom>
            <a:avLst/>
            <a:gdLst>
              <a:gd name="connsiteX0" fmla="*/ 1217293 w 2147966"/>
              <a:gd name="connsiteY0" fmla="*/ 0 h 2375316"/>
              <a:gd name="connsiteX1" fmla="*/ 2048385 w 2147966"/>
              <a:gd name="connsiteY1" fmla="*/ 0 h 2375316"/>
              <a:gd name="connsiteX2" fmla="*/ 2067460 w 2147966"/>
              <a:gd name="connsiteY2" fmla="*/ 52117 h 2375316"/>
              <a:gd name="connsiteX3" fmla="*/ 2147966 w 2147966"/>
              <a:gd name="connsiteY3" fmla="*/ 584616 h 2375316"/>
              <a:gd name="connsiteX4" fmla="*/ 357266 w 2147966"/>
              <a:gd name="connsiteY4" fmla="*/ 2375316 h 2375316"/>
              <a:gd name="connsiteX5" fmla="*/ 174177 w 2147966"/>
              <a:gd name="connsiteY5" fmla="*/ 2366071 h 2375316"/>
              <a:gd name="connsiteX6" fmla="*/ 0 w 2147966"/>
              <a:gd name="connsiteY6" fmla="*/ 2339488 h 2375316"/>
              <a:gd name="connsiteX7" fmla="*/ 0 w 2147966"/>
              <a:gd name="connsiteY7" fmla="*/ 1560485 h 2375316"/>
              <a:gd name="connsiteX8" fmla="*/ 47948 w 2147966"/>
              <a:gd name="connsiteY8" fmla="*/ 1578034 h 2375316"/>
              <a:gd name="connsiteX9" fmla="*/ 357266 w 2147966"/>
              <a:gd name="connsiteY9" fmla="*/ 1624798 h 2375316"/>
              <a:gd name="connsiteX10" fmla="*/ 1397448 w 2147966"/>
              <a:gd name="connsiteY10" fmla="*/ 584616 h 2375316"/>
              <a:gd name="connsiteX11" fmla="*/ 1219801 w 2147966"/>
              <a:gd name="connsiteY11" fmla="*/ 3040 h 2375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47966" h="2375316">
                <a:moveTo>
                  <a:pt x="1217293" y="0"/>
                </a:moveTo>
                <a:lnTo>
                  <a:pt x="2048385" y="0"/>
                </a:lnTo>
                <a:lnTo>
                  <a:pt x="2067460" y="52117"/>
                </a:lnTo>
                <a:cubicBezTo>
                  <a:pt x="2119781" y="220333"/>
                  <a:pt x="2147966" y="399183"/>
                  <a:pt x="2147966" y="584616"/>
                </a:cubicBezTo>
                <a:cubicBezTo>
                  <a:pt x="2147966" y="1573592"/>
                  <a:pt x="1346242" y="2375316"/>
                  <a:pt x="357266" y="2375316"/>
                </a:cubicBezTo>
                <a:cubicBezTo>
                  <a:pt x="295455" y="2375316"/>
                  <a:pt x="234375" y="2372184"/>
                  <a:pt x="174177" y="2366071"/>
                </a:cubicBezTo>
                <a:lnTo>
                  <a:pt x="0" y="2339488"/>
                </a:lnTo>
                <a:lnTo>
                  <a:pt x="0" y="1560485"/>
                </a:lnTo>
                <a:lnTo>
                  <a:pt x="47948" y="1578034"/>
                </a:lnTo>
                <a:cubicBezTo>
                  <a:pt x="145661" y="1608426"/>
                  <a:pt x="249552" y="1624798"/>
                  <a:pt x="357266" y="1624798"/>
                </a:cubicBezTo>
                <a:cubicBezTo>
                  <a:pt x="931743" y="1624798"/>
                  <a:pt x="1397448" y="1159093"/>
                  <a:pt x="1397448" y="584616"/>
                </a:cubicBezTo>
                <a:cubicBezTo>
                  <a:pt x="1397448" y="369187"/>
                  <a:pt x="1331958" y="169054"/>
                  <a:pt x="1219801" y="30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 flipH="1">
            <a:off x="7707298" y="0"/>
            <a:ext cx="3636974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24085" y="2021205"/>
            <a:ext cx="1799328" cy="1938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12000" b="1" dirty="0">
                <a:solidFill>
                  <a:srgbClr val="0070C0"/>
                </a:solidFill>
                <a:latin typeface="+mj-ea"/>
                <a:ea typeface="+mj-ea"/>
              </a:rPr>
              <a:t>嘉</a:t>
            </a:r>
            <a:endParaRPr lang="zh-CN" altLang="en-US" sz="12000" b="1" dirty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819432" y="2021205"/>
            <a:ext cx="1799328" cy="1938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12000" b="1" dirty="0">
                <a:solidFill>
                  <a:srgbClr val="0070C0"/>
                </a:solidFill>
                <a:latin typeface="+mj-ea"/>
                <a:ea typeface="+mj-ea"/>
              </a:rPr>
              <a:t>美</a:t>
            </a:r>
            <a:endParaRPr lang="zh-CN" altLang="en-US" sz="12000" b="1" dirty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514779" y="2021205"/>
            <a:ext cx="1838374" cy="1938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12000" b="1" dirty="0">
                <a:solidFill>
                  <a:srgbClr val="0070C0"/>
                </a:solidFill>
                <a:latin typeface="+mj-ea"/>
                <a:ea typeface="+mj-ea"/>
              </a:rPr>
              <a:t>包</a:t>
            </a:r>
            <a:endParaRPr lang="zh-CN" altLang="en-US" sz="12000" b="1" dirty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5210127" y="2021205"/>
            <a:ext cx="2014073" cy="1938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12000" b="1" dirty="0">
                <a:solidFill>
                  <a:srgbClr val="0070C0"/>
                </a:solidFill>
                <a:latin typeface="+mj-ea"/>
                <a:ea typeface="+mj-ea"/>
              </a:rPr>
              <a:t>装</a:t>
            </a:r>
            <a:endParaRPr lang="zh-CN" altLang="en-US" sz="12000" b="1" dirty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23" name="îṣľîďé"/>
          <p:cNvSpPr txBox="1"/>
          <p:nvPr/>
        </p:nvSpPr>
        <p:spPr>
          <a:xfrm>
            <a:off x="11009179" y="0"/>
            <a:ext cx="398145" cy="1121716"/>
          </a:xfrm>
          <a:prstGeom prst="rect">
            <a:avLst/>
          </a:prstGeom>
          <a:noFill/>
          <a:ln>
            <a:noFill/>
          </a:ln>
        </p:spPr>
        <p:txBody>
          <a:bodyPr vert="eaVert" wrap="square" rtlCol="0">
            <a:spAutoFit/>
          </a:bodyPr>
          <a:lstStyle/>
          <a:p>
            <a:pPr algn="dist"/>
            <a:endParaRPr lang="zh-CN" altLang="en-US" sz="1400" spc="-15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0635927" y="57150"/>
            <a:ext cx="551815" cy="3866761"/>
          </a:xfrm>
          <a:prstGeom prst="rect">
            <a:avLst/>
          </a:prstGeom>
        </p:spPr>
        <p:txBody>
          <a:bodyPr vert="eaVert" wrap="square">
            <a:spAutoFit/>
          </a:bodyPr>
          <a:lstStyle/>
          <a:p>
            <a:pPr marL="0" lvl="1" algn="just" defTabSz="457200">
              <a:lnSpc>
                <a:spcPct val="150000"/>
              </a:lnSpc>
            </a:pPr>
            <a:r>
              <a:rPr lang="zh-CN" altLang="en-US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刻苦</a:t>
            </a:r>
            <a:r>
              <a:rPr lang="en-US" altLang="zh-CN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lang="zh-CN" altLang="en-US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专注</a:t>
            </a:r>
            <a:r>
              <a:rPr lang="en-US" altLang="zh-CN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lang="zh-CN" altLang="en-US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感恩</a:t>
            </a:r>
            <a:r>
              <a:rPr lang="en-US" altLang="zh-CN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lang="zh-CN" altLang="en-US" sz="1600" spc="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永不放弃</a:t>
            </a:r>
            <a:endParaRPr lang="zh-CN" altLang="en-US" sz="1600" spc="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30" name="组合 29"/>
          <p:cNvGrpSpPr/>
          <p:nvPr/>
        </p:nvGrpSpPr>
        <p:grpSpPr>
          <a:xfrm>
            <a:off x="9679404" y="4242544"/>
            <a:ext cx="2512596" cy="2615456"/>
            <a:chOff x="9679404" y="4242544"/>
            <a:chExt cx="2512596" cy="2615456"/>
          </a:xfrm>
        </p:grpSpPr>
        <p:sp>
          <p:nvSpPr>
            <p:cNvPr id="31" name="任意多边形: 形状 9"/>
            <p:cNvSpPr/>
            <p:nvPr/>
          </p:nvSpPr>
          <p:spPr>
            <a:xfrm flipH="1" flipV="1">
              <a:off x="10044034" y="4482684"/>
              <a:ext cx="2147966" cy="2375316"/>
            </a:xfrm>
            <a:custGeom>
              <a:avLst/>
              <a:gdLst>
                <a:gd name="connsiteX0" fmla="*/ 1217293 w 2147966"/>
                <a:gd name="connsiteY0" fmla="*/ 0 h 2375316"/>
                <a:gd name="connsiteX1" fmla="*/ 2048385 w 2147966"/>
                <a:gd name="connsiteY1" fmla="*/ 0 h 2375316"/>
                <a:gd name="connsiteX2" fmla="*/ 2067460 w 2147966"/>
                <a:gd name="connsiteY2" fmla="*/ 52117 h 2375316"/>
                <a:gd name="connsiteX3" fmla="*/ 2147966 w 2147966"/>
                <a:gd name="connsiteY3" fmla="*/ 584616 h 2375316"/>
                <a:gd name="connsiteX4" fmla="*/ 357266 w 2147966"/>
                <a:gd name="connsiteY4" fmla="*/ 2375316 h 2375316"/>
                <a:gd name="connsiteX5" fmla="*/ 174177 w 2147966"/>
                <a:gd name="connsiteY5" fmla="*/ 2366071 h 2375316"/>
                <a:gd name="connsiteX6" fmla="*/ 0 w 2147966"/>
                <a:gd name="connsiteY6" fmla="*/ 2339488 h 2375316"/>
                <a:gd name="connsiteX7" fmla="*/ 0 w 2147966"/>
                <a:gd name="connsiteY7" fmla="*/ 1560485 h 2375316"/>
                <a:gd name="connsiteX8" fmla="*/ 47948 w 2147966"/>
                <a:gd name="connsiteY8" fmla="*/ 1578034 h 2375316"/>
                <a:gd name="connsiteX9" fmla="*/ 357266 w 2147966"/>
                <a:gd name="connsiteY9" fmla="*/ 1624798 h 2375316"/>
                <a:gd name="connsiteX10" fmla="*/ 1397448 w 2147966"/>
                <a:gd name="connsiteY10" fmla="*/ 584616 h 2375316"/>
                <a:gd name="connsiteX11" fmla="*/ 1219801 w 2147966"/>
                <a:gd name="connsiteY11" fmla="*/ 3040 h 237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47966" h="2375316">
                  <a:moveTo>
                    <a:pt x="1217293" y="0"/>
                  </a:moveTo>
                  <a:lnTo>
                    <a:pt x="2048385" y="0"/>
                  </a:lnTo>
                  <a:lnTo>
                    <a:pt x="2067460" y="52117"/>
                  </a:lnTo>
                  <a:cubicBezTo>
                    <a:pt x="2119781" y="220333"/>
                    <a:pt x="2147966" y="399183"/>
                    <a:pt x="2147966" y="584616"/>
                  </a:cubicBezTo>
                  <a:cubicBezTo>
                    <a:pt x="2147966" y="1573592"/>
                    <a:pt x="1346242" y="2375316"/>
                    <a:pt x="357266" y="2375316"/>
                  </a:cubicBezTo>
                  <a:cubicBezTo>
                    <a:pt x="295455" y="2375316"/>
                    <a:pt x="234375" y="2372184"/>
                    <a:pt x="174177" y="2366071"/>
                  </a:cubicBezTo>
                  <a:lnTo>
                    <a:pt x="0" y="2339488"/>
                  </a:lnTo>
                  <a:lnTo>
                    <a:pt x="0" y="1560485"/>
                  </a:lnTo>
                  <a:lnTo>
                    <a:pt x="47948" y="1578034"/>
                  </a:lnTo>
                  <a:cubicBezTo>
                    <a:pt x="145661" y="1608426"/>
                    <a:pt x="249552" y="1624798"/>
                    <a:pt x="357266" y="1624798"/>
                  </a:cubicBezTo>
                  <a:cubicBezTo>
                    <a:pt x="931743" y="1624798"/>
                    <a:pt x="1397448" y="1159093"/>
                    <a:pt x="1397448" y="584616"/>
                  </a:cubicBezTo>
                  <a:cubicBezTo>
                    <a:pt x="1397448" y="369187"/>
                    <a:pt x="1331958" y="169054"/>
                    <a:pt x="1219801" y="3040"/>
                  </a:cubicBezTo>
                  <a:close/>
                </a:path>
              </a:pathLst>
            </a:custGeom>
            <a:solidFill>
              <a:srgbClr val="FFC000"/>
            </a:solidFill>
            <a:ln>
              <a:solidFill>
                <a:srgbClr val="FFC000"/>
              </a:solidFill>
            </a:ln>
            <a:effectLst>
              <a:outerShdw blurRad="50800" dist="38100" dir="135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2" name="任意多边形: 形状 21"/>
            <p:cNvSpPr/>
            <p:nvPr/>
          </p:nvSpPr>
          <p:spPr>
            <a:xfrm flipH="1" flipV="1">
              <a:off x="9679404" y="4242544"/>
              <a:ext cx="2147966" cy="2375316"/>
            </a:xfrm>
            <a:custGeom>
              <a:avLst/>
              <a:gdLst>
                <a:gd name="connsiteX0" fmla="*/ 1217293 w 2147966"/>
                <a:gd name="connsiteY0" fmla="*/ 0 h 2375316"/>
                <a:gd name="connsiteX1" fmla="*/ 2048385 w 2147966"/>
                <a:gd name="connsiteY1" fmla="*/ 0 h 2375316"/>
                <a:gd name="connsiteX2" fmla="*/ 2067460 w 2147966"/>
                <a:gd name="connsiteY2" fmla="*/ 52117 h 2375316"/>
                <a:gd name="connsiteX3" fmla="*/ 2147966 w 2147966"/>
                <a:gd name="connsiteY3" fmla="*/ 584616 h 2375316"/>
                <a:gd name="connsiteX4" fmla="*/ 357266 w 2147966"/>
                <a:gd name="connsiteY4" fmla="*/ 2375316 h 2375316"/>
                <a:gd name="connsiteX5" fmla="*/ 174177 w 2147966"/>
                <a:gd name="connsiteY5" fmla="*/ 2366071 h 2375316"/>
                <a:gd name="connsiteX6" fmla="*/ 0 w 2147966"/>
                <a:gd name="connsiteY6" fmla="*/ 2339488 h 2375316"/>
                <a:gd name="connsiteX7" fmla="*/ 0 w 2147966"/>
                <a:gd name="connsiteY7" fmla="*/ 1560485 h 2375316"/>
                <a:gd name="connsiteX8" fmla="*/ 47948 w 2147966"/>
                <a:gd name="connsiteY8" fmla="*/ 1578034 h 2375316"/>
                <a:gd name="connsiteX9" fmla="*/ 357266 w 2147966"/>
                <a:gd name="connsiteY9" fmla="*/ 1624798 h 2375316"/>
                <a:gd name="connsiteX10" fmla="*/ 1397448 w 2147966"/>
                <a:gd name="connsiteY10" fmla="*/ 584616 h 2375316"/>
                <a:gd name="connsiteX11" fmla="*/ 1219801 w 2147966"/>
                <a:gd name="connsiteY11" fmla="*/ 3040 h 237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47966" h="2375316">
                  <a:moveTo>
                    <a:pt x="1217293" y="0"/>
                  </a:moveTo>
                  <a:lnTo>
                    <a:pt x="2048385" y="0"/>
                  </a:lnTo>
                  <a:lnTo>
                    <a:pt x="2067460" y="52117"/>
                  </a:lnTo>
                  <a:cubicBezTo>
                    <a:pt x="2119781" y="220333"/>
                    <a:pt x="2147966" y="399183"/>
                    <a:pt x="2147966" y="584616"/>
                  </a:cubicBezTo>
                  <a:cubicBezTo>
                    <a:pt x="2147966" y="1573592"/>
                    <a:pt x="1346242" y="2375316"/>
                    <a:pt x="357266" y="2375316"/>
                  </a:cubicBezTo>
                  <a:cubicBezTo>
                    <a:pt x="295455" y="2375316"/>
                    <a:pt x="234375" y="2372184"/>
                    <a:pt x="174177" y="2366071"/>
                  </a:cubicBezTo>
                  <a:lnTo>
                    <a:pt x="0" y="2339488"/>
                  </a:lnTo>
                  <a:lnTo>
                    <a:pt x="0" y="1560485"/>
                  </a:lnTo>
                  <a:lnTo>
                    <a:pt x="47948" y="1578034"/>
                  </a:lnTo>
                  <a:cubicBezTo>
                    <a:pt x="145661" y="1608426"/>
                    <a:pt x="249552" y="1624798"/>
                    <a:pt x="357266" y="1624798"/>
                  </a:cubicBezTo>
                  <a:cubicBezTo>
                    <a:pt x="931743" y="1624798"/>
                    <a:pt x="1397448" y="1159093"/>
                    <a:pt x="1397448" y="584616"/>
                  </a:cubicBezTo>
                  <a:cubicBezTo>
                    <a:pt x="1397448" y="369187"/>
                    <a:pt x="1331958" y="169054"/>
                    <a:pt x="1219801" y="3040"/>
                  </a:cubicBezTo>
                  <a:close/>
                </a:path>
              </a:pathLst>
            </a:cu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pic>
        <p:nvPicPr>
          <p:cNvPr id="38" name="图片 37" descr="无底色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39" name="文本框 38"/>
          <p:cNvSpPr txBox="1"/>
          <p:nvPr/>
        </p:nvSpPr>
        <p:spPr>
          <a:xfrm>
            <a:off x="708660" y="3959225"/>
            <a:ext cx="5562600" cy="63881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altLang="en-US" sz="2800" b="1">
                <a:solidFill>
                  <a:schemeClr val="tx1"/>
                </a:solidFill>
                <a:sym typeface="+mn-ea"/>
              </a:rPr>
              <a:t>打造全产业链的中国饮料服务平台</a:t>
            </a:r>
            <a:endParaRPr lang="zh-CN" altLang="en-US" sz="2800" b="1">
              <a:solidFill>
                <a:schemeClr val="tx1"/>
              </a:solidFill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757664" y="2401243"/>
            <a:ext cx="4744522" cy="2714694"/>
          </a:xfrm>
          <a:prstGeom prst="rect">
            <a:avLst/>
          </a:prstGeom>
          <a:solidFill>
            <a:schemeClr val="bg1">
              <a:alpha val="6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grpSp>
        <p:nvGrpSpPr>
          <p:cNvPr id="26" name="组合 25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7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262681" y="144987"/>
              <a:ext cx="26996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企业文化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" name="ïślíḋé"/>
          <p:cNvGrpSpPr/>
          <p:nvPr>
            <p:custDataLst>
              <p:tags r:id="rId1"/>
            </p:custDataLst>
          </p:nvPr>
        </p:nvGrpSpPr>
        <p:grpSpPr>
          <a:xfrm>
            <a:off x="689814" y="1239228"/>
            <a:ext cx="10862338" cy="1162015"/>
            <a:chOff x="658150" y="3113999"/>
            <a:chExt cx="10862338" cy="1504011"/>
          </a:xfrm>
        </p:grpSpPr>
        <p:sp>
          <p:nvSpPr>
            <p:cNvPr id="38" name="íṡ1íḑê"/>
            <p:cNvSpPr/>
            <p:nvPr/>
          </p:nvSpPr>
          <p:spPr bwMode="auto">
            <a:xfrm>
              <a:off x="2091000" y="3113999"/>
              <a:ext cx="9429488" cy="1504011"/>
            </a:xfrm>
            <a:prstGeom prst="chevron">
              <a:avLst>
                <a:gd name="adj" fmla="val 30582"/>
              </a:avLst>
            </a:prstGeom>
            <a:solidFill>
              <a:schemeClr val="bg1">
                <a:lumMod val="85000"/>
                <a:alpha val="9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9" name="ïṥļiḑé"/>
            <p:cNvSpPr/>
            <p:nvPr>
              <p:custDataLst>
                <p:tags r:id="rId2"/>
              </p:custDataLst>
            </p:nvPr>
          </p:nvSpPr>
          <p:spPr bwMode="auto">
            <a:xfrm>
              <a:off x="658150" y="3113999"/>
              <a:ext cx="1723100" cy="1504011"/>
            </a:xfrm>
            <a:prstGeom prst="homePlate">
              <a:avLst>
                <a:gd name="adj" fmla="val 31240"/>
              </a:avLst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/>
                <a:t>经营理念</a:t>
              </a:r>
              <a:endParaRPr lang="zh-CN" altLang="en-US" sz="2400" b="1" dirty="0"/>
            </a:p>
          </p:txBody>
        </p:sp>
      </p:grpSp>
      <p:grpSp>
        <p:nvGrpSpPr>
          <p:cNvPr id="23" name="ïṩļiḓe"/>
          <p:cNvGrpSpPr/>
          <p:nvPr>
            <p:custDataLst>
              <p:tags r:id="rId3"/>
            </p:custDataLst>
          </p:nvPr>
        </p:nvGrpSpPr>
        <p:grpSpPr>
          <a:xfrm>
            <a:off x="689814" y="3823701"/>
            <a:ext cx="10862338" cy="1162015"/>
            <a:chOff x="658150" y="3113999"/>
            <a:chExt cx="10862338" cy="1504011"/>
          </a:xfrm>
        </p:grpSpPr>
        <p:sp>
          <p:nvSpPr>
            <p:cNvPr id="36" name="iś1íḍé"/>
            <p:cNvSpPr/>
            <p:nvPr/>
          </p:nvSpPr>
          <p:spPr bwMode="auto">
            <a:xfrm>
              <a:off x="2091000" y="3113999"/>
              <a:ext cx="9429488" cy="1504011"/>
            </a:xfrm>
            <a:prstGeom prst="chevron">
              <a:avLst>
                <a:gd name="adj" fmla="val 30582"/>
              </a:avLst>
            </a:prstGeom>
            <a:solidFill>
              <a:schemeClr val="bg1">
                <a:lumMod val="85000"/>
                <a:alpha val="9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7" name="íṥḻidê"/>
            <p:cNvSpPr/>
            <p:nvPr>
              <p:custDataLst>
                <p:tags r:id="rId4"/>
              </p:custDataLst>
            </p:nvPr>
          </p:nvSpPr>
          <p:spPr bwMode="auto">
            <a:xfrm>
              <a:off x="658150" y="3113999"/>
              <a:ext cx="1723100" cy="1504011"/>
            </a:xfrm>
            <a:prstGeom prst="homePlate">
              <a:avLst>
                <a:gd name="adj" fmla="val 31240"/>
              </a:avLst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/>
                <a:t>人才理念</a:t>
              </a:r>
              <a:endParaRPr lang="zh-CN" altLang="en-US" sz="2400" b="1" dirty="0"/>
            </a:p>
          </p:txBody>
        </p:sp>
      </p:grpSp>
      <p:grpSp>
        <p:nvGrpSpPr>
          <p:cNvPr id="24" name="ïṧľiḓê"/>
          <p:cNvGrpSpPr/>
          <p:nvPr>
            <p:custDataLst>
              <p:tags r:id="rId5"/>
            </p:custDataLst>
          </p:nvPr>
        </p:nvGrpSpPr>
        <p:grpSpPr>
          <a:xfrm>
            <a:off x="689814" y="5115937"/>
            <a:ext cx="10862338" cy="1162015"/>
            <a:chOff x="658150" y="3113999"/>
            <a:chExt cx="10862338" cy="1504011"/>
          </a:xfrm>
        </p:grpSpPr>
        <p:sp>
          <p:nvSpPr>
            <p:cNvPr id="34" name="iS1íďè"/>
            <p:cNvSpPr/>
            <p:nvPr/>
          </p:nvSpPr>
          <p:spPr bwMode="auto">
            <a:xfrm>
              <a:off x="2091000" y="3113999"/>
              <a:ext cx="9429488" cy="1504011"/>
            </a:xfrm>
            <a:prstGeom prst="chevron">
              <a:avLst>
                <a:gd name="adj" fmla="val 30582"/>
              </a:avLst>
            </a:prstGeom>
            <a:solidFill>
              <a:schemeClr val="bg1">
                <a:lumMod val="85000"/>
                <a:alpha val="9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5" name="íṣḷíďê"/>
            <p:cNvSpPr/>
            <p:nvPr>
              <p:custDataLst>
                <p:tags r:id="rId6"/>
              </p:custDataLst>
            </p:nvPr>
          </p:nvSpPr>
          <p:spPr bwMode="auto">
            <a:xfrm>
              <a:off x="658150" y="3113999"/>
              <a:ext cx="1723100" cy="1504011"/>
            </a:xfrm>
            <a:prstGeom prst="homePlate">
              <a:avLst>
                <a:gd name="adj" fmla="val 31240"/>
              </a:avLst>
            </a:prstGeom>
            <a:solidFill>
              <a:srgbClr val="FFC00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/>
                <a:t>产品理念</a:t>
              </a:r>
              <a:endParaRPr lang="zh-CN" altLang="en-US" sz="2400" b="1" dirty="0"/>
            </a:p>
          </p:txBody>
        </p:sp>
      </p:grpSp>
      <p:grpSp>
        <p:nvGrpSpPr>
          <p:cNvPr id="31" name="îŝļïďê"/>
          <p:cNvGrpSpPr/>
          <p:nvPr>
            <p:custDataLst>
              <p:tags r:id="rId7"/>
            </p:custDataLst>
          </p:nvPr>
        </p:nvGrpSpPr>
        <p:grpSpPr>
          <a:xfrm>
            <a:off x="689814" y="2531464"/>
            <a:ext cx="10862338" cy="1162015"/>
            <a:chOff x="658150" y="3113999"/>
            <a:chExt cx="10862338" cy="1504011"/>
          </a:xfrm>
        </p:grpSpPr>
        <p:sp>
          <p:nvSpPr>
            <p:cNvPr id="32" name="iśḷiḋe"/>
            <p:cNvSpPr/>
            <p:nvPr/>
          </p:nvSpPr>
          <p:spPr bwMode="auto">
            <a:xfrm>
              <a:off x="2091000" y="3113999"/>
              <a:ext cx="9429488" cy="1504011"/>
            </a:xfrm>
            <a:prstGeom prst="chevron">
              <a:avLst>
                <a:gd name="adj" fmla="val 30582"/>
              </a:avLst>
            </a:prstGeom>
            <a:solidFill>
              <a:schemeClr val="bg1">
                <a:lumMod val="85000"/>
                <a:alpha val="9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3" name="íŝḻîḓé"/>
            <p:cNvSpPr/>
            <p:nvPr>
              <p:custDataLst>
                <p:tags r:id="rId8"/>
              </p:custDataLst>
            </p:nvPr>
          </p:nvSpPr>
          <p:spPr bwMode="auto">
            <a:xfrm>
              <a:off x="658150" y="3113999"/>
              <a:ext cx="1723100" cy="1504011"/>
            </a:xfrm>
            <a:prstGeom prst="homePlate">
              <a:avLst>
                <a:gd name="adj" fmla="val 31240"/>
              </a:avLst>
            </a:prstGeom>
            <a:solidFill>
              <a:srgbClr val="FFC00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/>
                <a:t>管理理念</a:t>
              </a:r>
              <a:endParaRPr lang="zh-CN" altLang="en-US" sz="2400" b="1" dirty="0"/>
            </a:p>
          </p:txBody>
        </p:sp>
      </p:grpSp>
      <p:sp>
        <p:nvSpPr>
          <p:cNvPr id="40" name="矩形 39"/>
          <p:cNvSpPr/>
          <p:nvPr>
            <p:custDataLst>
              <p:tags r:id="rId9"/>
            </p:custDataLst>
          </p:nvPr>
        </p:nvSpPr>
        <p:spPr>
          <a:xfrm>
            <a:off x="2487361" y="1561399"/>
            <a:ext cx="3303839" cy="429260"/>
          </a:xfrm>
          <a:prstGeom prst="rect">
            <a:avLst/>
          </a:prstGeom>
        </p:spPr>
        <p:txBody>
          <a:bodyPr wrap="square" lIns="121920" tIns="60960" rIns="121920" bIns="6096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800"/>
              </a:spcAft>
            </a:pPr>
            <a:r>
              <a:rPr lang="zh-CN" altLang="en-US" sz="2000" b="1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专心专注、客户至上</a:t>
            </a:r>
            <a:endParaRPr lang="zh-CN" altLang="en-US" sz="2000" b="1" noProof="1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矩形 40"/>
          <p:cNvSpPr/>
          <p:nvPr>
            <p:custDataLst>
              <p:tags r:id="rId10"/>
            </p:custDataLst>
          </p:nvPr>
        </p:nvSpPr>
        <p:spPr>
          <a:xfrm>
            <a:off x="2487295" y="2886710"/>
            <a:ext cx="4161790" cy="737235"/>
          </a:xfrm>
          <a:prstGeom prst="rect">
            <a:avLst/>
          </a:prstGeom>
        </p:spPr>
        <p:txBody>
          <a:bodyPr wrap="square" lIns="121920" tIns="60960" rIns="121920" bIns="6096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zh-CN" altLang="en-US" sz="2000" b="1" noProof="1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管理职责化、工作标准化、办事流程化</a:t>
            </a:r>
            <a:endParaRPr lang="zh-CN" altLang="en-US" sz="2000" b="1" noProof="1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îṩḻîďê"/>
          <p:cNvSpPr/>
          <p:nvPr/>
        </p:nvSpPr>
        <p:spPr bwMode="auto">
          <a:xfrm>
            <a:off x="6872344" y="1267168"/>
            <a:ext cx="4794488" cy="5019674"/>
          </a:xfrm>
          <a:prstGeom prst="flowChartProcess">
            <a:avLst/>
          </a:prstGeom>
          <a:blipFill dpi="0" rotWithShape="1">
            <a:blip r:embed="rId11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42" name="矩形 41"/>
          <p:cNvSpPr/>
          <p:nvPr>
            <p:custDataLst>
              <p:tags r:id="rId12"/>
            </p:custDataLst>
          </p:nvPr>
        </p:nvSpPr>
        <p:spPr>
          <a:xfrm>
            <a:off x="2527300" y="4157345"/>
            <a:ext cx="4121785" cy="737235"/>
          </a:xfrm>
          <a:prstGeom prst="rect">
            <a:avLst/>
          </a:prstGeom>
        </p:spPr>
        <p:txBody>
          <a:bodyPr wrap="square" lIns="121920" tIns="60960" rIns="121920" bIns="6096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800"/>
              </a:spcAft>
            </a:pPr>
            <a:r>
              <a:rPr lang="zh-CN" altLang="en-US" sz="2000" b="1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德才兼备、不拘一格、人尽其才、才尽其用</a:t>
            </a:r>
            <a:endParaRPr lang="zh-CN" altLang="en-US" sz="2000" b="1" noProof="1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2" name="矩形 51"/>
          <p:cNvSpPr/>
          <p:nvPr>
            <p:custDataLst>
              <p:tags r:id="rId13"/>
            </p:custDataLst>
          </p:nvPr>
        </p:nvSpPr>
        <p:spPr>
          <a:xfrm>
            <a:off x="2487295" y="5438140"/>
            <a:ext cx="4161155" cy="675640"/>
          </a:xfrm>
          <a:prstGeom prst="rect">
            <a:avLst/>
          </a:prstGeom>
        </p:spPr>
        <p:txBody>
          <a:bodyPr wrap="square" lIns="121920" tIns="60960" rIns="121920" bIns="6096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800"/>
              </a:spcAft>
            </a:pPr>
            <a:r>
              <a:rPr lang="zh-CN" altLang="en-US" b="1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以客户需求为中心、重研发、强质量、保安全</a:t>
            </a:r>
            <a:endParaRPr lang="zh-CN" altLang="en-US" b="1" noProof="1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2" name="图片 1" descr="无底色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5213684" y="1620253"/>
            <a:ext cx="5746307" cy="3513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2389377" y="1941438"/>
            <a:ext cx="1287273" cy="10936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图片 2" descr="C:/Users/张箐/Desktop/微信图片_20251203152440_1815_54.jpg微信图片_20251203152440_1815_54"/>
          <p:cNvPicPr>
            <a:picLocks noChangeAspect="1"/>
          </p:cNvPicPr>
          <p:nvPr/>
        </p:nvPicPr>
        <p:blipFill>
          <a:blip r:embed="rId1"/>
          <a:srcRect t="1548"/>
          <a:stretch>
            <a:fillRect/>
          </a:stretch>
        </p:blipFill>
        <p:spPr>
          <a:xfrm>
            <a:off x="5376965" y="1871276"/>
            <a:ext cx="5419184" cy="3145325"/>
          </a:xfrm>
          <a:prstGeom prst="rect">
            <a:avLst/>
          </a:prstGeom>
        </p:spPr>
      </p:pic>
      <p:sp>
        <p:nvSpPr>
          <p:cNvPr id="7" name="任意多边形: 形状 6"/>
          <p:cNvSpPr/>
          <p:nvPr/>
        </p:nvSpPr>
        <p:spPr>
          <a:xfrm>
            <a:off x="5376964" y="1776850"/>
            <a:ext cx="5419185" cy="3198317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5376964" y="2488267"/>
            <a:ext cx="5419184" cy="2785886"/>
          </a:xfrm>
          <a:custGeom>
            <a:avLst/>
            <a:gdLst>
              <a:gd name="connsiteX0" fmla="*/ 0 w 12192001"/>
              <a:gd name="connsiteY0" fmla="*/ 5395165 h 5395166"/>
              <a:gd name="connsiteX1" fmla="*/ 12192001 w 12192001"/>
              <a:gd name="connsiteY1" fmla="*/ 5395165 h 5395166"/>
              <a:gd name="connsiteX2" fmla="*/ 12192001 w 12192001"/>
              <a:gd name="connsiteY2" fmla="*/ 5395166 h 5395166"/>
              <a:gd name="connsiteX3" fmla="*/ 0 w 12192001"/>
              <a:gd name="connsiteY3" fmla="*/ 5395166 h 5395166"/>
              <a:gd name="connsiteX4" fmla="*/ 2310973 w 12192001"/>
              <a:gd name="connsiteY4" fmla="*/ 0 h 5395166"/>
              <a:gd name="connsiteX5" fmla="*/ 5961015 w 12192001"/>
              <a:gd name="connsiteY5" fmla="*/ 1626427 h 5395166"/>
              <a:gd name="connsiteX6" fmla="*/ 12192001 w 12192001"/>
              <a:gd name="connsiteY6" fmla="*/ 4777628 h 5395166"/>
              <a:gd name="connsiteX7" fmla="*/ 12192001 w 12192001"/>
              <a:gd name="connsiteY7" fmla="*/ 4823393 h 5395166"/>
              <a:gd name="connsiteX8" fmla="*/ 5961015 w 12192001"/>
              <a:gd name="connsiteY8" fmla="*/ 1905726 h 5395166"/>
              <a:gd name="connsiteX9" fmla="*/ 2310973 w 12192001"/>
              <a:gd name="connsiteY9" fmla="*/ 399832 h 5395166"/>
              <a:gd name="connsiteX10" fmla="*/ 0 w 12192001"/>
              <a:gd name="connsiteY10" fmla="*/ 1129250 h 5395166"/>
              <a:gd name="connsiteX11" fmla="*/ 0 w 12192001"/>
              <a:gd name="connsiteY11" fmla="*/ 787801 h 5395166"/>
              <a:gd name="connsiteX12" fmla="*/ 2310973 w 12192001"/>
              <a:gd name="connsiteY12" fmla="*/ 0 h 539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1" h="5395166">
                <a:moveTo>
                  <a:pt x="0" y="5395165"/>
                </a:moveTo>
                <a:lnTo>
                  <a:pt x="12192001" y="5395165"/>
                </a:lnTo>
                <a:lnTo>
                  <a:pt x="12192001" y="5395166"/>
                </a:lnTo>
                <a:lnTo>
                  <a:pt x="0" y="5395166"/>
                </a:lnTo>
                <a:close/>
                <a:moveTo>
                  <a:pt x="2310973" y="0"/>
                </a:moveTo>
                <a:cubicBezTo>
                  <a:pt x="3293676" y="0"/>
                  <a:pt x="4546353" y="355781"/>
                  <a:pt x="5961015" y="1626427"/>
                </a:cubicBezTo>
                <a:cubicBezTo>
                  <a:pt x="9438272" y="4752215"/>
                  <a:pt x="12192001" y="4777628"/>
                  <a:pt x="12192001" y="4777628"/>
                </a:cubicBezTo>
                <a:lnTo>
                  <a:pt x="12192001" y="4823393"/>
                </a:lnTo>
                <a:cubicBezTo>
                  <a:pt x="12192001" y="4823393"/>
                  <a:pt x="9438272" y="4799863"/>
                  <a:pt x="5961015" y="1905726"/>
                </a:cubicBezTo>
                <a:cubicBezTo>
                  <a:pt x="4546353" y="729246"/>
                  <a:pt x="3293676" y="399832"/>
                  <a:pt x="2310973" y="399832"/>
                </a:cubicBezTo>
                <a:cubicBezTo>
                  <a:pt x="874714" y="399832"/>
                  <a:pt x="0" y="1129250"/>
                  <a:pt x="0" y="1129250"/>
                </a:cubicBezTo>
                <a:lnTo>
                  <a:pt x="0" y="787801"/>
                </a:lnTo>
                <a:cubicBezTo>
                  <a:pt x="0" y="787801"/>
                  <a:pt x="874714" y="0"/>
                  <a:pt x="2310973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5955643" y="4644564"/>
            <a:ext cx="4387343" cy="744073"/>
            <a:chOff x="318007" y="4755835"/>
            <a:chExt cx="6275053" cy="489254"/>
          </a:xfrm>
        </p:grpSpPr>
        <p:grpSp>
          <p:nvGrpSpPr>
            <p:cNvPr id="13" name="组合 12"/>
            <p:cNvGrpSpPr/>
            <p:nvPr/>
          </p:nvGrpSpPr>
          <p:grpSpPr>
            <a:xfrm>
              <a:off x="318007" y="4755835"/>
              <a:ext cx="6275053" cy="474436"/>
              <a:chOff x="2958474" y="4627033"/>
              <a:chExt cx="6275053" cy="474436"/>
            </a:xfrm>
          </p:grpSpPr>
          <p:sp>
            <p:nvSpPr>
              <p:cNvPr id="15" name="直角三角形 14"/>
              <p:cNvSpPr/>
              <p:nvPr/>
            </p:nvSpPr>
            <p:spPr>
              <a:xfrm flipH="1" flipV="1">
                <a:off x="2958474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6" name="直角三角形 15"/>
              <p:cNvSpPr/>
              <p:nvPr/>
            </p:nvSpPr>
            <p:spPr>
              <a:xfrm flipV="1">
                <a:off x="9013372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3178629" y="4627033"/>
                <a:ext cx="5834743" cy="474436"/>
              </a:xfrm>
              <a:prstGeom prst="rect">
                <a:avLst/>
              </a:prstGeom>
              <a:solidFill>
                <a:srgbClr val="24222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530644" y="4755835"/>
              <a:ext cx="5834742" cy="48925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Original Garamond Std Roman" panose="02010600010101010101" charset="-122"/>
              </a:endParaRPr>
            </a:p>
          </p:txBody>
        </p:sp>
      </p:grpSp>
      <p:sp>
        <p:nvSpPr>
          <p:cNvPr id="24" name="任意多边形: 形状 23"/>
          <p:cNvSpPr/>
          <p:nvPr/>
        </p:nvSpPr>
        <p:spPr>
          <a:xfrm>
            <a:off x="0" y="-44535"/>
            <a:ext cx="12192000" cy="387879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6104255" y="4727575"/>
            <a:ext cx="407924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000" b="1" dirty="0">
                <a:solidFill>
                  <a:schemeClr val="bg1"/>
                </a:solidFill>
                <a:latin typeface="Garamond" panose="02020404030301010803" charset="0"/>
                <a:ea typeface="微软雅黑" panose="020B0503020204020204" pitchFamily="34" charset="-122"/>
                <a:cs typeface="Garamond" panose="02020404030301010803" charset="0"/>
              </a:rPr>
              <a:t>打造全产业链的中国饮料服务平台</a:t>
            </a:r>
            <a:endParaRPr lang="zh-CN" altLang="en-US" sz="2000" b="1" dirty="0">
              <a:solidFill>
                <a:schemeClr val="bg1"/>
              </a:solidFill>
              <a:latin typeface="Garamond" panose="02020404030301010803" charset="0"/>
              <a:ea typeface="微软雅黑" panose="020B0503020204020204" pitchFamily="34" charset="-122"/>
              <a:cs typeface="Garamond" panose="02020404030301010803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 idx="4294967295"/>
          </p:nvPr>
        </p:nvSpPr>
        <p:spPr>
          <a:xfrm>
            <a:off x="1195070" y="2574925"/>
            <a:ext cx="3816985" cy="1663065"/>
          </a:xfrm>
        </p:spPr>
        <p:txBody>
          <a:bodyPr>
            <a:noAutofit/>
          </a:bodyPr>
          <a:lstStyle/>
          <a:p>
            <a:pPr algn="ctr"/>
            <a:r>
              <a:rPr lang="zh-CN" altLang="en-US" sz="5500" dirty="0">
                <a:sym typeface="+mn-ea"/>
              </a:rPr>
              <a:t>产品及服务</a:t>
            </a:r>
            <a:endParaRPr lang="zh-CN" altLang="en-US" sz="5500" dirty="0"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直接连接符 27"/>
          <p:cNvCxnSpPr/>
          <p:nvPr>
            <p:custDataLst>
              <p:tags r:id="rId1"/>
            </p:custDataLst>
          </p:nvPr>
        </p:nvCxnSpPr>
        <p:spPr>
          <a:xfrm rot="11460000" flipH="1">
            <a:off x="5870575" y="2540635"/>
            <a:ext cx="701040" cy="78676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>
            <p:custDataLst>
              <p:tags r:id="rId2"/>
            </p:custDataLst>
          </p:nvPr>
        </p:nvCxnSpPr>
        <p:spPr>
          <a:xfrm flipH="1">
            <a:off x="4195717" y="3703086"/>
            <a:ext cx="701241" cy="78696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íṣḻiḑè"/>
          <p:cNvGrpSpPr/>
          <p:nvPr/>
        </p:nvGrpSpPr>
        <p:grpSpPr>
          <a:xfrm>
            <a:off x="4723130" y="2734945"/>
            <a:ext cx="1055370" cy="1054100"/>
            <a:chOff x="2023468" y="3031893"/>
            <a:chExt cx="1055070" cy="1053814"/>
          </a:xfrm>
        </p:grpSpPr>
        <p:sp>
          <p:nvSpPr>
            <p:cNvPr id="71" name="ïšḻíḓè"/>
            <p:cNvSpPr/>
            <p:nvPr>
              <p:custDataLst>
                <p:tags r:id="rId3"/>
              </p:custDataLst>
            </p:nvPr>
          </p:nvSpPr>
          <p:spPr>
            <a:xfrm>
              <a:off x="2023468" y="3031893"/>
              <a:ext cx="1055070" cy="1053814"/>
            </a:xfrm>
            <a:prstGeom prst="ellipse">
              <a:avLst/>
            </a:prstGeom>
            <a:solidFill>
              <a:schemeClr val="bg1">
                <a:lumMod val="85000"/>
                <a:alpha val="66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2" name="ï$ḻîḍe"/>
            <p:cNvSpPr/>
            <p:nvPr>
              <p:custDataLst>
                <p:tags r:id="rId4"/>
              </p:custDataLst>
            </p:nvPr>
          </p:nvSpPr>
          <p:spPr>
            <a:xfrm>
              <a:off x="2163862" y="3172120"/>
              <a:ext cx="774282" cy="773360"/>
            </a:xfrm>
            <a:prstGeom prst="ellipse">
              <a:avLst/>
            </a:prstGeom>
            <a:solidFill>
              <a:srgbClr val="0060B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900" b="1" dirty="0">
                  <a:solidFill>
                    <a:schemeClr val="bg1"/>
                  </a:solidFill>
                  <a:sym typeface="+mn-ea"/>
                </a:rPr>
                <a:t>无菌</a:t>
              </a:r>
              <a:endParaRPr lang="zh-CN" altLang="en-US" sz="1900" b="1" dirty="0">
                <a:solidFill>
                  <a:schemeClr val="bg1"/>
                </a:solidFill>
                <a:sym typeface="+mn-ea"/>
              </a:endParaRPr>
            </a:p>
            <a:p>
              <a:pPr algn="ctr"/>
              <a:r>
                <a:rPr lang="zh-CN" altLang="en-US" sz="1900" b="1" dirty="0">
                  <a:solidFill>
                    <a:schemeClr val="bg1"/>
                  </a:solidFill>
                  <a:sym typeface="+mn-ea"/>
                </a:rPr>
                <a:t>纸包</a:t>
              </a:r>
              <a:endParaRPr lang="zh-CN" altLang="en-US" sz="1900" b="1" dirty="0">
                <a:solidFill>
                  <a:schemeClr val="bg1"/>
                </a:solidFill>
                <a:sym typeface="+mn-ea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41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766236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与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33" name="直接连接符 32"/>
          <p:cNvCxnSpPr/>
          <p:nvPr>
            <p:custDataLst>
              <p:tags r:id="rId5"/>
            </p:custDataLst>
          </p:nvPr>
        </p:nvCxnSpPr>
        <p:spPr>
          <a:xfrm>
            <a:off x="4195717" y="2361331"/>
            <a:ext cx="626946" cy="48978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íṥḷíḋê"/>
          <p:cNvGrpSpPr/>
          <p:nvPr>
            <p:custDataLst>
              <p:tags r:id="rId6"/>
            </p:custDataLst>
          </p:nvPr>
        </p:nvGrpSpPr>
        <p:grpSpPr>
          <a:xfrm>
            <a:off x="3198733" y="1497747"/>
            <a:ext cx="1055070" cy="1053814"/>
            <a:chOff x="2023468" y="1669839"/>
            <a:chExt cx="1055070" cy="1053814"/>
          </a:xfrm>
          <a:solidFill>
            <a:srgbClr val="FFC000"/>
          </a:solidFill>
        </p:grpSpPr>
        <p:sp>
          <p:nvSpPr>
            <p:cNvPr id="73" name="ïṣlíḓè"/>
            <p:cNvSpPr/>
            <p:nvPr>
              <p:custDataLst>
                <p:tags r:id="rId7"/>
              </p:custDataLst>
            </p:nvPr>
          </p:nvSpPr>
          <p:spPr>
            <a:xfrm>
              <a:off x="2023468" y="1669839"/>
              <a:ext cx="1055070" cy="1053814"/>
            </a:xfrm>
            <a:prstGeom prst="ellipse">
              <a:avLst/>
            </a:prstGeom>
            <a:grpFill/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4" name="ïSľiďe"/>
            <p:cNvSpPr/>
            <p:nvPr>
              <p:custDataLst>
                <p:tags r:id="rId8"/>
              </p:custDataLst>
            </p:nvPr>
          </p:nvSpPr>
          <p:spPr>
            <a:xfrm>
              <a:off x="2163862" y="1810066"/>
              <a:ext cx="774282" cy="773360"/>
            </a:xfrm>
            <a:prstGeom prst="ellipse">
              <a:avLst/>
            </a:prstGeom>
            <a:solidFill>
              <a:srgbClr val="0060B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zh-CN" sz="1900" b="1" dirty="0">
                  <a:solidFill>
                    <a:schemeClr val="bg1"/>
                  </a:solidFill>
                  <a:sym typeface="+mn-ea"/>
                </a:rPr>
                <a:t>SBC</a:t>
              </a:r>
              <a:endParaRPr lang="en-US" altLang="zh-CN" sz="1900" b="1" dirty="0">
                <a:solidFill>
                  <a:schemeClr val="bg1"/>
                </a:solidFill>
                <a:sym typeface="+mn-ea"/>
              </a:endParaRPr>
            </a:p>
            <a:p>
              <a:pPr algn="ctr"/>
              <a:r>
                <a:rPr lang="en-US" altLang="zh-CN" sz="1900" b="1" dirty="0">
                  <a:solidFill>
                    <a:schemeClr val="bg1"/>
                  </a:solidFill>
                  <a:sym typeface="+mn-ea"/>
                </a:rPr>
                <a:t>ABC</a:t>
              </a:r>
              <a:endParaRPr lang="en-US" altLang="zh-CN" sz="19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59" name="直接连接符 58"/>
          <p:cNvCxnSpPr/>
          <p:nvPr>
            <p:custDataLst>
              <p:tags r:id="rId9"/>
            </p:custDataLst>
          </p:nvPr>
        </p:nvCxnSpPr>
        <p:spPr>
          <a:xfrm>
            <a:off x="1950007" y="3608358"/>
            <a:ext cx="1117815" cy="88537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/>
          <p:cNvGrpSpPr/>
          <p:nvPr>
            <p:custDataLst>
              <p:tags r:id="rId10"/>
            </p:custDataLst>
          </p:nvPr>
        </p:nvGrpSpPr>
        <p:grpSpPr>
          <a:xfrm>
            <a:off x="2853238" y="4279399"/>
            <a:ext cx="1465272" cy="1463528"/>
            <a:chOff x="5734233" y="4365124"/>
            <a:chExt cx="1465272" cy="1463528"/>
          </a:xfrm>
        </p:grpSpPr>
        <p:sp>
          <p:nvSpPr>
            <p:cNvPr id="67" name="îṧļíďe"/>
            <p:cNvSpPr/>
            <p:nvPr>
              <p:custDataLst>
                <p:tags r:id="rId11"/>
              </p:custDataLst>
            </p:nvPr>
          </p:nvSpPr>
          <p:spPr>
            <a:xfrm>
              <a:off x="5734233" y="4365124"/>
              <a:ext cx="1465272" cy="1463528"/>
            </a:xfrm>
            <a:prstGeom prst="ellipse">
              <a:avLst/>
            </a:prstGeom>
            <a:solidFill>
              <a:schemeClr val="bg1">
                <a:lumMod val="85000"/>
                <a:alpha val="66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8" name="iş1iḍê"/>
            <p:cNvSpPr/>
            <p:nvPr>
              <p:custDataLst>
                <p:tags r:id="rId12"/>
              </p:custDataLst>
            </p:nvPr>
          </p:nvSpPr>
          <p:spPr>
            <a:xfrm>
              <a:off x="5929211" y="4559870"/>
              <a:ext cx="1075316" cy="1074036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两片罐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组合 3"/>
          <p:cNvGrpSpPr/>
          <p:nvPr>
            <p:custDataLst>
              <p:tags r:id="rId13"/>
            </p:custDataLst>
          </p:nvPr>
        </p:nvGrpSpPr>
        <p:grpSpPr>
          <a:xfrm>
            <a:off x="699319" y="2359159"/>
            <a:ext cx="1465272" cy="1463528"/>
            <a:chOff x="3580314" y="2444884"/>
            <a:chExt cx="1465272" cy="1463528"/>
          </a:xfrm>
        </p:grpSpPr>
        <p:sp>
          <p:nvSpPr>
            <p:cNvPr id="69" name="ïš1îḓé"/>
            <p:cNvSpPr/>
            <p:nvPr>
              <p:custDataLst>
                <p:tags r:id="rId14"/>
              </p:custDataLst>
            </p:nvPr>
          </p:nvSpPr>
          <p:spPr>
            <a:xfrm>
              <a:off x="3580314" y="2444884"/>
              <a:ext cx="1465272" cy="1463528"/>
            </a:xfrm>
            <a:prstGeom prst="ellipse">
              <a:avLst/>
            </a:prstGeom>
            <a:solidFill>
              <a:srgbClr val="E6E6E6"/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0" name="ïṡḻîḑê"/>
            <p:cNvSpPr/>
            <p:nvPr>
              <p:custDataLst>
                <p:tags r:id="rId15"/>
              </p:custDataLst>
            </p:nvPr>
          </p:nvSpPr>
          <p:spPr>
            <a:xfrm>
              <a:off x="3775291" y="2639630"/>
              <a:ext cx="1075316" cy="1074036"/>
            </a:xfrm>
            <a:prstGeom prst="ellipse">
              <a:avLst/>
            </a:prstGeom>
            <a:solidFill>
              <a:srgbClr val="0060B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rtlCol="0" anchor="ctr">
              <a:norm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sym typeface="+mn-ea"/>
                </a:rPr>
                <a:t>三片罐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cxnSp>
        <p:nvCxnSpPr>
          <p:cNvPr id="30" name="直接连接符 29"/>
          <p:cNvCxnSpPr/>
          <p:nvPr>
            <p:custDataLst>
              <p:tags r:id="rId18"/>
            </p:custDataLst>
          </p:nvPr>
        </p:nvCxnSpPr>
        <p:spPr>
          <a:xfrm rot="11460000">
            <a:off x="7602855" y="2894965"/>
            <a:ext cx="1117600" cy="88519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组合 34"/>
          <p:cNvGrpSpPr/>
          <p:nvPr>
            <p:custDataLst>
              <p:tags r:id="rId19"/>
            </p:custDataLst>
          </p:nvPr>
        </p:nvGrpSpPr>
        <p:grpSpPr>
          <a:xfrm rot="11460000">
            <a:off x="6526530" y="1457960"/>
            <a:ext cx="1465580" cy="1463675"/>
            <a:chOff x="5734233" y="4365124"/>
            <a:chExt cx="1465272" cy="1463528"/>
          </a:xfrm>
        </p:grpSpPr>
        <p:sp>
          <p:nvSpPr>
            <p:cNvPr id="36" name="îṧļíďe"/>
            <p:cNvSpPr/>
            <p:nvPr>
              <p:custDataLst>
                <p:tags r:id="rId20"/>
              </p:custDataLst>
            </p:nvPr>
          </p:nvSpPr>
          <p:spPr>
            <a:xfrm>
              <a:off x="5734233" y="4365124"/>
              <a:ext cx="1465272" cy="1463528"/>
            </a:xfrm>
            <a:prstGeom prst="ellipse">
              <a:avLst/>
            </a:prstGeom>
            <a:solidFill>
              <a:schemeClr val="bg1">
                <a:lumMod val="85000"/>
                <a:alpha val="66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8" name="iş1iḍê"/>
            <p:cNvSpPr/>
            <p:nvPr>
              <p:custDataLst>
                <p:tags r:id="rId21"/>
              </p:custDataLst>
            </p:nvPr>
          </p:nvSpPr>
          <p:spPr>
            <a:xfrm>
              <a:off x="5940985" y="4570517"/>
              <a:ext cx="1075316" cy="1074036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/>
            </a:bodyPr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组合 38"/>
          <p:cNvGrpSpPr/>
          <p:nvPr>
            <p:custDataLst>
              <p:tags r:id="rId22"/>
            </p:custDataLst>
          </p:nvPr>
        </p:nvGrpSpPr>
        <p:grpSpPr>
          <a:xfrm rot="11460000">
            <a:off x="8303260" y="3753485"/>
            <a:ext cx="1465580" cy="1463675"/>
            <a:chOff x="3580314" y="2444884"/>
            <a:chExt cx="1465272" cy="1463528"/>
          </a:xfrm>
        </p:grpSpPr>
        <p:sp>
          <p:nvSpPr>
            <p:cNvPr id="40" name="ïš1îḓé"/>
            <p:cNvSpPr/>
            <p:nvPr>
              <p:custDataLst>
                <p:tags r:id="rId23"/>
              </p:custDataLst>
            </p:nvPr>
          </p:nvSpPr>
          <p:spPr>
            <a:xfrm>
              <a:off x="3580314" y="2444884"/>
              <a:ext cx="1465272" cy="1463528"/>
            </a:xfrm>
            <a:prstGeom prst="ellipse">
              <a:avLst/>
            </a:prstGeom>
            <a:solidFill>
              <a:srgbClr val="E6E6E6"/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2" name="ïṡḻîḑê"/>
            <p:cNvSpPr/>
            <p:nvPr>
              <p:custDataLst>
                <p:tags r:id="rId24"/>
              </p:custDataLst>
            </p:nvPr>
          </p:nvSpPr>
          <p:spPr>
            <a:xfrm>
              <a:off x="3775291" y="2639630"/>
              <a:ext cx="1075316" cy="1074036"/>
            </a:xfrm>
            <a:prstGeom prst="ellipse">
              <a:avLst/>
            </a:prstGeom>
            <a:solidFill>
              <a:srgbClr val="0060B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rtlCol="0" anchor="ctr">
              <a:normAutofit/>
            </a:bodyPr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文本框 45"/>
          <p:cNvSpPr txBox="1"/>
          <p:nvPr/>
        </p:nvSpPr>
        <p:spPr>
          <a:xfrm>
            <a:off x="6552565" y="1969770"/>
            <a:ext cx="1407160" cy="398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sym typeface="+mn-ea"/>
              </a:rPr>
              <a:t>康美包</a:t>
            </a:r>
            <a:endParaRPr lang="zh-CN" altLang="en-US" sz="20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8283575" y="4286250"/>
            <a:ext cx="1504950" cy="398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sym typeface="+mn-ea"/>
              </a:rPr>
              <a:t>卡特罐</a:t>
            </a:r>
            <a:endParaRPr lang="zh-CN" altLang="en-US" sz="2000" b="1" dirty="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49" name="直接连接符 48"/>
          <p:cNvCxnSpPr/>
          <p:nvPr>
            <p:custDataLst>
              <p:tags r:id="rId25"/>
            </p:custDataLst>
          </p:nvPr>
        </p:nvCxnSpPr>
        <p:spPr>
          <a:xfrm flipH="1">
            <a:off x="9789432" y="3386856"/>
            <a:ext cx="701241" cy="78696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íṥḷíḋê"/>
          <p:cNvGrpSpPr/>
          <p:nvPr>
            <p:custDataLst>
              <p:tags r:id="rId26"/>
            </p:custDataLst>
          </p:nvPr>
        </p:nvGrpSpPr>
        <p:grpSpPr>
          <a:xfrm>
            <a:off x="10344785" y="2287906"/>
            <a:ext cx="1202400" cy="1201420"/>
            <a:chOff x="2031826" y="1686549"/>
            <a:chExt cx="1055070" cy="1053814"/>
          </a:xfrm>
          <a:solidFill>
            <a:srgbClr val="FFC000"/>
          </a:solidFill>
        </p:grpSpPr>
        <p:sp>
          <p:nvSpPr>
            <p:cNvPr id="51" name="ïṣlíḓè"/>
            <p:cNvSpPr/>
            <p:nvPr>
              <p:custDataLst>
                <p:tags r:id="rId27"/>
              </p:custDataLst>
            </p:nvPr>
          </p:nvSpPr>
          <p:spPr>
            <a:xfrm>
              <a:off x="2031826" y="1686549"/>
              <a:ext cx="1055070" cy="1053814"/>
            </a:xfrm>
            <a:prstGeom prst="ellipse">
              <a:avLst/>
            </a:prstGeom>
            <a:grpFill/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2" name="ïSľiďe"/>
            <p:cNvSpPr/>
            <p:nvPr>
              <p:custDataLst>
                <p:tags r:id="rId28"/>
              </p:custDataLst>
            </p:nvPr>
          </p:nvSpPr>
          <p:spPr>
            <a:xfrm>
              <a:off x="2173387" y="1829116"/>
              <a:ext cx="774282" cy="773360"/>
            </a:xfrm>
            <a:prstGeom prst="ellipse">
              <a:avLst/>
            </a:prstGeom>
            <a:solidFill>
              <a:srgbClr val="0060B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zh-CN" altLang="en-US" sz="1900" b="1" dirty="0">
                  <a:solidFill>
                    <a:schemeClr val="bg1"/>
                  </a:solidFill>
                  <a:sym typeface="+mn-ea"/>
                </a:rPr>
                <a:t>灌装</a:t>
              </a:r>
              <a:endParaRPr lang="zh-CN" altLang="en-US" sz="19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altLang="zh-CN" sz="1900" b="1" dirty="0">
                  <a:solidFill>
                    <a:schemeClr val="bg1"/>
                  </a:solidFill>
                  <a:sym typeface="+mn-ea"/>
                </a:rPr>
                <a:t>OEM</a:t>
              </a:r>
              <a:endParaRPr lang="en-US" altLang="zh-CN" sz="1900" b="1" dirty="0">
                <a:solidFill>
                  <a:schemeClr val="bg1"/>
                </a:solidFill>
                <a:sym typeface="+mn-ea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4024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三片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pic>
        <p:nvPicPr>
          <p:cNvPr id="5" name="图片 4" descr="D:\360MoveData\Users\Administrator\Documents\微信图片_20230208114841.jpg微信图片_2023020811484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rcRect/>
          <a:stretch>
            <a:fillRect/>
          </a:stretch>
        </p:blipFill>
        <p:spPr>
          <a:xfrm>
            <a:off x="418720" y="1517650"/>
            <a:ext cx="1558290" cy="1558800"/>
          </a:xfrm>
          <a:prstGeom prst="roundRect">
            <a:avLst/>
          </a:prstGeom>
        </p:spPr>
      </p:pic>
      <p:pic>
        <p:nvPicPr>
          <p:cNvPr id="30" name="图片 29" descr="D:\360MoveData\Users\Administrator\Documents\微信图片_20230208115446.jpg微信图片_2023020811544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rcRect/>
          <a:stretch>
            <a:fillRect/>
          </a:stretch>
        </p:blipFill>
        <p:spPr>
          <a:xfrm>
            <a:off x="2367535" y="1517650"/>
            <a:ext cx="1558290" cy="1558800"/>
          </a:xfrm>
          <a:prstGeom prst="roundRect">
            <a:avLst/>
          </a:prstGeom>
        </p:spPr>
      </p:pic>
      <p:pic>
        <p:nvPicPr>
          <p:cNvPr id="32" name="图片 31" descr="D:\360MoveData\Users\Administrator\Documents\微信图片_20230208115757.jpg微信图片_20230208115757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/>
          <a:srcRect/>
          <a:stretch>
            <a:fillRect/>
          </a:stretch>
        </p:blipFill>
        <p:spPr>
          <a:xfrm>
            <a:off x="4314445" y="1517650"/>
            <a:ext cx="1558290" cy="1558800"/>
          </a:xfrm>
          <a:prstGeom prst="roundRect">
            <a:avLst/>
          </a:prstGeom>
        </p:spPr>
      </p:pic>
      <p:pic>
        <p:nvPicPr>
          <p:cNvPr id="34" name="图片 33" descr="D:\360MoveData\Users\Administrator\Documents\微信图片_20230208120055.jpg微信图片_20230208120055"/>
          <p:cNvPicPr/>
          <p:nvPr>
            <p:custDataLst>
              <p:tags r:id="rId9"/>
            </p:custDataLst>
          </p:nvPr>
        </p:nvPicPr>
        <p:blipFill>
          <a:blip r:embed="rId10"/>
          <a:srcRect/>
          <a:stretch>
            <a:fillRect/>
          </a:stretch>
        </p:blipFill>
        <p:spPr>
          <a:xfrm>
            <a:off x="6261355" y="1517015"/>
            <a:ext cx="1558290" cy="1558800"/>
          </a:xfrm>
          <a:prstGeom prst="roundRect">
            <a:avLst/>
          </a:prstGeom>
        </p:spPr>
      </p:pic>
      <p:pic>
        <p:nvPicPr>
          <p:cNvPr id="36" name="图片 35" descr="D:\360MoveData\Users\Administrator\Documents\微信图片_20230208115913.jpg微信图片_20230208115913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/>
          <a:srcRect/>
          <a:stretch>
            <a:fillRect/>
          </a:stretch>
        </p:blipFill>
        <p:spPr>
          <a:xfrm>
            <a:off x="8205725" y="1517015"/>
            <a:ext cx="1558290" cy="1558800"/>
          </a:xfrm>
          <a:prstGeom prst="roundRect">
            <a:avLst/>
          </a:prstGeom>
        </p:spPr>
      </p:pic>
      <p:pic>
        <p:nvPicPr>
          <p:cNvPr id="38" name="图片 37" descr="D:\360MoveData\Users\Administrator\Documents\微信图片_20230208115959.jpg微信图片_20230208115959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4"/>
          <a:srcRect/>
          <a:stretch>
            <a:fillRect/>
          </a:stretch>
        </p:blipFill>
        <p:spPr>
          <a:xfrm>
            <a:off x="10155810" y="1517588"/>
            <a:ext cx="1558290" cy="1557655"/>
          </a:xfrm>
          <a:prstGeom prst="roundRect">
            <a:avLst/>
          </a:prstGeom>
        </p:spPr>
      </p:pic>
      <p:pic>
        <p:nvPicPr>
          <p:cNvPr id="2" name="图片 1" descr="C:/Users/张箐/Desktop/微信图片_20251121100948_129_299.png微信图片_20251121100948_129_29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6"/>
          <a:srcRect l="3927" r="3927"/>
          <a:stretch>
            <a:fillRect/>
          </a:stretch>
        </p:blipFill>
        <p:spPr>
          <a:xfrm>
            <a:off x="418720" y="4062095"/>
            <a:ext cx="1558290" cy="1558800"/>
          </a:xfrm>
          <a:prstGeom prst="roundRect">
            <a:avLst/>
          </a:prstGeom>
        </p:spPr>
      </p:pic>
      <p:pic>
        <p:nvPicPr>
          <p:cNvPr id="4" name="图片 3" descr="D:\360MoveData\Users\Administrator\Documents\微信图片_20230208115446.jpg微信图片_20230208115446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6"/>
          <a:srcRect/>
          <a:stretch>
            <a:fillRect/>
          </a:stretch>
        </p:blipFill>
        <p:spPr>
          <a:xfrm>
            <a:off x="2367535" y="4062095"/>
            <a:ext cx="1558290" cy="1558800"/>
          </a:xfrm>
          <a:prstGeom prst="roundRect">
            <a:avLst/>
          </a:prstGeom>
        </p:spPr>
      </p:pic>
      <p:pic>
        <p:nvPicPr>
          <p:cNvPr id="6" name="图片 5" descr="D:\360MoveData\Users\Administrator\Documents\微信图片_20230208115757.jpg微信图片_20230208115757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"/>
          <a:srcRect/>
          <a:stretch>
            <a:fillRect/>
          </a:stretch>
        </p:blipFill>
        <p:spPr>
          <a:xfrm>
            <a:off x="4314445" y="4062095"/>
            <a:ext cx="1558290" cy="1558800"/>
          </a:xfrm>
          <a:prstGeom prst="roundRect">
            <a:avLst/>
          </a:prstGeom>
        </p:spPr>
      </p:pic>
      <p:sp>
        <p:nvSpPr>
          <p:cNvPr id="27" name="文本框 26"/>
          <p:cNvSpPr txBox="1"/>
          <p:nvPr>
            <p:custDataLst>
              <p:tags r:id="rId19"/>
            </p:custDataLst>
          </p:nvPr>
        </p:nvSpPr>
        <p:spPr>
          <a:xfrm>
            <a:off x="236855" y="3175000"/>
            <a:ext cx="194818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145ml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113/202/200×307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>
            <p:custDataLst>
              <p:tags r:id="rId20"/>
            </p:custDataLst>
          </p:nvPr>
        </p:nvSpPr>
        <p:spPr>
          <a:xfrm>
            <a:off x="2221230" y="3173095"/>
            <a:ext cx="19875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8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113/202/200×504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>
            <p:custDataLst>
              <p:tags r:id="rId21"/>
            </p:custDataLst>
          </p:nvPr>
        </p:nvSpPr>
        <p:spPr>
          <a:xfrm>
            <a:off x="4109720" y="3175000"/>
            <a:ext cx="194691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40ml-250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206/211/209×309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5" name="文本框 34"/>
          <p:cNvSpPr txBox="1"/>
          <p:nvPr>
            <p:custDataLst>
              <p:tags r:id="rId22"/>
            </p:custDataLst>
          </p:nvPr>
        </p:nvSpPr>
        <p:spPr>
          <a:xfrm>
            <a:off x="6148705" y="3173095"/>
            <a:ext cx="193929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70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113/202/200×512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7" name="文本框 36"/>
          <p:cNvSpPr txBox="1"/>
          <p:nvPr>
            <p:custDataLst>
              <p:tags r:id="rId23"/>
            </p:custDataLst>
          </p:nvPr>
        </p:nvSpPr>
        <p:spPr>
          <a:xfrm>
            <a:off x="8070215" y="3172460"/>
            <a:ext cx="193611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80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206/211/209×400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9" name="文本框 38"/>
          <p:cNvSpPr txBox="1"/>
          <p:nvPr>
            <p:custDataLst>
              <p:tags r:id="rId24"/>
            </p:custDataLst>
          </p:nvPr>
        </p:nvSpPr>
        <p:spPr>
          <a:xfrm>
            <a:off x="10076815" y="3172460"/>
            <a:ext cx="19183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310ml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206/211/209×408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>
            <p:custDataLst>
              <p:tags r:id="rId25"/>
            </p:custDataLst>
          </p:nvPr>
        </p:nvSpPr>
        <p:spPr>
          <a:xfrm>
            <a:off x="356870" y="5882640"/>
            <a:ext cx="194818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6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l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>
            <p:custDataLst>
              <p:tags r:id="rId26"/>
            </p:custDataLst>
          </p:nvPr>
        </p:nvSpPr>
        <p:spPr>
          <a:xfrm>
            <a:off x="2341245" y="5880735"/>
            <a:ext cx="19875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8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13/202/200x402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>
            <p:custDataLst>
              <p:tags r:id="rId27"/>
            </p:custDataLst>
          </p:nvPr>
        </p:nvSpPr>
        <p:spPr>
          <a:xfrm>
            <a:off x="4229735" y="5882640"/>
            <a:ext cx="194691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40ml-250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6/211/209x309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0" name="图片 9" descr="1eed43eb57fdaaa5f1a89b33c70bfa88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155555" y="4062095"/>
            <a:ext cx="1558800" cy="1558800"/>
          </a:xfrm>
          <a:prstGeom prst="roundRect">
            <a:avLst/>
          </a:prstGeom>
        </p:spPr>
      </p:pic>
      <p:pic>
        <p:nvPicPr>
          <p:cNvPr id="11" name="图片 10" descr="9786711d41a896b2ee6c222f8b3d85a8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261100" y="4062095"/>
            <a:ext cx="1558800" cy="1558800"/>
          </a:xfrm>
          <a:prstGeom prst="roundRect">
            <a:avLst/>
          </a:prstGeom>
        </p:spPr>
      </p:pic>
      <p:sp>
        <p:nvSpPr>
          <p:cNvPr id="12" name="文本框 11"/>
          <p:cNvSpPr txBox="1"/>
          <p:nvPr>
            <p:custDataLst>
              <p:tags r:id="rId30"/>
            </p:custDataLst>
          </p:nvPr>
        </p:nvSpPr>
        <p:spPr>
          <a:xfrm>
            <a:off x="6176645" y="5864860"/>
            <a:ext cx="194691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4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l 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>
            <p:custDataLst>
              <p:tags r:id="rId31"/>
            </p:custDataLst>
          </p:nvPr>
        </p:nvSpPr>
        <p:spPr>
          <a:xfrm>
            <a:off x="10155555" y="5801360"/>
            <a:ext cx="194691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L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5" name="图片 14" descr="C:/Users/张箐/Desktop/微信图片_20260105113609_161_299.jpg微信图片_20260105113609_161_299"/>
          <p:cNvPicPr>
            <a:picLocks noChangeAspect="1"/>
          </p:cNvPicPr>
          <p:nvPr/>
        </p:nvPicPr>
        <p:blipFill>
          <a:blip r:embed="rId32"/>
          <a:srcRect l="27335" r="16449"/>
          <a:stretch>
            <a:fillRect/>
          </a:stretch>
        </p:blipFill>
        <p:spPr>
          <a:xfrm>
            <a:off x="8151495" y="4034155"/>
            <a:ext cx="1611630" cy="1611630"/>
          </a:xfrm>
          <a:prstGeom prst="roundRect">
            <a:avLst/>
          </a:prstGeom>
        </p:spPr>
      </p:pic>
      <p:sp>
        <p:nvSpPr>
          <p:cNvPr id="16" name="文本框 15"/>
          <p:cNvSpPr txBox="1"/>
          <p:nvPr>
            <p:custDataLst>
              <p:tags r:id="rId33"/>
            </p:custDataLst>
          </p:nvPr>
        </p:nvSpPr>
        <p:spPr>
          <a:xfrm>
            <a:off x="8263890" y="5801360"/>
            <a:ext cx="1617345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96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l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203315" y="6250305"/>
            <a:ext cx="188595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13/202/200X504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8269605" y="6232525"/>
            <a:ext cx="188595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00/307/305x801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0160000" y="6215380"/>
            <a:ext cx="2238375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8/303/305/303x909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56870" y="6232525"/>
            <a:ext cx="188595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罐型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13/202/200x508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4024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三片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25" name="组合 24"/>
          <p:cNvGrpSpPr/>
          <p:nvPr/>
        </p:nvGrpSpPr>
        <p:grpSpPr>
          <a:xfrm>
            <a:off x="3296920" y="4897120"/>
            <a:ext cx="5869940" cy="1818005"/>
            <a:chOff x="3898" y="7838"/>
            <a:chExt cx="9244" cy="2863"/>
          </a:xfrm>
        </p:grpSpPr>
        <p:pic>
          <p:nvPicPr>
            <p:cNvPr id="4" name="图片 3" descr="XGG0757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254" y="7867"/>
              <a:ext cx="1889" cy="2835"/>
            </a:xfrm>
            <a:prstGeom prst="rect">
              <a:avLst/>
            </a:prstGeom>
          </p:spPr>
        </p:pic>
        <p:pic>
          <p:nvPicPr>
            <p:cNvPr id="5" name="图片 4" descr="XGG0757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802" y="7864"/>
              <a:ext cx="1889" cy="2835"/>
            </a:xfrm>
            <a:prstGeom prst="rect">
              <a:avLst/>
            </a:prstGeom>
          </p:spPr>
        </p:pic>
        <p:pic>
          <p:nvPicPr>
            <p:cNvPr id="11" name="图片 10" descr="XGG075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98" y="7838"/>
              <a:ext cx="1889" cy="2835"/>
            </a:xfrm>
            <a:prstGeom prst="rect">
              <a:avLst/>
            </a:prstGeom>
          </p:spPr>
        </p:pic>
        <p:pic>
          <p:nvPicPr>
            <p:cNvPr id="20" name="图片 19" descr="XGG0759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0" y="7867"/>
              <a:ext cx="1889" cy="2835"/>
            </a:xfrm>
            <a:prstGeom prst="rect">
              <a:avLst/>
            </a:prstGeom>
          </p:spPr>
        </p:pic>
      </p:grpSp>
      <p:grpSp>
        <p:nvGrpSpPr>
          <p:cNvPr id="23" name="组合 22"/>
          <p:cNvGrpSpPr/>
          <p:nvPr/>
        </p:nvGrpSpPr>
        <p:grpSpPr>
          <a:xfrm>
            <a:off x="918210" y="894080"/>
            <a:ext cx="10541000" cy="1818005"/>
            <a:chOff x="1284" y="1260"/>
            <a:chExt cx="16600" cy="2863"/>
          </a:xfrm>
        </p:grpSpPr>
        <p:pic>
          <p:nvPicPr>
            <p:cNvPr id="8" name="图片 7" descr="XGG0758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92" y="1289"/>
              <a:ext cx="1889" cy="2835"/>
            </a:xfrm>
            <a:prstGeom prst="rect">
              <a:avLst/>
            </a:prstGeom>
          </p:spPr>
        </p:pic>
        <p:pic>
          <p:nvPicPr>
            <p:cNvPr id="10" name="图片 9" descr="XGG0758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84" y="1260"/>
              <a:ext cx="1889" cy="2835"/>
            </a:xfrm>
            <a:prstGeom prst="rect">
              <a:avLst/>
            </a:prstGeom>
          </p:spPr>
        </p:pic>
        <p:pic>
          <p:nvPicPr>
            <p:cNvPr id="16" name="图片 15" descr="XGG0758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5996" y="1289"/>
              <a:ext cx="1889" cy="2835"/>
            </a:xfrm>
            <a:prstGeom prst="rect">
              <a:avLst/>
            </a:prstGeom>
          </p:spPr>
        </p:pic>
        <p:pic>
          <p:nvPicPr>
            <p:cNvPr id="18" name="图片 17" descr="XGG0759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544" y="1289"/>
              <a:ext cx="1889" cy="2835"/>
            </a:xfrm>
            <a:prstGeom prst="rect">
              <a:avLst/>
            </a:prstGeom>
          </p:spPr>
        </p:pic>
        <p:pic>
          <p:nvPicPr>
            <p:cNvPr id="19" name="图片 18" descr="XGG0759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736" y="1260"/>
              <a:ext cx="1889" cy="2835"/>
            </a:xfrm>
            <a:prstGeom prst="rect">
              <a:avLst/>
            </a:prstGeom>
          </p:spPr>
        </p:pic>
        <p:pic>
          <p:nvPicPr>
            <p:cNvPr id="21" name="图片 20" descr="XGG0759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640" y="1289"/>
              <a:ext cx="1889" cy="2835"/>
            </a:xfrm>
            <a:prstGeom prst="rect">
              <a:avLst/>
            </a:prstGeom>
          </p:spPr>
        </p:pic>
        <p:pic>
          <p:nvPicPr>
            <p:cNvPr id="22" name="图片 21" descr="XGG07594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88" y="1260"/>
              <a:ext cx="1889" cy="2835"/>
            </a:xfrm>
            <a:prstGeom prst="rect">
              <a:avLst/>
            </a:prstGeom>
          </p:spPr>
        </p:pic>
      </p:grpSp>
      <p:grpSp>
        <p:nvGrpSpPr>
          <p:cNvPr id="14" name="组合 13"/>
          <p:cNvGrpSpPr/>
          <p:nvPr/>
        </p:nvGrpSpPr>
        <p:grpSpPr>
          <a:xfrm>
            <a:off x="1745615" y="2895600"/>
            <a:ext cx="8983345" cy="1799590"/>
            <a:chOff x="1447" y="4560"/>
            <a:chExt cx="14147" cy="2834"/>
          </a:xfrm>
        </p:grpSpPr>
        <p:grpSp>
          <p:nvGrpSpPr>
            <p:cNvPr id="24" name="组合 23"/>
            <p:cNvGrpSpPr/>
            <p:nvPr/>
          </p:nvGrpSpPr>
          <p:grpSpPr>
            <a:xfrm>
              <a:off x="3898" y="4560"/>
              <a:ext cx="11696" cy="2834"/>
              <a:chOff x="1446" y="4592"/>
              <a:chExt cx="11696" cy="2834"/>
            </a:xfrm>
          </p:grpSpPr>
          <p:pic>
            <p:nvPicPr>
              <p:cNvPr id="7" name="图片 6" descr="XGG07579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446" y="4592"/>
                <a:ext cx="1889" cy="2835"/>
              </a:xfrm>
              <a:prstGeom prst="rect">
                <a:avLst/>
              </a:prstGeom>
            </p:spPr>
          </p:pic>
          <p:pic>
            <p:nvPicPr>
              <p:cNvPr id="9" name="图片 8" descr="XGG07581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1254" y="4592"/>
                <a:ext cx="1889" cy="2835"/>
              </a:xfrm>
              <a:prstGeom prst="rect">
                <a:avLst/>
              </a:prstGeom>
            </p:spPr>
          </p:pic>
          <p:pic>
            <p:nvPicPr>
              <p:cNvPr id="12" name="图片 11" descr="XGG07584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802" y="4592"/>
                <a:ext cx="1889" cy="2835"/>
              </a:xfrm>
              <a:prstGeom prst="rect">
                <a:avLst/>
              </a:prstGeom>
            </p:spPr>
          </p:pic>
          <p:pic>
            <p:nvPicPr>
              <p:cNvPr id="13" name="图片 12" descr="XGG07585"/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350" y="4592"/>
                <a:ext cx="1889" cy="2835"/>
              </a:xfrm>
              <a:prstGeom prst="rect">
                <a:avLst/>
              </a:prstGeom>
            </p:spPr>
          </p:pic>
          <p:pic>
            <p:nvPicPr>
              <p:cNvPr id="2" name="图片 1" descr="XGG07608"/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898" y="4592"/>
                <a:ext cx="1889" cy="2835"/>
              </a:xfrm>
              <a:prstGeom prst="rect">
                <a:avLst/>
              </a:prstGeom>
            </p:spPr>
          </p:pic>
        </p:grpSp>
        <p:pic>
          <p:nvPicPr>
            <p:cNvPr id="6" name="图片 5" descr="DSC_7559"/>
            <p:cNvPicPr/>
            <p:nvPr/>
          </p:nvPicPr>
          <p:blipFill>
            <a:blip r:embed="rId19"/>
            <a:stretch>
              <a:fillRect/>
            </a:stretch>
          </p:blipFill>
          <p:spPr>
            <a:xfrm>
              <a:off x="1447" y="4560"/>
              <a:ext cx="1888" cy="2835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en-US" altLang="zh-CN" sz="2800" b="1" dirty="0">
                  <a:solidFill>
                    <a:srgbClr val="0369B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SBC</a:t>
              </a:r>
              <a:r>
                <a:rPr lang="zh-CN" altLang="en-US" sz="2800" b="1" dirty="0">
                  <a:solidFill>
                    <a:srgbClr val="0369B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罐</a:t>
              </a:r>
              <a:endParaRPr lang="zh-CN" altLang="en-US" sz="2800" b="1" dirty="0"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34" name="i$ļîḓè"/>
          <p:cNvGrpSpPr/>
          <p:nvPr>
            <p:custDataLst>
              <p:tags r:id="rId3"/>
            </p:custDataLst>
          </p:nvPr>
        </p:nvGrpSpPr>
        <p:grpSpPr>
          <a:xfrm>
            <a:off x="960815" y="3989720"/>
            <a:ext cx="4825365" cy="692984"/>
            <a:chOff x="660400" y="2177018"/>
            <a:chExt cx="4825365" cy="692984"/>
          </a:xfrm>
        </p:grpSpPr>
        <p:grpSp>
          <p:nvGrpSpPr>
            <p:cNvPr id="35" name="ïŝḻîḑè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37" name="íṩ1îde"/>
              <p:cNvSpPr/>
              <p:nvPr>
                <p:custDataLst>
                  <p:tags r:id="rId4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îśļïḍé"/>
              <p:cNvSpPr/>
              <p:nvPr>
                <p:custDataLst>
                  <p:tags r:id="rId5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6" name="îŝḷïďe"/>
            <p:cNvSpPr txBox="1"/>
            <p:nvPr>
              <p:custDataLst>
                <p:tags r:id="rId6"/>
              </p:custDataLst>
            </p:nvPr>
          </p:nvSpPr>
          <p:spPr>
            <a:xfrm>
              <a:off x="1149350" y="2177018"/>
              <a:ext cx="4336415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en-US" altLang="zh-CN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​</a:t>
              </a:r>
              <a:r>
                <a:rPr lang="zh-CN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保鲜与密封更强</a:t>
              </a:r>
              <a:endPara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更大的开口配合强化气密性，有助于锁住内容物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“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鲜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”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度、提升香味释放与饮用体验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39" name="îṥḷide"/>
          <p:cNvGrpSpPr/>
          <p:nvPr>
            <p:custDataLst>
              <p:tags r:id="rId7"/>
            </p:custDataLst>
          </p:nvPr>
        </p:nvGrpSpPr>
        <p:grpSpPr>
          <a:xfrm>
            <a:off x="960815" y="5000639"/>
            <a:ext cx="4825365" cy="692785"/>
            <a:chOff x="660400" y="2279253"/>
            <a:chExt cx="4825365" cy="692785"/>
          </a:xfrm>
        </p:grpSpPr>
        <p:grpSp>
          <p:nvGrpSpPr>
            <p:cNvPr id="40" name="iśļîḓe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42" name="iṩḻíḍe"/>
              <p:cNvSpPr/>
              <p:nvPr>
                <p:custDataLst>
                  <p:tags r:id="rId8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îs1íḓê"/>
              <p:cNvSpPr/>
              <p:nvPr>
                <p:custDataLst>
                  <p:tags r:id="rId9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işḷïďê"/>
            <p:cNvSpPr txBox="1"/>
            <p:nvPr>
              <p:custDataLst>
                <p:tags r:id="rId10"/>
              </p:custDataLst>
            </p:nvPr>
          </p:nvSpPr>
          <p:spPr>
            <a:xfrm>
              <a:off x="1149350" y="2279253"/>
              <a:ext cx="4336415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en-US" altLang="zh-CN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​</a:t>
              </a:r>
              <a:r>
                <a:rPr lang="zh-CN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可重复密封与便携</a:t>
              </a:r>
              <a:endPara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容量区间从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60ml—260ml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，适配多口味、小规格产品；螺口盖设计支持多次旋紧，携带与即饮更方便，贴合新消费场景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4" name="îśľïḓê"/>
          <p:cNvGrpSpPr/>
          <p:nvPr>
            <p:custDataLst>
              <p:tags r:id="rId11"/>
            </p:custDataLst>
          </p:nvPr>
        </p:nvGrpSpPr>
        <p:grpSpPr>
          <a:xfrm>
            <a:off x="960815" y="5971553"/>
            <a:ext cx="4825365" cy="692785"/>
            <a:chOff x="660400" y="2279253"/>
            <a:chExt cx="4825365" cy="692785"/>
          </a:xfrm>
        </p:grpSpPr>
        <p:grpSp>
          <p:nvGrpSpPr>
            <p:cNvPr id="45" name="ïśḷîḍé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47" name="íŝľîḓé"/>
              <p:cNvSpPr/>
              <p:nvPr>
                <p:custDataLst>
                  <p:tags r:id="rId12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íṡ1íḑè"/>
              <p:cNvSpPr/>
              <p:nvPr>
                <p:custDataLst>
                  <p:tags r:id="rId13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6" name="îŝľïḑê"/>
            <p:cNvSpPr txBox="1"/>
            <p:nvPr>
              <p:custDataLst>
                <p:tags r:id="rId14"/>
              </p:custDataLst>
            </p:nvPr>
          </p:nvSpPr>
          <p:spPr>
            <a:xfrm>
              <a:off x="1149350" y="2279253"/>
              <a:ext cx="4336415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en-US" altLang="zh-CN" sz="1200" b="1" kern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​</a:t>
              </a:r>
              <a:r>
                <a:rPr lang="zh-CN" altLang="en-US" sz="1200" b="1" kern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外观表现与个性化</a:t>
              </a:r>
              <a:endParaRPr lang="zh-CN" altLang="en-US" sz="1200" b="1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采用三片平版印刷，画面清晰度更高、外观更精美，利于品牌差异化与年轻化沟通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32" name="i$ļîḓè"/>
          <p:cNvGrpSpPr/>
          <p:nvPr>
            <p:custDataLst>
              <p:tags r:id="rId15"/>
            </p:custDataLst>
          </p:nvPr>
        </p:nvGrpSpPr>
        <p:grpSpPr>
          <a:xfrm>
            <a:off x="6841550" y="4037345"/>
            <a:ext cx="4338000" cy="692785"/>
            <a:chOff x="660400" y="2279253"/>
            <a:chExt cx="4403725" cy="692785"/>
          </a:xfrm>
        </p:grpSpPr>
        <p:grpSp>
          <p:nvGrpSpPr>
            <p:cNvPr id="49" name="ïŝḻîḑè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50" name="íṩ1îde"/>
              <p:cNvSpPr/>
              <p:nvPr>
                <p:custDataLst>
                  <p:tags r:id="rId16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" name="îśļïḍé"/>
              <p:cNvSpPr/>
              <p:nvPr>
                <p:custDataLst>
                  <p:tags r:id="rId17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2" name="îŝḷïďe"/>
            <p:cNvSpPr txBox="1"/>
            <p:nvPr>
              <p:custDataLst>
                <p:tags r:id="rId18"/>
              </p:custDataLst>
            </p:nvPr>
          </p:nvSpPr>
          <p:spPr>
            <a:xfrm>
              <a:off x="1149350" y="2279253"/>
              <a:ext cx="3914775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en-US" altLang="zh-CN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​</a:t>
              </a:r>
              <a:r>
                <a:rPr lang="zh-CN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广泛的内容物适配</a:t>
              </a:r>
              <a:endPara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对酸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/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硫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/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盐等具有较强抗性，适配品类更广，利于新品拓展与配方多样化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54" name="îṥḷide"/>
          <p:cNvGrpSpPr/>
          <p:nvPr>
            <p:custDataLst>
              <p:tags r:id="rId19"/>
            </p:custDataLst>
          </p:nvPr>
        </p:nvGrpSpPr>
        <p:grpSpPr>
          <a:xfrm>
            <a:off x="6841550" y="4946029"/>
            <a:ext cx="4338000" cy="692785"/>
            <a:chOff x="660400" y="2279253"/>
            <a:chExt cx="4311650" cy="692785"/>
          </a:xfrm>
        </p:grpSpPr>
        <p:grpSp>
          <p:nvGrpSpPr>
            <p:cNvPr id="55" name="iśļîḓe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56" name="iṩḻíḍe"/>
              <p:cNvSpPr/>
              <p:nvPr>
                <p:custDataLst>
                  <p:tags r:id="rId20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7" name="îs1íḓê"/>
              <p:cNvSpPr/>
              <p:nvPr>
                <p:custDataLst>
                  <p:tags r:id="rId21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8" name="işḷïďê"/>
            <p:cNvSpPr txBox="1"/>
            <p:nvPr>
              <p:custDataLst>
                <p:tags r:id="rId22"/>
              </p:custDataLst>
            </p:nvPr>
          </p:nvSpPr>
          <p:spPr>
            <a:xfrm>
              <a:off x="1149350" y="2279253"/>
              <a:ext cx="3822700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zh-CN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环保与可持续</a:t>
              </a:r>
              <a:endPara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选用食品级三片铁罐材质，具备良好的可回收再利用属性，符合绿色包装趋势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59" name="îśľïḓê"/>
          <p:cNvGrpSpPr/>
          <p:nvPr>
            <p:custDataLst>
              <p:tags r:id="rId23"/>
            </p:custDataLst>
          </p:nvPr>
        </p:nvGrpSpPr>
        <p:grpSpPr>
          <a:xfrm>
            <a:off x="6841550" y="5952503"/>
            <a:ext cx="4338000" cy="692785"/>
            <a:chOff x="660400" y="2190353"/>
            <a:chExt cx="4074160" cy="692785"/>
          </a:xfrm>
        </p:grpSpPr>
        <p:grpSp>
          <p:nvGrpSpPr>
            <p:cNvPr id="60" name="ïśḷîḍé"/>
            <p:cNvGrpSpPr/>
            <p:nvPr/>
          </p:nvGrpSpPr>
          <p:grpSpPr>
            <a:xfrm>
              <a:off x="660400" y="2381052"/>
              <a:ext cx="488950" cy="488950"/>
              <a:chOff x="660400" y="2724150"/>
              <a:chExt cx="552450" cy="552450"/>
            </a:xfrm>
          </p:grpSpPr>
          <p:sp>
            <p:nvSpPr>
              <p:cNvPr id="61" name="íŝľîḓé"/>
              <p:cNvSpPr/>
              <p:nvPr>
                <p:custDataLst>
                  <p:tags r:id="rId24"/>
                </p:custDataLst>
              </p:nvPr>
            </p:nvSpPr>
            <p:spPr>
              <a:xfrm>
                <a:off x="660400" y="2724150"/>
                <a:ext cx="552450" cy="552450"/>
              </a:xfrm>
              <a:prstGeom prst="ellipse">
                <a:avLst/>
              </a:prstGeom>
              <a:solidFill>
                <a:srgbClr val="1257F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íṡ1íḑè"/>
              <p:cNvSpPr/>
              <p:nvPr>
                <p:custDataLst>
                  <p:tags r:id="rId25"/>
                </p:custDataLst>
              </p:nvPr>
            </p:nvSpPr>
            <p:spPr>
              <a:xfrm>
                <a:off x="796925" y="2895034"/>
                <a:ext cx="279400" cy="210680"/>
              </a:xfrm>
              <a:custGeom>
                <a:avLst/>
                <a:gdLst>
                  <a:gd name="T0" fmla="*/ 10397 w 12867"/>
                  <a:gd name="T1" fmla="*/ 3762 h 9701"/>
                  <a:gd name="T2" fmla="*/ 12479 w 12867"/>
                  <a:gd name="T3" fmla="*/ 6910 h 9701"/>
                  <a:gd name="T4" fmla="*/ 12802 w 12867"/>
                  <a:gd name="T5" fmla="*/ 9701 h 9701"/>
                  <a:gd name="T6" fmla="*/ 12096 w 12867"/>
                  <a:gd name="T7" fmla="*/ 8604 h 9701"/>
                  <a:gd name="T8" fmla="*/ 9701 w 12867"/>
                  <a:gd name="T9" fmla="*/ 6645 h 9701"/>
                  <a:gd name="T10" fmla="*/ 6140 w 12867"/>
                  <a:gd name="T11" fmla="*/ 6140 h 9701"/>
                  <a:gd name="T12" fmla="*/ 6140 w 12867"/>
                  <a:gd name="T13" fmla="*/ 8699 h 9701"/>
                  <a:gd name="T14" fmla="*/ 0 w 12867"/>
                  <a:gd name="T15" fmla="*/ 4350 h 9701"/>
                  <a:gd name="T16" fmla="*/ 6140 w 12867"/>
                  <a:gd name="T17" fmla="*/ 0 h 9701"/>
                  <a:gd name="T18" fmla="*/ 6140 w 12867"/>
                  <a:gd name="T19" fmla="*/ 2583 h 9701"/>
                  <a:gd name="T20" fmla="*/ 8386 w 12867"/>
                  <a:gd name="T21" fmla="*/ 2853 h 9701"/>
                  <a:gd name="T22" fmla="*/ 10397 w 12867"/>
                  <a:gd name="T23" fmla="*/ 3762 h 9701"/>
                  <a:gd name="T24" fmla="*/ 10397 w 12867"/>
                  <a:gd name="T25" fmla="*/ 3762 h 9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67" h="9701">
                    <a:moveTo>
                      <a:pt x="10397" y="3762"/>
                    </a:moveTo>
                    <a:cubicBezTo>
                      <a:pt x="11157" y="4215"/>
                      <a:pt x="12090" y="5438"/>
                      <a:pt x="12479" y="6910"/>
                    </a:cubicBezTo>
                    <a:cubicBezTo>
                      <a:pt x="12867" y="8382"/>
                      <a:pt x="12802" y="9701"/>
                      <a:pt x="12802" y="9701"/>
                    </a:cubicBezTo>
                    <a:cubicBezTo>
                      <a:pt x="12802" y="9701"/>
                      <a:pt x="12300" y="8889"/>
                      <a:pt x="12096" y="8604"/>
                    </a:cubicBezTo>
                    <a:cubicBezTo>
                      <a:pt x="11892" y="8320"/>
                      <a:pt x="11034" y="7260"/>
                      <a:pt x="9701" y="6645"/>
                    </a:cubicBezTo>
                    <a:cubicBezTo>
                      <a:pt x="8368" y="6031"/>
                      <a:pt x="6140" y="6140"/>
                      <a:pt x="6140" y="6140"/>
                    </a:cubicBezTo>
                    <a:lnTo>
                      <a:pt x="6140" y="8699"/>
                    </a:lnTo>
                    <a:lnTo>
                      <a:pt x="0" y="4350"/>
                    </a:lnTo>
                    <a:lnTo>
                      <a:pt x="6140" y="0"/>
                    </a:lnTo>
                    <a:lnTo>
                      <a:pt x="6140" y="2583"/>
                    </a:lnTo>
                    <a:cubicBezTo>
                      <a:pt x="6140" y="2583"/>
                      <a:pt x="7615" y="2694"/>
                      <a:pt x="8386" y="2853"/>
                    </a:cubicBezTo>
                    <a:cubicBezTo>
                      <a:pt x="9685" y="3122"/>
                      <a:pt x="10397" y="3762"/>
                      <a:pt x="10397" y="3762"/>
                    </a:cubicBezTo>
                    <a:close/>
                    <a:moveTo>
                      <a:pt x="10397" y="3762"/>
                    </a:move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3" name="îŝľïḑê"/>
            <p:cNvSpPr txBox="1"/>
            <p:nvPr>
              <p:custDataLst>
                <p:tags r:id="rId26"/>
              </p:custDataLst>
            </p:nvPr>
          </p:nvSpPr>
          <p:spPr>
            <a:xfrm>
              <a:off x="1149350" y="2190353"/>
              <a:ext cx="3585210" cy="692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50000"/>
                </a:lnSpc>
              </a:pPr>
              <a:r>
                <a:rPr lang="zh-CN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小批量柔性生产</a:t>
              </a:r>
              <a:endPara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对生产批量要求较小，</a:t>
              </a:r>
              <a:r>
                <a:rPr lang="en-US" altLang="zh-CN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​</a:t>
              </a:r>
              <a:r>
                <a:rPr lang="zh-CN" altLang="en-US" sz="11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性价比高，更适合新品试水与快速迭代。</a:t>
              </a:r>
              <a:endPara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67" name="文本框 66"/>
          <p:cNvSpPr txBox="1"/>
          <p:nvPr/>
        </p:nvSpPr>
        <p:spPr>
          <a:xfrm>
            <a:off x="819150" y="807720"/>
            <a:ext cx="1070229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/>
              <a:t>SBC</a:t>
            </a:r>
            <a:r>
              <a:rPr lang="zh-CN" altLang="en-US"/>
              <a:t>罐（三片焊接马口铁瓶罐）</a:t>
            </a:r>
            <a:r>
              <a:rPr lang="en-US" altLang="zh-CN"/>
              <a:t>​</a:t>
            </a:r>
            <a:r>
              <a:rPr lang="zh-CN" altLang="en-US"/>
              <a:t>为嘉美包装的专利产品，在三片罐原有的灌装设备进行灌装和封底盖，兼具金属包装的保护性与旋盖的便捷性，并已形成稳定的量产能力。</a:t>
            </a:r>
            <a:endParaRPr lang="en-US" altLang="zh-CN"/>
          </a:p>
        </p:txBody>
      </p:sp>
      <p:sp>
        <p:nvSpPr>
          <p:cNvPr id="68" name="矩形 67"/>
          <p:cNvSpPr/>
          <p:nvPr/>
        </p:nvSpPr>
        <p:spPr>
          <a:xfrm>
            <a:off x="0" y="807720"/>
            <a:ext cx="813435" cy="223202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          </a:t>
            </a:r>
            <a:endParaRPr lang="zh-CN" altLang="en-US" dirty="0"/>
          </a:p>
        </p:txBody>
      </p:sp>
      <p:pic>
        <p:nvPicPr>
          <p:cNvPr id="70" name="图片 69" descr="微信图片_20260105102308_160_299"/>
          <p:cNvPicPr>
            <a:picLocks noChangeAspect="1"/>
          </p:cNvPicPr>
          <p:nvPr/>
        </p:nvPicPr>
        <p:blipFill>
          <a:blip r:embed="rId27"/>
          <a:srcRect l="2188" t="24502" b="4748"/>
          <a:stretch>
            <a:fillRect/>
          </a:stretch>
        </p:blipFill>
        <p:spPr>
          <a:xfrm>
            <a:off x="1670685" y="1520825"/>
            <a:ext cx="8999220" cy="2400935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11887200" y="1998595"/>
            <a:ext cx="304800" cy="485940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          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自热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1042739" y="2058271"/>
            <a:ext cx="10106525" cy="4081088"/>
            <a:chOff x="1042739" y="2058271"/>
            <a:chExt cx="10106525" cy="4081088"/>
          </a:xfrm>
        </p:grpSpPr>
        <p:sp>
          <p:nvSpPr>
            <p:cNvPr id="10" name="矩形 9"/>
            <p:cNvSpPr/>
            <p:nvPr/>
          </p:nvSpPr>
          <p:spPr>
            <a:xfrm>
              <a:off x="1042739" y="2132314"/>
              <a:ext cx="10106525" cy="400704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zh-CN" altLang="en-US" sz="1865">
                <a:solidFill>
                  <a:srgbClr val="FFC000"/>
                </a:solidFill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1177638" y="2058271"/>
              <a:ext cx="9836727" cy="3958560"/>
            </a:xfrm>
            <a:prstGeom prst="rect">
              <a:avLst/>
            </a:prstGeom>
            <a:solidFill>
              <a:srgbClr val="365FA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zh-CN" altLang="en-US" sz="1865">
                <a:solidFill>
                  <a:srgbClr val="FFC000"/>
                </a:solidFill>
              </a:endParaRPr>
            </a:p>
          </p:txBody>
        </p:sp>
      </p:grpSp>
      <p:sp>
        <p:nvSpPr>
          <p:cNvPr id="13" name="TextBox 9"/>
          <p:cNvSpPr>
            <a:spLocks noChangeArrowheads="1"/>
          </p:cNvSpPr>
          <p:nvPr/>
        </p:nvSpPr>
        <p:spPr bwMode="auto">
          <a:xfrm>
            <a:off x="1800458" y="2690761"/>
            <a:ext cx="8591085" cy="302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2" tIns="60956" rIns="121912" bIns="6095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它是一种结合金属包装与自加热技术的创新产品，它将加热技术与饮料包装相结合，通过内部加热装置发生化学反应释放热量，经过热传导的方式将饮用内容物加热，主要应用于方便食品、户外餐饮及即食场景。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者在无需额外加热设备的情况下，可短时间内将饮用内容物加热至</a:t>
            </a:r>
            <a:r>
              <a: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5</a:t>
            </a:r>
            <a:r>
              <a:rPr lang="en-US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℃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也可更改药剂比例调整加热温度。可灌装内容物类等同常规三片罐，包含蛋白饮料、茶饮料、咖啡，汤药等多种饮品类型。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 flipH="1">
            <a:off x="1177001" y="1081231"/>
            <a:ext cx="8936181" cy="101406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BDBDB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8"/>
          <p:cNvSpPr>
            <a:spLocks noChangeArrowheads="1"/>
          </p:cNvSpPr>
          <p:nvPr/>
        </p:nvSpPr>
        <p:spPr bwMode="auto">
          <a:xfrm>
            <a:off x="1204582" y="1138868"/>
            <a:ext cx="3900170" cy="859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2" tIns="60956" rIns="121912" bIns="60956">
            <a:spAutoFit/>
          </a:bodyPr>
          <a:lstStyle/>
          <a:p>
            <a:pPr algn="ctr" defTabSz="914400"/>
            <a:r>
              <a:rPr lang="zh-CN" altLang="en-US" sz="4800" b="1" dirty="0">
                <a:solidFill>
                  <a:srgbClr val="365FA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大黑简体" panose="02000000000000000000" charset="-122"/>
              </a:rPr>
              <a:t>嘉美自加热罐</a:t>
            </a:r>
            <a:endParaRPr lang="zh-CN" altLang="en-US" sz="4800" b="1" dirty="0">
              <a:solidFill>
                <a:srgbClr val="365FAA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大黑简体" panose="020000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自热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15" name="圆角矩形 14"/>
          <p:cNvSpPr/>
          <p:nvPr>
            <p:custDataLst>
              <p:tags r:id="rId3"/>
            </p:custDataLst>
          </p:nvPr>
        </p:nvSpPr>
        <p:spPr>
          <a:xfrm>
            <a:off x="3643311" y="1536461"/>
            <a:ext cx="6729240" cy="1044000"/>
          </a:xfrm>
          <a:prstGeom prst="roundRect">
            <a:avLst>
              <a:gd name="adj" fmla="val 19464"/>
            </a:avLst>
          </a:prstGeom>
          <a:solidFill>
            <a:srgbClr val="FFF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600">
              <a:sym typeface="+mn-ea"/>
            </a:endParaRPr>
          </a:p>
        </p:txBody>
      </p:sp>
      <p:sp>
        <p:nvSpPr>
          <p:cNvPr id="66" name="圆角矩形 65"/>
          <p:cNvSpPr/>
          <p:nvPr>
            <p:custDataLst>
              <p:tags r:id="rId4"/>
            </p:custDataLst>
          </p:nvPr>
        </p:nvSpPr>
        <p:spPr>
          <a:xfrm>
            <a:off x="3643311" y="2735976"/>
            <a:ext cx="6729240" cy="1044000"/>
          </a:xfrm>
          <a:prstGeom prst="roundRect">
            <a:avLst>
              <a:gd name="adj" fmla="val 19464"/>
            </a:avLst>
          </a:prstGeom>
          <a:solidFill>
            <a:srgbClr val="FFF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600">
              <a:sym typeface="+mn-ea"/>
            </a:endParaRPr>
          </a:p>
        </p:txBody>
      </p:sp>
      <p:sp>
        <p:nvSpPr>
          <p:cNvPr id="73" name="圆角矩形 72"/>
          <p:cNvSpPr/>
          <p:nvPr>
            <p:custDataLst>
              <p:tags r:id="rId5"/>
            </p:custDataLst>
          </p:nvPr>
        </p:nvSpPr>
        <p:spPr>
          <a:xfrm>
            <a:off x="3643311" y="3936127"/>
            <a:ext cx="6729240" cy="1044000"/>
          </a:xfrm>
          <a:prstGeom prst="roundRect">
            <a:avLst>
              <a:gd name="adj" fmla="val 19464"/>
            </a:avLst>
          </a:prstGeom>
          <a:solidFill>
            <a:srgbClr val="FFF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600">
              <a:sym typeface="+mn-ea"/>
            </a:endParaRPr>
          </a:p>
        </p:txBody>
      </p:sp>
      <p:sp>
        <p:nvSpPr>
          <p:cNvPr id="79" name="圆角矩形 78"/>
          <p:cNvSpPr/>
          <p:nvPr>
            <p:custDataLst>
              <p:tags r:id="rId6"/>
            </p:custDataLst>
          </p:nvPr>
        </p:nvSpPr>
        <p:spPr>
          <a:xfrm>
            <a:off x="3643311" y="5136277"/>
            <a:ext cx="6729240" cy="1044000"/>
          </a:xfrm>
          <a:prstGeom prst="roundRect">
            <a:avLst>
              <a:gd name="adj" fmla="val 19464"/>
            </a:avLst>
          </a:prstGeom>
          <a:solidFill>
            <a:srgbClr val="FFF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600">
              <a:sym typeface="+mn-ea"/>
            </a:endParaRPr>
          </a:p>
        </p:txBody>
      </p:sp>
      <p:sp>
        <p:nvSpPr>
          <p:cNvPr id="16" name="圆角矩形 35"/>
          <p:cNvSpPr/>
          <p:nvPr>
            <p:custDataLst>
              <p:tags r:id="rId7"/>
            </p:custDataLst>
          </p:nvPr>
        </p:nvSpPr>
        <p:spPr>
          <a:xfrm>
            <a:off x="3280726" y="1733946"/>
            <a:ext cx="2088000" cy="648000"/>
          </a:xfrm>
          <a:prstGeom prst="roundRect">
            <a:avLst>
              <a:gd name="adj" fmla="val 15679"/>
            </a:avLst>
          </a:prstGeom>
          <a:solidFill>
            <a:schemeClr val="accent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>
                <a:solidFill>
                  <a:schemeClr val="lt1">
                    <a:lumMod val="100000"/>
                  </a:schemeClr>
                </a:solidFill>
                <a:latin typeface="+mn-ea"/>
                <a:cs typeface="+mn-ea"/>
                <a:sym typeface="+mn-ea"/>
              </a:rPr>
              <a:t>罐体总高度</a:t>
            </a:r>
            <a:endParaRPr lang="zh-CN" altLang="en-US" sz="2000" b="1">
              <a:solidFill>
                <a:schemeClr val="lt1">
                  <a:lumMod val="100000"/>
                </a:schemeClr>
              </a:solidFill>
              <a:latin typeface="+mn-ea"/>
              <a:cs typeface="+mn-ea"/>
              <a:sym typeface="+mn-ea"/>
            </a:endParaRPr>
          </a:p>
        </p:txBody>
      </p:sp>
      <p:sp>
        <p:nvSpPr>
          <p:cNvPr id="19" name="圆角矩形 35"/>
          <p:cNvSpPr/>
          <p:nvPr>
            <p:custDataLst>
              <p:tags r:id="rId8"/>
            </p:custDataLst>
          </p:nvPr>
        </p:nvSpPr>
        <p:spPr>
          <a:xfrm>
            <a:off x="3280726" y="4134247"/>
            <a:ext cx="2088000" cy="648000"/>
          </a:xfrm>
          <a:prstGeom prst="roundRect">
            <a:avLst>
              <a:gd name="adj" fmla="val 15679"/>
            </a:avLst>
          </a:prstGeom>
          <a:solidFill>
            <a:schemeClr val="accent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>
                <a:solidFill>
                  <a:schemeClr val="lt1">
                    <a:lumMod val="100000"/>
                  </a:schemeClr>
                </a:solidFill>
                <a:latin typeface="+mn-ea"/>
                <a:cs typeface="+mn-ea"/>
                <a:sym typeface="+mn-ea"/>
              </a:rPr>
              <a:t>罐体总重</a:t>
            </a:r>
            <a:endParaRPr lang="zh-CN" altLang="en-US" sz="2000" b="1">
              <a:solidFill>
                <a:schemeClr val="lt1">
                  <a:lumMod val="100000"/>
                </a:schemeClr>
              </a:solidFill>
              <a:latin typeface="+mn-ea"/>
              <a:cs typeface="+mn-ea"/>
              <a:sym typeface="+mn-ea"/>
            </a:endParaRPr>
          </a:p>
        </p:txBody>
      </p:sp>
      <p:sp>
        <p:nvSpPr>
          <p:cNvPr id="20" name="圆角矩形 35"/>
          <p:cNvSpPr/>
          <p:nvPr>
            <p:custDataLst>
              <p:tags r:id="rId9"/>
            </p:custDataLst>
          </p:nvPr>
        </p:nvSpPr>
        <p:spPr>
          <a:xfrm>
            <a:off x="3280726" y="2934096"/>
            <a:ext cx="2088000" cy="648000"/>
          </a:xfrm>
          <a:prstGeom prst="roundRect">
            <a:avLst>
              <a:gd name="adj" fmla="val 15679"/>
            </a:avLst>
          </a:prstGeom>
          <a:solidFill>
            <a:schemeClr val="accent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>
                <a:solidFill>
                  <a:schemeClr val="lt1">
                    <a:lumMod val="100000"/>
                  </a:schemeClr>
                </a:solidFill>
                <a:latin typeface="+mn-ea"/>
                <a:cs typeface="+mn-ea"/>
                <a:sym typeface="+mn-ea"/>
              </a:rPr>
              <a:t>罐体外径</a:t>
            </a:r>
            <a:endParaRPr lang="zh-CN" altLang="en-US" sz="2000" b="1">
              <a:solidFill>
                <a:schemeClr val="lt1">
                  <a:lumMod val="100000"/>
                </a:schemeClr>
              </a:solidFill>
              <a:latin typeface="+mn-ea"/>
              <a:cs typeface="+mn-ea"/>
              <a:sym typeface="+mn-ea"/>
            </a:endParaRPr>
          </a:p>
        </p:txBody>
      </p:sp>
      <p:sp>
        <p:nvSpPr>
          <p:cNvPr id="21" name="矩形 20"/>
          <p:cNvSpPr/>
          <p:nvPr>
            <p:custDataLst>
              <p:tags r:id="rId10"/>
            </p:custDataLst>
          </p:nvPr>
        </p:nvSpPr>
        <p:spPr>
          <a:xfrm>
            <a:off x="5636577" y="1536461"/>
            <a:ext cx="4655859" cy="1043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just" fontAlgn="b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160.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2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mm</a:t>
            </a:r>
            <a:endParaRPr lang="zh-CN" altLang="en-US" sz="16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22" name="矩形 21"/>
          <p:cNvSpPr/>
          <p:nvPr>
            <p:custDataLst>
              <p:tags r:id="rId11"/>
            </p:custDataLst>
          </p:nvPr>
        </p:nvSpPr>
        <p:spPr>
          <a:xfrm>
            <a:off x="5636577" y="2735976"/>
            <a:ext cx="4655859" cy="1043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just" fontAlgn="b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65.5mm</a:t>
            </a:r>
            <a:endParaRPr lang="zh-CN" altLang="en-US" sz="16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23" name="矩形 22"/>
          <p:cNvSpPr/>
          <p:nvPr>
            <p:custDataLst>
              <p:tags r:id="rId12"/>
            </p:custDataLst>
          </p:nvPr>
        </p:nvSpPr>
        <p:spPr>
          <a:xfrm>
            <a:off x="5636577" y="3936127"/>
            <a:ext cx="4655859" cy="10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just" fontAlgn="b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210克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17" name="圆角矩形 35"/>
          <p:cNvSpPr/>
          <p:nvPr>
            <p:custDataLst>
              <p:tags r:id="rId13"/>
            </p:custDataLst>
          </p:nvPr>
        </p:nvSpPr>
        <p:spPr>
          <a:xfrm>
            <a:off x="3281361" y="5321062"/>
            <a:ext cx="2088000" cy="648000"/>
          </a:xfrm>
          <a:prstGeom prst="roundRect">
            <a:avLst>
              <a:gd name="adj" fmla="val 15679"/>
            </a:avLst>
          </a:prstGeom>
          <a:solidFill>
            <a:schemeClr val="accent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>
                <a:solidFill>
                  <a:schemeClr val="lt1">
                    <a:lumMod val="100000"/>
                  </a:schemeClr>
                </a:solidFill>
                <a:latin typeface="+mn-ea"/>
                <a:cs typeface="+mn-ea"/>
                <a:sym typeface="+mn-ea"/>
              </a:rPr>
              <a:t>灌装容量</a:t>
            </a:r>
            <a:endParaRPr lang="zh-CN" altLang="en-US" sz="2000" b="1">
              <a:solidFill>
                <a:schemeClr val="lt1">
                  <a:lumMod val="100000"/>
                </a:schemeClr>
              </a:solidFill>
              <a:latin typeface="+mn-ea"/>
              <a:cs typeface="+mn-ea"/>
              <a:sym typeface="+mn-ea"/>
            </a:endParaRPr>
          </a:p>
        </p:txBody>
      </p:sp>
      <p:sp>
        <p:nvSpPr>
          <p:cNvPr id="4" name="矩形 3"/>
          <p:cNvSpPr/>
          <p:nvPr>
            <p:custDataLst>
              <p:tags r:id="rId14"/>
            </p:custDataLst>
          </p:nvPr>
        </p:nvSpPr>
        <p:spPr>
          <a:xfrm>
            <a:off x="5639117" y="5129927"/>
            <a:ext cx="4655859" cy="10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just" fontAlgn="b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248ML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pic>
        <p:nvPicPr>
          <p:cNvPr id="6" name="图片 5" descr="DSC_7566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6"/>
          <a:srcRect l="25598" t="20565" r="26017" b="9840"/>
          <a:stretch>
            <a:fillRect/>
          </a:stretch>
        </p:blipFill>
        <p:spPr>
          <a:xfrm>
            <a:off x="470535" y="1365250"/>
            <a:ext cx="2197735" cy="4738370"/>
          </a:xfrm>
          <a:prstGeom prst="rect">
            <a:avLst/>
          </a:prstGeom>
        </p:spPr>
      </p:pic>
      <p:pic>
        <p:nvPicPr>
          <p:cNvPr id="2" name="图片 1" descr="微信图片_20260105151446_190_84"/>
          <p:cNvPicPr>
            <a:picLocks noChangeAspect="1"/>
          </p:cNvPicPr>
          <p:nvPr/>
        </p:nvPicPr>
        <p:blipFill>
          <a:blip r:embed="rId17"/>
          <a:srcRect l="15443" t="8870" r="14066"/>
          <a:stretch>
            <a:fillRect/>
          </a:stretch>
        </p:blipFill>
        <p:spPr>
          <a:xfrm>
            <a:off x="8766810" y="2580640"/>
            <a:ext cx="3425190" cy="38506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4024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两片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19" name="文本框 18"/>
          <p:cNvSpPr txBox="1"/>
          <p:nvPr>
            <p:custDataLst>
              <p:tags r:id="rId3"/>
            </p:custDataLst>
          </p:nvPr>
        </p:nvSpPr>
        <p:spPr>
          <a:xfrm>
            <a:off x="1352550" y="4707890"/>
            <a:ext cx="132143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330ml</a:t>
            </a:r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>
            <p:custDataLst>
              <p:tags r:id="rId4"/>
            </p:custDataLst>
          </p:nvPr>
        </p:nvSpPr>
        <p:spPr>
          <a:xfrm>
            <a:off x="4006850" y="4692650"/>
            <a:ext cx="13785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250ml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>
            <p:custDataLst>
              <p:tags r:id="rId5"/>
            </p:custDataLst>
          </p:nvPr>
        </p:nvSpPr>
        <p:spPr>
          <a:xfrm>
            <a:off x="6589395" y="4636135"/>
            <a:ext cx="17443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5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0ml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" name="图片 1" descr="微信图片_202302081143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6605" y="1962785"/>
            <a:ext cx="2444115" cy="2444115"/>
          </a:xfrm>
          <a:prstGeom prst="rect">
            <a:avLst/>
          </a:prstGeom>
        </p:spPr>
      </p:pic>
      <p:pic>
        <p:nvPicPr>
          <p:cNvPr id="4" name="图片 3" descr="微信图片_202302081143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6605" y="1962785"/>
            <a:ext cx="2444115" cy="2444115"/>
          </a:xfrm>
          <a:prstGeom prst="rect">
            <a:avLst/>
          </a:prstGeom>
        </p:spPr>
      </p:pic>
      <p:pic>
        <p:nvPicPr>
          <p:cNvPr id="5" name="图片 4" descr="微信图片_202302081143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605" y="1962785"/>
            <a:ext cx="2444115" cy="2444115"/>
          </a:xfrm>
          <a:prstGeom prst="rect">
            <a:avLst/>
          </a:prstGeom>
        </p:spPr>
      </p:pic>
      <p:pic>
        <p:nvPicPr>
          <p:cNvPr id="6" name="图片 5" descr="微信图片_202302081143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2820" y="1971675"/>
            <a:ext cx="2444400" cy="24444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9500235" y="4636135"/>
            <a:ext cx="15316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容量：</a:t>
            </a:r>
            <a:r>
              <a:rPr 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1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l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 descr="微信图片_202302201603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9035" y="1962785"/>
            <a:ext cx="2444400" cy="2444400"/>
          </a:xfrm>
          <a:prstGeom prst="rect">
            <a:avLst/>
          </a:prstGeom>
        </p:spPr>
      </p:pic>
      <p:pic>
        <p:nvPicPr>
          <p:cNvPr id="12" name="图片 11" descr="微信图片_2023022016065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5250" y="1971675"/>
            <a:ext cx="2444400" cy="2444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8517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4024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两片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71755"/>
            <a:ext cx="599440" cy="657860"/>
          </a:xfrm>
          <a:prstGeom prst="rect">
            <a:avLst/>
          </a:prstGeom>
        </p:spPr>
      </p:pic>
      <p:pic>
        <p:nvPicPr>
          <p:cNvPr id="5" name="图片 4" descr="XGG0759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6175" y="2855595"/>
            <a:ext cx="1199515" cy="1800225"/>
          </a:xfrm>
          <a:prstGeom prst="rect">
            <a:avLst/>
          </a:prstGeom>
        </p:spPr>
      </p:pic>
      <p:pic>
        <p:nvPicPr>
          <p:cNvPr id="6" name="图片 5" descr="XGG07596"/>
          <p:cNvPicPr>
            <a:picLocks noChangeAspect="1"/>
          </p:cNvPicPr>
          <p:nvPr/>
        </p:nvPicPr>
        <p:blipFill>
          <a:blip r:embed="rId4"/>
          <a:srcRect l="4630" t="10789" r="5800"/>
          <a:stretch>
            <a:fillRect/>
          </a:stretch>
        </p:blipFill>
        <p:spPr>
          <a:xfrm>
            <a:off x="3889375" y="845820"/>
            <a:ext cx="1216025" cy="1816735"/>
          </a:xfrm>
          <a:prstGeom prst="rect">
            <a:avLst/>
          </a:prstGeom>
        </p:spPr>
      </p:pic>
      <p:pic>
        <p:nvPicPr>
          <p:cNvPr id="7" name="图片 6" descr="XGG0759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2980" y="4858385"/>
            <a:ext cx="1199515" cy="1800225"/>
          </a:xfrm>
          <a:prstGeom prst="rect">
            <a:avLst/>
          </a:prstGeom>
        </p:spPr>
      </p:pic>
      <p:pic>
        <p:nvPicPr>
          <p:cNvPr id="8" name="图片 7" descr="XGG0759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5885" y="2855595"/>
            <a:ext cx="1199515" cy="1800225"/>
          </a:xfrm>
          <a:prstGeom prst="rect">
            <a:avLst/>
          </a:prstGeom>
        </p:spPr>
      </p:pic>
      <p:pic>
        <p:nvPicPr>
          <p:cNvPr id="9" name="图片 8" descr="XGG0759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6130" y="2846705"/>
            <a:ext cx="1199515" cy="1800225"/>
          </a:xfrm>
          <a:prstGeom prst="rect">
            <a:avLst/>
          </a:prstGeom>
        </p:spPr>
      </p:pic>
      <p:pic>
        <p:nvPicPr>
          <p:cNvPr id="10" name="图片 9" descr="XGG0760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6085" y="2855595"/>
            <a:ext cx="1199515" cy="1800225"/>
          </a:xfrm>
          <a:prstGeom prst="rect">
            <a:avLst/>
          </a:prstGeom>
        </p:spPr>
      </p:pic>
      <p:pic>
        <p:nvPicPr>
          <p:cNvPr id="17" name="图片 16" descr="XGG0760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71255" y="4848860"/>
            <a:ext cx="1199515" cy="1800225"/>
          </a:xfrm>
          <a:prstGeom prst="rect">
            <a:avLst/>
          </a:prstGeom>
        </p:spPr>
      </p:pic>
      <p:pic>
        <p:nvPicPr>
          <p:cNvPr id="19" name="图片 18" descr="XGG0760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36130" y="4849495"/>
            <a:ext cx="1199515" cy="1800225"/>
          </a:xfrm>
          <a:prstGeom prst="rect">
            <a:avLst/>
          </a:prstGeom>
        </p:spPr>
      </p:pic>
      <p:pic>
        <p:nvPicPr>
          <p:cNvPr id="20" name="图片 19" descr="XGG0760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36130" y="843915"/>
            <a:ext cx="1199515" cy="1800225"/>
          </a:xfrm>
          <a:prstGeom prst="rect">
            <a:avLst/>
          </a:prstGeom>
        </p:spPr>
      </p:pic>
      <p:pic>
        <p:nvPicPr>
          <p:cNvPr id="22" name="图片 21" descr="XGG0760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73065" y="4875530"/>
            <a:ext cx="1199515" cy="1800225"/>
          </a:xfrm>
          <a:prstGeom prst="rect">
            <a:avLst/>
          </a:prstGeom>
        </p:spPr>
      </p:pic>
      <p:pic>
        <p:nvPicPr>
          <p:cNvPr id="23" name="图片 22" descr="XGG0761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06085" y="862330"/>
            <a:ext cx="1217295" cy="1800225"/>
          </a:xfrm>
          <a:prstGeom prst="rect">
            <a:avLst/>
          </a:prstGeom>
        </p:spPr>
      </p:pic>
      <p:pic>
        <p:nvPicPr>
          <p:cNvPr id="24" name="图片 23" descr="XGG0761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89375" y="4876165"/>
            <a:ext cx="1199515" cy="1800225"/>
          </a:xfrm>
          <a:prstGeom prst="rect">
            <a:avLst/>
          </a:prstGeom>
        </p:spPr>
      </p:pic>
      <p:pic>
        <p:nvPicPr>
          <p:cNvPr id="2" name="图片 1" descr="DSC_7561"/>
          <p:cNvPicPr/>
          <p:nvPr/>
        </p:nvPicPr>
        <p:blipFill>
          <a:blip r:embed="rId15"/>
          <a:srcRect l="10591" t="15109" r="6915" b="2358"/>
          <a:stretch>
            <a:fillRect/>
          </a:stretch>
        </p:blipFill>
        <p:spPr>
          <a:xfrm>
            <a:off x="8776970" y="843915"/>
            <a:ext cx="1196975" cy="1800225"/>
          </a:xfrm>
          <a:prstGeom prst="rect">
            <a:avLst/>
          </a:prstGeom>
        </p:spPr>
      </p:pic>
      <p:pic>
        <p:nvPicPr>
          <p:cNvPr id="4" name="图片 3" descr="DSC_7560"/>
          <p:cNvPicPr/>
          <p:nvPr/>
        </p:nvPicPr>
        <p:blipFill>
          <a:blip r:embed="rId16"/>
          <a:srcRect l="5104" t="13955" r="7588"/>
          <a:stretch>
            <a:fillRect/>
          </a:stretch>
        </p:blipFill>
        <p:spPr>
          <a:xfrm>
            <a:off x="2225040" y="837565"/>
            <a:ext cx="1227455" cy="1816735"/>
          </a:xfrm>
          <a:prstGeom prst="rect">
            <a:avLst/>
          </a:prstGeom>
        </p:spPr>
      </p:pic>
      <p:pic>
        <p:nvPicPr>
          <p:cNvPr id="11" name="图片 10" descr="DSC_7564"/>
          <p:cNvPicPr/>
          <p:nvPr/>
        </p:nvPicPr>
        <p:blipFill>
          <a:blip r:embed="rId17"/>
          <a:stretch>
            <a:fillRect/>
          </a:stretch>
        </p:blipFill>
        <p:spPr>
          <a:xfrm>
            <a:off x="2242820" y="2856230"/>
            <a:ext cx="1198880" cy="18002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śľíḓé"/>
          <p:cNvSpPr/>
          <p:nvPr/>
        </p:nvSpPr>
        <p:spPr>
          <a:xfrm>
            <a:off x="0" y="0"/>
            <a:ext cx="12192000" cy="377071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1462071 h 3429000"/>
              <a:gd name="connsiteX3" fmla="*/ 12120175 w 12192000"/>
              <a:gd name="connsiteY3" fmla="*/ 1554208 h 3429000"/>
              <a:gd name="connsiteX4" fmla="*/ 6096000 w 12192000"/>
              <a:gd name="connsiteY4" fmla="*/ 3429000 h 3429000"/>
              <a:gd name="connsiteX5" fmla="*/ 71825 w 12192000"/>
              <a:gd name="connsiteY5" fmla="*/ 1554208 h 3429000"/>
              <a:gd name="connsiteX6" fmla="*/ 0 w 12192000"/>
              <a:gd name="connsiteY6" fmla="*/ 1462071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1462071"/>
                </a:lnTo>
                <a:lnTo>
                  <a:pt x="12120175" y="1554208"/>
                </a:lnTo>
                <a:cubicBezTo>
                  <a:pt x="11127659" y="2655945"/>
                  <a:pt x="8804112" y="3429000"/>
                  <a:pt x="6096000" y="3429000"/>
                </a:cubicBezTo>
                <a:cubicBezTo>
                  <a:pt x="3387888" y="3429000"/>
                  <a:pt x="1064342" y="2655945"/>
                  <a:pt x="71825" y="1554208"/>
                </a:cubicBezTo>
                <a:lnTo>
                  <a:pt x="0" y="1462071"/>
                </a:lnTo>
                <a:close/>
              </a:path>
            </a:pathLst>
          </a:custGeom>
          <a:blipFill dpi="0" rotWithShape="1">
            <a:blip r:embed="rId1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7" name="îşļíḓe"/>
          <p:cNvSpPr/>
          <p:nvPr/>
        </p:nvSpPr>
        <p:spPr>
          <a:xfrm>
            <a:off x="0" y="5715"/>
            <a:ext cx="12192000" cy="373634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1462071 h 3429000"/>
              <a:gd name="connsiteX3" fmla="*/ 12120175 w 12192000"/>
              <a:gd name="connsiteY3" fmla="*/ 1554208 h 3429000"/>
              <a:gd name="connsiteX4" fmla="*/ 6096000 w 12192000"/>
              <a:gd name="connsiteY4" fmla="*/ 3429000 h 3429000"/>
              <a:gd name="connsiteX5" fmla="*/ 71825 w 12192000"/>
              <a:gd name="connsiteY5" fmla="*/ 1554208 h 3429000"/>
              <a:gd name="connsiteX6" fmla="*/ 0 w 12192000"/>
              <a:gd name="connsiteY6" fmla="*/ 1462071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1462071"/>
                </a:lnTo>
                <a:lnTo>
                  <a:pt x="12120175" y="1554208"/>
                </a:lnTo>
                <a:cubicBezTo>
                  <a:pt x="11127659" y="2655945"/>
                  <a:pt x="8804112" y="3429000"/>
                  <a:pt x="6096000" y="3429000"/>
                </a:cubicBezTo>
                <a:cubicBezTo>
                  <a:pt x="3387888" y="3429000"/>
                  <a:pt x="1064342" y="2655945"/>
                  <a:pt x="71825" y="1554208"/>
                </a:cubicBezTo>
                <a:lnTo>
                  <a:pt x="0" y="1462071"/>
                </a:lnTo>
                <a:close/>
              </a:path>
            </a:pathLst>
          </a:custGeom>
          <a:solidFill>
            <a:srgbClr val="0369BF">
              <a:alpha val="40000"/>
            </a:srgb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zh-CN" altLang="en-US">
              <a:solidFill>
                <a:schemeClr val="accent1"/>
              </a:solidFill>
            </a:endParaRPr>
          </a:p>
        </p:txBody>
      </p:sp>
      <p:sp>
        <p:nvSpPr>
          <p:cNvPr id="8" name="í$ľíḓè"/>
          <p:cNvSpPr/>
          <p:nvPr/>
        </p:nvSpPr>
        <p:spPr>
          <a:xfrm>
            <a:off x="5094808" y="2730500"/>
            <a:ext cx="1963718" cy="617832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dist"/>
            <a:r>
              <a:rPr lang="tr-TR" altLang="zh-CN" sz="2400" b="1" dirty="0">
                <a:solidFill>
                  <a:schemeClr val="bg1"/>
                </a:solidFill>
              </a:rPr>
              <a:t>CONTENTS</a:t>
            </a:r>
            <a:endParaRPr lang="tr-TR" altLang="zh-CN" sz="2400" b="1" dirty="0">
              <a:solidFill>
                <a:schemeClr val="bg1"/>
              </a:solidFill>
            </a:endParaRPr>
          </a:p>
        </p:txBody>
      </p:sp>
      <p:sp>
        <p:nvSpPr>
          <p:cNvPr id="9" name="ísľíḋè"/>
          <p:cNvSpPr/>
          <p:nvPr>
            <p:custDataLst>
              <p:tags r:id="rId2"/>
            </p:custDataLst>
          </p:nvPr>
        </p:nvSpPr>
        <p:spPr bwMode="auto">
          <a:xfrm>
            <a:off x="1572354" y="4150967"/>
            <a:ext cx="621260" cy="621260"/>
          </a:xfrm>
          <a:prstGeom prst="ellipse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altLang="zh-CN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01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  <p:sp>
        <p:nvSpPr>
          <p:cNvPr id="26" name="ïṡḷiḓè"/>
          <p:cNvSpPr txBox="1"/>
          <p:nvPr>
            <p:custDataLst>
              <p:tags r:id="rId3"/>
            </p:custDataLst>
          </p:nvPr>
        </p:nvSpPr>
        <p:spPr>
          <a:xfrm>
            <a:off x="646863" y="5152484"/>
            <a:ext cx="2490043" cy="47157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介绍</a:t>
            </a:r>
            <a:endParaRPr lang="zh-CN" altLang="en-US" sz="28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ísḷiḋé"/>
          <p:cNvSpPr/>
          <p:nvPr>
            <p:custDataLst>
              <p:tags r:id="rId4"/>
            </p:custDataLst>
          </p:nvPr>
        </p:nvSpPr>
        <p:spPr bwMode="auto">
          <a:xfrm>
            <a:off x="4384410" y="4150967"/>
            <a:ext cx="621260" cy="621260"/>
          </a:xfrm>
          <a:prstGeom prst="ellipse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altLang="zh-CN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02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  <p:sp>
        <p:nvSpPr>
          <p:cNvPr id="24" name="iṣ1íḑê"/>
          <p:cNvSpPr txBox="1"/>
          <p:nvPr>
            <p:custDataLst>
              <p:tags r:id="rId5"/>
            </p:custDataLst>
          </p:nvPr>
        </p:nvSpPr>
        <p:spPr>
          <a:xfrm>
            <a:off x="3394995" y="5152484"/>
            <a:ext cx="2553968" cy="47157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及服务</a:t>
            </a:r>
            <a:endParaRPr lang="zh-CN" altLang="en-US" sz="28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íṧ1iḑè"/>
          <p:cNvSpPr/>
          <p:nvPr>
            <p:custDataLst>
              <p:tags r:id="rId6"/>
            </p:custDataLst>
          </p:nvPr>
        </p:nvSpPr>
        <p:spPr bwMode="auto">
          <a:xfrm>
            <a:off x="7196466" y="4150967"/>
            <a:ext cx="621260" cy="621260"/>
          </a:xfrm>
          <a:prstGeom prst="ellipse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altLang="zh-CN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03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  <p:sp>
        <p:nvSpPr>
          <p:cNvPr id="22" name="ïṡlídé"/>
          <p:cNvSpPr txBox="1"/>
          <p:nvPr>
            <p:custDataLst>
              <p:tags r:id="rId7"/>
            </p:custDataLst>
          </p:nvPr>
        </p:nvSpPr>
        <p:spPr>
          <a:xfrm>
            <a:off x="6207051" y="5152484"/>
            <a:ext cx="2553968" cy="47157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竞争优势</a:t>
            </a:r>
            <a:endParaRPr lang="zh-CN" altLang="en-US" sz="28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ïṩḻïdé"/>
          <p:cNvSpPr/>
          <p:nvPr>
            <p:custDataLst>
              <p:tags r:id="rId8"/>
            </p:custDataLst>
          </p:nvPr>
        </p:nvSpPr>
        <p:spPr bwMode="auto">
          <a:xfrm>
            <a:off x="10008522" y="4150967"/>
            <a:ext cx="621260" cy="621260"/>
          </a:xfrm>
          <a:prstGeom prst="ellipse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altLang="zh-CN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04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  <p:sp>
        <p:nvSpPr>
          <p:cNvPr id="20" name="iṥḷïḑê"/>
          <p:cNvSpPr txBox="1"/>
          <p:nvPr>
            <p:custDataLst>
              <p:tags r:id="rId9"/>
            </p:custDataLst>
          </p:nvPr>
        </p:nvSpPr>
        <p:spPr>
          <a:xfrm>
            <a:off x="9019107" y="5152484"/>
            <a:ext cx="2479907" cy="47157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bg2">
                    <a:lumMod val="25000"/>
                  </a:schemeClr>
                </a:solidFill>
              </a:rPr>
              <a:t>战略规划</a:t>
            </a:r>
            <a:endParaRPr lang="zh-CN" altLang="en-US" sz="28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" name="í$ľíḓè"/>
          <p:cNvSpPr/>
          <p:nvPr/>
        </p:nvSpPr>
        <p:spPr>
          <a:xfrm>
            <a:off x="4969510" y="1605280"/>
            <a:ext cx="2190750" cy="946785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zh-CN" altLang="en-US" sz="7500" b="1" dirty="0">
                <a:solidFill>
                  <a:schemeClr val="bg1"/>
                </a:solidFill>
              </a:rPr>
              <a:t>目录</a:t>
            </a:r>
            <a:endParaRPr lang="tr-TR" altLang="zh-CN" sz="7500" b="1" dirty="0">
              <a:solidFill>
                <a:schemeClr val="bg1"/>
              </a:solidFill>
            </a:endParaRPr>
          </a:p>
        </p:txBody>
      </p:sp>
      <p:pic>
        <p:nvPicPr>
          <p:cNvPr id="119" name="图片 118"/>
          <p:cNvPicPr>
            <a:picLocks noChangeAspect="1"/>
          </p:cNvPicPr>
          <p:nvPr/>
        </p:nvPicPr>
        <p:blipFill>
          <a:blip r:embed="rId10"/>
          <a:srcRect l="-2001" r="60524"/>
          <a:stretch>
            <a:fillRect/>
          </a:stretch>
        </p:blipFill>
        <p:spPr>
          <a:xfrm>
            <a:off x="0" y="0"/>
            <a:ext cx="907415" cy="10426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35645"/>
            <a:ext cx="12192000" cy="744422"/>
            <a:chOff x="0" y="-35645"/>
            <a:chExt cx="12192000" cy="74442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ABC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3564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4" name="组合 3"/>
          <p:cNvGrpSpPr/>
          <p:nvPr>
            <p:custDataLst>
              <p:tags r:id="rId3"/>
            </p:custDataLst>
          </p:nvPr>
        </p:nvGrpSpPr>
        <p:grpSpPr>
          <a:xfrm>
            <a:off x="518795" y="1270635"/>
            <a:ext cx="10815955" cy="4479532"/>
            <a:chOff x="3104" y="2916"/>
            <a:chExt cx="13726" cy="5685"/>
          </a:xfrm>
        </p:grpSpPr>
        <p:sp>
          <p:nvSpPr>
            <p:cNvPr id="2" name="文本框 1"/>
            <p:cNvSpPr txBox="1"/>
            <p:nvPr>
              <p:custDataLst>
                <p:tags r:id="rId4"/>
              </p:custDataLst>
            </p:nvPr>
          </p:nvSpPr>
          <p:spPr>
            <a:xfrm>
              <a:off x="3104" y="2916"/>
              <a:ext cx="13726" cy="50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n-US" altLang="zh-CN" sz="20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ABC</a:t>
              </a:r>
              <a:r>
                <a:rPr lang="zh-CN" altLang="en-US" sz="20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罐是针对含气饮料、碳酸饮料、功能性饮品等特殊需求开发的专业包装解决方案。</a:t>
              </a:r>
              <a:endPara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7" name="椭圆 6"/>
            <p:cNvSpPr/>
            <p:nvPr>
              <p:custDataLst>
                <p:tags r:id="rId5"/>
              </p:custDataLst>
            </p:nvPr>
          </p:nvSpPr>
          <p:spPr>
            <a:xfrm>
              <a:off x="4611" y="4449"/>
              <a:ext cx="3364" cy="3364"/>
            </a:xfrm>
            <a:prstGeom prst="ellipse">
              <a:avLst/>
            </a:prstGeom>
            <a:solidFill>
              <a:srgbClr val="8FABDC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8" name="椭圆 7"/>
            <p:cNvSpPr/>
            <p:nvPr>
              <p:custDataLst>
                <p:tags r:id="rId6"/>
              </p:custDataLst>
            </p:nvPr>
          </p:nvSpPr>
          <p:spPr>
            <a:xfrm>
              <a:off x="4938" y="4776"/>
              <a:ext cx="2711" cy="2711"/>
            </a:xfrm>
            <a:prstGeom prst="ellipse">
              <a:avLst/>
            </a:prstGeom>
            <a:noFill/>
            <a:ln w="22225">
              <a:gradFill>
                <a:gsLst>
                  <a:gs pos="0">
                    <a:srgbClr val="BB4FFF">
                      <a:lumMod val="20000"/>
                      <a:lumOff val="80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10800000" scaled="1"/>
              </a:gradFill>
              <a:prstDash val="lgDashDot"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9" name="弧形 8"/>
            <p:cNvSpPr/>
            <p:nvPr>
              <p:custDataLst>
                <p:tags r:id="rId7"/>
              </p:custDataLst>
            </p:nvPr>
          </p:nvSpPr>
          <p:spPr>
            <a:xfrm flipH="1">
              <a:off x="3876" y="3663"/>
              <a:ext cx="4938" cy="4938"/>
            </a:xfrm>
            <a:prstGeom prst="arc">
              <a:avLst>
                <a:gd name="adj1" fmla="val 16200000"/>
                <a:gd name="adj2" fmla="val 5292021"/>
              </a:avLst>
            </a:prstGeom>
            <a:ln w="25400">
              <a:solidFill>
                <a:srgbClr val="4574C5"/>
              </a:solidFill>
            </a:ln>
          </p:spPr>
          <p:style>
            <a:lnRef idx="1">
              <a:srgbClr val="BB4FFF"/>
            </a:lnRef>
            <a:fillRef idx="0">
              <a:srgbClr val="BB4FFF"/>
            </a:fillRef>
            <a:effectRef idx="0">
              <a:srgbClr val="BB4FFF"/>
            </a:effectRef>
            <a:fontRef idx="minor">
              <a:srgbClr val="000000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11" name="椭圆 10"/>
            <p:cNvSpPr/>
            <p:nvPr>
              <p:custDataLst>
                <p:tags r:id="rId8"/>
              </p:custDataLst>
            </p:nvPr>
          </p:nvSpPr>
          <p:spPr>
            <a:xfrm>
              <a:off x="4040" y="4015"/>
              <a:ext cx="888" cy="888"/>
            </a:xfrm>
            <a:prstGeom prst="ellipse">
              <a:avLst/>
            </a:prstGeom>
            <a:solidFill>
              <a:srgbClr val="4574C5"/>
            </a:solidFill>
            <a:ln w="50800">
              <a:solidFill>
                <a:srgbClr val="FFFFFF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12" name="椭圆 11"/>
            <p:cNvSpPr/>
            <p:nvPr>
              <p:custDataLst>
                <p:tags r:id="rId9"/>
              </p:custDataLst>
            </p:nvPr>
          </p:nvSpPr>
          <p:spPr>
            <a:xfrm>
              <a:off x="3438" y="5628"/>
              <a:ext cx="888" cy="888"/>
            </a:xfrm>
            <a:prstGeom prst="ellipse">
              <a:avLst/>
            </a:prstGeom>
            <a:solidFill>
              <a:srgbClr val="4574C5"/>
            </a:solidFill>
            <a:ln w="50800">
              <a:solidFill>
                <a:srgbClr val="FFFFFF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13" name="椭圆 12"/>
            <p:cNvSpPr/>
            <p:nvPr>
              <p:custDataLst>
                <p:tags r:id="rId10"/>
              </p:custDataLst>
            </p:nvPr>
          </p:nvSpPr>
          <p:spPr>
            <a:xfrm>
              <a:off x="3977" y="7240"/>
              <a:ext cx="888" cy="888"/>
            </a:xfrm>
            <a:prstGeom prst="ellipse">
              <a:avLst/>
            </a:prstGeom>
            <a:solidFill>
              <a:srgbClr val="4574C5"/>
            </a:solidFill>
            <a:ln w="50800">
              <a:solidFill>
                <a:srgbClr val="FFFFFF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Sans Bold" panose="00000800000000000000" charset="-122"/>
              </a:endParaRPr>
            </a:p>
          </p:txBody>
        </p:sp>
        <p:sp>
          <p:nvSpPr>
            <p:cNvPr id="48" name="椭圆 47"/>
            <p:cNvSpPr/>
            <p:nvPr>
              <p:custDataLst>
                <p:tags r:id="rId11"/>
              </p:custDataLst>
            </p:nvPr>
          </p:nvSpPr>
          <p:spPr>
            <a:xfrm>
              <a:off x="8698" y="39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椭圆 48"/>
            <p:cNvSpPr/>
            <p:nvPr>
              <p:custDataLst>
                <p:tags r:id="rId12"/>
              </p:custDataLst>
            </p:nvPr>
          </p:nvSpPr>
          <p:spPr>
            <a:xfrm>
              <a:off x="8512" y="39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椭圆 50"/>
            <p:cNvSpPr/>
            <p:nvPr>
              <p:custDataLst>
                <p:tags r:id="rId13"/>
              </p:custDataLst>
            </p:nvPr>
          </p:nvSpPr>
          <p:spPr>
            <a:xfrm>
              <a:off x="8698" y="55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椭圆 51"/>
            <p:cNvSpPr/>
            <p:nvPr>
              <p:custDataLst>
                <p:tags r:id="rId14"/>
              </p:custDataLst>
            </p:nvPr>
          </p:nvSpPr>
          <p:spPr>
            <a:xfrm>
              <a:off x="8512" y="55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4574C5"/>
                  </a:solidFill>
                </a14:hiddenFill>
              </a:ext>
            </a:extLst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椭圆 53"/>
            <p:cNvSpPr/>
            <p:nvPr>
              <p:custDataLst>
                <p:tags r:id="rId15"/>
              </p:custDataLst>
            </p:nvPr>
          </p:nvSpPr>
          <p:spPr>
            <a:xfrm>
              <a:off x="8698" y="71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椭圆 54"/>
            <p:cNvSpPr/>
            <p:nvPr>
              <p:custDataLst>
                <p:tags r:id="rId16"/>
              </p:custDataLst>
            </p:nvPr>
          </p:nvSpPr>
          <p:spPr>
            <a:xfrm>
              <a:off x="8512" y="71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椭圆 56"/>
            <p:cNvSpPr/>
            <p:nvPr>
              <p:custDataLst>
                <p:tags r:id="rId17"/>
              </p:custDataLst>
            </p:nvPr>
          </p:nvSpPr>
          <p:spPr>
            <a:xfrm>
              <a:off x="12763" y="39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椭圆 57"/>
            <p:cNvSpPr/>
            <p:nvPr>
              <p:custDataLst>
                <p:tags r:id="rId18"/>
              </p:custDataLst>
            </p:nvPr>
          </p:nvSpPr>
          <p:spPr>
            <a:xfrm>
              <a:off x="12577" y="39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4574C5"/>
                  </a:solidFill>
                </a14:hiddenFill>
              </a:ext>
            </a:extLst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椭圆 59"/>
            <p:cNvSpPr/>
            <p:nvPr>
              <p:custDataLst>
                <p:tags r:id="rId19"/>
              </p:custDataLst>
            </p:nvPr>
          </p:nvSpPr>
          <p:spPr>
            <a:xfrm>
              <a:off x="12763" y="55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椭圆 60"/>
            <p:cNvSpPr/>
            <p:nvPr>
              <p:custDataLst>
                <p:tags r:id="rId20"/>
              </p:custDataLst>
            </p:nvPr>
          </p:nvSpPr>
          <p:spPr>
            <a:xfrm>
              <a:off x="12577" y="55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椭圆 62"/>
            <p:cNvSpPr/>
            <p:nvPr>
              <p:custDataLst>
                <p:tags r:id="rId21"/>
              </p:custDataLst>
            </p:nvPr>
          </p:nvSpPr>
          <p:spPr>
            <a:xfrm>
              <a:off x="12763" y="7137"/>
              <a:ext cx="290" cy="290"/>
            </a:xfrm>
            <a:prstGeom prst="ellipse">
              <a:avLst/>
            </a:prstGeom>
            <a:solidFill>
              <a:srgbClr val="4574C5"/>
            </a:solidFill>
            <a:ln>
              <a:noFill/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椭圆 63"/>
            <p:cNvSpPr/>
            <p:nvPr>
              <p:custDataLst>
                <p:tags r:id="rId22"/>
              </p:custDataLst>
            </p:nvPr>
          </p:nvSpPr>
          <p:spPr>
            <a:xfrm>
              <a:off x="12577" y="7137"/>
              <a:ext cx="290" cy="290"/>
            </a:xfrm>
            <a:prstGeom prst="ellipse">
              <a:avLst/>
            </a:prstGeom>
            <a:noFill/>
            <a:ln>
              <a:solidFill>
                <a:srgbClr val="4574C5"/>
              </a:solidFill>
            </a:ln>
          </p:spPr>
          <p:style>
            <a:lnRef idx="2">
              <a:srgbClr val="BB4FFF">
                <a:shade val="50000"/>
              </a:srgbClr>
            </a:lnRef>
            <a:fillRef idx="1">
              <a:srgbClr val="BB4FFF"/>
            </a:fillRef>
            <a:effectRef idx="0">
              <a:srgbClr val="BB4FFF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7" name="文本框 146"/>
            <p:cNvSpPr txBox="1"/>
            <p:nvPr>
              <p:custDataLst>
                <p:tags r:id="rId23"/>
              </p:custDataLst>
            </p:nvPr>
          </p:nvSpPr>
          <p:spPr>
            <a:xfrm>
              <a:off x="9266" y="3836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kumimoji="1" lang="zh-TW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charset="-122"/>
                  <a:sym typeface="+mn-ea"/>
                </a:rPr>
                <a:t>方便轻巧易携带</a:t>
              </a:r>
              <a:endParaRPr kumimoji="1" lang="zh-TW" altLang="en-US" sz="16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黑体" panose="02010609060101010101" charset="-122"/>
                <a:sym typeface="+mn-ea"/>
              </a:endParaRPr>
            </a:p>
          </p:txBody>
        </p:sp>
        <p:sp>
          <p:nvSpPr>
            <p:cNvPr id="65" name="文本框 64"/>
            <p:cNvSpPr txBox="1"/>
            <p:nvPr>
              <p:custDataLst>
                <p:tags r:id="rId24"/>
              </p:custDataLst>
            </p:nvPr>
          </p:nvSpPr>
          <p:spPr>
            <a:xfrm>
              <a:off x="9266" y="5474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lang="zh-CN" altLang="en-US" sz="1600" spc="150">
                  <a:solidFill>
                    <a:schemeClr val="tx1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易打开，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charset="-122"/>
                  <a:sym typeface="+mn-ea"/>
                </a:rPr>
                <a:t>再次旋紧不外漏</a:t>
              </a:r>
              <a:r>
                <a:rPr kumimoji="1" lang="zh-CN" altLang="zh-TW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charset="-122"/>
                  <a:sym typeface="+mn-ea"/>
                </a:rPr>
                <a:t>，</a:t>
              </a:r>
              <a:r>
                <a:rPr lang="zh-CN" altLang="en-US" sz="1600" spc="150">
                  <a:solidFill>
                    <a:schemeClr val="tx1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香气易留存</a:t>
              </a:r>
              <a:endParaRPr lang="zh-CN" altLang="en-US" sz="1600" spc="15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66" name="文本框 65"/>
            <p:cNvSpPr txBox="1"/>
            <p:nvPr>
              <p:custDataLst>
                <p:tags r:id="rId25"/>
              </p:custDataLst>
            </p:nvPr>
          </p:nvSpPr>
          <p:spPr>
            <a:xfrm>
              <a:off x="9266" y="7112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lang="zh-CN" altLang="en-US" sz="1600" spc="150">
                  <a:solidFill>
                    <a:schemeClr val="tx1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隔断光照，保持产品最好状态</a:t>
              </a:r>
              <a:endParaRPr lang="zh-CN" altLang="en-US" sz="1600" spc="15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70" name="文本框 69"/>
            <p:cNvSpPr txBox="1"/>
            <p:nvPr>
              <p:custDataLst>
                <p:tags r:id="rId26"/>
              </p:custDataLst>
            </p:nvPr>
          </p:nvSpPr>
          <p:spPr>
            <a:xfrm>
              <a:off x="13360" y="3836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kumimoji="1" lang="en-US" altLang="zh-TW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38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口径双享受</a:t>
              </a:r>
              <a:r>
                <a:rPr kumimoji="1" lang="zh-CN" altLang="zh-TW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，</a:t>
              </a:r>
              <a:r>
                <a:rPr kumimoji="1" lang="zh-CN" altLang="en-US" sz="1600" spc="150" dirty="0">
                  <a:solidFill>
                    <a:schemeClr val="tx1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印刷套膜皆可行</a:t>
              </a:r>
              <a:endParaRPr kumimoji="1" lang="zh-CN" altLang="en-US" sz="16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71" name="文本框 70"/>
            <p:cNvSpPr txBox="1"/>
            <p:nvPr>
              <p:custDataLst>
                <p:tags r:id="rId27"/>
              </p:custDataLst>
            </p:nvPr>
          </p:nvSpPr>
          <p:spPr>
            <a:xfrm>
              <a:off x="13360" y="5474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原材料环保，可使用收缩膜对应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endParaRPr lang="en-US" altLang="zh-CN" sz="16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72" name="文本框 71"/>
            <p:cNvSpPr txBox="1"/>
            <p:nvPr>
              <p:custDataLst>
                <p:tags r:id="rId28"/>
              </p:custDataLst>
            </p:nvPr>
          </p:nvSpPr>
          <p:spPr>
            <a:xfrm>
              <a:off x="13437" y="7112"/>
              <a:ext cx="3113" cy="1316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r>
                <a:rPr kumimoji="1" lang="zh-TW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charset="-122"/>
                  <a:sym typeface="+mn-ea"/>
                </a:rPr>
                <a:t>温度冷热皆</a:t>
              </a:r>
              <a:r>
                <a:rPr kumimoji="1" lang="zh-CN" altLang="zh-TW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charset="-122"/>
                  <a:sym typeface="+mn-ea"/>
                </a:rPr>
                <a:t>相宜，</a:t>
              </a:r>
              <a:r>
                <a:rPr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易升温降温</a:t>
              </a:r>
              <a:endParaRPr kumimoji="1" lang="zh-CN" altLang="zh-TW" sz="16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黑体" panose="02010609060101010101" charset="-122"/>
                <a:sym typeface="+mn-ea"/>
              </a:endParaRPr>
            </a:p>
            <a:p>
              <a:pPr algn="l" fontAlgn="auto">
                <a:lnSpc>
                  <a:spcPct val="130000"/>
                </a:lnSpc>
                <a:spcAft>
                  <a:spcPts val="1000"/>
                </a:spcAft>
              </a:pPr>
              <a:endParaRPr kumimoji="1" lang="zh-CN" altLang="zh-TW" sz="16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黑体" panose="02010609060101010101" charset="-122"/>
                <a:sym typeface="+mn-ea"/>
              </a:endParaRPr>
            </a:p>
          </p:txBody>
        </p:sp>
        <p:pic>
          <p:nvPicPr>
            <p:cNvPr id="86" name="图片 85" descr="343435383036303b343532343136343bcfeec4bfb7b6cea7"/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4271" y="4246"/>
              <a:ext cx="425" cy="425"/>
            </a:xfrm>
            <a:prstGeom prst="rect">
              <a:avLst/>
            </a:prstGeom>
          </p:spPr>
        </p:pic>
        <p:pic>
          <p:nvPicPr>
            <p:cNvPr id="87" name="图片 86" descr="343435383036303b343532343136353bcfeec4bfc6c0c9f3"/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3669" y="5859"/>
              <a:ext cx="425" cy="425"/>
            </a:xfrm>
            <a:prstGeom prst="rect">
              <a:avLst/>
            </a:prstGeom>
          </p:spPr>
        </p:pic>
        <p:pic>
          <p:nvPicPr>
            <p:cNvPr id="91" name="图片 90" descr="343435383036303b343532343136363bcfeec4bfbdf8b6c8"/>
            <p:cNvPicPr>
              <a:picLocks noChangeAspect="1"/>
            </p:cNvPicPr>
            <p:nvPr>
              <p:custDataLst>
                <p:tags r:id="rId35"/>
              </p:custDataLst>
            </p:nvPr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4208" y="7471"/>
              <a:ext cx="425" cy="425"/>
            </a:xfrm>
            <a:prstGeom prst="rect">
              <a:avLst/>
            </a:prstGeom>
          </p:spPr>
        </p:pic>
        <p:pic>
          <p:nvPicPr>
            <p:cNvPr id="20" name="图片 19" descr="微信图片_20230220154049"/>
            <p:cNvPicPr>
              <a:picLocks noChangeAspect="1"/>
            </p:cNvPicPr>
            <p:nvPr>
              <p:custDataLst>
                <p:tags r:id="rId38"/>
              </p:custDataLst>
            </p:nvPr>
          </p:nvPicPr>
          <p:blipFill>
            <a:blip r:embed="rId39"/>
            <a:srcRect l="14069" t="19712" r="16299" b="15147"/>
            <a:stretch>
              <a:fillRect/>
            </a:stretch>
          </p:blipFill>
          <p:spPr>
            <a:xfrm>
              <a:off x="4619" y="5270"/>
              <a:ext cx="3292" cy="1705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ABC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罐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6" name="矩形 11"/>
          <p:cNvSpPr/>
          <p:nvPr>
            <p:custDataLst>
              <p:tags r:id="rId3"/>
            </p:custDataLst>
          </p:nvPr>
        </p:nvSpPr>
        <p:spPr>
          <a:xfrm>
            <a:off x="1085850" y="908685"/>
            <a:ext cx="10191750" cy="5616000"/>
          </a:xfrm>
          <a:prstGeom prst="rect">
            <a:avLst/>
          </a:prstGeom>
          <a:noFill/>
          <a:ln w="12700" cmpd="sng">
            <a:solidFill>
              <a:srgbClr val="0369B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en-US" altLang="zh-CN" sz="135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" name="矩形 12"/>
          <p:cNvSpPr/>
          <p:nvPr>
            <p:custDataLst>
              <p:tags r:id="rId4"/>
            </p:custDataLst>
          </p:nvPr>
        </p:nvSpPr>
        <p:spPr>
          <a:xfrm>
            <a:off x="0" y="5293360"/>
            <a:ext cx="1529715" cy="51689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 descr="XGG076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2495" y="2374900"/>
            <a:ext cx="1751453" cy="2628000"/>
          </a:xfrm>
          <a:prstGeom prst="rect">
            <a:avLst/>
          </a:prstGeom>
        </p:spPr>
      </p:pic>
      <p:pic>
        <p:nvPicPr>
          <p:cNvPr id="4" name="图片 3" descr="XGG0760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0825" y="2374900"/>
            <a:ext cx="1751453" cy="2628000"/>
          </a:xfrm>
          <a:prstGeom prst="rect">
            <a:avLst/>
          </a:prstGeom>
        </p:spPr>
      </p:pic>
      <p:pic>
        <p:nvPicPr>
          <p:cNvPr id="5" name="图片 4" descr="XGG0760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9155" y="2374900"/>
            <a:ext cx="1751453" cy="2628000"/>
          </a:xfrm>
          <a:prstGeom prst="rect">
            <a:avLst/>
          </a:prstGeom>
        </p:spPr>
      </p:pic>
      <p:pic>
        <p:nvPicPr>
          <p:cNvPr id="7" name="图片 6" descr="XGG0760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7485" y="2374900"/>
            <a:ext cx="1751453" cy="2628000"/>
          </a:xfrm>
          <a:prstGeom prst="rect">
            <a:avLst/>
          </a:prstGeom>
        </p:spPr>
      </p:pic>
      <p:pic>
        <p:nvPicPr>
          <p:cNvPr id="8" name="图片 7" descr="DSC_7558"/>
          <p:cNvPicPr/>
          <p:nvPr/>
        </p:nvPicPr>
        <p:blipFill>
          <a:blip r:embed="rId9"/>
          <a:stretch>
            <a:fillRect/>
          </a:stretch>
        </p:blipFill>
        <p:spPr>
          <a:xfrm>
            <a:off x="9194165" y="2374900"/>
            <a:ext cx="1753200" cy="262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无菌纸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7656830" y="3938905"/>
            <a:ext cx="3977005" cy="2864485"/>
            <a:chOff x="14136" y="6023"/>
            <a:chExt cx="6263" cy="4511"/>
          </a:xfrm>
        </p:grpSpPr>
        <p:pic>
          <p:nvPicPr>
            <p:cNvPr id="2" name="图片 1" descr="1LS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4"/>
            <a:stretch>
              <a:fillRect/>
            </a:stretch>
          </p:blipFill>
          <p:spPr>
            <a:xfrm>
              <a:off x="14136" y="6023"/>
              <a:ext cx="2755" cy="3900"/>
            </a:xfrm>
            <a:prstGeom prst="rect">
              <a:avLst/>
            </a:prstGeom>
          </p:spPr>
        </p:pic>
        <p:sp>
          <p:nvSpPr>
            <p:cNvPr id="27" name="文本框 26"/>
            <p:cNvSpPr txBox="1"/>
            <p:nvPr>
              <p:custDataLst>
                <p:tags r:id="rId5"/>
              </p:custDataLst>
            </p:nvPr>
          </p:nvSpPr>
          <p:spPr>
            <a:xfrm>
              <a:off x="14136" y="10100"/>
              <a:ext cx="2202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容量：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1Ls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4" name="图片 3" descr="1L钻"/>
            <p:cNvPicPr/>
            <p:nvPr>
              <p:custDataLst>
                <p:tags r:id="rId6"/>
              </p:custDataLst>
            </p:nvPr>
          </p:nvPicPr>
          <p:blipFill>
            <a:blip r:embed="rId7"/>
            <a:stretch>
              <a:fillRect/>
            </a:stretch>
          </p:blipFill>
          <p:spPr>
            <a:xfrm>
              <a:off x="17645" y="6023"/>
              <a:ext cx="2755" cy="3900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>
              <p:custDataLst>
                <p:tags r:id="rId8"/>
              </p:custDataLst>
            </p:nvPr>
          </p:nvSpPr>
          <p:spPr>
            <a:xfrm>
              <a:off x="17645" y="10100"/>
              <a:ext cx="2202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容量：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1L</a:t>
              </a:r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钻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852805" y="845820"/>
            <a:ext cx="6325410" cy="5959475"/>
            <a:chOff x="8117" y="1332"/>
            <a:chExt cx="9961" cy="9385"/>
          </a:xfrm>
        </p:grpSpPr>
        <p:pic>
          <p:nvPicPr>
            <p:cNvPr id="7" name="图片 6" descr="125S"/>
            <p:cNvPicPr/>
            <p:nvPr>
              <p:custDataLst>
                <p:tags r:id="rId9"/>
              </p:custDataLst>
            </p:nvPr>
          </p:nvPicPr>
          <p:blipFill>
            <a:blip r:embed="rId10"/>
            <a:stretch>
              <a:fillRect/>
            </a:stretch>
          </p:blipFill>
          <p:spPr>
            <a:xfrm>
              <a:off x="8209" y="1332"/>
              <a:ext cx="2755" cy="3900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>
              <p:custDataLst>
                <p:tags r:id="rId11"/>
              </p:custDataLst>
            </p:nvPr>
          </p:nvSpPr>
          <p:spPr>
            <a:xfrm>
              <a:off x="8209" y="5409"/>
              <a:ext cx="2202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容量：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125s</a:t>
              </a:r>
              <a:endPara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9" name="图片 8" descr="200B"/>
            <p:cNvPicPr/>
            <p:nvPr/>
          </p:nvPicPr>
          <p:blipFill>
            <a:blip r:embed="rId12"/>
            <a:stretch>
              <a:fillRect/>
            </a:stretch>
          </p:blipFill>
          <p:spPr>
            <a:xfrm>
              <a:off x="15323" y="1332"/>
              <a:ext cx="2755" cy="3900"/>
            </a:xfrm>
            <a:prstGeom prst="rect">
              <a:avLst/>
            </a:prstGeom>
          </p:spPr>
        </p:pic>
        <p:sp>
          <p:nvSpPr>
            <p:cNvPr id="10" name="文本框 9"/>
            <p:cNvSpPr txBox="1"/>
            <p:nvPr>
              <p:custDataLst>
                <p:tags r:id="rId13"/>
              </p:custDataLst>
            </p:nvPr>
          </p:nvSpPr>
          <p:spPr>
            <a:xfrm>
              <a:off x="15323" y="5409"/>
              <a:ext cx="2202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容量：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200B</a:t>
              </a:r>
              <a:endPara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11" name="图片 10" descr="200钻"/>
            <p:cNvPicPr/>
            <p:nvPr/>
          </p:nvPicPr>
          <p:blipFill>
            <a:blip r:embed="rId14"/>
            <a:stretch>
              <a:fillRect/>
            </a:stretch>
          </p:blipFill>
          <p:spPr>
            <a:xfrm>
              <a:off x="8117" y="6206"/>
              <a:ext cx="2755" cy="3900"/>
            </a:xfrm>
            <a:prstGeom prst="rect">
              <a:avLst/>
            </a:prstGeom>
          </p:spPr>
        </p:pic>
        <p:sp>
          <p:nvSpPr>
            <p:cNvPr id="12" name="文本框 11"/>
            <p:cNvSpPr txBox="1"/>
            <p:nvPr>
              <p:custDataLst>
                <p:tags r:id="rId15"/>
              </p:custDataLst>
            </p:nvPr>
          </p:nvSpPr>
          <p:spPr>
            <a:xfrm>
              <a:off x="8117" y="10283"/>
              <a:ext cx="2202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容量：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200</a:t>
              </a:r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钻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pic>
        <p:nvPicPr>
          <p:cNvPr id="13" name="图片 12" descr="250B"/>
          <p:cNvPicPr/>
          <p:nvPr/>
        </p:nvPicPr>
        <p:blipFill>
          <a:blip r:embed="rId16"/>
          <a:stretch>
            <a:fillRect/>
          </a:stretch>
        </p:blipFill>
        <p:spPr>
          <a:xfrm>
            <a:off x="7595870" y="845820"/>
            <a:ext cx="1749600" cy="2476800"/>
          </a:xfrm>
          <a:prstGeom prst="rect">
            <a:avLst/>
          </a:prstGeom>
        </p:spPr>
      </p:pic>
      <p:sp>
        <p:nvSpPr>
          <p:cNvPr id="14" name="文本框 13"/>
          <p:cNvSpPr txBox="1"/>
          <p:nvPr>
            <p:custDataLst>
              <p:tags r:id="rId17"/>
            </p:custDataLst>
          </p:nvPr>
        </p:nvSpPr>
        <p:spPr>
          <a:xfrm>
            <a:off x="7595870" y="3436620"/>
            <a:ext cx="139827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B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5" name="图片 14" descr="250S"/>
          <p:cNvPicPr/>
          <p:nvPr/>
        </p:nvPicPr>
        <p:blipFill>
          <a:blip r:embed="rId18"/>
          <a:stretch>
            <a:fillRect/>
          </a:stretch>
        </p:blipFill>
        <p:spPr>
          <a:xfrm>
            <a:off x="9824085" y="845820"/>
            <a:ext cx="1749600" cy="2476800"/>
          </a:xfrm>
          <a:prstGeom prst="rect">
            <a:avLst/>
          </a:prstGeom>
        </p:spPr>
      </p:pic>
      <p:sp>
        <p:nvSpPr>
          <p:cNvPr id="16" name="文本框 15"/>
          <p:cNvSpPr txBox="1"/>
          <p:nvPr>
            <p:custDataLst>
              <p:tags r:id="rId19"/>
            </p:custDataLst>
          </p:nvPr>
        </p:nvSpPr>
        <p:spPr>
          <a:xfrm>
            <a:off x="9824085" y="3436620"/>
            <a:ext cx="139827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s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7" name="图片 16" descr="250月亮包"/>
          <p:cNvPicPr/>
          <p:nvPr/>
        </p:nvPicPr>
        <p:blipFill>
          <a:blip r:embed="rId20"/>
          <a:stretch>
            <a:fillRect/>
          </a:stretch>
        </p:blipFill>
        <p:spPr>
          <a:xfrm>
            <a:off x="3200400" y="3938905"/>
            <a:ext cx="1749600" cy="2476800"/>
          </a:xfrm>
          <a:prstGeom prst="rect">
            <a:avLst/>
          </a:prstGeom>
        </p:spPr>
      </p:pic>
      <p:sp>
        <p:nvSpPr>
          <p:cNvPr id="18" name="文本框 17"/>
          <p:cNvSpPr txBox="1"/>
          <p:nvPr>
            <p:custDataLst>
              <p:tags r:id="rId21"/>
            </p:custDataLst>
          </p:nvPr>
        </p:nvSpPr>
        <p:spPr>
          <a:xfrm>
            <a:off x="3200400" y="6527800"/>
            <a:ext cx="139827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亮包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9" name="图片 18" descr="250钻"/>
          <p:cNvPicPr/>
          <p:nvPr/>
        </p:nvPicPr>
        <p:blipFill>
          <a:blip r:embed="rId22"/>
          <a:stretch>
            <a:fillRect/>
          </a:stretch>
        </p:blipFill>
        <p:spPr>
          <a:xfrm>
            <a:off x="5428615" y="3940810"/>
            <a:ext cx="1749600" cy="2476800"/>
          </a:xfrm>
          <a:prstGeom prst="rect">
            <a:avLst/>
          </a:prstGeom>
        </p:spPr>
      </p:pic>
      <p:sp>
        <p:nvSpPr>
          <p:cNvPr id="20" name="文本框 19"/>
          <p:cNvSpPr txBox="1"/>
          <p:nvPr>
            <p:custDataLst>
              <p:tags r:id="rId23"/>
            </p:custDataLst>
          </p:nvPr>
        </p:nvSpPr>
        <p:spPr>
          <a:xfrm>
            <a:off x="5428615" y="6531610"/>
            <a:ext cx="139827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钻</a:t>
            </a:r>
            <a:endParaRPr lang="zh-CN" altLang="en-US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2" name="图片 21" descr="微信图片_20260105144338_162_299"/>
          <p:cNvPicPr>
            <a:picLocks noChangeAspect="1"/>
          </p:cNvPicPr>
          <p:nvPr/>
        </p:nvPicPr>
        <p:blipFill>
          <a:blip r:embed="rId24"/>
          <a:srcRect l="23729" t="8915" r="22269" b="8894"/>
          <a:stretch>
            <a:fillRect/>
          </a:stretch>
        </p:blipFill>
        <p:spPr>
          <a:xfrm>
            <a:off x="3140710" y="845820"/>
            <a:ext cx="1807845" cy="2476500"/>
          </a:xfrm>
          <a:prstGeom prst="rect">
            <a:avLst/>
          </a:prstGeom>
        </p:spPr>
      </p:pic>
      <p:sp>
        <p:nvSpPr>
          <p:cNvPr id="23" name="文本框 22"/>
          <p:cNvSpPr txBox="1"/>
          <p:nvPr>
            <p:custDataLst>
              <p:tags r:id="rId25"/>
            </p:custDataLst>
          </p:nvPr>
        </p:nvSpPr>
        <p:spPr>
          <a:xfrm>
            <a:off x="3375662" y="3434715"/>
            <a:ext cx="1398309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容量：</a:t>
            </a:r>
            <a:r>
              <a:rPr lang="en-US" altLang="zh-CN" sz="12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25B</a:t>
            </a:r>
            <a:endParaRPr lang="en-US" altLang="zh-CN" sz="12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463105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无菌纸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pic>
        <p:nvPicPr>
          <p:cNvPr id="8" name="图片 7" descr="XGG075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4860" y="3814445"/>
            <a:ext cx="1199625" cy="1800000"/>
          </a:xfrm>
          <a:prstGeom prst="rect">
            <a:avLst/>
          </a:prstGeom>
        </p:spPr>
      </p:pic>
      <p:pic>
        <p:nvPicPr>
          <p:cNvPr id="26" name="图片 25" descr="XGG0756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4175" y="3814445"/>
            <a:ext cx="1199625" cy="1800000"/>
          </a:xfrm>
          <a:prstGeom prst="rect">
            <a:avLst/>
          </a:prstGeom>
        </p:spPr>
      </p:pic>
      <p:pic>
        <p:nvPicPr>
          <p:cNvPr id="30" name="图片 29" descr="XGG0757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3795" y="1462405"/>
            <a:ext cx="1199625" cy="1800000"/>
          </a:xfrm>
          <a:prstGeom prst="rect">
            <a:avLst/>
          </a:prstGeom>
        </p:spPr>
      </p:pic>
      <p:pic>
        <p:nvPicPr>
          <p:cNvPr id="31" name="图片 30" descr="XGG075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6785" y="3814445"/>
            <a:ext cx="1199625" cy="1800000"/>
          </a:xfrm>
          <a:prstGeom prst="rect">
            <a:avLst/>
          </a:prstGeom>
        </p:spPr>
      </p:pic>
      <p:pic>
        <p:nvPicPr>
          <p:cNvPr id="32" name="图片 31" descr="XGG0757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4860" y="1462405"/>
            <a:ext cx="1199625" cy="1800000"/>
          </a:xfrm>
          <a:prstGeom prst="rect">
            <a:avLst/>
          </a:prstGeom>
        </p:spPr>
      </p:pic>
      <p:pic>
        <p:nvPicPr>
          <p:cNvPr id="33" name="图片 32" descr="XGG0757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95925" y="1462405"/>
            <a:ext cx="1199625" cy="1800000"/>
          </a:xfrm>
          <a:prstGeom prst="rect">
            <a:avLst/>
          </a:prstGeom>
        </p:spPr>
      </p:pic>
      <p:pic>
        <p:nvPicPr>
          <p:cNvPr id="34" name="图片 33" descr="XGG0757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56990" y="1462405"/>
            <a:ext cx="1199625" cy="1800000"/>
          </a:xfrm>
          <a:prstGeom prst="rect">
            <a:avLst/>
          </a:prstGeom>
        </p:spPr>
      </p:pic>
      <p:pic>
        <p:nvPicPr>
          <p:cNvPr id="2" name="图片 1" descr="DSC_756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16785" y="1463040"/>
            <a:ext cx="1200750" cy="1800000"/>
          </a:xfrm>
          <a:prstGeom prst="rect">
            <a:avLst/>
          </a:prstGeom>
        </p:spPr>
      </p:pic>
      <p:pic>
        <p:nvPicPr>
          <p:cNvPr id="4" name="图片 3" descr="DSC_7562"/>
          <p:cNvPicPr preferRelativeResize="0"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05545" y="3759200"/>
            <a:ext cx="1200750" cy="1800000"/>
          </a:xfrm>
          <a:prstGeom prst="rect">
            <a:avLst/>
          </a:prstGeom>
        </p:spPr>
      </p:pic>
      <p:pic>
        <p:nvPicPr>
          <p:cNvPr id="5" name="图片 4" descr="微信图片_20260105160526_165_29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56990" y="3814445"/>
            <a:ext cx="1199625" cy="1800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组合 60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62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535096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戴维斯产线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9850"/>
            <a:ext cx="599440" cy="657860"/>
          </a:xfrm>
          <a:prstGeom prst="rect">
            <a:avLst/>
          </a:prstGeom>
        </p:spPr>
      </p:pic>
      <p:sp>
        <p:nvSpPr>
          <p:cNvPr id="13" name="PA-椭圆 15"/>
          <p:cNvSpPr/>
          <p:nvPr>
            <p:custDataLst>
              <p:tags r:id="rId3"/>
            </p:custDataLst>
          </p:nvPr>
        </p:nvSpPr>
        <p:spPr>
          <a:xfrm flipH="1">
            <a:off x="6267214" y="5407531"/>
            <a:ext cx="129108" cy="12910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PA-图片 2" descr="几何拼接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l="5556" r="5556"/>
          <a:stretch>
            <a:fillRect/>
          </a:stretch>
        </p:blipFill>
        <p:spPr>
          <a:xfrm>
            <a:off x="113838" y="875432"/>
            <a:ext cx="2797341" cy="2098006"/>
          </a:xfrm>
          <a:prstGeom prst="rect">
            <a:avLst/>
          </a:prstGeom>
          <a:effectLst>
            <a:outerShdw blurRad="127000" dist="38100" dir="16200000" rotWithShape="0">
              <a:prstClr val="black">
                <a:alpha val="20000"/>
              </a:prstClr>
            </a:outerShdw>
          </a:effectLst>
        </p:spPr>
      </p:pic>
      <p:pic>
        <p:nvPicPr>
          <p:cNvPr id="5" name="PA-图片 3" descr="字体感觉1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l="5556" r="5556"/>
          <a:stretch>
            <a:fillRect/>
          </a:stretch>
        </p:blipFill>
        <p:spPr>
          <a:xfrm>
            <a:off x="3163353" y="845587"/>
            <a:ext cx="2797341" cy="2098006"/>
          </a:xfrm>
          <a:prstGeom prst="rect">
            <a:avLst/>
          </a:prstGeom>
          <a:effectLst>
            <a:outerShdw blurRad="127000" dist="38100" dir="16200000" rotWithShape="0">
              <a:prstClr val="black">
                <a:alpha val="20000"/>
              </a:prstClr>
            </a:outerShdw>
          </a:effectLst>
        </p:spPr>
      </p:pic>
      <p:pic>
        <p:nvPicPr>
          <p:cNvPr id="6" name="PA-图片 4" descr="几何图形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9"/>
          <a:srcRect l="5556" r="5556"/>
          <a:stretch>
            <a:fillRect/>
          </a:stretch>
        </p:blipFill>
        <p:spPr>
          <a:xfrm>
            <a:off x="6231283" y="845587"/>
            <a:ext cx="2797341" cy="2098006"/>
          </a:xfrm>
          <a:prstGeom prst="rect">
            <a:avLst/>
          </a:prstGeom>
          <a:effectLst>
            <a:outerShdw blurRad="127000" dist="38100" dir="16200000" rotWithShape="0">
              <a:prstClr val="black">
                <a:alpha val="20000"/>
              </a:prstClr>
            </a:outerShdw>
          </a:effectLst>
        </p:spPr>
      </p:pic>
      <p:pic>
        <p:nvPicPr>
          <p:cNvPr id="17" name="PA-图片 6" descr="字体感觉3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/>
          <a:srcRect l="5556" r="5556"/>
          <a:stretch>
            <a:fillRect/>
          </a:stretch>
        </p:blipFill>
        <p:spPr>
          <a:xfrm>
            <a:off x="9299212" y="845587"/>
            <a:ext cx="2797364" cy="2098023"/>
          </a:xfrm>
          <a:prstGeom prst="rect">
            <a:avLst/>
          </a:prstGeom>
          <a:effectLst>
            <a:outerShdw blurRad="127000" dist="38100" dir="16200000" rotWithShape="0">
              <a:prstClr val="black">
                <a:alpha val="20000"/>
              </a:prstClr>
            </a:outerShdw>
          </a:effectLst>
        </p:spPr>
      </p:pic>
      <p:sp>
        <p:nvSpPr>
          <p:cNvPr id="20" name="PA-椭圆 15"/>
          <p:cNvSpPr/>
          <p:nvPr>
            <p:custDataLst>
              <p:tags r:id="rId12"/>
            </p:custDataLst>
          </p:nvPr>
        </p:nvSpPr>
        <p:spPr>
          <a:xfrm flipH="1">
            <a:off x="5405418" y="5407531"/>
            <a:ext cx="129108" cy="12910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PA-椭圆 19"/>
          <p:cNvSpPr/>
          <p:nvPr>
            <p:custDataLst>
              <p:tags r:id="rId13"/>
            </p:custDataLst>
          </p:nvPr>
        </p:nvSpPr>
        <p:spPr>
          <a:xfrm flipH="1">
            <a:off x="5692684" y="5407531"/>
            <a:ext cx="129108" cy="12910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PA-椭圆 20"/>
          <p:cNvSpPr/>
          <p:nvPr>
            <p:custDataLst>
              <p:tags r:id="rId14"/>
            </p:custDataLst>
          </p:nvPr>
        </p:nvSpPr>
        <p:spPr>
          <a:xfrm flipH="1">
            <a:off x="5979949" y="5408450"/>
            <a:ext cx="129108" cy="12910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3" name="PA-椭圆 15"/>
          <p:cNvSpPr/>
          <p:nvPr>
            <p:custDataLst>
              <p:tags r:id="rId15"/>
            </p:custDataLst>
          </p:nvPr>
        </p:nvSpPr>
        <p:spPr>
          <a:xfrm flipH="1">
            <a:off x="5118153" y="5407531"/>
            <a:ext cx="129108" cy="12910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Title 6"/>
          <p:cNvSpPr txBox="1"/>
          <p:nvPr>
            <p:custDataLst>
              <p:tags r:id="rId16"/>
            </p:custDataLst>
          </p:nvPr>
        </p:nvSpPr>
        <p:spPr>
          <a:xfrm>
            <a:off x="1106170" y="5605780"/>
            <a:ext cx="10558780" cy="11455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en-US" sz="1800" spc="8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嘉美包装无菌纸包生产线在引入进口线前，国产设备已形成约27亿包/年的无菌纸包产能，随着进口线投产，预计新增40–50亿包/年产能。公司同时提供灌装服务，形成“包材+灌装”的一体化供给能力，主要客户覆盖养元饮品、王老吉、银鹭集团、达利集团、承德露露、喜多多等头部企业。</a:t>
            </a:r>
            <a:endParaRPr lang="zh-CN" altLang="en-US" sz="1800" spc="8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9" name="矩形"/>
          <p:cNvSpPr/>
          <p:nvPr>
            <p:custDataLst>
              <p:tags r:id="rId17"/>
            </p:custDataLst>
          </p:nvPr>
        </p:nvSpPr>
        <p:spPr>
          <a:xfrm>
            <a:off x="551815" y="5605780"/>
            <a:ext cx="304800" cy="1064895"/>
          </a:xfrm>
          <a:custGeom>
            <a:avLst/>
            <a:gdLst>
              <a:gd name="connsiteX0" fmla="*/ 0 w 304803"/>
              <a:gd name="connsiteY0" fmla="*/ 0 h 1811346"/>
              <a:gd name="connsiteX1" fmla="*/ 304803 w 304803"/>
              <a:gd name="connsiteY1" fmla="*/ 2 h 1811346"/>
              <a:gd name="connsiteX2" fmla="*/ 304803 w 304803"/>
              <a:gd name="connsiteY2" fmla="*/ 1811346 h 1811346"/>
              <a:gd name="connsiteX3" fmla="*/ 0 w 304803"/>
              <a:gd name="connsiteY3" fmla="*/ 1811345 h 1811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3" h="1811346">
                <a:moveTo>
                  <a:pt x="0" y="0"/>
                </a:moveTo>
                <a:lnTo>
                  <a:pt x="304803" y="2"/>
                </a:lnTo>
                <a:lnTo>
                  <a:pt x="304803" y="1811346"/>
                </a:lnTo>
                <a:lnTo>
                  <a:pt x="0" y="1811345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685800"/>
            <a:endParaRPr lang="zh-CN" altLang="en-US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19">
            <a:lum bright="12000"/>
          </a:blip>
          <a:srcRect t="36578" b="36578"/>
          <a:stretch>
            <a:fillRect/>
          </a:stretch>
        </p:blipFill>
        <p:spPr>
          <a:xfrm>
            <a:off x="104775" y="3121660"/>
            <a:ext cx="12002135" cy="20218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17295" y="1276403"/>
            <a:ext cx="9775190" cy="4442373"/>
            <a:chOff x="3186" y="3203"/>
            <a:chExt cx="11113" cy="5050"/>
          </a:xfrm>
        </p:grpSpPr>
        <p:sp>
          <p:nvSpPr>
            <p:cNvPr id="9" name="矩形 8"/>
            <p:cNvSpPr/>
            <p:nvPr/>
          </p:nvSpPr>
          <p:spPr bwMode="auto">
            <a:xfrm>
              <a:off x="3186" y="3870"/>
              <a:ext cx="11113" cy="4383"/>
            </a:xfrm>
            <a:prstGeom prst="rect">
              <a:avLst/>
            </a:prstGeom>
            <a:solidFill>
              <a:schemeClr val="bg1">
                <a:alpha val="58000"/>
              </a:schemeClr>
            </a:solidFill>
            <a:ln w="158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519" y="4690"/>
              <a:ext cx="10463" cy="2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嘉美包装于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3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与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IG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康美包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​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达成合作，引进其无菌纸包体系并在国内落地生产。合作覆盖三大创新包型：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​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笑脸包、灵巧包（砖型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角）、夺目瓶</a:t>
              </a:r>
              <a:r>
                <a:rPr lang="en-US" altLang="zh-CN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​</a:t>
              </a:r>
              <a:r>
                <a:rPr lang="zh-CN" altLang="en-US" sz="20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并配置专用灌装线，面向乳品、茶饮、果汁、植物基、汤品、果酒等多品类，支持固液混合与含颗粒配方，兼顾功能与货架表现。</a:t>
              </a:r>
              <a:endParaRPr lang="zh-CN" altLang="en-US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 bwMode="auto">
            <a:xfrm>
              <a:off x="3980" y="3203"/>
              <a:ext cx="3289" cy="1117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9" name="TextBox 18"/>
            <p:cNvSpPr txBox="1"/>
            <p:nvPr/>
          </p:nvSpPr>
          <p:spPr bwMode="auto">
            <a:xfrm>
              <a:off x="4370" y="3360"/>
              <a:ext cx="2265" cy="8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4000" b="1" kern="0" spc="-150" dirty="0">
                  <a:ln w="1905">
                    <a:noFill/>
                  </a:ln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康美包</a:t>
              </a:r>
              <a:endParaRPr lang="zh-CN" altLang="en-US" sz="4000" b="1" kern="0" spc="-150" dirty="0">
                <a:ln w="1905">
                  <a:noFill/>
                </a:ln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1000760" y="144695"/>
              <a:ext cx="500253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康美包代采与灌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pic>
        <p:nvPicPr>
          <p:cNvPr id="212" name="图片 211" descr="E:/设计图片素材/7898059_.jpg7898059_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rcRect l="-3" t="16644" r="-3" b="16644"/>
          <a:stretch>
            <a:fillRect/>
          </a:stretch>
        </p:blipFill>
        <p:spPr>
          <a:xfrm rot="20520000">
            <a:off x="7555230" y="4613909"/>
            <a:ext cx="2033411" cy="2033411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117" h="6117">
                <a:moveTo>
                  <a:pt x="3059" y="0"/>
                </a:moveTo>
                <a:cubicBezTo>
                  <a:pt x="3828" y="0"/>
                  <a:pt x="4497" y="429"/>
                  <a:pt x="4840" y="1061"/>
                </a:cubicBezTo>
                <a:lnTo>
                  <a:pt x="4911" y="1206"/>
                </a:lnTo>
                <a:lnTo>
                  <a:pt x="5056" y="1277"/>
                </a:lnTo>
                <a:cubicBezTo>
                  <a:pt x="5688" y="1620"/>
                  <a:pt x="6117" y="2289"/>
                  <a:pt x="6117" y="3059"/>
                </a:cubicBezTo>
                <a:cubicBezTo>
                  <a:pt x="6117" y="3828"/>
                  <a:pt x="5688" y="4497"/>
                  <a:pt x="5056" y="4840"/>
                </a:cubicBezTo>
                <a:lnTo>
                  <a:pt x="4911" y="4911"/>
                </a:lnTo>
                <a:lnTo>
                  <a:pt x="4840" y="5056"/>
                </a:lnTo>
                <a:cubicBezTo>
                  <a:pt x="4497" y="5688"/>
                  <a:pt x="3828" y="6117"/>
                  <a:pt x="3059" y="6117"/>
                </a:cubicBezTo>
                <a:cubicBezTo>
                  <a:pt x="2289" y="6117"/>
                  <a:pt x="1620" y="5688"/>
                  <a:pt x="1277" y="5056"/>
                </a:cubicBezTo>
                <a:lnTo>
                  <a:pt x="1206" y="4911"/>
                </a:lnTo>
                <a:lnTo>
                  <a:pt x="1061" y="4840"/>
                </a:lnTo>
                <a:cubicBezTo>
                  <a:pt x="429" y="4497"/>
                  <a:pt x="0" y="3828"/>
                  <a:pt x="0" y="3059"/>
                </a:cubicBezTo>
                <a:cubicBezTo>
                  <a:pt x="0" y="2289"/>
                  <a:pt x="429" y="1620"/>
                  <a:pt x="1061" y="1277"/>
                </a:cubicBezTo>
                <a:lnTo>
                  <a:pt x="1206" y="1206"/>
                </a:lnTo>
                <a:lnTo>
                  <a:pt x="1277" y="1061"/>
                </a:lnTo>
                <a:cubicBezTo>
                  <a:pt x="1620" y="429"/>
                  <a:pt x="2289" y="0"/>
                  <a:pt x="3059" y="0"/>
                </a:cubicBezTo>
                <a:close/>
              </a:path>
            </a:pathLst>
          </a:custGeom>
          <a:solidFill>
            <a:schemeClr val="accent3"/>
          </a:solidFill>
          <a:ln w="104775" cap="flat" cmpd="thickThin" algn="ctr">
            <a:solidFill>
              <a:srgbClr val="FFC000"/>
            </a:solidFill>
            <a:prstDash val="solid"/>
            <a:miter lim="800000"/>
            <a:headEnd/>
            <a:tailEnd/>
          </a:ln>
          <a:effectLst/>
        </p:spPr>
      </p:pic>
      <p:pic>
        <p:nvPicPr>
          <p:cNvPr id="213" name="图片 212" descr="E:/设计图片素材/7898059_.jpg7898059_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rcRect l="-3" t="16644" r="-3" b="16644"/>
          <a:stretch>
            <a:fillRect/>
          </a:stretch>
        </p:blipFill>
        <p:spPr>
          <a:xfrm rot="540000">
            <a:off x="9114154" y="4614544"/>
            <a:ext cx="2033411" cy="2033411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117" h="6117">
                <a:moveTo>
                  <a:pt x="3059" y="0"/>
                </a:moveTo>
                <a:cubicBezTo>
                  <a:pt x="3828" y="0"/>
                  <a:pt x="4497" y="429"/>
                  <a:pt x="4840" y="1061"/>
                </a:cubicBezTo>
                <a:lnTo>
                  <a:pt x="4911" y="1206"/>
                </a:lnTo>
                <a:lnTo>
                  <a:pt x="5056" y="1277"/>
                </a:lnTo>
                <a:cubicBezTo>
                  <a:pt x="5688" y="1620"/>
                  <a:pt x="6117" y="2289"/>
                  <a:pt x="6117" y="3059"/>
                </a:cubicBezTo>
                <a:cubicBezTo>
                  <a:pt x="6117" y="3828"/>
                  <a:pt x="5688" y="4497"/>
                  <a:pt x="5056" y="4840"/>
                </a:cubicBezTo>
                <a:lnTo>
                  <a:pt x="4911" y="4911"/>
                </a:lnTo>
                <a:lnTo>
                  <a:pt x="4840" y="5056"/>
                </a:lnTo>
                <a:cubicBezTo>
                  <a:pt x="4497" y="5688"/>
                  <a:pt x="3828" y="6117"/>
                  <a:pt x="3059" y="6117"/>
                </a:cubicBezTo>
                <a:cubicBezTo>
                  <a:pt x="2289" y="6117"/>
                  <a:pt x="1620" y="5688"/>
                  <a:pt x="1277" y="5056"/>
                </a:cubicBezTo>
                <a:lnTo>
                  <a:pt x="1206" y="4911"/>
                </a:lnTo>
                <a:lnTo>
                  <a:pt x="1061" y="4840"/>
                </a:lnTo>
                <a:cubicBezTo>
                  <a:pt x="429" y="4497"/>
                  <a:pt x="0" y="3828"/>
                  <a:pt x="0" y="3059"/>
                </a:cubicBezTo>
                <a:cubicBezTo>
                  <a:pt x="0" y="2289"/>
                  <a:pt x="429" y="1620"/>
                  <a:pt x="1061" y="1277"/>
                </a:cubicBezTo>
                <a:lnTo>
                  <a:pt x="1206" y="1206"/>
                </a:lnTo>
                <a:lnTo>
                  <a:pt x="1277" y="1061"/>
                </a:lnTo>
                <a:cubicBezTo>
                  <a:pt x="1620" y="429"/>
                  <a:pt x="2289" y="0"/>
                  <a:pt x="3059" y="0"/>
                </a:cubicBezTo>
                <a:close/>
              </a:path>
            </a:pathLst>
          </a:custGeom>
          <a:solidFill>
            <a:schemeClr val="accent3"/>
          </a:solidFill>
          <a:ln w="104775" cap="flat" cmpd="thickThin" algn="ctr">
            <a:solidFill>
              <a:srgbClr val="FFC000"/>
            </a:solidFill>
            <a:prstDash val="solid"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1000760" y="144695"/>
              <a:ext cx="500253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康美包代采与灌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85" name="组合 84"/>
          <p:cNvGrpSpPr/>
          <p:nvPr/>
        </p:nvGrpSpPr>
        <p:grpSpPr>
          <a:xfrm>
            <a:off x="215675" y="1645243"/>
            <a:ext cx="11742403" cy="4501330"/>
            <a:chOff x="1841" y="3347"/>
            <a:chExt cx="15178" cy="5818"/>
          </a:xfrm>
        </p:grpSpPr>
        <p:sp>
          <p:nvSpPr>
            <p:cNvPr id="79" name="TextBox 26"/>
            <p:cNvSpPr txBox="1"/>
            <p:nvPr/>
          </p:nvSpPr>
          <p:spPr>
            <a:xfrm>
              <a:off x="2025" y="3347"/>
              <a:ext cx="3757" cy="1686"/>
            </a:xfrm>
            <a:prstGeom prst="rect">
              <a:avLst/>
            </a:prstGeom>
            <a:noFill/>
          </p:spPr>
          <p:txBody>
            <a:bodyPr wrap="square" lIns="67099" tIns="33549" rIns="67099" bIns="33549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线与效率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endPara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配置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条康美包饮料灌装线，单线额定产能约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,000 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包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时，支持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条输送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灌装轨道；内置集成旋盖封合，无需外置贴盖设备。</a:t>
              </a: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TextBox 27"/>
            <p:cNvSpPr txBox="1"/>
            <p:nvPr/>
          </p:nvSpPr>
          <p:spPr>
            <a:xfrm>
              <a:off x="13078" y="3930"/>
              <a:ext cx="3843" cy="1376"/>
            </a:xfrm>
            <a:prstGeom prst="rect">
              <a:avLst/>
            </a:prstGeom>
            <a:noFill/>
          </p:spPr>
          <p:txBody>
            <a:bodyPr wrap="square" lIns="67099" tIns="33549" rIns="67099" bIns="33549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400" b="1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品类</a:t>
              </a:r>
              <a:endParaRPr lang="zh-CN" altLang="en-US" sz="1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覆盖液态乳、植物基、汤品、果酒等非碳酸饮料，以及含椰果、果粒等固态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半固态配方的产品。</a:t>
              </a: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TextBox 28"/>
            <p:cNvSpPr txBox="1"/>
            <p:nvPr/>
          </p:nvSpPr>
          <p:spPr>
            <a:xfrm>
              <a:off x="1939" y="5249"/>
              <a:ext cx="3345" cy="1376"/>
            </a:xfrm>
            <a:prstGeom prst="rect">
              <a:avLst/>
            </a:prstGeom>
            <a:noFill/>
          </p:spPr>
          <p:txBody>
            <a:bodyPr wrap="square" lIns="67099" tIns="33549" rIns="67099" bIns="33549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容量切换 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endParaRPr lang="en-US" altLang="zh-CN" sz="11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在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80/200/220/250/290/300ml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间灵活切换，满足多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KU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与试水需求。</a:t>
              </a: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TextBox 30"/>
            <p:cNvSpPr txBox="1"/>
            <p:nvPr/>
          </p:nvSpPr>
          <p:spPr>
            <a:xfrm>
              <a:off x="13078" y="6357"/>
              <a:ext cx="3941" cy="1996"/>
            </a:xfrm>
            <a:prstGeom prst="rect">
              <a:avLst/>
            </a:prstGeom>
            <a:noFill/>
          </p:spPr>
          <p:txBody>
            <a:bodyPr wrap="square" lIns="67099" tIns="33549" rIns="67099" bIns="33549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400" b="1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市场落地</a:t>
              </a:r>
              <a:endParaRPr lang="zh-CN" altLang="en-US" sz="1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合作启动后吸引蒙牛、伊利、新希望、天友、椰子知道等品牌关注与导入；已有多款产品采用笑脸包，如蒙牛纯甄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 ml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天友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0 ml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华山牧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0 ml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蒙牛真果粒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0 ml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等。</a:t>
              </a: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TextBox 31"/>
            <p:cNvSpPr txBox="1"/>
            <p:nvPr/>
          </p:nvSpPr>
          <p:spPr>
            <a:xfrm>
              <a:off x="1841" y="7208"/>
              <a:ext cx="3906" cy="1957"/>
            </a:xfrm>
            <a:prstGeom prst="rect">
              <a:avLst/>
            </a:prstGeom>
            <a:noFill/>
          </p:spPr>
          <p:txBody>
            <a:bodyPr wrap="square" lIns="67099" tIns="33549" rIns="67099" bIns="33549" rtlCol="0">
              <a:noAutofit/>
            </a:bodyPr>
            <a:lstStyle/>
            <a:p>
              <a:pPr algn="r">
                <a:lnSpc>
                  <a:spcPct val="130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颗粒与粘度</a:t>
              </a:r>
              <a:endPara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最大固体颗粒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r>
                <a:rPr lang="en-US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×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r>
                <a:rPr lang="en-US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×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 mm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颗粒含量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%​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最大吸管直径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 mm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最大粘度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0 mPa·s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；可添加水果、蔬菜、谷物等天然配料，实现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“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颗粒升级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”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“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品类自由</a:t>
              </a:r>
              <a:r>
                <a:rPr lang="en-US" altLang="zh-CN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”</a:t>
              </a:r>
              <a:r>
                <a:rPr lang="zh-CN" altLang="en-US" sz="12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en-US" sz="12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7" name="TextBox 18"/>
          <p:cNvSpPr txBox="1"/>
          <p:nvPr/>
        </p:nvSpPr>
        <p:spPr bwMode="auto">
          <a:xfrm>
            <a:off x="7642225" y="1018540"/>
            <a:ext cx="4589780" cy="706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b="1" kern="0" spc="-150" dirty="0">
                <a:ln w="1905">
                  <a:noFill/>
                </a:ln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灌装线与工艺能力</a:t>
            </a:r>
            <a:r>
              <a:rPr lang="en-US" altLang="zh-CN" sz="4000" b="1" kern="0" spc="-150" dirty="0">
                <a:ln w="1905">
                  <a:noFill/>
                </a:ln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​</a:t>
            </a:r>
            <a:endParaRPr lang="en-US" altLang="zh-CN" sz="4000" b="1" kern="0" spc="-150" dirty="0">
              <a:ln w="1905">
                <a:noFill/>
              </a:ln>
              <a:solidFill>
                <a:srgbClr val="0369B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8" name="直接连接符 87"/>
          <p:cNvCxnSpPr/>
          <p:nvPr/>
        </p:nvCxnSpPr>
        <p:spPr>
          <a:xfrm>
            <a:off x="6154420" y="1716405"/>
            <a:ext cx="5723890" cy="8890"/>
          </a:xfrm>
          <a:prstGeom prst="line">
            <a:avLst/>
          </a:prstGeom>
          <a:ln w="28575" cmpd="sng">
            <a:solidFill>
              <a:srgbClr val="0369BF"/>
            </a:solidFill>
            <a:prstDash val="solid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4" name="组合 3"/>
          <p:cNvGrpSpPr/>
          <p:nvPr/>
        </p:nvGrpSpPr>
        <p:grpSpPr>
          <a:xfrm>
            <a:off x="3053080" y="2197100"/>
            <a:ext cx="5890895" cy="2803525"/>
            <a:chOff x="4808" y="3460"/>
            <a:chExt cx="9277" cy="4415"/>
          </a:xfrm>
        </p:grpSpPr>
        <p:grpSp>
          <p:nvGrpSpPr>
            <p:cNvPr id="66" name="组合 65"/>
            <p:cNvGrpSpPr/>
            <p:nvPr/>
          </p:nvGrpSpPr>
          <p:grpSpPr>
            <a:xfrm>
              <a:off x="4808" y="3460"/>
              <a:ext cx="7183" cy="4340"/>
              <a:chOff x="4848" y="3000"/>
              <a:chExt cx="7945" cy="4800"/>
            </a:xfrm>
          </p:grpSpPr>
          <p:pic>
            <p:nvPicPr>
              <p:cNvPr id="9" name="图片 8" descr="DSC_756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48" y="3000"/>
                <a:ext cx="3202" cy="4800"/>
              </a:xfrm>
              <a:prstGeom prst="ellipse">
                <a:avLst/>
              </a:prstGeom>
            </p:spPr>
          </p:pic>
          <p:pic>
            <p:nvPicPr>
              <p:cNvPr id="10" name="图片 9" descr="DSC_756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46" y="3000"/>
                <a:ext cx="3202" cy="4800"/>
              </a:xfrm>
              <a:prstGeom prst="ellipse">
                <a:avLst/>
              </a:prstGeom>
            </p:spPr>
          </p:pic>
          <p:pic>
            <p:nvPicPr>
              <p:cNvPr id="11" name="图片 10" descr="DSC_756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591" y="3000"/>
                <a:ext cx="3202" cy="4800"/>
              </a:xfrm>
              <a:prstGeom prst="ellipse">
                <a:avLst/>
              </a:prstGeom>
            </p:spPr>
          </p:pic>
        </p:grpSp>
        <p:pic>
          <p:nvPicPr>
            <p:cNvPr id="2" name="图片 1" descr="微信图片_20260105155508_164_29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189" y="3533"/>
              <a:ext cx="2897" cy="4343"/>
            </a:xfrm>
            <a:prstGeom prst="ellipse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1000760" y="144695"/>
              <a:ext cx="500253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康美包代采与灌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15" name="任意多边形: 形状 9"/>
          <p:cNvSpPr/>
          <p:nvPr>
            <p:custDataLst>
              <p:tags r:id="rId3"/>
            </p:custDataLst>
          </p:nvPr>
        </p:nvSpPr>
        <p:spPr>
          <a:xfrm rot="18900000">
            <a:off x="-928370" y="2708910"/>
            <a:ext cx="3798570" cy="1841500"/>
          </a:xfrm>
          <a:custGeom>
            <a:avLst/>
            <a:gdLst>
              <a:gd name="connsiteX0" fmla="*/ 4584069 w 5576010"/>
              <a:gd name="connsiteY0" fmla="*/ 0 h 1983883"/>
              <a:gd name="connsiteX1" fmla="*/ 5576010 w 5576010"/>
              <a:gd name="connsiteY1" fmla="*/ 991942 h 1983883"/>
              <a:gd name="connsiteX2" fmla="*/ 4584069 w 5576010"/>
              <a:gd name="connsiteY2" fmla="*/ 1983883 h 1983883"/>
              <a:gd name="connsiteX3" fmla="*/ 4584069 w 5576010"/>
              <a:gd name="connsiteY3" fmla="*/ 1564599 h 1983883"/>
              <a:gd name="connsiteX4" fmla="*/ 0 w 5576010"/>
              <a:gd name="connsiteY4" fmla="*/ 1564599 h 1983883"/>
              <a:gd name="connsiteX5" fmla="*/ 1145314 w 5576010"/>
              <a:gd name="connsiteY5" fmla="*/ 419284 h 1983883"/>
              <a:gd name="connsiteX6" fmla="*/ 4584069 w 5576010"/>
              <a:gd name="connsiteY6" fmla="*/ 419284 h 1983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11" h="3124">
                <a:moveTo>
                  <a:pt x="4949" y="0"/>
                </a:moveTo>
                <a:lnTo>
                  <a:pt x="6511" y="1562"/>
                </a:lnTo>
                <a:lnTo>
                  <a:pt x="4949" y="3124"/>
                </a:lnTo>
                <a:lnTo>
                  <a:pt x="4949" y="2464"/>
                </a:lnTo>
                <a:lnTo>
                  <a:pt x="0" y="2464"/>
                </a:lnTo>
                <a:lnTo>
                  <a:pt x="1804" y="660"/>
                </a:lnTo>
                <a:lnTo>
                  <a:pt x="4949" y="660"/>
                </a:lnTo>
                <a:lnTo>
                  <a:pt x="4949" y="0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  <a:effectLst/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cs typeface="MiSans Bold" panose="00000800000000000000" charset="-122"/>
            </a:endParaRPr>
          </a:p>
        </p:txBody>
      </p:sp>
      <p:sp>
        <p:nvSpPr>
          <p:cNvPr id="16" name="任意多边形: 形状 11"/>
          <p:cNvSpPr/>
          <p:nvPr>
            <p:custDataLst>
              <p:tags r:id="rId4"/>
            </p:custDataLst>
          </p:nvPr>
        </p:nvSpPr>
        <p:spPr>
          <a:xfrm rot="18900000">
            <a:off x="-929518" y="3959225"/>
            <a:ext cx="3805555" cy="1841500"/>
          </a:xfrm>
          <a:custGeom>
            <a:avLst/>
            <a:gdLst>
              <a:gd name="connsiteX0" fmla="*/ 4584069 w 5576010"/>
              <a:gd name="connsiteY0" fmla="*/ 0 h 1983883"/>
              <a:gd name="connsiteX1" fmla="*/ 5576010 w 5576010"/>
              <a:gd name="connsiteY1" fmla="*/ 991942 h 1983883"/>
              <a:gd name="connsiteX2" fmla="*/ 4584069 w 5576010"/>
              <a:gd name="connsiteY2" fmla="*/ 1983883 h 1983883"/>
              <a:gd name="connsiteX3" fmla="*/ 4584069 w 5576010"/>
              <a:gd name="connsiteY3" fmla="*/ 1564599 h 1983883"/>
              <a:gd name="connsiteX4" fmla="*/ 0 w 5576010"/>
              <a:gd name="connsiteY4" fmla="*/ 1564599 h 1983883"/>
              <a:gd name="connsiteX5" fmla="*/ 1145314 w 5576010"/>
              <a:gd name="connsiteY5" fmla="*/ 419284 h 1983883"/>
              <a:gd name="connsiteX6" fmla="*/ 4584069 w 5576010"/>
              <a:gd name="connsiteY6" fmla="*/ 419284 h 1983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0" h="3124">
                <a:moveTo>
                  <a:pt x="4978" y="0"/>
                </a:moveTo>
                <a:lnTo>
                  <a:pt x="6540" y="1562"/>
                </a:lnTo>
                <a:lnTo>
                  <a:pt x="4978" y="3124"/>
                </a:lnTo>
                <a:lnTo>
                  <a:pt x="4978" y="2464"/>
                </a:lnTo>
                <a:lnTo>
                  <a:pt x="0" y="2464"/>
                </a:lnTo>
                <a:lnTo>
                  <a:pt x="1804" y="660"/>
                </a:lnTo>
                <a:lnTo>
                  <a:pt x="4978" y="660"/>
                </a:lnTo>
                <a:lnTo>
                  <a:pt x="4978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cs typeface="MiSans Bold" panose="00000800000000000000" charset="-122"/>
            </a:endParaRPr>
          </a:p>
        </p:txBody>
      </p:sp>
      <p:sp>
        <p:nvSpPr>
          <p:cNvPr id="17" name="任意多边形: 形状 15"/>
          <p:cNvSpPr/>
          <p:nvPr>
            <p:custDataLst>
              <p:tags r:id="rId5"/>
            </p:custDataLst>
          </p:nvPr>
        </p:nvSpPr>
        <p:spPr>
          <a:xfrm rot="18900000">
            <a:off x="-306070" y="4987290"/>
            <a:ext cx="3096260" cy="1841500"/>
          </a:xfrm>
          <a:custGeom>
            <a:avLst/>
            <a:gdLst>
              <a:gd name="connsiteX0" fmla="*/ 3075189 w 4067130"/>
              <a:gd name="connsiteY0" fmla="*/ 0 h 1983883"/>
              <a:gd name="connsiteX1" fmla="*/ 4067130 w 4067130"/>
              <a:gd name="connsiteY1" fmla="*/ 991942 h 1983883"/>
              <a:gd name="connsiteX2" fmla="*/ 3075189 w 4067130"/>
              <a:gd name="connsiteY2" fmla="*/ 1983883 h 1983883"/>
              <a:gd name="connsiteX3" fmla="*/ 3075189 w 4067130"/>
              <a:gd name="connsiteY3" fmla="*/ 1564599 h 1983883"/>
              <a:gd name="connsiteX4" fmla="*/ 1145315 w 4067130"/>
              <a:gd name="connsiteY4" fmla="*/ 1564599 h 1983883"/>
              <a:gd name="connsiteX5" fmla="*/ 0 w 4067130"/>
              <a:gd name="connsiteY5" fmla="*/ 419284 h 1983883"/>
              <a:gd name="connsiteX6" fmla="*/ 3075189 w 4067130"/>
              <a:gd name="connsiteY6" fmla="*/ 419284 h 1983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0" h="3124">
                <a:moveTo>
                  <a:pt x="3728" y="0"/>
                </a:moveTo>
                <a:lnTo>
                  <a:pt x="5290" y="1562"/>
                </a:lnTo>
                <a:lnTo>
                  <a:pt x="3728" y="3124"/>
                </a:lnTo>
                <a:lnTo>
                  <a:pt x="3728" y="2464"/>
                </a:lnTo>
                <a:lnTo>
                  <a:pt x="1251" y="2464"/>
                </a:lnTo>
                <a:lnTo>
                  <a:pt x="0" y="1213"/>
                </a:lnTo>
                <a:lnTo>
                  <a:pt x="553" y="660"/>
                </a:lnTo>
                <a:lnTo>
                  <a:pt x="3728" y="660"/>
                </a:lnTo>
                <a:lnTo>
                  <a:pt x="3728" y="0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  <a:effectLst/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cs typeface="MiSans Bold" panose="00000800000000000000" charset="-122"/>
            </a:endParaRPr>
          </a:p>
        </p:txBody>
      </p:sp>
      <p:pic>
        <p:nvPicPr>
          <p:cNvPr id="20" name="图片 19" descr="333438303937363b333438313035353bb2fac6b7c4a3d0cd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38605" y="2517140"/>
            <a:ext cx="504000" cy="504000"/>
          </a:xfrm>
          <a:prstGeom prst="rect">
            <a:avLst/>
          </a:prstGeom>
        </p:spPr>
      </p:pic>
      <p:pic>
        <p:nvPicPr>
          <p:cNvPr id="21" name="图片 20" descr="333438303937363b333438313035373bb9abcbbed3c5cac6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38605" y="3785680"/>
            <a:ext cx="504000" cy="503555"/>
          </a:xfrm>
          <a:prstGeom prst="rect">
            <a:avLst/>
          </a:prstGeom>
        </p:spPr>
      </p:pic>
      <p:pic>
        <p:nvPicPr>
          <p:cNvPr id="22" name="图片 21" descr="333438303937363b333438313038383bcfeec4bfd0a7c2ca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38605" y="5110925"/>
            <a:ext cx="504000" cy="503555"/>
          </a:xfrm>
          <a:prstGeom prst="rect">
            <a:avLst/>
          </a:prstGeom>
        </p:spPr>
      </p:pic>
      <p:sp>
        <p:nvSpPr>
          <p:cNvPr id="43" name="文本框 42"/>
          <p:cNvSpPr txBox="1"/>
          <p:nvPr>
            <p:custDataLst>
              <p:tags r:id="rId15"/>
            </p:custDataLst>
          </p:nvPr>
        </p:nvSpPr>
        <p:spPr>
          <a:xfrm>
            <a:off x="2422525" y="1694815"/>
            <a:ext cx="8008620" cy="7854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fontAlgn="auto">
              <a:lnSpc>
                <a:spcPct val="130000"/>
              </a:lnSpc>
              <a:spcAft>
                <a:spcPts val="1000"/>
              </a:spcAft>
            </a:pP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纤细侧边与弧形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“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微笑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”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设计；背部倒角菱形便于握持；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0 mm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吸管孔，适配直管、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U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型管、伸缩管；同一灌装机可覆盖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80/200/220/250 ml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适配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0+​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品类（果汁、即饮茶、咖啡、果酒、奶制品、汤品、调味酱等）。</a:t>
            </a:r>
            <a:endParaRPr lang="zh-CN" altLang="en-US" sz="1200" spc="15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4" name="文本框 43"/>
          <p:cNvSpPr txBox="1"/>
          <p:nvPr>
            <p:custDataLst>
              <p:tags r:id="rId16"/>
            </p:custDataLst>
          </p:nvPr>
        </p:nvSpPr>
        <p:spPr>
          <a:xfrm>
            <a:off x="2427605" y="1128395"/>
            <a:ext cx="1931670" cy="547370"/>
          </a:xfrm>
          <a:prstGeom prst="rect">
            <a:avLst/>
          </a:prstGeom>
          <a:noFill/>
        </p:spPr>
        <p:txBody>
          <a:bodyPr wrap="square" bIns="0" rtlCol="0">
            <a:noAutofit/>
          </a:bodyPr>
          <a:lstStyle/>
          <a:p>
            <a:pPr algn="l"/>
            <a:r>
              <a:rPr lang="zh-CN" altLang="en-US" sz="2000" b="1" spc="300"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康美笑脸包</a:t>
            </a:r>
            <a:endParaRPr lang="zh-CN" altLang="en-US" sz="2000" b="1" spc="300">
              <a:solidFill>
                <a:srgbClr val="0369B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5" name="矩形 44"/>
          <p:cNvSpPr/>
          <p:nvPr>
            <p:custDataLst>
              <p:tags r:id="rId17"/>
            </p:custDataLst>
          </p:nvPr>
        </p:nvSpPr>
        <p:spPr>
          <a:xfrm>
            <a:off x="2432685" y="1676400"/>
            <a:ext cx="8004810" cy="828000"/>
          </a:xfrm>
          <a:prstGeom prst="rect">
            <a:avLst/>
          </a:prstGeom>
          <a:noFill/>
          <a:ln>
            <a:solidFill>
              <a:srgbClr val="0369BF"/>
            </a:solidFill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l"/>
            <a:endParaRPr lang="zh-CN" altLang="en-US"/>
          </a:p>
        </p:txBody>
      </p:sp>
      <p:sp>
        <p:nvSpPr>
          <p:cNvPr id="46" name="矩形 45"/>
          <p:cNvSpPr/>
          <p:nvPr>
            <p:custDataLst>
              <p:tags r:id="rId18"/>
            </p:custDataLst>
          </p:nvPr>
        </p:nvSpPr>
        <p:spPr>
          <a:xfrm>
            <a:off x="10440035" y="1852930"/>
            <a:ext cx="482600" cy="490220"/>
          </a:xfrm>
          <a:prstGeom prst="rect">
            <a:avLst/>
          </a:prstGeom>
          <a:solidFill>
            <a:srgbClr val="0369BF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/>
          <p:cNvSpPr txBox="1"/>
          <p:nvPr>
            <p:custDataLst>
              <p:tags r:id="rId19"/>
            </p:custDataLst>
          </p:nvPr>
        </p:nvSpPr>
        <p:spPr>
          <a:xfrm>
            <a:off x="10499725" y="1818005"/>
            <a:ext cx="422910" cy="518160"/>
          </a:xfrm>
          <a:prstGeom prst="rect">
            <a:avLst/>
          </a:prstGeom>
          <a:noFill/>
        </p:spPr>
        <p:txBody>
          <a:bodyPr wrap="square" bIns="0" rtlCol="0">
            <a:normAutofit/>
          </a:bodyPr>
          <a:lstStyle/>
          <a:p>
            <a:pPr algn="ctr"/>
            <a:r>
              <a:rPr lang="en-US" altLang="zh-CN" sz="2800" spc="300">
                <a:solidFill>
                  <a:srgbClr val="FFFFFF"/>
                </a:solidFill>
                <a:latin typeface="文道潮黑体" panose="02010600040101010101" charset="-122"/>
                <a:ea typeface="文道潮黑体" panose="02010600040101010101" charset="-122"/>
                <a:sym typeface="+mn-ea"/>
              </a:rPr>
              <a:t>1</a:t>
            </a:r>
            <a:endParaRPr lang="en-US" altLang="zh-CN" sz="2800" spc="300">
              <a:solidFill>
                <a:srgbClr val="FFFFFF"/>
              </a:solidFill>
              <a:latin typeface="文道潮黑体" panose="02010600040101010101" charset="-122"/>
              <a:ea typeface="文道潮黑体" panose="02010600040101010101" charset="-122"/>
              <a:sym typeface="+mn-ea"/>
            </a:endParaRPr>
          </a:p>
        </p:txBody>
      </p:sp>
      <p:sp>
        <p:nvSpPr>
          <p:cNvPr id="48" name="文本框 47"/>
          <p:cNvSpPr txBox="1"/>
          <p:nvPr>
            <p:custDataLst>
              <p:tags r:id="rId20"/>
            </p:custDataLst>
          </p:nvPr>
        </p:nvSpPr>
        <p:spPr>
          <a:xfrm>
            <a:off x="2386965" y="3370580"/>
            <a:ext cx="8008620" cy="8261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fontAlgn="auto">
              <a:lnSpc>
                <a:spcPct val="130000"/>
              </a:lnSpc>
              <a:spcAft>
                <a:spcPts val="1000"/>
              </a:spcAft>
            </a:pP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一底座可在砖型与多角间切换，提升产线利用率；容量覆盖砖型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/200/250/300/330/350 ml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多角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/250/300/330/350 ml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多角款具备斜顶与大留白，陈列冲击力强。</a:t>
            </a:r>
            <a:endParaRPr lang="zh-CN" altLang="en-US" sz="1200" spc="15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>
            <p:custDataLst>
              <p:tags r:id="rId21"/>
            </p:custDataLst>
          </p:nvPr>
        </p:nvSpPr>
        <p:spPr>
          <a:xfrm>
            <a:off x="2427605" y="2653030"/>
            <a:ext cx="5430520" cy="547370"/>
          </a:xfrm>
          <a:prstGeom prst="rect">
            <a:avLst/>
          </a:prstGeom>
          <a:noFill/>
        </p:spPr>
        <p:txBody>
          <a:bodyPr wrap="square" bIns="0" rtlCol="0">
            <a:noAutofit/>
          </a:bodyPr>
          <a:lstStyle/>
          <a:p>
            <a:pPr algn="l"/>
            <a:r>
              <a:rPr lang="zh-CN" altLang="en-US" sz="2000" b="1" spc="3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康美砖型灵巧包</a:t>
            </a:r>
            <a:r>
              <a:rPr lang="en-US" altLang="zh-CN" sz="2000" b="1" spc="3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&amp;</a:t>
            </a:r>
            <a:r>
              <a:rPr lang="zh-CN" altLang="en-US" sz="2000" b="1" spc="3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康美多角灵巧包</a:t>
            </a:r>
            <a:endParaRPr lang="zh-CN" altLang="en-US" sz="2000" b="1" spc="300">
              <a:solidFill>
                <a:srgbClr val="FFC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50" name="矩形 49"/>
          <p:cNvSpPr/>
          <p:nvPr>
            <p:custDataLst>
              <p:tags r:id="rId22"/>
            </p:custDataLst>
          </p:nvPr>
        </p:nvSpPr>
        <p:spPr>
          <a:xfrm>
            <a:off x="2432685" y="3207385"/>
            <a:ext cx="8004810" cy="82800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l"/>
            <a:endParaRPr lang="zh-CN" altLang="en-US"/>
          </a:p>
        </p:txBody>
      </p:sp>
      <p:sp>
        <p:nvSpPr>
          <p:cNvPr id="51" name="矩形 50"/>
          <p:cNvSpPr/>
          <p:nvPr>
            <p:custDataLst>
              <p:tags r:id="rId23"/>
            </p:custDataLst>
          </p:nvPr>
        </p:nvSpPr>
        <p:spPr>
          <a:xfrm>
            <a:off x="10437495" y="3368675"/>
            <a:ext cx="482600" cy="4902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51"/>
          <p:cNvSpPr txBox="1"/>
          <p:nvPr>
            <p:custDataLst>
              <p:tags r:id="rId24"/>
            </p:custDataLst>
          </p:nvPr>
        </p:nvSpPr>
        <p:spPr>
          <a:xfrm>
            <a:off x="10499725" y="3338195"/>
            <a:ext cx="422910" cy="518160"/>
          </a:xfrm>
          <a:prstGeom prst="rect">
            <a:avLst/>
          </a:prstGeom>
          <a:noFill/>
        </p:spPr>
        <p:txBody>
          <a:bodyPr wrap="square" bIns="0" rtlCol="0">
            <a:normAutofit/>
          </a:bodyPr>
          <a:lstStyle/>
          <a:p>
            <a:pPr algn="ctr"/>
            <a:r>
              <a:rPr lang="en-US" altLang="zh-CN" sz="2800" spc="300">
                <a:solidFill>
                  <a:srgbClr val="FFFFFF"/>
                </a:solidFill>
                <a:latin typeface="文道潮黑体" panose="02010600040101010101" charset="-122"/>
                <a:ea typeface="文道潮黑体" panose="02010600040101010101" charset="-122"/>
                <a:sym typeface="+mn-ea"/>
              </a:rPr>
              <a:t>2</a:t>
            </a:r>
            <a:endParaRPr lang="en-US" altLang="zh-CN" sz="2800" spc="300">
              <a:solidFill>
                <a:srgbClr val="FFFFFF"/>
              </a:solidFill>
              <a:latin typeface="文道潮黑体" panose="02010600040101010101" charset="-122"/>
              <a:ea typeface="文道潮黑体" panose="02010600040101010101" charset="-122"/>
              <a:sym typeface="+mn-ea"/>
            </a:endParaRPr>
          </a:p>
        </p:txBody>
      </p:sp>
      <p:sp>
        <p:nvSpPr>
          <p:cNvPr id="53" name="文本框 52"/>
          <p:cNvSpPr txBox="1"/>
          <p:nvPr>
            <p:custDataLst>
              <p:tags r:id="rId25"/>
            </p:custDataLst>
          </p:nvPr>
        </p:nvSpPr>
        <p:spPr>
          <a:xfrm>
            <a:off x="2443480" y="4942205"/>
            <a:ext cx="8008620" cy="6178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fontAlgn="auto">
              <a:lnSpc>
                <a:spcPct val="130000"/>
              </a:lnSpc>
              <a:spcAft>
                <a:spcPts val="1000"/>
              </a:spcAft>
            </a:pP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体采用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SC</a:t>
            </a:r>
            <a:r>
              <a:rPr lang="en-US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™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纸板，包装可回收；拱形顶兼顾容量、印刷面积与顶部抗压，抗压可达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0 N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直饮型大瓶口与人体工学握持，减少溢漏；曾获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F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奖、德国包装奖、伦敦</a:t>
            </a:r>
            <a:r>
              <a:rPr lang="en-US" altLang="zh-CN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Lions’ Lair</a:t>
            </a:r>
            <a:r>
              <a:rPr lang="zh-CN" altLang="en-US" sz="1200" spc="15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国际奖项。</a:t>
            </a:r>
            <a:endParaRPr lang="zh-CN" altLang="en-US" sz="1200" spc="15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30000"/>
              </a:lnSpc>
              <a:spcAft>
                <a:spcPts val="1000"/>
              </a:spcAft>
            </a:pPr>
            <a:endParaRPr lang="zh-CN" altLang="en-US" sz="1200" spc="15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文本框 53"/>
          <p:cNvSpPr txBox="1"/>
          <p:nvPr>
            <p:custDataLst>
              <p:tags r:id="rId26"/>
            </p:custDataLst>
          </p:nvPr>
        </p:nvSpPr>
        <p:spPr>
          <a:xfrm>
            <a:off x="2445385" y="4239260"/>
            <a:ext cx="1931670" cy="547370"/>
          </a:xfrm>
          <a:prstGeom prst="rect">
            <a:avLst/>
          </a:prstGeom>
          <a:noFill/>
        </p:spPr>
        <p:txBody>
          <a:bodyPr wrap="square" bIns="0" rtlCol="0">
            <a:noAutofit/>
          </a:bodyPr>
          <a:lstStyle/>
          <a:p>
            <a:pPr algn="l"/>
            <a:r>
              <a:rPr lang="zh-CN" altLang="en-US" sz="2000" b="1" spc="300"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康美夺目瓶</a:t>
            </a:r>
            <a:endParaRPr lang="zh-CN" altLang="en-US" sz="2000" b="1" spc="300">
              <a:solidFill>
                <a:srgbClr val="0369B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55" name="矩形 54"/>
          <p:cNvSpPr/>
          <p:nvPr>
            <p:custDataLst>
              <p:tags r:id="rId27"/>
            </p:custDataLst>
          </p:nvPr>
        </p:nvSpPr>
        <p:spPr>
          <a:xfrm>
            <a:off x="2441575" y="4793615"/>
            <a:ext cx="8004810" cy="828000"/>
          </a:xfrm>
          <a:prstGeom prst="rect">
            <a:avLst/>
          </a:prstGeom>
          <a:noFill/>
          <a:ln>
            <a:solidFill>
              <a:srgbClr val="0369BF"/>
            </a:solidFill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l"/>
            <a:endParaRPr lang="zh-CN" altLang="en-US"/>
          </a:p>
        </p:txBody>
      </p:sp>
      <p:sp>
        <p:nvSpPr>
          <p:cNvPr id="56" name="矩形 55"/>
          <p:cNvSpPr/>
          <p:nvPr>
            <p:custDataLst>
              <p:tags r:id="rId28"/>
            </p:custDataLst>
          </p:nvPr>
        </p:nvSpPr>
        <p:spPr>
          <a:xfrm>
            <a:off x="10436860" y="4964430"/>
            <a:ext cx="482600" cy="490220"/>
          </a:xfrm>
          <a:prstGeom prst="rect">
            <a:avLst/>
          </a:prstGeom>
          <a:solidFill>
            <a:srgbClr val="0369BF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文本框 56"/>
          <p:cNvSpPr txBox="1"/>
          <p:nvPr>
            <p:custDataLst>
              <p:tags r:id="rId29"/>
            </p:custDataLst>
          </p:nvPr>
        </p:nvSpPr>
        <p:spPr>
          <a:xfrm>
            <a:off x="10496550" y="4931410"/>
            <a:ext cx="422910" cy="518160"/>
          </a:xfrm>
          <a:prstGeom prst="rect">
            <a:avLst/>
          </a:prstGeom>
          <a:noFill/>
        </p:spPr>
        <p:txBody>
          <a:bodyPr wrap="square" bIns="0" rtlCol="0">
            <a:normAutofit/>
          </a:bodyPr>
          <a:lstStyle/>
          <a:p>
            <a:pPr algn="ctr"/>
            <a:r>
              <a:rPr lang="en-US" altLang="zh-CN" sz="2800" spc="300">
                <a:solidFill>
                  <a:srgbClr val="FFFFFF"/>
                </a:solidFill>
                <a:latin typeface="文道潮黑体" panose="02010600040101010101" charset="-122"/>
                <a:ea typeface="文道潮黑体" panose="02010600040101010101" charset="-122"/>
                <a:sym typeface="+mn-ea"/>
              </a:rPr>
              <a:t>3</a:t>
            </a:r>
            <a:endParaRPr lang="en-US" altLang="zh-CN" sz="2800" spc="300">
              <a:solidFill>
                <a:srgbClr val="FFFFFF"/>
              </a:solidFill>
              <a:latin typeface="文道潮黑体" panose="02010600040101010101" charset="-122"/>
              <a:ea typeface="文道潮黑体" panose="02010600040101010101" charset="-122"/>
              <a:sym typeface="+mn-ea"/>
            </a:endParaRPr>
          </a:p>
        </p:txBody>
      </p:sp>
      <p:sp>
        <p:nvSpPr>
          <p:cNvPr id="59" name="矩形 58"/>
          <p:cNvSpPr/>
          <p:nvPr>
            <p:custDataLst>
              <p:tags r:id="rId30"/>
            </p:custDataLst>
          </p:nvPr>
        </p:nvSpPr>
        <p:spPr>
          <a:xfrm>
            <a:off x="12052300" y="548005"/>
            <a:ext cx="139700" cy="53086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矩形 59"/>
          <p:cNvSpPr/>
          <p:nvPr>
            <p:custDataLst>
              <p:tags r:id="rId31"/>
            </p:custDataLst>
          </p:nvPr>
        </p:nvSpPr>
        <p:spPr>
          <a:xfrm>
            <a:off x="12052300" y="774700"/>
            <a:ext cx="139700" cy="1012190"/>
          </a:xfrm>
          <a:prstGeom prst="rect">
            <a:avLst/>
          </a:prstGeom>
          <a:solidFill>
            <a:srgbClr val="0369BF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矩形 60"/>
          <p:cNvSpPr/>
          <p:nvPr>
            <p:custDataLst>
              <p:tags r:id="rId32"/>
            </p:custDataLst>
          </p:nvPr>
        </p:nvSpPr>
        <p:spPr>
          <a:xfrm>
            <a:off x="12052300" y="1787525"/>
            <a:ext cx="139700" cy="101219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矩形 63"/>
          <p:cNvSpPr/>
          <p:nvPr>
            <p:custDataLst>
              <p:tags r:id="rId33"/>
            </p:custDataLst>
          </p:nvPr>
        </p:nvSpPr>
        <p:spPr>
          <a:xfrm>
            <a:off x="12052300" y="2738755"/>
            <a:ext cx="139700" cy="1012190"/>
          </a:xfrm>
          <a:prstGeom prst="rect">
            <a:avLst/>
          </a:prstGeom>
          <a:solidFill>
            <a:srgbClr val="0369BF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矩形 64"/>
          <p:cNvSpPr/>
          <p:nvPr>
            <p:custDataLst>
              <p:tags r:id="rId34"/>
            </p:custDataLst>
          </p:nvPr>
        </p:nvSpPr>
        <p:spPr>
          <a:xfrm>
            <a:off x="12052300" y="3545840"/>
            <a:ext cx="139700" cy="101219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矩形 65"/>
          <p:cNvSpPr/>
          <p:nvPr>
            <p:custDataLst>
              <p:tags r:id="rId35"/>
            </p:custDataLst>
          </p:nvPr>
        </p:nvSpPr>
        <p:spPr>
          <a:xfrm>
            <a:off x="12052300" y="4558030"/>
            <a:ext cx="139700" cy="1012190"/>
          </a:xfrm>
          <a:prstGeom prst="rect">
            <a:avLst/>
          </a:prstGeom>
          <a:solidFill>
            <a:srgbClr val="0369BF"/>
          </a:solidFill>
          <a:ln>
            <a:noFill/>
          </a:ln>
        </p:spPr>
        <p:style>
          <a:lnRef idx="2">
            <a:srgbClr val="6096E6">
              <a:shade val="50000"/>
            </a:srgbClr>
          </a:lnRef>
          <a:fillRef idx="1">
            <a:srgbClr val="6096E6"/>
          </a:fillRef>
          <a:effectRef idx="0">
            <a:srgbClr val="6096E6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1000760" y="144695"/>
              <a:ext cx="500253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卡特罐代采与灌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2" name="组合 1"/>
          <p:cNvGrpSpPr/>
          <p:nvPr>
            <p:custDataLst>
              <p:tags r:id="rId3"/>
            </p:custDataLst>
          </p:nvPr>
        </p:nvGrpSpPr>
        <p:grpSpPr>
          <a:xfrm>
            <a:off x="588645" y="2061845"/>
            <a:ext cx="11014075" cy="3816350"/>
            <a:chOff x="2488" y="3975"/>
            <a:chExt cx="13268" cy="4597"/>
          </a:xfrm>
        </p:grpSpPr>
        <p:sp>
          <p:nvSpPr>
            <p:cNvPr id="22" name="椭圆 21"/>
            <p:cNvSpPr/>
            <p:nvPr/>
          </p:nvSpPr>
          <p:spPr bwMode="auto">
            <a:xfrm>
              <a:off x="2893" y="4149"/>
              <a:ext cx="4209" cy="4227"/>
            </a:xfrm>
            <a:prstGeom prst="ellipse">
              <a:avLst/>
            </a:prstGeom>
            <a:noFill/>
            <a:ln w="12700" cap="flat" cmpd="sng" algn="ctr">
              <a:solidFill>
                <a:srgbClr val="FFC000"/>
              </a:solidFill>
              <a:prstDash val="sysDash"/>
            </a:ln>
            <a:effectLst/>
          </p:spPr>
          <p:txBody>
            <a:bodyPr lIns="67099" tIns="33549" rIns="67099" bIns="33549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solidFill>
                    <a:srgbClr val="FFC000"/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</a:endParaRPr>
            </a:p>
          </p:txBody>
        </p:sp>
        <p:grpSp>
          <p:nvGrpSpPr>
            <p:cNvPr id="23" name="组合 22"/>
            <p:cNvGrpSpPr/>
            <p:nvPr/>
          </p:nvGrpSpPr>
          <p:grpSpPr>
            <a:xfrm>
              <a:off x="2488" y="5056"/>
              <a:ext cx="2690" cy="2687"/>
              <a:chOff x="-669965" y="1074162"/>
              <a:chExt cx="2070053" cy="2067557"/>
            </a:xfrm>
          </p:grpSpPr>
          <p:grpSp>
            <p:nvGrpSpPr>
              <p:cNvPr id="24" name="组合 33"/>
              <p:cNvGrpSpPr/>
              <p:nvPr/>
            </p:nvGrpSpPr>
            <p:grpSpPr bwMode="auto">
              <a:xfrm>
                <a:off x="-669965" y="1074162"/>
                <a:ext cx="2070053" cy="2067557"/>
                <a:chOff x="1754168" y="3653262"/>
                <a:chExt cx="1857599" cy="1857597"/>
              </a:xfrm>
            </p:grpSpPr>
            <p:sp>
              <p:nvSpPr>
                <p:cNvPr id="28" name="椭圆 27"/>
                <p:cNvSpPr/>
                <p:nvPr/>
              </p:nvSpPr>
              <p:spPr>
                <a:xfrm>
                  <a:off x="1754168" y="3653262"/>
                  <a:ext cx="1857599" cy="1857597"/>
                </a:xfrm>
                <a:prstGeom prst="ellipse">
                  <a:avLst/>
                </a:prstGeom>
                <a:solidFill>
                  <a:srgbClr val="FFC000"/>
                </a:solidFill>
                <a:ln w="25400" cap="flat" cmpd="sng" algn="ctr">
                  <a:noFill/>
                  <a:prstDash val="solid"/>
                </a:ln>
                <a:effectLst>
                  <a:innerShdw blurRad="88900" dist="63500" dir="13500000">
                    <a:prstClr val="black">
                      <a:alpha val="50000"/>
                    </a:prstClr>
                  </a:inn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3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方正超粗黑_GBK" panose="02010600010101010101" charset="-122"/>
                      <a:cs typeface="+mn-cs"/>
                    </a:rPr>
                    <a:t>100</a:t>
                  </a:r>
                  <a:r>
                    <a:rPr kumimoji="0" lang="en-US" altLang="zh-CN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方正超粗黑_GBK" panose="02010600010101010101" charset="-122"/>
                      <a:cs typeface="+mn-cs"/>
                    </a:rPr>
                    <a:t>%</a:t>
                  </a:r>
                  <a:endParaRPr kumimoji="0" lang="zh-CN" altLang="en-US" sz="3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方正超粗黑_GBK" panose="02010600010101010101" charset="-122"/>
                    <a:cs typeface="+mn-cs"/>
                  </a:endParaRPr>
                </a:p>
              </p:txBody>
            </p:sp>
            <p:sp>
              <p:nvSpPr>
                <p:cNvPr id="29" name="椭圆 28"/>
                <p:cNvSpPr/>
                <p:nvPr/>
              </p:nvSpPr>
              <p:spPr>
                <a:xfrm>
                  <a:off x="1911556" y="3810650"/>
                  <a:ext cx="1542822" cy="1542820"/>
                </a:xfrm>
                <a:prstGeom prst="ellipse">
                  <a:avLst/>
                </a:prstGeom>
                <a:solidFill>
                  <a:srgbClr val="0369BF"/>
                </a:solidFill>
                <a:ln w="28575" cap="flat" cmpd="sng" algn="ctr">
                  <a:gradFill flip="none" rotWithShape="1">
                    <a:gsLst>
                      <a:gs pos="100000">
                        <a:srgbClr val="FFFFFF"/>
                      </a:gs>
                      <a:gs pos="0">
                        <a:srgbClr val="CECED0"/>
                      </a:gs>
                    </a:gsLst>
                    <a:lin ang="13500000" scaled="1"/>
                    <a:tileRect/>
                  </a:gradFill>
                  <a:prstDash val="solid"/>
                </a:ln>
                <a:effectLst>
                  <a:outerShdw blurRad="190500" dist="88900" dir="2700000" algn="tl" rotWithShape="0">
                    <a:prstClr val="black">
                      <a:alpha val="35000"/>
                    </a:prstClr>
                  </a:outerShdw>
                </a:effectLst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0" name="椭圆 29"/>
                <p:cNvSpPr/>
                <p:nvPr/>
              </p:nvSpPr>
              <p:spPr>
                <a:xfrm>
                  <a:off x="1890879" y="3789973"/>
                  <a:ext cx="1584176" cy="1584174"/>
                </a:xfrm>
                <a:prstGeom prst="ellipse">
                  <a:avLst/>
                </a:prstGeom>
                <a:solidFill>
                  <a:srgbClr val="FFC000"/>
                </a:solidFill>
                <a:ln w="25400" cap="flat" cmpd="sng" algn="ctr">
                  <a:solidFill>
                    <a:schemeClr val="bg1"/>
                  </a:solidFill>
                  <a:prstDash val="solid"/>
                </a:ln>
                <a:effectLst>
                  <a:innerShdw blurRad="88900" dist="63500" dir="13500000">
                    <a:prstClr val="black">
                      <a:alpha val="50000"/>
                    </a:prstClr>
                  </a:inn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3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87CF"/>
                    </a:solidFill>
                    <a:effectLst/>
                    <a:uLnTx/>
                    <a:uFillTx/>
                    <a:latin typeface="Arial" panose="020B0604020202020204"/>
                    <a:ea typeface="方正超粗黑_GBK" panose="02010600010101010101" charset="-122"/>
                    <a:cs typeface="+mn-cs"/>
                  </a:endParaRPr>
                </a:p>
              </p:txBody>
            </p:sp>
            <p:sp>
              <p:nvSpPr>
                <p:cNvPr id="31" name="矩形 30"/>
                <p:cNvSpPr/>
                <p:nvPr/>
              </p:nvSpPr>
              <p:spPr>
                <a:xfrm>
                  <a:off x="2599505" y="4092929"/>
                  <a:ext cx="165772" cy="45626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zh-CN" sz="2700" b="1" i="0" u="none" strike="noStrike" kern="0" cap="none" spc="0" normalizeH="0" baseline="0" noProof="0">
                    <a:ln>
                      <a:noFill/>
                    </a:ln>
                    <a:solidFill>
                      <a:srgbClr val="CA009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5" name="组合 24"/>
              <p:cNvGrpSpPr/>
              <p:nvPr/>
            </p:nvGrpSpPr>
            <p:grpSpPr>
              <a:xfrm>
                <a:off x="-362770" y="1369057"/>
                <a:ext cx="1454376" cy="1454944"/>
                <a:chOff x="877888" y="2946400"/>
                <a:chExt cx="1939925" cy="1939925"/>
              </a:xfrm>
            </p:grpSpPr>
            <p:sp>
              <p:nvSpPr>
                <p:cNvPr id="26" name="Oval 5"/>
                <p:cNvSpPr>
                  <a:spLocks noChangeArrowheads="1"/>
                </p:cNvSpPr>
                <p:nvPr/>
              </p:nvSpPr>
              <p:spPr bwMode="auto">
                <a:xfrm>
                  <a:off x="877888" y="2946400"/>
                  <a:ext cx="1939925" cy="1939925"/>
                </a:xfrm>
                <a:prstGeom prst="ellipse">
                  <a:avLst/>
                </a:prstGeom>
                <a:solidFill>
                  <a:sysClr val="window" lastClr="FFFFFF"/>
                </a:solidFill>
                <a:ln>
                  <a:noFill/>
                </a:ln>
                <a:effectLst>
                  <a:outerShdw blurRad="254000" dist="63500" sx="102000" sy="102000" algn="ctr" rotWithShape="0">
                    <a:sysClr val="windowText" lastClr="000000">
                      <a:lumMod val="65000"/>
                      <a:lumOff val="35000"/>
                      <a:alpha val="40000"/>
                    </a:sysClr>
                  </a:outerShdw>
                </a:effec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1078684" y="3193088"/>
                  <a:ext cx="1538333" cy="11778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2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业务介绍</a:t>
                  </a:r>
                  <a:endPara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32" name="五边形 31"/>
            <p:cNvSpPr/>
            <p:nvPr>
              <p:custDataLst>
                <p:tags r:id="rId4"/>
              </p:custDataLst>
            </p:nvPr>
          </p:nvSpPr>
          <p:spPr>
            <a:xfrm>
              <a:off x="5375" y="3975"/>
              <a:ext cx="3320" cy="1021"/>
            </a:xfrm>
            <a:prstGeom prst="homePlat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254000" dist="63500" sx="102000" sy="102000" algn="ctr" rotWithShape="0">
                <a:sysClr val="windowText" lastClr="000000">
                  <a:lumMod val="65000"/>
                  <a:lumOff val="35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3" name="五边形 32"/>
            <p:cNvSpPr/>
            <p:nvPr>
              <p:custDataLst>
                <p:tags r:id="rId5"/>
              </p:custDataLst>
            </p:nvPr>
          </p:nvSpPr>
          <p:spPr>
            <a:xfrm>
              <a:off x="5375" y="5167"/>
              <a:ext cx="3320" cy="1021"/>
            </a:xfrm>
            <a:prstGeom prst="homePlat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254000" dist="63500" sx="102000" sy="102000" algn="ctr" rotWithShape="0">
                <a:sysClr val="windowText" lastClr="000000">
                  <a:lumMod val="65000"/>
                  <a:lumOff val="35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4" name="五边形 33"/>
            <p:cNvSpPr/>
            <p:nvPr>
              <p:custDataLst>
                <p:tags r:id="rId6"/>
              </p:custDataLst>
            </p:nvPr>
          </p:nvSpPr>
          <p:spPr>
            <a:xfrm>
              <a:off x="5375" y="6359"/>
              <a:ext cx="3320" cy="1021"/>
            </a:xfrm>
            <a:prstGeom prst="homePlat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254000" dist="63500" sx="102000" sy="102000" algn="ctr" rotWithShape="0">
                <a:sysClr val="windowText" lastClr="000000">
                  <a:lumMod val="65000"/>
                  <a:lumOff val="35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5" name="五边形 34"/>
            <p:cNvSpPr/>
            <p:nvPr>
              <p:custDataLst>
                <p:tags r:id="rId7"/>
              </p:custDataLst>
            </p:nvPr>
          </p:nvSpPr>
          <p:spPr>
            <a:xfrm>
              <a:off x="5375" y="7551"/>
              <a:ext cx="3320" cy="1021"/>
            </a:xfrm>
            <a:prstGeom prst="homePlat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254000" dist="63500" sx="102000" sy="102000" algn="ctr" rotWithShape="0">
                <a:sysClr val="windowText" lastClr="000000">
                  <a:lumMod val="65000"/>
                  <a:lumOff val="35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grpSp>
          <p:nvGrpSpPr>
            <p:cNvPr id="36" name="组合 35"/>
            <p:cNvGrpSpPr/>
            <p:nvPr/>
          </p:nvGrpSpPr>
          <p:grpSpPr>
            <a:xfrm>
              <a:off x="8302" y="3975"/>
              <a:ext cx="7454" cy="1021"/>
              <a:chOff x="3363144" y="1383617"/>
              <a:chExt cx="5062653" cy="648072"/>
            </a:xfrm>
          </p:grpSpPr>
          <p:sp>
            <p:nvSpPr>
              <p:cNvPr id="37" name="矩形 17"/>
              <p:cNvSpPr/>
              <p:nvPr>
                <p:custDataLst>
                  <p:tags r:id="rId8"/>
                </p:custDataLst>
              </p:nvPr>
            </p:nvSpPr>
            <p:spPr>
              <a:xfrm>
                <a:off x="3363144" y="1383617"/>
                <a:ext cx="5062653" cy="648072"/>
              </a:xfrm>
              <a:custGeom>
                <a:avLst/>
                <a:gdLst/>
                <a:ahLst/>
                <a:cxnLst/>
                <a:rect l="l" t="t" r="r" b="b"/>
                <a:pathLst>
                  <a:path w="5062653" h="648072">
                    <a:moveTo>
                      <a:pt x="0" y="0"/>
                    </a:moveTo>
                    <a:lnTo>
                      <a:pt x="704800" y="0"/>
                    </a:lnTo>
                    <a:lnTo>
                      <a:pt x="4357853" y="0"/>
                    </a:lnTo>
                    <a:lnTo>
                      <a:pt x="5062653" y="0"/>
                    </a:lnTo>
                    <a:lnTo>
                      <a:pt x="5062653" y="648072"/>
                    </a:lnTo>
                    <a:lnTo>
                      <a:pt x="4357853" y="648072"/>
                    </a:lnTo>
                    <a:lnTo>
                      <a:pt x="704800" y="648072"/>
                    </a:lnTo>
                    <a:lnTo>
                      <a:pt x="0" y="648072"/>
                    </a:lnTo>
                    <a:lnTo>
                      <a:pt x="324036" y="32403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254000" dist="63500" sx="102000" sy="102000" algn="ctr" rotWithShape="0">
                  <a:sysClr val="windowText" lastClr="000000">
                    <a:lumMod val="65000"/>
                    <a:lumOff val="35000"/>
                    <a:alpha val="40000"/>
                  </a:sys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8" name="TextBox 37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3737196" y="1553599"/>
                <a:ext cx="4632007" cy="2937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 algn="just">
                  <a:lnSpc>
                    <a:spcPts val="1500"/>
                  </a:lnSpc>
                  <a:defRPr sz="10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marL="0" marR="0" lvl="0" indent="0" algn="just" defTabSz="914400" eaLnBrk="1" fontAlgn="auto" latinLnBrk="0" hangingPunct="1"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德国先进制程，成罐后灌装，形成密封且具视觉吸引力的成品；流程为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UHT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杀菌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+ 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低温冷灌装，有利于保持风味与口感。</a:t>
                </a:r>
                <a:endPara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9" name="TextBox 38"/>
            <p:cNvSpPr txBox="1"/>
            <p:nvPr>
              <p:custDataLst>
                <p:tags r:id="rId10"/>
              </p:custDataLst>
            </p:nvPr>
          </p:nvSpPr>
          <p:spPr>
            <a:xfrm>
              <a:off x="5942" y="4243"/>
              <a:ext cx="1937" cy="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与工艺</a:t>
              </a:r>
              <a:endPara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TextBox 39"/>
            <p:cNvSpPr txBox="1"/>
            <p:nvPr>
              <p:custDataLst>
                <p:tags r:id="rId11"/>
              </p:custDataLst>
            </p:nvPr>
          </p:nvSpPr>
          <p:spPr>
            <a:xfrm>
              <a:off x="5942" y="5435"/>
              <a:ext cx="1937" cy="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lvl="0" algn="ctr">
                <a:defRPr/>
              </a:pPr>
              <a:r>
                <a:rPr lang="zh-CN" altLang="en-US" kern="0" dirty="0">
                  <a:solidFill>
                    <a:srgbClr val="0070C0"/>
                  </a:solidFill>
                </a:rPr>
                <a:t>规格与饮用</a:t>
              </a:r>
              <a:endParaRPr lang="zh-CN" altLang="en-US" kern="0" dirty="0">
                <a:solidFill>
                  <a:srgbClr val="0070C0"/>
                </a:solidFill>
              </a:endParaRPr>
            </a:p>
          </p:txBody>
        </p:sp>
        <p:sp>
          <p:nvSpPr>
            <p:cNvPr id="41" name="TextBox 40"/>
            <p:cNvSpPr txBox="1"/>
            <p:nvPr>
              <p:custDataLst>
                <p:tags r:id="rId12"/>
              </p:custDataLst>
            </p:nvPr>
          </p:nvSpPr>
          <p:spPr>
            <a:xfrm>
              <a:off x="5942" y="6627"/>
              <a:ext cx="1937" cy="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lvl="0" algn="ctr">
                <a:defRPr/>
              </a:pPr>
              <a:r>
                <a:rPr lang="zh-CN" altLang="en-US" kern="0" dirty="0">
                  <a:solidFill>
                    <a:srgbClr val="0070C0"/>
                  </a:solidFill>
                </a:rPr>
                <a:t>货架期与适配</a:t>
              </a:r>
              <a:endParaRPr lang="zh-CN" altLang="en-US" kern="0" dirty="0">
                <a:solidFill>
                  <a:srgbClr val="0070C0"/>
                </a:solidFill>
              </a:endParaRPr>
            </a:p>
          </p:txBody>
        </p:sp>
        <p:sp>
          <p:nvSpPr>
            <p:cNvPr id="42" name="TextBox 41"/>
            <p:cNvSpPr txBox="1"/>
            <p:nvPr>
              <p:custDataLst>
                <p:tags r:id="rId13"/>
              </p:custDataLst>
            </p:nvPr>
          </p:nvSpPr>
          <p:spPr>
            <a:xfrm>
              <a:off x="5942" y="7819"/>
              <a:ext cx="1937" cy="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lvl="0" algn="ctr">
                <a:defRPr/>
              </a:pPr>
              <a:r>
                <a:rPr lang="zh-CN" altLang="en-US" kern="0" dirty="0">
                  <a:solidFill>
                    <a:srgbClr val="0070C0"/>
                  </a:solidFill>
                </a:rPr>
                <a:t>环保与轻量</a:t>
              </a:r>
              <a:endParaRPr lang="zh-CN" altLang="en-US" kern="0" dirty="0">
                <a:solidFill>
                  <a:srgbClr val="0070C0"/>
                </a:solidFill>
              </a:endParaRPr>
            </a:p>
          </p:txBody>
        </p:sp>
        <p:grpSp>
          <p:nvGrpSpPr>
            <p:cNvPr id="43" name="组合 42"/>
            <p:cNvGrpSpPr/>
            <p:nvPr/>
          </p:nvGrpSpPr>
          <p:grpSpPr>
            <a:xfrm>
              <a:off x="8302" y="5167"/>
              <a:ext cx="7454" cy="1021"/>
              <a:chOff x="3363144" y="2140537"/>
              <a:chExt cx="5062653" cy="648072"/>
            </a:xfrm>
          </p:grpSpPr>
          <p:sp>
            <p:nvSpPr>
              <p:cNvPr id="44" name="矩形 17"/>
              <p:cNvSpPr/>
              <p:nvPr>
                <p:custDataLst>
                  <p:tags r:id="rId14"/>
                </p:custDataLst>
              </p:nvPr>
            </p:nvSpPr>
            <p:spPr>
              <a:xfrm>
                <a:off x="3363144" y="2140537"/>
                <a:ext cx="5062653" cy="648072"/>
              </a:xfrm>
              <a:custGeom>
                <a:avLst/>
                <a:gdLst/>
                <a:ahLst/>
                <a:cxnLst/>
                <a:rect l="l" t="t" r="r" b="b"/>
                <a:pathLst>
                  <a:path w="5062653" h="648072">
                    <a:moveTo>
                      <a:pt x="0" y="0"/>
                    </a:moveTo>
                    <a:lnTo>
                      <a:pt x="704800" y="0"/>
                    </a:lnTo>
                    <a:lnTo>
                      <a:pt x="4357853" y="0"/>
                    </a:lnTo>
                    <a:lnTo>
                      <a:pt x="5062653" y="0"/>
                    </a:lnTo>
                    <a:lnTo>
                      <a:pt x="5062653" y="648072"/>
                    </a:lnTo>
                    <a:lnTo>
                      <a:pt x="4357853" y="648072"/>
                    </a:lnTo>
                    <a:lnTo>
                      <a:pt x="704800" y="648072"/>
                    </a:lnTo>
                    <a:lnTo>
                      <a:pt x="0" y="648072"/>
                    </a:lnTo>
                    <a:lnTo>
                      <a:pt x="324036" y="32403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254000" dist="63500" sx="102000" sy="102000" algn="ctr" rotWithShape="0">
                  <a:sysClr val="windowText" lastClr="000000">
                    <a:lumMod val="65000"/>
                    <a:lumOff val="35000"/>
                    <a:alpha val="40000"/>
                  </a:sys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45" name="TextBox 44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3737196" y="2285264"/>
                <a:ext cx="4632007" cy="2937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 algn="just">
                  <a:lnSpc>
                    <a:spcPts val="1500"/>
                  </a:lnSpc>
                  <a:defRPr sz="10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marL="0" marR="0" lvl="0" indent="0" algn="just" defTabSz="914400" eaLnBrk="1" fontAlgn="auto" latinLnBrk="0" hangingPunct="1"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当前量产规格为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50ml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0ml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50ml​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；具备撕开即饮的便捷开启方式。</a:t>
                </a:r>
                <a:endPara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6" name="组合 45"/>
            <p:cNvGrpSpPr/>
            <p:nvPr/>
          </p:nvGrpSpPr>
          <p:grpSpPr>
            <a:xfrm>
              <a:off x="8302" y="6359"/>
              <a:ext cx="7454" cy="1021"/>
              <a:chOff x="3363144" y="2897457"/>
              <a:chExt cx="5062653" cy="648072"/>
            </a:xfrm>
          </p:grpSpPr>
          <p:sp>
            <p:nvSpPr>
              <p:cNvPr id="47" name="矩形 17"/>
              <p:cNvSpPr/>
              <p:nvPr>
                <p:custDataLst>
                  <p:tags r:id="rId16"/>
                </p:custDataLst>
              </p:nvPr>
            </p:nvSpPr>
            <p:spPr>
              <a:xfrm>
                <a:off x="3363144" y="2897457"/>
                <a:ext cx="5062653" cy="648072"/>
              </a:xfrm>
              <a:custGeom>
                <a:avLst/>
                <a:gdLst/>
                <a:ahLst/>
                <a:cxnLst/>
                <a:rect l="l" t="t" r="r" b="b"/>
                <a:pathLst>
                  <a:path w="5062653" h="648072">
                    <a:moveTo>
                      <a:pt x="0" y="0"/>
                    </a:moveTo>
                    <a:lnTo>
                      <a:pt x="704800" y="0"/>
                    </a:lnTo>
                    <a:lnTo>
                      <a:pt x="4357853" y="0"/>
                    </a:lnTo>
                    <a:lnTo>
                      <a:pt x="5062653" y="0"/>
                    </a:lnTo>
                    <a:lnTo>
                      <a:pt x="5062653" y="648072"/>
                    </a:lnTo>
                    <a:lnTo>
                      <a:pt x="4357853" y="648072"/>
                    </a:lnTo>
                    <a:lnTo>
                      <a:pt x="704800" y="648072"/>
                    </a:lnTo>
                    <a:lnTo>
                      <a:pt x="0" y="648072"/>
                    </a:lnTo>
                    <a:lnTo>
                      <a:pt x="324036" y="32403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254000" dist="63500" sx="102000" sy="102000" algn="ctr" rotWithShape="0">
                  <a:sysClr val="windowText" lastClr="000000">
                    <a:lumMod val="65000"/>
                    <a:lumOff val="35000"/>
                    <a:alpha val="40000"/>
                  </a:sys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48" name="TextBox 47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3737196" y="3016930"/>
                <a:ext cx="4632007" cy="4408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 algn="just">
                  <a:lnSpc>
                    <a:spcPts val="1500"/>
                  </a:lnSpc>
                  <a:defRPr sz="10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marL="0" marR="0" lvl="0" indent="0" algn="just" defTabSz="914400" eaLnBrk="1" fontAlgn="auto" latinLnBrk="0" hangingPunct="1"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常温条件下货架期可达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2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月；适配品类覆盖茶饮料、果汁、咖啡、植物蛋白、功能性饮料、谷物饮料、含乳饮料、水等，亦可用于部分酒精饮料与鸡尾酒的无菌灌装）。</a:t>
                </a:r>
                <a:endPara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302" y="7551"/>
              <a:ext cx="7454" cy="1021"/>
              <a:chOff x="3363144" y="3654377"/>
              <a:chExt cx="5062653" cy="648072"/>
            </a:xfrm>
          </p:grpSpPr>
          <p:sp>
            <p:nvSpPr>
              <p:cNvPr id="50" name="矩形 17"/>
              <p:cNvSpPr/>
              <p:nvPr>
                <p:custDataLst>
                  <p:tags r:id="rId18"/>
                </p:custDataLst>
              </p:nvPr>
            </p:nvSpPr>
            <p:spPr>
              <a:xfrm>
                <a:off x="3363144" y="3654377"/>
                <a:ext cx="5062653" cy="648072"/>
              </a:xfrm>
              <a:custGeom>
                <a:avLst/>
                <a:gdLst/>
                <a:ahLst/>
                <a:cxnLst/>
                <a:rect l="l" t="t" r="r" b="b"/>
                <a:pathLst>
                  <a:path w="5062653" h="648072">
                    <a:moveTo>
                      <a:pt x="0" y="0"/>
                    </a:moveTo>
                    <a:lnTo>
                      <a:pt x="704800" y="0"/>
                    </a:lnTo>
                    <a:lnTo>
                      <a:pt x="4357853" y="0"/>
                    </a:lnTo>
                    <a:lnTo>
                      <a:pt x="5062653" y="0"/>
                    </a:lnTo>
                    <a:lnTo>
                      <a:pt x="5062653" y="648072"/>
                    </a:lnTo>
                    <a:lnTo>
                      <a:pt x="4357853" y="648072"/>
                    </a:lnTo>
                    <a:lnTo>
                      <a:pt x="704800" y="648072"/>
                    </a:lnTo>
                    <a:lnTo>
                      <a:pt x="0" y="648072"/>
                    </a:lnTo>
                    <a:lnTo>
                      <a:pt x="324036" y="32403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254000" dist="63500" sx="102000" sy="102000" algn="ctr" rotWithShape="0">
                  <a:sysClr val="windowText" lastClr="000000">
                    <a:lumMod val="65000"/>
                    <a:lumOff val="35000"/>
                    <a:alpha val="40000"/>
                  </a:sys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1" name="TextBox 50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3737196" y="3786477"/>
                <a:ext cx="4632007" cy="4408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 algn="just">
                  <a:lnSpc>
                    <a:spcPts val="1500"/>
                  </a:lnSpc>
                  <a:defRPr sz="10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marL="0" marR="0" lvl="0" indent="0" algn="just" defTabSz="914400" eaLnBrk="1" fontAlgn="auto" latinLnBrk="0" hangingPunct="1"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与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ET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相比，重量不足其一半；在相同容积、使用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0%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可再生原料条件下，其温室气体排放较铝罐减少约</a:t>
                </a: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0%​</a:t>
                </a: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；外观现代简约，利于品牌差异化。</a:t>
                </a:r>
                <a:endPara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87" name="TextBox 18"/>
          <p:cNvSpPr txBox="1"/>
          <p:nvPr/>
        </p:nvSpPr>
        <p:spPr bwMode="auto">
          <a:xfrm>
            <a:off x="7958455" y="1022985"/>
            <a:ext cx="4236085" cy="706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b="1" kern="0" spc="-150" dirty="0">
                <a:ln w="1905">
                  <a:noFill/>
                </a:ln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特点与规格</a:t>
            </a:r>
            <a:r>
              <a:rPr lang="en-US" altLang="zh-CN" sz="4000" b="1" kern="0" spc="-150" dirty="0">
                <a:ln w="1905">
                  <a:noFill/>
                </a:ln>
                <a:solidFill>
                  <a:srgbClr val="0369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​</a:t>
            </a:r>
            <a:endParaRPr lang="en-US" altLang="zh-CN" sz="4000" b="1" kern="0" spc="-150" dirty="0">
              <a:ln w="1905">
                <a:noFill/>
              </a:ln>
              <a:solidFill>
                <a:srgbClr val="0369B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8" name="直接连接符 87"/>
          <p:cNvCxnSpPr/>
          <p:nvPr/>
        </p:nvCxnSpPr>
        <p:spPr>
          <a:xfrm>
            <a:off x="6154420" y="1716405"/>
            <a:ext cx="5723890" cy="8890"/>
          </a:xfrm>
          <a:prstGeom prst="line">
            <a:avLst/>
          </a:prstGeom>
          <a:ln w="28575" cmpd="sng">
            <a:solidFill>
              <a:srgbClr val="0369BF"/>
            </a:solidFill>
            <a:prstDash val="solid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1000760" y="144695"/>
              <a:ext cx="500253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核心包材</a:t>
              </a:r>
              <a:r>
                <a:rPr lang="en-US" altLang="zh-CN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——</a:t>
              </a:r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卡特罐代采与灌装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5" name="同心圆 4"/>
          <p:cNvSpPr/>
          <p:nvPr>
            <p:custDataLst>
              <p:tags r:id="rId3"/>
            </p:custDataLst>
          </p:nvPr>
        </p:nvSpPr>
        <p:spPr>
          <a:xfrm>
            <a:off x="7075170" y="5146675"/>
            <a:ext cx="727710" cy="727710"/>
          </a:xfrm>
          <a:prstGeom prst="donut">
            <a:avLst/>
          </a:prstGeom>
          <a:solidFill>
            <a:schemeClr val="accent1">
              <a:alpha val="23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1" name="矩形 30"/>
          <p:cNvSpPr/>
          <p:nvPr>
            <p:custDataLst>
              <p:tags r:id="rId4"/>
            </p:custDataLst>
          </p:nvPr>
        </p:nvSpPr>
        <p:spPr>
          <a:xfrm>
            <a:off x="299085" y="1495425"/>
            <a:ext cx="5322570" cy="4608195"/>
          </a:xfrm>
          <a:prstGeom prst="rect">
            <a:avLst/>
          </a:prstGeom>
          <a:noFill/>
        </p:spPr>
        <p:txBody>
          <a:bodyPr wrap="square" lIns="0" tIns="0" rIns="0" bIns="0" rtlCol="0" anchor="t">
            <a:normAutofit/>
          </a:bodyPr>
          <a:lstStyle/>
          <a:p>
            <a:pPr marL="0" lvl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Sans Normal" panose="00000500000000000000" charset="-122"/>
              </a:rPr>
              <a:t>​卡特罐CartoCan®是一套完全集成的无菌纸包装生产系统，由德国HÖRAUF开发的无菌纸易拉罐系统，嘉美包装于2021年8月合作引进国内首条CartoCan®无菌罐生产线，该线投产后年产能约6000万罐/年。目前此包装可以运用到茶饮料、果汁、咖啡、植物蛋白，功能性饮料等非碳酸类饮料的常温无菌包装需求，在孝感铭冠可实现国产。</a:t>
            </a:r>
            <a:endParaRPr lang="zh-CN" altLang="en-US" sz="20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MiSans Normal" panose="00000500000000000000" charset="-122"/>
            </a:endParaRPr>
          </a:p>
        </p:txBody>
      </p:sp>
      <p:sp>
        <p:nvSpPr>
          <p:cNvPr id="34" name="任意多边形: 形状 16"/>
          <p:cNvSpPr/>
          <p:nvPr>
            <p:custDataLst>
              <p:tags r:id="rId5"/>
            </p:custDataLst>
          </p:nvPr>
        </p:nvSpPr>
        <p:spPr>
          <a:xfrm>
            <a:off x="9665970" y="1431290"/>
            <a:ext cx="1689100" cy="1717675"/>
          </a:xfrm>
          <a:custGeom>
            <a:avLst/>
            <a:gdLst>
              <a:gd name="connsiteX0" fmla="*/ 1991760 w 1994354"/>
              <a:gd name="connsiteY0" fmla="*/ 484629 h 2027849"/>
              <a:gd name="connsiteX1" fmla="*/ 1975680 w 1994354"/>
              <a:gd name="connsiteY1" fmla="*/ 490615 h 2027849"/>
              <a:gd name="connsiteX2" fmla="*/ 1964914 w 1994354"/>
              <a:gd name="connsiteY2" fmla="*/ 476410 h 2027849"/>
              <a:gd name="connsiteX3" fmla="*/ 1976332 w 1994354"/>
              <a:gd name="connsiteY3" fmla="*/ 462086 h 2027849"/>
              <a:gd name="connsiteX4" fmla="*/ 1980754 w 1994354"/>
              <a:gd name="connsiteY4" fmla="*/ 460944 h 2027849"/>
              <a:gd name="connsiteX5" fmla="*/ 1987269 w 1994354"/>
              <a:gd name="connsiteY5" fmla="*/ 462967 h 2027849"/>
              <a:gd name="connsiteX6" fmla="*/ 1989977 w 1994354"/>
              <a:gd name="connsiteY6" fmla="*/ 465847 h 2027849"/>
              <a:gd name="connsiteX7" fmla="*/ 1991760 w 1994354"/>
              <a:gd name="connsiteY7" fmla="*/ 484629 h 2027849"/>
              <a:gd name="connsiteX8" fmla="*/ 1670160 w 1994354"/>
              <a:gd name="connsiteY8" fmla="*/ 996885 h 2027849"/>
              <a:gd name="connsiteX9" fmla="*/ 1660183 w 1994354"/>
              <a:gd name="connsiteY9" fmla="*/ 978748 h 2027849"/>
              <a:gd name="connsiteX10" fmla="*/ 1678320 w 1994354"/>
              <a:gd name="connsiteY10" fmla="*/ 968784 h 2027849"/>
              <a:gd name="connsiteX11" fmla="*/ 1678697 w 1994354"/>
              <a:gd name="connsiteY11" fmla="*/ 968894 h 2027849"/>
              <a:gd name="connsiteX12" fmla="*/ 1688674 w 1994354"/>
              <a:gd name="connsiteY12" fmla="*/ 987031 h 2027849"/>
              <a:gd name="connsiteX13" fmla="*/ 1670537 w 1994354"/>
              <a:gd name="connsiteY13" fmla="*/ 996995 h 2027849"/>
              <a:gd name="connsiteX14" fmla="*/ 1670160 w 1994354"/>
              <a:gd name="connsiteY14" fmla="*/ 996885 h 2027849"/>
              <a:gd name="connsiteX15" fmla="*/ 1712194 w 1994354"/>
              <a:gd name="connsiteY15" fmla="*/ 862015 h 2027849"/>
              <a:gd name="connsiteX16" fmla="*/ 1702183 w 1994354"/>
              <a:gd name="connsiteY16" fmla="*/ 843662 h 2027849"/>
              <a:gd name="connsiteX17" fmla="*/ 1720526 w 1994354"/>
              <a:gd name="connsiteY17" fmla="*/ 833657 h 2027849"/>
              <a:gd name="connsiteX18" fmla="*/ 1730571 w 1994354"/>
              <a:gd name="connsiteY18" fmla="*/ 851925 h 2027849"/>
              <a:gd name="connsiteX19" fmla="*/ 1712194 w 1994354"/>
              <a:gd name="connsiteY19" fmla="*/ 862015 h 2027849"/>
              <a:gd name="connsiteX20" fmla="*/ 1756526 w 1994354"/>
              <a:gd name="connsiteY20" fmla="*/ 718790 h 2027849"/>
              <a:gd name="connsiteX21" fmla="*/ 1746789 w 1994354"/>
              <a:gd name="connsiteY21" fmla="*/ 700317 h 2027849"/>
              <a:gd name="connsiteX22" fmla="*/ 1764994 w 1994354"/>
              <a:gd name="connsiteY22" fmla="*/ 690490 h 2027849"/>
              <a:gd name="connsiteX23" fmla="*/ 1774903 w 1994354"/>
              <a:gd name="connsiteY23" fmla="*/ 708926 h 2027849"/>
              <a:gd name="connsiteX24" fmla="*/ 1756526 w 1994354"/>
              <a:gd name="connsiteY24" fmla="*/ 718790 h 2027849"/>
              <a:gd name="connsiteX25" fmla="*/ 1798046 w 1994354"/>
              <a:gd name="connsiteY25" fmla="*/ 583409 h 2027849"/>
              <a:gd name="connsiteX26" fmla="*/ 1788480 w 1994354"/>
              <a:gd name="connsiteY26" fmla="*/ 565097 h 2027849"/>
              <a:gd name="connsiteX27" fmla="*/ 1806789 w 1994354"/>
              <a:gd name="connsiteY27" fmla="*/ 555532 h 2027849"/>
              <a:gd name="connsiteX28" fmla="*/ 1807269 w 1994354"/>
              <a:gd name="connsiteY28" fmla="*/ 555689 h 2027849"/>
              <a:gd name="connsiteX29" fmla="*/ 1816834 w 1994354"/>
              <a:gd name="connsiteY29" fmla="*/ 574002 h 2027849"/>
              <a:gd name="connsiteX30" fmla="*/ 1798526 w 1994354"/>
              <a:gd name="connsiteY30" fmla="*/ 583567 h 2027849"/>
              <a:gd name="connsiteX31" fmla="*/ 1798046 w 1994354"/>
              <a:gd name="connsiteY31" fmla="*/ 583409 h 2027849"/>
              <a:gd name="connsiteX32" fmla="*/ 1839874 w 1994354"/>
              <a:gd name="connsiteY32" fmla="*/ 448499 h 2027849"/>
              <a:gd name="connsiteX33" fmla="*/ 1829897 w 1994354"/>
              <a:gd name="connsiteY33" fmla="*/ 433841 h 2027849"/>
              <a:gd name="connsiteX34" fmla="*/ 1841795 w 1994354"/>
              <a:gd name="connsiteY34" fmla="*/ 420038 h 2027849"/>
              <a:gd name="connsiteX35" fmla="*/ 1846389 w 1994354"/>
              <a:gd name="connsiteY35" fmla="*/ 419260 h 2027849"/>
              <a:gd name="connsiteX36" fmla="*/ 1851600 w 1994354"/>
              <a:gd name="connsiteY36" fmla="*/ 420878 h 2027849"/>
              <a:gd name="connsiteX37" fmla="*/ 1854960 w 1994354"/>
              <a:gd name="connsiteY37" fmla="*/ 424115 h 2027849"/>
              <a:gd name="connsiteX38" fmla="*/ 1857463 w 1994354"/>
              <a:gd name="connsiteY38" fmla="*/ 441648 h 2027849"/>
              <a:gd name="connsiteX39" fmla="*/ 1839874 w 1994354"/>
              <a:gd name="connsiteY39" fmla="*/ 448499 h 2027849"/>
              <a:gd name="connsiteX40" fmla="*/ 1542446 w 1994354"/>
              <a:gd name="connsiteY40" fmla="*/ 1408602 h 2027849"/>
              <a:gd name="connsiteX41" fmla="*/ 1552149 w 1994354"/>
              <a:gd name="connsiteY41" fmla="*/ 1427033 h 2027849"/>
              <a:gd name="connsiteX42" fmla="*/ 1533566 w 1994354"/>
              <a:gd name="connsiteY42" fmla="*/ 1436610 h 2027849"/>
              <a:gd name="connsiteX43" fmla="*/ 1523966 w 1994354"/>
              <a:gd name="connsiteY43" fmla="*/ 1418095 h 2027849"/>
              <a:gd name="connsiteX44" fmla="*/ 1542446 w 1994354"/>
              <a:gd name="connsiteY44" fmla="*/ 1408602 h 2027849"/>
              <a:gd name="connsiteX45" fmla="*/ 1705269 w 1994354"/>
              <a:gd name="connsiteY45" fmla="*/ 406742 h 2027849"/>
              <a:gd name="connsiteX46" fmla="*/ 1694640 w 1994354"/>
              <a:gd name="connsiteY46" fmla="*/ 392424 h 2027849"/>
              <a:gd name="connsiteX47" fmla="*/ 1706229 w 1994354"/>
              <a:gd name="connsiteY47" fmla="*/ 378199 h 2027849"/>
              <a:gd name="connsiteX48" fmla="*/ 1710720 w 1994354"/>
              <a:gd name="connsiteY48" fmla="*/ 377171 h 2027849"/>
              <a:gd name="connsiteX49" fmla="*/ 1717234 w 1994354"/>
              <a:gd name="connsiteY49" fmla="*/ 379193 h 2027849"/>
              <a:gd name="connsiteX50" fmla="*/ 1720286 w 1994354"/>
              <a:gd name="connsiteY50" fmla="*/ 382643 h 2027849"/>
              <a:gd name="connsiteX51" fmla="*/ 1721520 w 1994354"/>
              <a:gd name="connsiteY51" fmla="*/ 400920 h 2027849"/>
              <a:gd name="connsiteX52" fmla="*/ 1705269 w 1994354"/>
              <a:gd name="connsiteY52" fmla="*/ 406742 h 2027849"/>
              <a:gd name="connsiteX53" fmla="*/ 1135269 w 1994354"/>
              <a:gd name="connsiteY53" fmla="*/ 1765992 h 2027849"/>
              <a:gd name="connsiteX54" fmla="*/ 1125326 w 1994354"/>
              <a:gd name="connsiteY54" fmla="*/ 1747920 h 2027849"/>
              <a:gd name="connsiteX55" fmla="*/ 1143394 w 1994354"/>
              <a:gd name="connsiteY55" fmla="*/ 1737988 h 2027849"/>
              <a:gd name="connsiteX56" fmla="*/ 1143703 w 1994354"/>
              <a:gd name="connsiteY56" fmla="*/ 1738077 h 2027849"/>
              <a:gd name="connsiteX57" fmla="*/ 1153886 w 1994354"/>
              <a:gd name="connsiteY57" fmla="*/ 1756015 h 2027849"/>
              <a:gd name="connsiteX58" fmla="*/ 1135955 w 1994354"/>
              <a:gd name="connsiteY58" fmla="*/ 1766195 h 2027849"/>
              <a:gd name="connsiteX59" fmla="*/ 1135269 w 1994354"/>
              <a:gd name="connsiteY59" fmla="*/ 1765992 h 2027849"/>
              <a:gd name="connsiteX60" fmla="*/ 1527943 w 1994354"/>
              <a:gd name="connsiteY60" fmla="*/ 499615 h 2027849"/>
              <a:gd name="connsiteX61" fmla="*/ 1518275 w 1994354"/>
              <a:gd name="connsiteY61" fmla="*/ 481365 h 2027849"/>
              <a:gd name="connsiteX62" fmla="*/ 1536514 w 1994354"/>
              <a:gd name="connsiteY62" fmla="*/ 471703 h 2027849"/>
              <a:gd name="connsiteX63" fmla="*/ 1536720 w 1994354"/>
              <a:gd name="connsiteY63" fmla="*/ 471761 h 2027849"/>
              <a:gd name="connsiteX64" fmla="*/ 1546663 w 1994354"/>
              <a:gd name="connsiteY64" fmla="*/ 489861 h 2027849"/>
              <a:gd name="connsiteX65" fmla="*/ 1528560 w 1994354"/>
              <a:gd name="connsiteY65" fmla="*/ 499814 h 2027849"/>
              <a:gd name="connsiteX66" fmla="*/ 1527943 w 1994354"/>
              <a:gd name="connsiteY66" fmla="*/ 499615 h 2027849"/>
              <a:gd name="connsiteX67" fmla="*/ 1569326 w 1994354"/>
              <a:gd name="connsiteY67" fmla="*/ 364553 h 2027849"/>
              <a:gd name="connsiteX68" fmla="*/ 1559554 w 1994354"/>
              <a:gd name="connsiteY68" fmla="*/ 349053 h 2027849"/>
              <a:gd name="connsiteX69" fmla="*/ 1571692 w 1994354"/>
              <a:gd name="connsiteY69" fmla="*/ 336124 h 2027849"/>
              <a:gd name="connsiteX70" fmla="*/ 1576354 w 1994354"/>
              <a:gd name="connsiteY70" fmla="*/ 335489 h 2027849"/>
              <a:gd name="connsiteX71" fmla="*/ 1581566 w 1994354"/>
              <a:gd name="connsiteY71" fmla="*/ 337108 h 2027849"/>
              <a:gd name="connsiteX72" fmla="*/ 1585269 w 1994354"/>
              <a:gd name="connsiteY72" fmla="*/ 340931 h 2027849"/>
              <a:gd name="connsiteX73" fmla="*/ 1586571 w 1994354"/>
              <a:gd name="connsiteY73" fmla="*/ 358536 h 2027849"/>
              <a:gd name="connsiteX74" fmla="*/ 1569326 w 1994354"/>
              <a:gd name="connsiteY74" fmla="*/ 364553 h 2027849"/>
              <a:gd name="connsiteX75" fmla="*/ 1450594 w 1994354"/>
              <a:gd name="connsiteY75" fmla="*/ 749925 h 2027849"/>
              <a:gd name="connsiteX76" fmla="*/ 1460160 w 1994354"/>
              <a:gd name="connsiteY76" fmla="*/ 768569 h 2027849"/>
              <a:gd name="connsiteX77" fmla="*/ 1441406 w 1994354"/>
              <a:gd name="connsiteY77" fmla="*/ 778015 h 2027849"/>
              <a:gd name="connsiteX78" fmla="*/ 1431943 w 1994354"/>
              <a:gd name="connsiteY78" fmla="*/ 759371 h 2027849"/>
              <a:gd name="connsiteX79" fmla="*/ 1450594 w 1994354"/>
              <a:gd name="connsiteY79" fmla="*/ 749915 h 2027849"/>
              <a:gd name="connsiteX80" fmla="*/ 1494617 w 1994354"/>
              <a:gd name="connsiteY80" fmla="*/ 606611 h 2027849"/>
              <a:gd name="connsiteX81" fmla="*/ 1504697 w 1994354"/>
              <a:gd name="connsiteY81" fmla="*/ 625032 h 2027849"/>
              <a:gd name="connsiteX82" fmla="*/ 1486251 w 1994354"/>
              <a:gd name="connsiteY82" fmla="*/ 634937 h 2027849"/>
              <a:gd name="connsiteX83" fmla="*/ 1476137 w 1994354"/>
              <a:gd name="connsiteY83" fmla="*/ 616660 h 2027849"/>
              <a:gd name="connsiteX84" fmla="*/ 1494446 w 1994354"/>
              <a:gd name="connsiteY84" fmla="*/ 606559 h 2027849"/>
              <a:gd name="connsiteX85" fmla="*/ 1494617 w 1994354"/>
              <a:gd name="connsiteY85" fmla="*/ 606614 h 2027849"/>
              <a:gd name="connsiteX86" fmla="*/ 1408594 w 1994354"/>
              <a:gd name="connsiteY86" fmla="*/ 885100 h 2027849"/>
              <a:gd name="connsiteX87" fmla="*/ 1418332 w 1994354"/>
              <a:gd name="connsiteY87" fmla="*/ 903371 h 2027849"/>
              <a:gd name="connsiteX88" fmla="*/ 1400057 w 1994354"/>
              <a:gd name="connsiteY88" fmla="*/ 913108 h 2027849"/>
              <a:gd name="connsiteX89" fmla="*/ 1399611 w 1994354"/>
              <a:gd name="connsiteY89" fmla="*/ 912964 h 2027849"/>
              <a:gd name="connsiteX90" fmla="*/ 1389771 w 1994354"/>
              <a:gd name="connsiteY90" fmla="*/ 894751 h 2027849"/>
              <a:gd name="connsiteX91" fmla="*/ 1407977 w 1994354"/>
              <a:gd name="connsiteY91" fmla="*/ 884904 h 2027849"/>
              <a:gd name="connsiteX92" fmla="*/ 1408594 w 1994354"/>
              <a:gd name="connsiteY92" fmla="*/ 885103 h 2027849"/>
              <a:gd name="connsiteX93" fmla="*/ 1185943 w 1994354"/>
              <a:gd name="connsiteY93" fmla="*/ 1602844 h 2027849"/>
              <a:gd name="connsiteX94" fmla="*/ 1195646 w 1994354"/>
              <a:gd name="connsiteY94" fmla="*/ 1621413 h 2027849"/>
              <a:gd name="connsiteX95" fmla="*/ 1177063 w 1994354"/>
              <a:gd name="connsiteY95" fmla="*/ 1631105 h 2027849"/>
              <a:gd name="connsiteX96" fmla="*/ 1176823 w 1994354"/>
              <a:gd name="connsiteY96" fmla="*/ 1631027 h 2027849"/>
              <a:gd name="connsiteX97" fmla="*/ 1167600 w 1994354"/>
              <a:gd name="connsiteY97" fmla="*/ 1612214 h 2027849"/>
              <a:gd name="connsiteX98" fmla="*/ 1185943 w 1994354"/>
              <a:gd name="connsiteY98" fmla="*/ 1602847 h 2027849"/>
              <a:gd name="connsiteX99" fmla="*/ 1229966 w 1994354"/>
              <a:gd name="connsiteY99" fmla="*/ 1459626 h 2027849"/>
              <a:gd name="connsiteX100" fmla="*/ 1240080 w 1994354"/>
              <a:gd name="connsiteY100" fmla="*/ 1478020 h 2027849"/>
              <a:gd name="connsiteX101" fmla="*/ 1221635 w 1994354"/>
              <a:gd name="connsiteY101" fmla="*/ 1487904 h 2027849"/>
              <a:gd name="connsiteX102" fmla="*/ 1211623 w 1994354"/>
              <a:gd name="connsiteY102" fmla="*/ 1469627 h 2027849"/>
              <a:gd name="connsiteX103" fmla="*/ 1229966 w 1994354"/>
              <a:gd name="connsiteY103" fmla="*/ 1459629 h 2027849"/>
              <a:gd name="connsiteX104" fmla="*/ 1263429 w 1994354"/>
              <a:gd name="connsiteY104" fmla="*/ 1352801 h 2027849"/>
              <a:gd name="connsiteX105" fmla="*/ 1253589 w 1994354"/>
              <a:gd name="connsiteY105" fmla="*/ 1334417 h 2027849"/>
              <a:gd name="connsiteX106" fmla="*/ 1271897 w 1994354"/>
              <a:gd name="connsiteY106" fmla="*/ 1324656 h 2027849"/>
              <a:gd name="connsiteX107" fmla="*/ 1271966 w 1994354"/>
              <a:gd name="connsiteY107" fmla="*/ 1324677 h 2027849"/>
              <a:gd name="connsiteX108" fmla="*/ 1281977 w 1994354"/>
              <a:gd name="connsiteY108" fmla="*/ 1343013 h 2027849"/>
              <a:gd name="connsiteX109" fmla="*/ 1263429 w 1994354"/>
              <a:gd name="connsiteY109" fmla="*/ 1352805 h 2027849"/>
              <a:gd name="connsiteX110" fmla="*/ 1348046 w 1994354"/>
              <a:gd name="connsiteY110" fmla="*/ 1029960 h 2027849"/>
              <a:gd name="connsiteX111" fmla="*/ 1366389 w 1994354"/>
              <a:gd name="connsiteY111" fmla="*/ 1019969 h 2027849"/>
              <a:gd name="connsiteX112" fmla="*/ 1376469 w 1994354"/>
              <a:gd name="connsiteY112" fmla="*/ 1038254 h 2027849"/>
              <a:gd name="connsiteX113" fmla="*/ 1358194 w 1994354"/>
              <a:gd name="connsiteY113" fmla="*/ 1048344 h 2027849"/>
              <a:gd name="connsiteX114" fmla="*/ 1357989 w 1994354"/>
              <a:gd name="connsiteY114" fmla="*/ 1048283 h 2027849"/>
              <a:gd name="connsiteX115" fmla="*/ 1348046 w 1994354"/>
              <a:gd name="connsiteY115" fmla="*/ 1029964 h 2027849"/>
              <a:gd name="connsiteX116" fmla="*/ 1305052 w 1994354"/>
              <a:gd name="connsiteY116" fmla="*/ 1217630 h 2027849"/>
              <a:gd name="connsiteX117" fmla="*/ 1295589 w 1994354"/>
              <a:gd name="connsiteY117" fmla="*/ 1199010 h 2027849"/>
              <a:gd name="connsiteX118" fmla="*/ 1314206 w 1994354"/>
              <a:gd name="connsiteY118" fmla="*/ 1189543 h 2027849"/>
              <a:gd name="connsiteX119" fmla="*/ 1323669 w 1994354"/>
              <a:gd name="connsiteY119" fmla="*/ 1208167 h 2027849"/>
              <a:gd name="connsiteX120" fmla="*/ 1305052 w 1994354"/>
              <a:gd name="connsiteY120" fmla="*/ 1217633 h 2027849"/>
              <a:gd name="connsiteX121" fmla="*/ 1434549 w 1994354"/>
              <a:gd name="connsiteY121" fmla="*/ 322752 h 2027849"/>
              <a:gd name="connsiteX122" fmla="*/ 1424400 w 1994354"/>
              <a:gd name="connsiteY122" fmla="*/ 308229 h 2027849"/>
              <a:gd name="connsiteX123" fmla="*/ 1436126 w 1994354"/>
              <a:gd name="connsiteY123" fmla="*/ 294278 h 2027849"/>
              <a:gd name="connsiteX124" fmla="*/ 1440686 w 1994354"/>
              <a:gd name="connsiteY124" fmla="*/ 293400 h 2027849"/>
              <a:gd name="connsiteX125" fmla="*/ 1445897 w 1994354"/>
              <a:gd name="connsiteY125" fmla="*/ 295019 h 2027849"/>
              <a:gd name="connsiteX126" fmla="*/ 1449394 w 1994354"/>
              <a:gd name="connsiteY126" fmla="*/ 298193 h 2027849"/>
              <a:gd name="connsiteX127" fmla="*/ 1451726 w 1994354"/>
              <a:gd name="connsiteY127" fmla="*/ 316310 h 2027849"/>
              <a:gd name="connsiteX128" fmla="*/ 1434549 w 1994354"/>
              <a:gd name="connsiteY128" fmla="*/ 322756 h 2027849"/>
              <a:gd name="connsiteX129" fmla="*/ 1401463 w 1994354"/>
              <a:gd name="connsiteY129" fmla="*/ 429796 h 2027849"/>
              <a:gd name="connsiteX130" fmla="*/ 1411372 w 1994354"/>
              <a:gd name="connsiteY130" fmla="*/ 447919 h 2027849"/>
              <a:gd name="connsiteX131" fmla="*/ 1393234 w 1994354"/>
              <a:gd name="connsiteY131" fmla="*/ 457828 h 2027849"/>
              <a:gd name="connsiteX132" fmla="*/ 1392857 w 1994354"/>
              <a:gd name="connsiteY132" fmla="*/ 457708 h 2027849"/>
              <a:gd name="connsiteX133" fmla="*/ 1382846 w 1994354"/>
              <a:gd name="connsiteY133" fmla="*/ 439649 h 2027849"/>
              <a:gd name="connsiteX134" fmla="*/ 1400880 w 1994354"/>
              <a:gd name="connsiteY134" fmla="*/ 429621 h 2027849"/>
              <a:gd name="connsiteX135" fmla="*/ 1401463 w 1994354"/>
              <a:gd name="connsiteY135" fmla="*/ 429799 h 2027849"/>
              <a:gd name="connsiteX136" fmla="*/ 1008686 w 1994354"/>
              <a:gd name="connsiteY136" fmla="*/ 1696173 h 2027849"/>
              <a:gd name="connsiteX137" fmla="*/ 1018080 w 1994354"/>
              <a:gd name="connsiteY137" fmla="*/ 1714540 h 2027849"/>
              <a:gd name="connsiteX138" fmla="*/ 999703 w 1994354"/>
              <a:gd name="connsiteY138" fmla="*/ 1723917 h 2027849"/>
              <a:gd name="connsiteX139" fmla="*/ 990275 w 1994354"/>
              <a:gd name="connsiteY139" fmla="*/ 1705698 h 2027849"/>
              <a:gd name="connsiteX140" fmla="*/ 1008411 w 1994354"/>
              <a:gd name="connsiteY140" fmla="*/ 1696084 h 2027849"/>
              <a:gd name="connsiteX141" fmla="*/ 1008686 w 1994354"/>
              <a:gd name="connsiteY141" fmla="*/ 1696176 h 2027849"/>
              <a:gd name="connsiteX142" fmla="*/ 1299874 w 1994354"/>
              <a:gd name="connsiteY142" fmla="*/ 280968 h 2027849"/>
              <a:gd name="connsiteX143" fmla="*/ 1289143 w 1994354"/>
              <a:gd name="connsiteY143" fmla="*/ 267429 h 2027849"/>
              <a:gd name="connsiteX144" fmla="*/ 1299257 w 1994354"/>
              <a:gd name="connsiteY144" fmla="*/ 252782 h 2027849"/>
              <a:gd name="connsiteX145" fmla="*/ 1305017 w 1994354"/>
              <a:gd name="connsiteY145" fmla="*/ 251311 h 2027849"/>
              <a:gd name="connsiteX146" fmla="*/ 1311532 w 1994354"/>
              <a:gd name="connsiteY146" fmla="*/ 253334 h 2027849"/>
              <a:gd name="connsiteX147" fmla="*/ 1315132 w 1994354"/>
              <a:gd name="connsiteY147" fmla="*/ 257236 h 2027849"/>
              <a:gd name="connsiteX148" fmla="*/ 1316057 w 1994354"/>
              <a:gd name="connsiteY148" fmla="*/ 275003 h 2027849"/>
              <a:gd name="connsiteX149" fmla="*/ 1299874 w 1994354"/>
              <a:gd name="connsiteY149" fmla="*/ 280972 h 2027849"/>
              <a:gd name="connsiteX150" fmla="*/ 729771 w 1994354"/>
              <a:gd name="connsiteY150" fmla="*/ 1640191 h 2027849"/>
              <a:gd name="connsiteX151" fmla="*/ 719657 w 1994354"/>
              <a:gd name="connsiteY151" fmla="*/ 1622212 h 2027849"/>
              <a:gd name="connsiteX152" fmla="*/ 737623 w 1994354"/>
              <a:gd name="connsiteY152" fmla="*/ 1612101 h 2027849"/>
              <a:gd name="connsiteX153" fmla="*/ 738172 w 1994354"/>
              <a:gd name="connsiteY153" fmla="*/ 1612262 h 2027849"/>
              <a:gd name="connsiteX154" fmla="*/ 748148 w 1994354"/>
              <a:gd name="connsiteY154" fmla="*/ 1630314 h 2027849"/>
              <a:gd name="connsiteX155" fmla="*/ 730115 w 1994354"/>
              <a:gd name="connsiteY155" fmla="*/ 1640294 h 2027849"/>
              <a:gd name="connsiteX156" fmla="*/ 729771 w 1994354"/>
              <a:gd name="connsiteY156" fmla="*/ 1640195 h 2027849"/>
              <a:gd name="connsiteX157" fmla="*/ 994354 w 1994354"/>
              <a:gd name="connsiteY157" fmla="*/ 787235 h 2027849"/>
              <a:gd name="connsiteX158" fmla="*/ 984617 w 1994354"/>
              <a:gd name="connsiteY158" fmla="*/ 768977 h 2027849"/>
              <a:gd name="connsiteX159" fmla="*/ 1002857 w 1994354"/>
              <a:gd name="connsiteY159" fmla="*/ 759223 h 2027849"/>
              <a:gd name="connsiteX160" fmla="*/ 1012869 w 1994354"/>
              <a:gd name="connsiteY160" fmla="*/ 777336 h 2027849"/>
              <a:gd name="connsiteX161" fmla="*/ 994766 w 1994354"/>
              <a:gd name="connsiteY161" fmla="*/ 787365 h 2027849"/>
              <a:gd name="connsiteX162" fmla="*/ 994354 w 1994354"/>
              <a:gd name="connsiteY162" fmla="*/ 787238 h 2027849"/>
              <a:gd name="connsiteX163" fmla="*/ 1122823 w 1994354"/>
              <a:gd name="connsiteY163" fmla="*/ 373934 h 2027849"/>
              <a:gd name="connsiteX164" fmla="*/ 1112571 w 1994354"/>
              <a:gd name="connsiteY164" fmla="*/ 355982 h 2027849"/>
              <a:gd name="connsiteX165" fmla="*/ 1130537 w 1994354"/>
              <a:gd name="connsiteY165" fmla="*/ 345744 h 2027849"/>
              <a:gd name="connsiteX166" fmla="*/ 1130880 w 1994354"/>
              <a:gd name="connsiteY166" fmla="*/ 345844 h 2027849"/>
              <a:gd name="connsiteX167" fmla="*/ 1140892 w 1994354"/>
              <a:gd name="connsiteY167" fmla="*/ 363919 h 2027849"/>
              <a:gd name="connsiteX168" fmla="*/ 1122823 w 1994354"/>
              <a:gd name="connsiteY168" fmla="*/ 373937 h 2027849"/>
              <a:gd name="connsiteX169" fmla="*/ 1163966 w 1994354"/>
              <a:gd name="connsiteY169" fmla="*/ 238817 h 2027849"/>
              <a:gd name="connsiteX170" fmla="*/ 1154091 w 1994354"/>
              <a:gd name="connsiteY170" fmla="*/ 223416 h 2027849"/>
              <a:gd name="connsiteX171" fmla="*/ 1166023 w 1994354"/>
              <a:gd name="connsiteY171" fmla="*/ 210357 h 2027849"/>
              <a:gd name="connsiteX172" fmla="*/ 1170652 w 1994354"/>
              <a:gd name="connsiteY172" fmla="*/ 209630 h 2027849"/>
              <a:gd name="connsiteX173" fmla="*/ 1175863 w 1994354"/>
              <a:gd name="connsiteY173" fmla="*/ 211248 h 2027849"/>
              <a:gd name="connsiteX174" fmla="*/ 1179669 w 1994354"/>
              <a:gd name="connsiteY174" fmla="*/ 215020 h 2027849"/>
              <a:gd name="connsiteX175" fmla="*/ 1181212 w 1994354"/>
              <a:gd name="connsiteY175" fmla="*/ 232618 h 2027849"/>
              <a:gd name="connsiteX176" fmla="*/ 1163966 w 1994354"/>
              <a:gd name="connsiteY176" fmla="*/ 238821 h 2027849"/>
              <a:gd name="connsiteX177" fmla="*/ 1089120 w 1994354"/>
              <a:gd name="connsiteY177" fmla="*/ 480813 h 2027849"/>
              <a:gd name="connsiteX178" fmla="*/ 1099166 w 1994354"/>
              <a:gd name="connsiteY178" fmla="*/ 499221 h 2027849"/>
              <a:gd name="connsiteX179" fmla="*/ 1080754 w 1994354"/>
              <a:gd name="connsiteY179" fmla="*/ 509143 h 2027849"/>
              <a:gd name="connsiteX180" fmla="*/ 1070469 w 1994354"/>
              <a:gd name="connsiteY180" fmla="*/ 490965 h 2027849"/>
              <a:gd name="connsiteX181" fmla="*/ 1088640 w 1994354"/>
              <a:gd name="connsiteY181" fmla="*/ 480676 h 2027849"/>
              <a:gd name="connsiteX182" fmla="*/ 1089120 w 1994354"/>
              <a:gd name="connsiteY182" fmla="*/ 480816 h 2027849"/>
              <a:gd name="connsiteX183" fmla="*/ 1045166 w 1994354"/>
              <a:gd name="connsiteY183" fmla="*/ 624127 h 2027849"/>
              <a:gd name="connsiteX184" fmla="*/ 1054526 w 1994354"/>
              <a:gd name="connsiteY184" fmla="*/ 642813 h 2027849"/>
              <a:gd name="connsiteX185" fmla="*/ 1035840 w 1994354"/>
              <a:gd name="connsiteY185" fmla="*/ 652183 h 2027849"/>
              <a:gd name="connsiteX186" fmla="*/ 1026480 w 1994354"/>
              <a:gd name="connsiteY186" fmla="*/ 633497 h 2027849"/>
              <a:gd name="connsiteX187" fmla="*/ 1045166 w 1994354"/>
              <a:gd name="connsiteY187" fmla="*/ 624134 h 2027849"/>
              <a:gd name="connsiteX188" fmla="*/ 952012 w 1994354"/>
              <a:gd name="connsiteY188" fmla="*/ 922330 h 2027849"/>
              <a:gd name="connsiteX189" fmla="*/ 942446 w 1994354"/>
              <a:gd name="connsiteY189" fmla="*/ 903775 h 2027849"/>
              <a:gd name="connsiteX190" fmla="*/ 960994 w 1994354"/>
              <a:gd name="connsiteY190" fmla="*/ 894203 h 2027849"/>
              <a:gd name="connsiteX191" fmla="*/ 961372 w 1994354"/>
              <a:gd name="connsiteY191" fmla="*/ 894329 h 2027849"/>
              <a:gd name="connsiteX192" fmla="*/ 970697 w 1994354"/>
              <a:gd name="connsiteY192" fmla="*/ 913012 h 2027849"/>
              <a:gd name="connsiteX193" fmla="*/ 952012 w 1994354"/>
              <a:gd name="connsiteY193" fmla="*/ 922337 h 2027849"/>
              <a:gd name="connsiteX194" fmla="*/ 899554 w 1994354"/>
              <a:gd name="connsiteY194" fmla="*/ 1091829 h 2027849"/>
              <a:gd name="connsiteX195" fmla="*/ 889817 w 1994354"/>
              <a:gd name="connsiteY195" fmla="*/ 1073342 h 2027849"/>
              <a:gd name="connsiteX196" fmla="*/ 908332 w 1994354"/>
              <a:gd name="connsiteY196" fmla="*/ 1063619 h 2027849"/>
              <a:gd name="connsiteX197" fmla="*/ 908709 w 1994354"/>
              <a:gd name="connsiteY197" fmla="*/ 1063745 h 2027849"/>
              <a:gd name="connsiteX198" fmla="*/ 918172 w 1994354"/>
              <a:gd name="connsiteY198" fmla="*/ 1082369 h 2027849"/>
              <a:gd name="connsiteX199" fmla="*/ 899554 w 1994354"/>
              <a:gd name="connsiteY199" fmla="*/ 1091836 h 2027849"/>
              <a:gd name="connsiteX200" fmla="*/ 866709 w 1994354"/>
              <a:gd name="connsiteY200" fmla="*/ 1198955 h 2027849"/>
              <a:gd name="connsiteX201" fmla="*/ 876343 w 1994354"/>
              <a:gd name="connsiteY201" fmla="*/ 1217441 h 2027849"/>
              <a:gd name="connsiteX202" fmla="*/ 857692 w 1994354"/>
              <a:gd name="connsiteY202" fmla="*/ 1226922 h 2027849"/>
              <a:gd name="connsiteX203" fmla="*/ 847886 w 1994354"/>
              <a:gd name="connsiteY203" fmla="*/ 1208603 h 2027849"/>
              <a:gd name="connsiteX204" fmla="*/ 866194 w 1994354"/>
              <a:gd name="connsiteY204" fmla="*/ 1198800 h 2027849"/>
              <a:gd name="connsiteX205" fmla="*/ 866709 w 1994354"/>
              <a:gd name="connsiteY205" fmla="*/ 1198961 h 2027849"/>
              <a:gd name="connsiteX206" fmla="*/ 806194 w 1994354"/>
              <a:gd name="connsiteY206" fmla="*/ 1343640 h 2027849"/>
              <a:gd name="connsiteX207" fmla="*/ 824640 w 1994354"/>
              <a:gd name="connsiteY207" fmla="*/ 1333872 h 2027849"/>
              <a:gd name="connsiteX208" fmla="*/ 834480 w 1994354"/>
              <a:gd name="connsiteY208" fmla="*/ 1352387 h 2027849"/>
              <a:gd name="connsiteX209" fmla="*/ 815966 w 1994354"/>
              <a:gd name="connsiteY209" fmla="*/ 1362052 h 2027849"/>
              <a:gd name="connsiteX210" fmla="*/ 806194 w 1994354"/>
              <a:gd name="connsiteY210" fmla="*/ 1343651 h 2027849"/>
              <a:gd name="connsiteX211" fmla="*/ 771429 w 1994354"/>
              <a:gd name="connsiteY211" fmla="*/ 1505256 h 2027849"/>
              <a:gd name="connsiteX212" fmla="*/ 761760 w 1994354"/>
              <a:gd name="connsiteY212" fmla="*/ 1486673 h 2027849"/>
              <a:gd name="connsiteX213" fmla="*/ 780343 w 1994354"/>
              <a:gd name="connsiteY213" fmla="*/ 1477005 h 2027849"/>
              <a:gd name="connsiteX214" fmla="*/ 790012 w 1994354"/>
              <a:gd name="connsiteY214" fmla="*/ 1495595 h 2027849"/>
              <a:gd name="connsiteX215" fmla="*/ 771429 w 1994354"/>
              <a:gd name="connsiteY215" fmla="*/ 1505267 h 2027849"/>
              <a:gd name="connsiteX216" fmla="*/ 1028709 w 1994354"/>
              <a:gd name="connsiteY216" fmla="*/ 196835 h 2027849"/>
              <a:gd name="connsiteX217" fmla="*/ 1018834 w 1994354"/>
              <a:gd name="connsiteY217" fmla="*/ 182675 h 2027849"/>
              <a:gd name="connsiteX218" fmla="*/ 1030457 w 1994354"/>
              <a:gd name="connsiteY218" fmla="*/ 168508 h 2027849"/>
              <a:gd name="connsiteX219" fmla="*/ 1034983 w 1994354"/>
              <a:gd name="connsiteY219" fmla="*/ 167534 h 2027849"/>
              <a:gd name="connsiteX220" fmla="*/ 1041532 w 1994354"/>
              <a:gd name="connsiteY220" fmla="*/ 169557 h 2027849"/>
              <a:gd name="connsiteX221" fmla="*/ 1044480 w 1994354"/>
              <a:gd name="connsiteY221" fmla="*/ 173030 h 2027849"/>
              <a:gd name="connsiteX222" fmla="*/ 1045646 w 1994354"/>
              <a:gd name="connsiteY222" fmla="*/ 191308 h 2027849"/>
              <a:gd name="connsiteX223" fmla="*/ 1028709 w 1994354"/>
              <a:gd name="connsiteY223" fmla="*/ 196845 h 2027849"/>
              <a:gd name="connsiteX224" fmla="*/ 724012 w 1994354"/>
              <a:gd name="connsiteY224" fmla="*/ 703368 h 2027849"/>
              <a:gd name="connsiteX225" fmla="*/ 714034 w 1994354"/>
              <a:gd name="connsiteY225" fmla="*/ 685245 h 2027849"/>
              <a:gd name="connsiteX226" fmla="*/ 732137 w 1994354"/>
              <a:gd name="connsiteY226" fmla="*/ 675254 h 2027849"/>
              <a:gd name="connsiteX227" fmla="*/ 732514 w 1994354"/>
              <a:gd name="connsiteY227" fmla="*/ 675367 h 2027849"/>
              <a:gd name="connsiteX228" fmla="*/ 742492 w 1994354"/>
              <a:gd name="connsiteY228" fmla="*/ 693490 h 2027849"/>
              <a:gd name="connsiteX229" fmla="*/ 724389 w 1994354"/>
              <a:gd name="connsiteY229" fmla="*/ 703481 h 2027849"/>
              <a:gd name="connsiteX230" fmla="*/ 724012 w 1994354"/>
              <a:gd name="connsiteY230" fmla="*/ 703368 h 2027849"/>
              <a:gd name="connsiteX231" fmla="*/ 800469 w 1994354"/>
              <a:gd name="connsiteY231" fmla="*/ 406848 h 2027849"/>
              <a:gd name="connsiteX232" fmla="*/ 818880 w 1994354"/>
              <a:gd name="connsiteY232" fmla="*/ 396984 h 2027849"/>
              <a:gd name="connsiteX233" fmla="*/ 828754 w 1994354"/>
              <a:gd name="connsiteY233" fmla="*/ 415475 h 2027849"/>
              <a:gd name="connsiteX234" fmla="*/ 810275 w 1994354"/>
              <a:gd name="connsiteY234" fmla="*/ 425243 h 2027849"/>
              <a:gd name="connsiteX235" fmla="*/ 800469 w 1994354"/>
              <a:gd name="connsiteY235" fmla="*/ 406848 h 2027849"/>
              <a:gd name="connsiteX236" fmla="*/ 765909 w 1994354"/>
              <a:gd name="connsiteY236" fmla="*/ 568451 h 2027849"/>
              <a:gd name="connsiteX237" fmla="*/ 756034 w 1994354"/>
              <a:gd name="connsiteY237" fmla="*/ 550025 h 2027849"/>
              <a:gd name="connsiteX238" fmla="*/ 774446 w 1994354"/>
              <a:gd name="connsiteY238" fmla="*/ 540155 h 2027849"/>
              <a:gd name="connsiteX239" fmla="*/ 784354 w 1994354"/>
              <a:gd name="connsiteY239" fmla="*/ 558508 h 2027849"/>
              <a:gd name="connsiteX240" fmla="*/ 765909 w 1994354"/>
              <a:gd name="connsiteY240" fmla="*/ 568451 h 2027849"/>
              <a:gd name="connsiteX241" fmla="*/ 852034 w 1994354"/>
              <a:gd name="connsiteY241" fmla="*/ 289931 h 2027849"/>
              <a:gd name="connsiteX242" fmla="*/ 842400 w 1994354"/>
              <a:gd name="connsiteY242" fmla="*/ 271649 h 2027849"/>
              <a:gd name="connsiteX243" fmla="*/ 860709 w 1994354"/>
              <a:gd name="connsiteY243" fmla="*/ 262025 h 2027849"/>
              <a:gd name="connsiteX244" fmla="*/ 860983 w 1994354"/>
              <a:gd name="connsiteY244" fmla="*/ 262118 h 2027849"/>
              <a:gd name="connsiteX245" fmla="*/ 870617 w 1994354"/>
              <a:gd name="connsiteY245" fmla="*/ 280399 h 2027849"/>
              <a:gd name="connsiteX246" fmla="*/ 852308 w 1994354"/>
              <a:gd name="connsiteY246" fmla="*/ 290023 h 2027849"/>
              <a:gd name="connsiteX247" fmla="*/ 852034 w 1994354"/>
              <a:gd name="connsiteY247" fmla="*/ 289931 h 2027849"/>
              <a:gd name="connsiteX248" fmla="*/ 894549 w 1994354"/>
              <a:gd name="connsiteY248" fmla="*/ 155219 h 2027849"/>
              <a:gd name="connsiteX249" fmla="*/ 883646 w 1994354"/>
              <a:gd name="connsiteY249" fmla="*/ 141103 h 2027849"/>
              <a:gd name="connsiteX250" fmla="*/ 893589 w 1994354"/>
              <a:gd name="connsiteY250" fmla="*/ 127022 h 2027849"/>
              <a:gd name="connsiteX251" fmla="*/ 899314 w 1994354"/>
              <a:gd name="connsiteY251" fmla="*/ 125455 h 2027849"/>
              <a:gd name="connsiteX252" fmla="*/ 905863 w 1994354"/>
              <a:gd name="connsiteY252" fmla="*/ 127481 h 2027849"/>
              <a:gd name="connsiteX253" fmla="*/ 909532 w 1994354"/>
              <a:gd name="connsiteY253" fmla="*/ 131335 h 2027849"/>
              <a:gd name="connsiteX254" fmla="*/ 911006 w 1994354"/>
              <a:gd name="connsiteY254" fmla="*/ 148454 h 2027849"/>
              <a:gd name="connsiteX255" fmla="*/ 894549 w 1994354"/>
              <a:gd name="connsiteY255" fmla="*/ 155219 h 2027849"/>
              <a:gd name="connsiteX256" fmla="*/ 758674 w 1994354"/>
              <a:gd name="connsiteY256" fmla="*/ 113078 h 2027849"/>
              <a:gd name="connsiteX257" fmla="*/ 748594 w 1994354"/>
              <a:gd name="connsiteY257" fmla="*/ 98503 h 2027849"/>
              <a:gd name="connsiteX258" fmla="*/ 760389 w 1994354"/>
              <a:gd name="connsiteY258" fmla="*/ 84611 h 2027849"/>
              <a:gd name="connsiteX259" fmla="*/ 764949 w 1994354"/>
              <a:gd name="connsiteY259" fmla="*/ 83774 h 2027849"/>
              <a:gd name="connsiteX260" fmla="*/ 770194 w 1994354"/>
              <a:gd name="connsiteY260" fmla="*/ 85392 h 2027849"/>
              <a:gd name="connsiteX261" fmla="*/ 773623 w 1994354"/>
              <a:gd name="connsiteY261" fmla="*/ 88595 h 2027849"/>
              <a:gd name="connsiteX262" fmla="*/ 775817 w 1994354"/>
              <a:gd name="connsiteY262" fmla="*/ 106697 h 2027849"/>
              <a:gd name="connsiteX263" fmla="*/ 758674 w 1994354"/>
              <a:gd name="connsiteY263" fmla="*/ 113078 h 2027849"/>
              <a:gd name="connsiteX264" fmla="*/ 725554 w 1994354"/>
              <a:gd name="connsiteY264" fmla="*/ 220108 h 2027849"/>
              <a:gd name="connsiteX265" fmla="*/ 735189 w 1994354"/>
              <a:gd name="connsiteY265" fmla="*/ 238379 h 2027849"/>
              <a:gd name="connsiteX266" fmla="*/ 716914 w 1994354"/>
              <a:gd name="connsiteY266" fmla="*/ 248023 h 2027849"/>
              <a:gd name="connsiteX267" fmla="*/ 707246 w 1994354"/>
              <a:gd name="connsiteY267" fmla="*/ 229879 h 2027849"/>
              <a:gd name="connsiteX268" fmla="*/ 725451 w 1994354"/>
              <a:gd name="connsiteY268" fmla="*/ 220080 h 2027849"/>
              <a:gd name="connsiteX269" fmla="*/ 725554 w 1994354"/>
              <a:gd name="connsiteY269" fmla="*/ 220108 h 2027849"/>
              <a:gd name="connsiteX270" fmla="*/ 332777 w 1994354"/>
              <a:gd name="connsiteY270" fmla="*/ 1486495 h 2027849"/>
              <a:gd name="connsiteX271" fmla="*/ 342240 w 1994354"/>
              <a:gd name="connsiteY271" fmla="*/ 1504821 h 2027849"/>
              <a:gd name="connsiteX272" fmla="*/ 323897 w 1994354"/>
              <a:gd name="connsiteY272" fmla="*/ 1514277 h 2027849"/>
              <a:gd name="connsiteX273" fmla="*/ 314400 w 1994354"/>
              <a:gd name="connsiteY273" fmla="*/ 1496119 h 2027849"/>
              <a:gd name="connsiteX274" fmla="*/ 332571 w 1994354"/>
              <a:gd name="connsiteY274" fmla="*/ 1486433 h 2027849"/>
              <a:gd name="connsiteX275" fmla="*/ 332777 w 1994354"/>
              <a:gd name="connsiteY275" fmla="*/ 1486495 h 2027849"/>
              <a:gd name="connsiteX276" fmla="*/ 624000 w 1994354"/>
              <a:gd name="connsiteY276" fmla="*/ 71301 h 2027849"/>
              <a:gd name="connsiteX277" fmla="*/ 613337 w 1994354"/>
              <a:gd name="connsiteY277" fmla="*/ 57031 h 2027849"/>
              <a:gd name="connsiteX278" fmla="*/ 624823 w 1994354"/>
              <a:gd name="connsiteY278" fmla="*/ 42761 h 2027849"/>
              <a:gd name="connsiteX279" fmla="*/ 629280 w 1994354"/>
              <a:gd name="connsiteY279" fmla="*/ 41685 h 2027849"/>
              <a:gd name="connsiteX280" fmla="*/ 635829 w 1994354"/>
              <a:gd name="connsiteY280" fmla="*/ 43711 h 2027849"/>
              <a:gd name="connsiteX281" fmla="*/ 638880 w 1994354"/>
              <a:gd name="connsiteY281" fmla="*/ 47140 h 2027849"/>
              <a:gd name="connsiteX282" fmla="*/ 640217 w 1994354"/>
              <a:gd name="connsiteY282" fmla="*/ 65407 h 2027849"/>
              <a:gd name="connsiteX283" fmla="*/ 624000 w 1994354"/>
              <a:gd name="connsiteY283" fmla="*/ 71301 h 2027849"/>
              <a:gd name="connsiteX284" fmla="*/ 185692 w 1994354"/>
              <a:gd name="connsiteY284" fmla="*/ 1017909 h 2027849"/>
              <a:gd name="connsiteX285" fmla="*/ 171909 w 1994354"/>
              <a:gd name="connsiteY285" fmla="*/ 1005984 h 2027849"/>
              <a:gd name="connsiteX286" fmla="*/ 170332 w 1994354"/>
              <a:gd name="connsiteY286" fmla="*/ 1000242 h 2027849"/>
              <a:gd name="connsiteX287" fmla="*/ 171532 w 1994354"/>
              <a:gd name="connsiteY287" fmla="*/ 996329 h 2027849"/>
              <a:gd name="connsiteX288" fmla="*/ 176160 w 1994354"/>
              <a:gd name="connsiteY288" fmla="*/ 992647 h 2027849"/>
              <a:gd name="connsiteX289" fmla="*/ 194332 w 1994354"/>
              <a:gd name="connsiteY289" fmla="*/ 990802 h 2027849"/>
              <a:gd name="connsiteX290" fmla="*/ 200674 w 1994354"/>
              <a:gd name="connsiteY290" fmla="*/ 1007421 h 2027849"/>
              <a:gd name="connsiteX291" fmla="*/ 185692 w 1994354"/>
              <a:gd name="connsiteY291" fmla="*/ 1017909 h 2027849"/>
              <a:gd name="connsiteX292" fmla="*/ 408720 w 1994354"/>
              <a:gd name="connsiteY292" fmla="*/ 300134 h 2027849"/>
              <a:gd name="connsiteX293" fmla="*/ 394663 w 1994354"/>
              <a:gd name="connsiteY293" fmla="*/ 288443 h 2027849"/>
              <a:gd name="connsiteX294" fmla="*/ 392880 w 1994354"/>
              <a:gd name="connsiteY294" fmla="*/ 282895 h 2027849"/>
              <a:gd name="connsiteX295" fmla="*/ 394080 w 1994354"/>
              <a:gd name="connsiteY295" fmla="*/ 278983 h 2027849"/>
              <a:gd name="connsiteX296" fmla="*/ 398606 w 1994354"/>
              <a:gd name="connsiteY296" fmla="*/ 275009 h 2027849"/>
              <a:gd name="connsiteX297" fmla="*/ 416674 w 1994354"/>
              <a:gd name="connsiteY297" fmla="*/ 272805 h 2027849"/>
              <a:gd name="connsiteX298" fmla="*/ 423291 w 1994354"/>
              <a:gd name="connsiteY298" fmla="*/ 289852 h 2027849"/>
              <a:gd name="connsiteX299" fmla="*/ 408720 w 1994354"/>
              <a:gd name="connsiteY299" fmla="*/ 300134 h 2027849"/>
              <a:gd name="connsiteX300" fmla="*/ 451029 w 1994354"/>
              <a:gd name="connsiteY300" fmla="*/ 164973 h 2027849"/>
              <a:gd name="connsiteX301" fmla="*/ 436526 w 1994354"/>
              <a:gd name="connsiteY301" fmla="*/ 153000 h 2027849"/>
              <a:gd name="connsiteX302" fmla="*/ 434949 w 1994354"/>
              <a:gd name="connsiteY302" fmla="*/ 147251 h 2027849"/>
              <a:gd name="connsiteX303" fmla="*/ 436183 w 1994354"/>
              <a:gd name="connsiteY303" fmla="*/ 143339 h 2027849"/>
              <a:gd name="connsiteX304" fmla="*/ 440743 w 1994354"/>
              <a:gd name="connsiteY304" fmla="*/ 139656 h 2027849"/>
              <a:gd name="connsiteX305" fmla="*/ 458949 w 1994354"/>
              <a:gd name="connsiteY305" fmla="*/ 137784 h 2027849"/>
              <a:gd name="connsiteX306" fmla="*/ 463680 w 1994354"/>
              <a:gd name="connsiteY306" fmla="*/ 158030 h 2027849"/>
              <a:gd name="connsiteX307" fmla="*/ 451029 w 1994354"/>
              <a:gd name="connsiteY307" fmla="*/ 164973 h 2027849"/>
              <a:gd name="connsiteX308" fmla="*/ 491280 w 1994354"/>
              <a:gd name="connsiteY308" fmla="*/ 29863 h 2027849"/>
              <a:gd name="connsiteX309" fmla="*/ 478697 w 1994354"/>
              <a:gd name="connsiteY309" fmla="*/ 18868 h 2027849"/>
              <a:gd name="connsiteX310" fmla="*/ 477017 w 1994354"/>
              <a:gd name="connsiteY310" fmla="*/ 11606 h 2027849"/>
              <a:gd name="connsiteX311" fmla="*/ 477840 w 1994354"/>
              <a:gd name="connsiteY311" fmla="*/ 8997 h 2027849"/>
              <a:gd name="connsiteX312" fmla="*/ 494949 w 1994354"/>
              <a:gd name="connsiteY312" fmla="*/ 4 h 2027849"/>
              <a:gd name="connsiteX313" fmla="*/ 500160 w 1994354"/>
              <a:gd name="connsiteY313" fmla="*/ 1622 h 2027849"/>
              <a:gd name="connsiteX314" fmla="*/ 503931 w 1994354"/>
              <a:gd name="connsiteY314" fmla="*/ 5421 h 2027849"/>
              <a:gd name="connsiteX315" fmla="*/ 506366 w 1994354"/>
              <a:gd name="connsiteY315" fmla="*/ 21353 h 2027849"/>
              <a:gd name="connsiteX316" fmla="*/ 491280 w 1994354"/>
              <a:gd name="connsiteY316" fmla="*/ 29863 h 2027849"/>
              <a:gd name="connsiteX317" fmla="*/ 372720 w 1994354"/>
              <a:gd name="connsiteY317" fmla="*/ 416133 h 2027849"/>
              <a:gd name="connsiteX318" fmla="*/ 377314 w 1994354"/>
              <a:gd name="connsiteY318" fmla="*/ 436337 h 2027849"/>
              <a:gd name="connsiteX319" fmla="*/ 363737 w 1994354"/>
              <a:gd name="connsiteY319" fmla="*/ 443133 h 2027849"/>
              <a:gd name="connsiteX320" fmla="*/ 350297 w 1994354"/>
              <a:gd name="connsiteY320" fmla="*/ 431609 h 2027849"/>
              <a:gd name="connsiteX321" fmla="*/ 348754 w 1994354"/>
              <a:gd name="connsiteY321" fmla="*/ 425061 h 2027849"/>
              <a:gd name="connsiteX322" fmla="*/ 349577 w 1994354"/>
              <a:gd name="connsiteY322" fmla="*/ 422452 h 2027849"/>
              <a:gd name="connsiteX323" fmla="*/ 354514 w 1994354"/>
              <a:gd name="connsiteY323" fmla="*/ 417844 h 2027849"/>
              <a:gd name="connsiteX324" fmla="*/ 372720 w 1994354"/>
              <a:gd name="connsiteY324" fmla="*/ 416133 h 2027849"/>
              <a:gd name="connsiteX325" fmla="*/ 330617 w 1994354"/>
              <a:gd name="connsiteY325" fmla="*/ 551150 h 2027849"/>
              <a:gd name="connsiteX326" fmla="*/ 335177 w 1994354"/>
              <a:gd name="connsiteY326" fmla="*/ 571461 h 2027849"/>
              <a:gd name="connsiteX327" fmla="*/ 314880 w 1994354"/>
              <a:gd name="connsiteY327" fmla="*/ 576034 h 2027849"/>
              <a:gd name="connsiteX328" fmla="*/ 308297 w 1994354"/>
              <a:gd name="connsiteY328" fmla="*/ 566410 h 2027849"/>
              <a:gd name="connsiteX329" fmla="*/ 306686 w 1994354"/>
              <a:gd name="connsiteY329" fmla="*/ 560702 h 2027849"/>
              <a:gd name="connsiteX330" fmla="*/ 307886 w 1994354"/>
              <a:gd name="connsiteY330" fmla="*/ 556790 h 2027849"/>
              <a:gd name="connsiteX331" fmla="*/ 312480 w 1994354"/>
              <a:gd name="connsiteY331" fmla="*/ 553046 h 2027849"/>
              <a:gd name="connsiteX332" fmla="*/ 330617 w 1994354"/>
              <a:gd name="connsiteY332" fmla="*/ 551150 h 2027849"/>
              <a:gd name="connsiteX333" fmla="*/ 288411 w 1994354"/>
              <a:gd name="connsiteY333" fmla="*/ 686054 h 2027849"/>
              <a:gd name="connsiteX334" fmla="*/ 293760 w 1994354"/>
              <a:gd name="connsiteY334" fmla="*/ 706097 h 2027849"/>
              <a:gd name="connsiteX335" fmla="*/ 280594 w 1994354"/>
              <a:gd name="connsiteY335" fmla="*/ 713407 h 2027849"/>
              <a:gd name="connsiteX336" fmla="*/ 266468 w 1994354"/>
              <a:gd name="connsiteY336" fmla="*/ 701850 h 2027849"/>
              <a:gd name="connsiteX337" fmla="*/ 264617 w 1994354"/>
              <a:gd name="connsiteY337" fmla="*/ 696347 h 2027849"/>
              <a:gd name="connsiteX338" fmla="*/ 265817 w 1994354"/>
              <a:gd name="connsiteY338" fmla="*/ 692435 h 2027849"/>
              <a:gd name="connsiteX339" fmla="*/ 270308 w 1994354"/>
              <a:gd name="connsiteY339" fmla="*/ 688416 h 2027849"/>
              <a:gd name="connsiteX340" fmla="*/ 288411 w 1994354"/>
              <a:gd name="connsiteY340" fmla="*/ 686054 h 2027849"/>
              <a:gd name="connsiteX341" fmla="*/ 236366 w 1994354"/>
              <a:gd name="connsiteY341" fmla="*/ 855868 h 2027849"/>
              <a:gd name="connsiteX342" fmla="*/ 240891 w 1994354"/>
              <a:gd name="connsiteY342" fmla="*/ 876072 h 2027849"/>
              <a:gd name="connsiteX343" fmla="*/ 227966 w 1994354"/>
              <a:gd name="connsiteY343" fmla="*/ 882857 h 2027849"/>
              <a:gd name="connsiteX344" fmla="*/ 213909 w 1994354"/>
              <a:gd name="connsiteY344" fmla="*/ 871200 h 2027849"/>
              <a:gd name="connsiteX345" fmla="*/ 212400 w 1994354"/>
              <a:gd name="connsiteY345" fmla="*/ 864614 h 2027849"/>
              <a:gd name="connsiteX346" fmla="*/ 213223 w 1994354"/>
              <a:gd name="connsiteY346" fmla="*/ 862005 h 2027849"/>
              <a:gd name="connsiteX347" fmla="*/ 218194 w 1994354"/>
              <a:gd name="connsiteY347" fmla="*/ 857448 h 2027849"/>
              <a:gd name="connsiteX348" fmla="*/ 236366 w 1994354"/>
              <a:gd name="connsiteY348" fmla="*/ 855868 h 2027849"/>
              <a:gd name="connsiteX349" fmla="*/ 152057 w 1994354"/>
              <a:gd name="connsiteY349" fmla="*/ 1125789 h 2027849"/>
              <a:gd name="connsiteX350" fmla="*/ 158640 w 1994354"/>
              <a:gd name="connsiteY350" fmla="*/ 1142843 h 2027849"/>
              <a:gd name="connsiteX351" fmla="*/ 144137 w 1994354"/>
              <a:gd name="connsiteY351" fmla="*/ 1153097 h 2027849"/>
              <a:gd name="connsiteX352" fmla="*/ 130046 w 1994354"/>
              <a:gd name="connsiteY352" fmla="*/ 1141440 h 2027849"/>
              <a:gd name="connsiteX353" fmla="*/ 128263 w 1994354"/>
              <a:gd name="connsiteY353" fmla="*/ 1135886 h 2027849"/>
              <a:gd name="connsiteX354" fmla="*/ 129463 w 1994354"/>
              <a:gd name="connsiteY354" fmla="*/ 1131974 h 2027849"/>
              <a:gd name="connsiteX355" fmla="*/ 133955 w 1994354"/>
              <a:gd name="connsiteY355" fmla="*/ 1128000 h 2027849"/>
              <a:gd name="connsiteX356" fmla="*/ 152057 w 1994354"/>
              <a:gd name="connsiteY356" fmla="*/ 1125789 h 2027849"/>
              <a:gd name="connsiteX357" fmla="*/ 107520 w 1994354"/>
              <a:gd name="connsiteY357" fmla="*/ 1268709 h 2027849"/>
              <a:gd name="connsiteX358" fmla="*/ 114308 w 1994354"/>
              <a:gd name="connsiteY358" fmla="*/ 1285817 h 2027849"/>
              <a:gd name="connsiteX359" fmla="*/ 99120 w 1994354"/>
              <a:gd name="connsiteY359" fmla="*/ 1296103 h 2027849"/>
              <a:gd name="connsiteX360" fmla="*/ 85680 w 1994354"/>
              <a:gd name="connsiteY360" fmla="*/ 1284604 h 2027849"/>
              <a:gd name="connsiteX361" fmla="*/ 84137 w 1994354"/>
              <a:gd name="connsiteY361" fmla="*/ 1278045 h 2027849"/>
              <a:gd name="connsiteX362" fmla="*/ 84960 w 1994354"/>
              <a:gd name="connsiteY362" fmla="*/ 1275439 h 2027849"/>
              <a:gd name="connsiteX363" fmla="*/ 89897 w 1994354"/>
              <a:gd name="connsiteY363" fmla="*/ 1270831 h 2027849"/>
              <a:gd name="connsiteX364" fmla="*/ 107520 w 1994354"/>
              <a:gd name="connsiteY364" fmla="*/ 1268709 h 2027849"/>
              <a:gd name="connsiteX365" fmla="*/ 66034 w 1994354"/>
              <a:gd name="connsiteY365" fmla="*/ 1404138 h 2027849"/>
              <a:gd name="connsiteX366" fmla="*/ 70800 w 1994354"/>
              <a:gd name="connsiteY366" fmla="*/ 1424383 h 2027849"/>
              <a:gd name="connsiteX367" fmla="*/ 58251 w 1994354"/>
              <a:gd name="connsiteY367" fmla="*/ 1431357 h 2027849"/>
              <a:gd name="connsiteX368" fmla="*/ 43680 w 1994354"/>
              <a:gd name="connsiteY368" fmla="*/ 1419419 h 2027849"/>
              <a:gd name="connsiteX369" fmla="*/ 42069 w 1994354"/>
              <a:gd name="connsiteY369" fmla="*/ 1413710 h 2027849"/>
              <a:gd name="connsiteX370" fmla="*/ 43269 w 1994354"/>
              <a:gd name="connsiteY370" fmla="*/ 1409798 h 2027849"/>
              <a:gd name="connsiteX371" fmla="*/ 47863 w 1994354"/>
              <a:gd name="connsiteY371" fmla="*/ 1406047 h 2027849"/>
              <a:gd name="connsiteX372" fmla="*/ 66034 w 1994354"/>
              <a:gd name="connsiteY372" fmla="*/ 1404120 h 2027849"/>
              <a:gd name="connsiteX373" fmla="*/ 24343 w 1994354"/>
              <a:gd name="connsiteY373" fmla="*/ 1539477 h 2027849"/>
              <a:gd name="connsiteX374" fmla="*/ 30206 w 1994354"/>
              <a:gd name="connsiteY374" fmla="*/ 1556812 h 2027849"/>
              <a:gd name="connsiteX375" fmla="*/ 13166 w 1994354"/>
              <a:gd name="connsiteY375" fmla="*/ 1566278 h 2027849"/>
              <a:gd name="connsiteX376" fmla="*/ 1852 w 1994354"/>
              <a:gd name="connsiteY376" fmla="*/ 1554857 h 2027849"/>
              <a:gd name="connsiteX377" fmla="*/ 0 w 1994354"/>
              <a:gd name="connsiteY377" fmla="*/ 1549355 h 2027849"/>
              <a:gd name="connsiteX378" fmla="*/ 1200 w 1994354"/>
              <a:gd name="connsiteY378" fmla="*/ 1545443 h 2027849"/>
              <a:gd name="connsiteX379" fmla="*/ 5692 w 1994354"/>
              <a:gd name="connsiteY379" fmla="*/ 1541421 h 2027849"/>
              <a:gd name="connsiteX380" fmla="*/ 24343 w 1994354"/>
              <a:gd name="connsiteY380" fmla="*/ 1539460 h 2027849"/>
              <a:gd name="connsiteX381" fmla="*/ 155897 w 1994354"/>
              <a:gd name="connsiteY381" fmla="*/ 1579526 h 2027849"/>
              <a:gd name="connsiteX382" fmla="*/ 165189 w 1994354"/>
              <a:gd name="connsiteY382" fmla="*/ 1598414 h 2027849"/>
              <a:gd name="connsiteX383" fmla="*/ 146880 w 1994354"/>
              <a:gd name="connsiteY383" fmla="*/ 1607880 h 2027849"/>
              <a:gd name="connsiteX384" fmla="*/ 137451 w 1994354"/>
              <a:gd name="connsiteY384" fmla="*/ 1589219 h 2027849"/>
              <a:gd name="connsiteX385" fmla="*/ 155897 w 1994354"/>
              <a:gd name="connsiteY385" fmla="*/ 1579509 h 2027849"/>
              <a:gd name="connsiteX386" fmla="*/ 317314 w 1994354"/>
              <a:gd name="connsiteY386" fmla="*/ 1059326 h 2027849"/>
              <a:gd name="connsiteX387" fmla="*/ 307509 w 1994354"/>
              <a:gd name="connsiteY387" fmla="*/ 1041021 h 2027849"/>
              <a:gd name="connsiteX388" fmla="*/ 307509 w 1994354"/>
              <a:gd name="connsiteY388" fmla="*/ 1041017 h 2027849"/>
              <a:gd name="connsiteX389" fmla="*/ 325749 w 1994354"/>
              <a:gd name="connsiteY389" fmla="*/ 1031325 h 2027849"/>
              <a:gd name="connsiteX390" fmla="*/ 335451 w 1994354"/>
              <a:gd name="connsiteY390" fmla="*/ 1049582 h 2027849"/>
              <a:gd name="connsiteX391" fmla="*/ 317314 w 1994354"/>
              <a:gd name="connsiteY391" fmla="*/ 1059309 h 2027849"/>
              <a:gd name="connsiteX392" fmla="*/ 590606 w 1994354"/>
              <a:gd name="connsiteY392" fmla="*/ 178252 h 2027849"/>
              <a:gd name="connsiteX393" fmla="*/ 600206 w 1994354"/>
              <a:gd name="connsiteY393" fmla="*/ 196214 h 2027849"/>
              <a:gd name="connsiteX394" fmla="*/ 600069 w 1994354"/>
              <a:gd name="connsiteY394" fmla="*/ 196629 h 2027849"/>
              <a:gd name="connsiteX395" fmla="*/ 581726 w 1994354"/>
              <a:gd name="connsiteY395" fmla="*/ 206112 h 2027849"/>
              <a:gd name="connsiteX396" fmla="*/ 572229 w 1994354"/>
              <a:gd name="connsiteY396" fmla="*/ 187756 h 2027849"/>
              <a:gd name="connsiteX397" fmla="*/ 590229 w 1994354"/>
              <a:gd name="connsiteY397" fmla="*/ 178097 h 2027849"/>
              <a:gd name="connsiteX398" fmla="*/ 590606 w 1994354"/>
              <a:gd name="connsiteY398" fmla="*/ 178221 h 2027849"/>
              <a:gd name="connsiteX399" fmla="*/ 513737 w 1994354"/>
              <a:gd name="connsiteY399" fmla="*/ 474857 h 2027849"/>
              <a:gd name="connsiteX400" fmla="*/ 495291 w 1994354"/>
              <a:gd name="connsiteY400" fmla="*/ 484159 h 2027849"/>
              <a:gd name="connsiteX401" fmla="*/ 486000 w 1994354"/>
              <a:gd name="connsiteY401" fmla="*/ 465710 h 2027849"/>
              <a:gd name="connsiteX402" fmla="*/ 504308 w 1994354"/>
              <a:gd name="connsiteY402" fmla="*/ 456367 h 2027849"/>
              <a:gd name="connsiteX403" fmla="*/ 513737 w 1994354"/>
              <a:gd name="connsiteY403" fmla="*/ 474840 h 2027849"/>
              <a:gd name="connsiteX404" fmla="*/ 548503 w 1994354"/>
              <a:gd name="connsiteY404" fmla="*/ 313115 h 2027849"/>
              <a:gd name="connsiteX405" fmla="*/ 558583 w 1994354"/>
              <a:gd name="connsiteY405" fmla="*/ 331416 h 2027849"/>
              <a:gd name="connsiteX406" fmla="*/ 540275 w 1994354"/>
              <a:gd name="connsiteY406" fmla="*/ 341493 h 2027849"/>
              <a:gd name="connsiteX407" fmla="*/ 530194 w 1994354"/>
              <a:gd name="connsiteY407" fmla="*/ 323191 h 2027849"/>
              <a:gd name="connsiteX408" fmla="*/ 530229 w 1994354"/>
              <a:gd name="connsiteY408" fmla="*/ 323095 h 2027849"/>
              <a:gd name="connsiteX409" fmla="*/ 548434 w 1994354"/>
              <a:gd name="connsiteY409" fmla="*/ 313080 h 2027849"/>
              <a:gd name="connsiteX410" fmla="*/ 548503 w 1994354"/>
              <a:gd name="connsiteY410" fmla="*/ 313097 h 2027849"/>
              <a:gd name="connsiteX411" fmla="*/ 462069 w 1994354"/>
              <a:gd name="connsiteY411" fmla="*/ 591473 h 2027849"/>
              <a:gd name="connsiteX412" fmla="*/ 472012 w 1994354"/>
              <a:gd name="connsiteY412" fmla="*/ 609641 h 2027849"/>
              <a:gd name="connsiteX413" fmla="*/ 453840 w 1994354"/>
              <a:gd name="connsiteY413" fmla="*/ 619570 h 2027849"/>
              <a:gd name="connsiteX414" fmla="*/ 443897 w 1994354"/>
              <a:gd name="connsiteY414" fmla="*/ 601416 h 2027849"/>
              <a:gd name="connsiteX415" fmla="*/ 461589 w 1994354"/>
              <a:gd name="connsiteY415" fmla="*/ 591312 h 2027849"/>
              <a:gd name="connsiteX416" fmla="*/ 462069 w 1994354"/>
              <a:gd name="connsiteY416" fmla="*/ 591456 h 2027849"/>
              <a:gd name="connsiteX417" fmla="*/ 402034 w 1994354"/>
              <a:gd name="connsiteY417" fmla="*/ 736368 h 2027849"/>
              <a:gd name="connsiteX418" fmla="*/ 420172 w 1994354"/>
              <a:gd name="connsiteY418" fmla="*/ 726487 h 2027849"/>
              <a:gd name="connsiteX419" fmla="*/ 430046 w 1994354"/>
              <a:gd name="connsiteY419" fmla="*/ 744631 h 2027849"/>
              <a:gd name="connsiteX420" fmla="*/ 429977 w 1994354"/>
              <a:gd name="connsiteY420" fmla="*/ 744902 h 2027849"/>
              <a:gd name="connsiteX421" fmla="*/ 411737 w 1994354"/>
              <a:gd name="connsiteY421" fmla="*/ 754598 h 2027849"/>
              <a:gd name="connsiteX422" fmla="*/ 402034 w 1994354"/>
              <a:gd name="connsiteY422" fmla="*/ 736351 h 2027849"/>
              <a:gd name="connsiteX423" fmla="*/ 359349 w 1994354"/>
              <a:gd name="connsiteY423" fmla="*/ 924271 h 2027849"/>
              <a:gd name="connsiteX424" fmla="*/ 349063 w 1994354"/>
              <a:gd name="connsiteY424" fmla="*/ 906093 h 2027849"/>
              <a:gd name="connsiteX425" fmla="*/ 367234 w 1994354"/>
              <a:gd name="connsiteY425" fmla="*/ 895804 h 2027849"/>
              <a:gd name="connsiteX426" fmla="*/ 377520 w 1994354"/>
              <a:gd name="connsiteY426" fmla="*/ 913982 h 2027849"/>
              <a:gd name="connsiteX427" fmla="*/ 377486 w 1994354"/>
              <a:gd name="connsiteY427" fmla="*/ 914129 h 2027849"/>
              <a:gd name="connsiteX428" fmla="*/ 359417 w 1994354"/>
              <a:gd name="connsiteY428" fmla="*/ 924271 h 2027849"/>
              <a:gd name="connsiteX429" fmla="*/ 359349 w 1994354"/>
              <a:gd name="connsiteY429" fmla="*/ 924254 h 2027849"/>
              <a:gd name="connsiteX430" fmla="*/ 283749 w 1994354"/>
              <a:gd name="connsiteY430" fmla="*/ 1166095 h 2027849"/>
              <a:gd name="connsiteX431" fmla="*/ 293931 w 1994354"/>
              <a:gd name="connsiteY431" fmla="*/ 1184284 h 2027849"/>
              <a:gd name="connsiteX432" fmla="*/ 275760 w 1994354"/>
              <a:gd name="connsiteY432" fmla="*/ 1194477 h 2027849"/>
              <a:gd name="connsiteX433" fmla="*/ 265543 w 1994354"/>
              <a:gd name="connsiteY433" fmla="*/ 1176285 h 2027849"/>
              <a:gd name="connsiteX434" fmla="*/ 265577 w 1994354"/>
              <a:gd name="connsiteY434" fmla="*/ 1176223 h 2027849"/>
              <a:gd name="connsiteX435" fmla="*/ 283611 w 1994354"/>
              <a:gd name="connsiteY435" fmla="*/ 1166040 h 2027849"/>
              <a:gd name="connsiteX436" fmla="*/ 283749 w 1994354"/>
              <a:gd name="connsiteY436" fmla="*/ 1166078 h 2027849"/>
              <a:gd name="connsiteX437" fmla="*/ 198069 w 1994354"/>
              <a:gd name="connsiteY437" fmla="*/ 1444732 h 2027849"/>
              <a:gd name="connsiteX438" fmla="*/ 207051 w 1994354"/>
              <a:gd name="connsiteY438" fmla="*/ 1463304 h 2027849"/>
              <a:gd name="connsiteX439" fmla="*/ 188468 w 1994354"/>
              <a:gd name="connsiteY439" fmla="*/ 1472280 h 2027849"/>
              <a:gd name="connsiteX440" fmla="*/ 179486 w 1994354"/>
              <a:gd name="connsiteY440" fmla="*/ 1453742 h 2027849"/>
              <a:gd name="connsiteX441" fmla="*/ 197417 w 1994354"/>
              <a:gd name="connsiteY441" fmla="*/ 1444492 h 2027849"/>
              <a:gd name="connsiteX442" fmla="*/ 198069 w 1994354"/>
              <a:gd name="connsiteY442" fmla="*/ 1444715 h 2027849"/>
              <a:gd name="connsiteX443" fmla="*/ 240069 w 1994354"/>
              <a:gd name="connsiteY443" fmla="*/ 1309433 h 2027849"/>
              <a:gd name="connsiteX444" fmla="*/ 249463 w 1994354"/>
              <a:gd name="connsiteY444" fmla="*/ 1328157 h 2027849"/>
              <a:gd name="connsiteX445" fmla="*/ 230743 w 1994354"/>
              <a:gd name="connsiteY445" fmla="*/ 1337558 h 2027849"/>
              <a:gd name="connsiteX446" fmla="*/ 221349 w 1994354"/>
              <a:gd name="connsiteY446" fmla="*/ 1318835 h 2027849"/>
              <a:gd name="connsiteX447" fmla="*/ 221417 w 1994354"/>
              <a:gd name="connsiteY447" fmla="*/ 1318622 h 2027849"/>
              <a:gd name="connsiteX448" fmla="*/ 240000 w 1994354"/>
              <a:gd name="connsiteY448" fmla="*/ 1309396 h 2027849"/>
              <a:gd name="connsiteX449" fmla="*/ 240069 w 1994354"/>
              <a:gd name="connsiteY449" fmla="*/ 1309416 h 2027849"/>
              <a:gd name="connsiteX450" fmla="*/ 291189 w 1994354"/>
              <a:gd name="connsiteY450" fmla="*/ 1621512 h 2027849"/>
              <a:gd name="connsiteX451" fmla="*/ 300583 w 1994354"/>
              <a:gd name="connsiteY451" fmla="*/ 1640191 h 2027849"/>
              <a:gd name="connsiteX452" fmla="*/ 282206 w 1994354"/>
              <a:gd name="connsiteY452" fmla="*/ 1650004 h 2027849"/>
              <a:gd name="connsiteX453" fmla="*/ 272400 w 1994354"/>
              <a:gd name="connsiteY453" fmla="*/ 1631633 h 2027849"/>
              <a:gd name="connsiteX454" fmla="*/ 272606 w 1994354"/>
              <a:gd name="connsiteY454" fmla="*/ 1631013 h 2027849"/>
              <a:gd name="connsiteX455" fmla="*/ 291189 w 1994354"/>
              <a:gd name="connsiteY455" fmla="*/ 1621495 h 2027849"/>
              <a:gd name="connsiteX456" fmla="*/ 366103 w 1994354"/>
              <a:gd name="connsiteY456" fmla="*/ 1379541 h 2027849"/>
              <a:gd name="connsiteX457" fmla="*/ 356126 w 1994354"/>
              <a:gd name="connsiteY457" fmla="*/ 1361112 h 2027849"/>
              <a:gd name="connsiteX458" fmla="*/ 374571 w 1994354"/>
              <a:gd name="connsiteY458" fmla="*/ 1351152 h 2027849"/>
              <a:gd name="connsiteX459" fmla="*/ 384514 w 1994354"/>
              <a:gd name="connsiteY459" fmla="*/ 1369581 h 2027849"/>
              <a:gd name="connsiteX460" fmla="*/ 384514 w 1994354"/>
              <a:gd name="connsiteY460" fmla="*/ 1369632 h 2027849"/>
              <a:gd name="connsiteX461" fmla="*/ 366103 w 1994354"/>
              <a:gd name="connsiteY461" fmla="*/ 1379524 h 2027849"/>
              <a:gd name="connsiteX462" fmla="*/ 410366 w 1994354"/>
              <a:gd name="connsiteY462" fmla="*/ 1236247 h 2027849"/>
              <a:gd name="connsiteX463" fmla="*/ 400766 w 1994354"/>
              <a:gd name="connsiteY463" fmla="*/ 1217733 h 2027849"/>
              <a:gd name="connsiteX464" fmla="*/ 419280 w 1994354"/>
              <a:gd name="connsiteY464" fmla="*/ 1208133 h 2027849"/>
              <a:gd name="connsiteX465" fmla="*/ 428846 w 1994354"/>
              <a:gd name="connsiteY465" fmla="*/ 1226695 h 2027849"/>
              <a:gd name="connsiteX466" fmla="*/ 410366 w 1994354"/>
              <a:gd name="connsiteY466" fmla="*/ 1236230 h 2027849"/>
              <a:gd name="connsiteX467" fmla="*/ 546720 w 1994354"/>
              <a:gd name="connsiteY467" fmla="*/ 796615 h 2027849"/>
              <a:gd name="connsiteX468" fmla="*/ 537154 w 1994354"/>
              <a:gd name="connsiteY468" fmla="*/ 778067 h 2027849"/>
              <a:gd name="connsiteX469" fmla="*/ 555703 w 1994354"/>
              <a:gd name="connsiteY469" fmla="*/ 768501 h 2027849"/>
              <a:gd name="connsiteX470" fmla="*/ 565269 w 1994354"/>
              <a:gd name="connsiteY470" fmla="*/ 787039 h 2027849"/>
              <a:gd name="connsiteX471" fmla="*/ 546720 w 1994354"/>
              <a:gd name="connsiteY471" fmla="*/ 796598 h 2027849"/>
              <a:gd name="connsiteX472" fmla="*/ 597703 w 1994354"/>
              <a:gd name="connsiteY472" fmla="*/ 633552 h 2027849"/>
              <a:gd name="connsiteX473" fmla="*/ 607029 w 1994354"/>
              <a:gd name="connsiteY473" fmla="*/ 652032 h 2027849"/>
              <a:gd name="connsiteX474" fmla="*/ 588549 w 1994354"/>
              <a:gd name="connsiteY474" fmla="*/ 661358 h 2027849"/>
              <a:gd name="connsiteX475" fmla="*/ 579223 w 1994354"/>
              <a:gd name="connsiteY475" fmla="*/ 642868 h 2027849"/>
              <a:gd name="connsiteX476" fmla="*/ 597703 w 1994354"/>
              <a:gd name="connsiteY476" fmla="*/ 633535 h 2027849"/>
              <a:gd name="connsiteX477" fmla="*/ 494023 w 1994354"/>
              <a:gd name="connsiteY477" fmla="*/ 966048 h 2027849"/>
              <a:gd name="connsiteX478" fmla="*/ 484560 w 1994354"/>
              <a:gd name="connsiteY478" fmla="*/ 947421 h 2027849"/>
              <a:gd name="connsiteX479" fmla="*/ 503177 w 1994354"/>
              <a:gd name="connsiteY479" fmla="*/ 937968 h 2027849"/>
              <a:gd name="connsiteX480" fmla="*/ 512640 w 1994354"/>
              <a:gd name="connsiteY480" fmla="*/ 956592 h 2027849"/>
              <a:gd name="connsiteX481" fmla="*/ 512640 w 1994354"/>
              <a:gd name="connsiteY481" fmla="*/ 956620 h 2027849"/>
              <a:gd name="connsiteX482" fmla="*/ 494023 w 1994354"/>
              <a:gd name="connsiteY482" fmla="*/ 966031 h 2027849"/>
              <a:gd name="connsiteX483" fmla="*/ 452537 w 1994354"/>
              <a:gd name="connsiteY483" fmla="*/ 1101254 h 2027849"/>
              <a:gd name="connsiteX484" fmla="*/ 442629 w 1994354"/>
              <a:gd name="connsiteY484" fmla="*/ 1082939 h 2027849"/>
              <a:gd name="connsiteX485" fmla="*/ 461040 w 1994354"/>
              <a:gd name="connsiteY485" fmla="*/ 1073219 h 2027849"/>
              <a:gd name="connsiteX486" fmla="*/ 470846 w 1994354"/>
              <a:gd name="connsiteY486" fmla="*/ 1091321 h 2027849"/>
              <a:gd name="connsiteX487" fmla="*/ 452537 w 1994354"/>
              <a:gd name="connsiteY487" fmla="*/ 1101237 h 2027849"/>
              <a:gd name="connsiteX488" fmla="*/ 665349 w 1994354"/>
              <a:gd name="connsiteY488" fmla="*/ 365030 h 2027849"/>
              <a:gd name="connsiteX489" fmla="*/ 683657 w 1994354"/>
              <a:gd name="connsiteY489" fmla="*/ 355056 h 2027849"/>
              <a:gd name="connsiteX490" fmla="*/ 693463 w 1994354"/>
              <a:gd name="connsiteY490" fmla="*/ 373502 h 2027849"/>
              <a:gd name="connsiteX491" fmla="*/ 675223 w 1994354"/>
              <a:gd name="connsiteY491" fmla="*/ 383359 h 2027849"/>
              <a:gd name="connsiteX492" fmla="*/ 665349 w 1994354"/>
              <a:gd name="connsiteY492" fmla="*/ 365051 h 2027849"/>
              <a:gd name="connsiteX493" fmla="*/ 665349 w 1994354"/>
              <a:gd name="connsiteY493" fmla="*/ 365013 h 2027849"/>
              <a:gd name="connsiteX494" fmla="*/ 630617 w 1994354"/>
              <a:gd name="connsiteY494" fmla="*/ 526495 h 2027849"/>
              <a:gd name="connsiteX495" fmla="*/ 620846 w 1994354"/>
              <a:gd name="connsiteY495" fmla="*/ 508008 h 2027849"/>
              <a:gd name="connsiteX496" fmla="*/ 639360 w 1994354"/>
              <a:gd name="connsiteY496" fmla="*/ 498254 h 2027849"/>
              <a:gd name="connsiteX497" fmla="*/ 649097 w 1994354"/>
              <a:gd name="connsiteY497" fmla="*/ 516741 h 2027849"/>
              <a:gd name="connsiteX498" fmla="*/ 649097 w 1994354"/>
              <a:gd name="connsiteY498" fmla="*/ 516761 h 2027849"/>
              <a:gd name="connsiteX499" fmla="*/ 630617 w 1994354"/>
              <a:gd name="connsiteY499" fmla="*/ 526478 h 2027849"/>
              <a:gd name="connsiteX500" fmla="*/ 468137 w 1994354"/>
              <a:gd name="connsiteY500" fmla="*/ 1528505 h 2027849"/>
              <a:gd name="connsiteX501" fmla="*/ 477291 w 1994354"/>
              <a:gd name="connsiteY501" fmla="*/ 1546992 h 2027849"/>
              <a:gd name="connsiteX502" fmla="*/ 458812 w 1994354"/>
              <a:gd name="connsiteY502" fmla="*/ 1556150 h 2027849"/>
              <a:gd name="connsiteX503" fmla="*/ 449589 w 1994354"/>
              <a:gd name="connsiteY503" fmla="*/ 1537852 h 2027849"/>
              <a:gd name="connsiteX504" fmla="*/ 468103 w 1994354"/>
              <a:gd name="connsiteY504" fmla="*/ 1528471 h 2027849"/>
              <a:gd name="connsiteX505" fmla="*/ 468137 w 1994354"/>
              <a:gd name="connsiteY505" fmla="*/ 1528488 h 2027849"/>
              <a:gd name="connsiteX506" fmla="*/ 425829 w 1994354"/>
              <a:gd name="connsiteY506" fmla="*/ 1663283 h 2027849"/>
              <a:gd name="connsiteX507" fmla="*/ 435943 w 1994354"/>
              <a:gd name="connsiteY507" fmla="*/ 1681643 h 2027849"/>
              <a:gd name="connsiteX508" fmla="*/ 417532 w 1994354"/>
              <a:gd name="connsiteY508" fmla="*/ 1691904 h 2027849"/>
              <a:gd name="connsiteX509" fmla="*/ 407554 w 1994354"/>
              <a:gd name="connsiteY509" fmla="*/ 1673411 h 2027849"/>
              <a:gd name="connsiteX510" fmla="*/ 425829 w 1994354"/>
              <a:gd name="connsiteY510" fmla="*/ 1663265 h 2027849"/>
              <a:gd name="connsiteX511" fmla="*/ 587726 w 1994354"/>
              <a:gd name="connsiteY511" fmla="*/ 1143192 h 2027849"/>
              <a:gd name="connsiteX512" fmla="*/ 577714 w 1994354"/>
              <a:gd name="connsiteY512" fmla="*/ 1124901 h 2027849"/>
              <a:gd name="connsiteX513" fmla="*/ 595920 w 1994354"/>
              <a:gd name="connsiteY513" fmla="*/ 1114965 h 2027849"/>
              <a:gd name="connsiteX514" fmla="*/ 595989 w 1994354"/>
              <a:gd name="connsiteY514" fmla="*/ 1114989 h 2027849"/>
              <a:gd name="connsiteX515" fmla="*/ 606103 w 1994354"/>
              <a:gd name="connsiteY515" fmla="*/ 1133232 h 2027849"/>
              <a:gd name="connsiteX516" fmla="*/ 587726 w 1994354"/>
              <a:gd name="connsiteY516" fmla="*/ 1143175 h 2027849"/>
              <a:gd name="connsiteX517" fmla="*/ 690926 w 1994354"/>
              <a:gd name="connsiteY517" fmla="*/ 810446 h 2027849"/>
              <a:gd name="connsiteX518" fmla="*/ 700629 w 1994354"/>
              <a:gd name="connsiteY518" fmla="*/ 828940 h 2027849"/>
              <a:gd name="connsiteX519" fmla="*/ 682148 w 1994354"/>
              <a:gd name="connsiteY519" fmla="*/ 838639 h 2027849"/>
              <a:gd name="connsiteX520" fmla="*/ 681771 w 1994354"/>
              <a:gd name="connsiteY520" fmla="*/ 838523 h 2027849"/>
              <a:gd name="connsiteX521" fmla="*/ 672308 w 1994354"/>
              <a:gd name="connsiteY521" fmla="*/ 819899 h 2027849"/>
              <a:gd name="connsiteX522" fmla="*/ 690926 w 1994354"/>
              <a:gd name="connsiteY522" fmla="*/ 810429 h 2027849"/>
              <a:gd name="connsiteX523" fmla="*/ 638469 w 1994354"/>
              <a:gd name="connsiteY523" fmla="*/ 979934 h 2027849"/>
              <a:gd name="connsiteX524" fmla="*/ 647795 w 1994354"/>
              <a:gd name="connsiteY524" fmla="*/ 998616 h 2027849"/>
              <a:gd name="connsiteX525" fmla="*/ 629109 w 1994354"/>
              <a:gd name="connsiteY525" fmla="*/ 1007949 h 2027849"/>
              <a:gd name="connsiteX526" fmla="*/ 619783 w 1994354"/>
              <a:gd name="connsiteY526" fmla="*/ 989270 h 2027849"/>
              <a:gd name="connsiteX527" fmla="*/ 638469 w 1994354"/>
              <a:gd name="connsiteY527" fmla="*/ 979917 h 2027849"/>
              <a:gd name="connsiteX528" fmla="*/ 545589 w 1994354"/>
              <a:gd name="connsiteY528" fmla="*/ 1278196 h 2027849"/>
              <a:gd name="connsiteX529" fmla="*/ 535886 w 1994354"/>
              <a:gd name="connsiteY529" fmla="*/ 1259819 h 2027849"/>
              <a:gd name="connsiteX530" fmla="*/ 535886 w 1994354"/>
              <a:gd name="connsiteY530" fmla="*/ 1259778 h 2027849"/>
              <a:gd name="connsiteX531" fmla="*/ 554332 w 1994354"/>
              <a:gd name="connsiteY531" fmla="*/ 1250037 h 2027849"/>
              <a:gd name="connsiteX532" fmla="*/ 564103 w 1994354"/>
              <a:gd name="connsiteY532" fmla="*/ 1268551 h 2027849"/>
              <a:gd name="connsiteX533" fmla="*/ 545589 w 1994354"/>
              <a:gd name="connsiteY533" fmla="*/ 1278179 h 2027849"/>
              <a:gd name="connsiteX534" fmla="*/ 500880 w 1994354"/>
              <a:gd name="connsiteY534" fmla="*/ 1421352 h 2027849"/>
              <a:gd name="connsiteX535" fmla="*/ 491486 w 1994354"/>
              <a:gd name="connsiteY535" fmla="*/ 1402632 h 2027849"/>
              <a:gd name="connsiteX536" fmla="*/ 510206 w 1994354"/>
              <a:gd name="connsiteY536" fmla="*/ 1393235 h 2027849"/>
              <a:gd name="connsiteX537" fmla="*/ 519600 w 1994354"/>
              <a:gd name="connsiteY537" fmla="*/ 1411951 h 2027849"/>
              <a:gd name="connsiteX538" fmla="*/ 500880 w 1994354"/>
              <a:gd name="connsiteY538" fmla="*/ 1421335 h 2027849"/>
              <a:gd name="connsiteX539" fmla="*/ 995897 w 1994354"/>
              <a:gd name="connsiteY539" fmla="*/ 303981 h 2027849"/>
              <a:gd name="connsiteX540" fmla="*/ 1005806 w 1994354"/>
              <a:gd name="connsiteY540" fmla="*/ 322121 h 2027849"/>
              <a:gd name="connsiteX541" fmla="*/ 987669 w 1994354"/>
              <a:gd name="connsiteY541" fmla="*/ 332020 h 2027849"/>
              <a:gd name="connsiteX542" fmla="*/ 987429 w 1994354"/>
              <a:gd name="connsiteY542" fmla="*/ 331951 h 2027849"/>
              <a:gd name="connsiteX543" fmla="*/ 977657 w 1994354"/>
              <a:gd name="connsiteY543" fmla="*/ 313728 h 2027849"/>
              <a:gd name="connsiteX544" fmla="*/ 995897 w 1994354"/>
              <a:gd name="connsiteY544" fmla="*/ 303971 h 2027849"/>
              <a:gd name="connsiteX545" fmla="*/ 954377 w 1994354"/>
              <a:gd name="connsiteY545" fmla="*/ 439015 h 2027849"/>
              <a:gd name="connsiteX546" fmla="*/ 963635 w 1994354"/>
              <a:gd name="connsiteY546" fmla="*/ 457670 h 2027849"/>
              <a:gd name="connsiteX547" fmla="*/ 945052 w 1994354"/>
              <a:gd name="connsiteY547" fmla="*/ 466711 h 2027849"/>
              <a:gd name="connsiteX548" fmla="*/ 936000 w 1994354"/>
              <a:gd name="connsiteY548" fmla="*/ 448118 h 2027849"/>
              <a:gd name="connsiteX549" fmla="*/ 954377 w 1994354"/>
              <a:gd name="connsiteY549" fmla="*/ 439005 h 2027849"/>
              <a:gd name="connsiteX550" fmla="*/ 909497 w 1994354"/>
              <a:gd name="connsiteY550" fmla="*/ 582052 h 2027849"/>
              <a:gd name="connsiteX551" fmla="*/ 919714 w 1994354"/>
              <a:gd name="connsiteY551" fmla="*/ 600281 h 2027849"/>
              <a:gd name="connsiteX552" fmla="*/ 901509 w 1994354"/>
              <a:gd name="connsiteY552" fmla="*/ 610509 h 2027849"/>
              <a:gd name="connsiteX553" fmla="*/ 891257 w 1994354"/>
              <a:gd name="connsiteY553" fmla="*/ 592279 h 2027849"/>
              <a:gd name="connsiteX554" fmla="*/ 891326 w 1994354"/>
              <a:gd name="connsiteY554" fmla="*/ 592073 h 2027849"/>
              <a:gd name="connsiteX555" fmla="*/ 909429 w 1994354"/>
              <a:gd name="connsiteY555" fmla="*/ 582034 h 2027849"/>
              <a:gd name="connsiteX556" fmla="*/ 909497 w 1994354"/>
              <a:gd name="connsiteY556" fmla="*/ 582052 h 2027849"/>
              <a:gd name="connsiteX557" fmla="*/ 867532 w 1994354"/>
              <a:gd name="connsiteY557" fmla="*/ 717247 h 2027849"/>
              <a:gd name="connsiteX558" fmla="*/ 877509 w 1994354"/>
              <a:gd name="connsiteY558" fmla="*/ 735384 h 2027849"/>
              <a:gd name="connsiteX559" fmla="*/ 859372 w 1994354"/>
              <a:gd name="connsiteY559" fmla="*/ 745358 h 2027849"/>
              <a:gd name="connsiteX560" fmla="*/ 849394 w 1994354"/>
              <a:gd name="connsiteY560" fmla="*/ 727221 h 2027849"/>
              <a:gd name="connsiteX561" fmla="*/ 849394 w 1994354"/>
              <a:gd name="connsiteY561" fmla="*/ 727221 h 2027849"/>
              <a:gd name="connsiteX562" fmla="*/ 867223 w 1994354"/>
              <a:gd name="connsiteY562" fmla="*/ 717158 h 2027849"/>
              <a:gd name="connsiteX563" fmla="*/ 867532 w 1994354"/>
              <a:gd name="connsiteY563" fmla="*/ 717247 h 2027849"/>
              <a:gd name="connsiteX564" fmla="*/ 782914 w 1994354"/>
              <a:gd name="connsiteY564" fmla="*/ 1040219 h 2027849"/>
              <a:gd name="connsiteX565" fmla="*/ 764503 w 1994354"/>
              <a:gd name="connsiteY565" fmla="*/ 1049620 h 2027849"/>
              <a:gd name="connsiteX566" fmla="*/ 755109 w 1994354"/>
              <a:gd name="connsiteY566" fmla="*/ 1031205 h 2027849"/>
              <a:gd name="connsiteX567" fmla="*/ 773349 w 1994354"/>
              <a:gd name="connsiteY567" fmla="*/ 1021752 h 2027849"/>
              <a:gd name="connsiteX568" fmla="*/ 782914 w 1994354"/>
              <a:gd name="connsiteY568" fmla="*/ 1040205 h 2027849"/>
              <a:gd name="connsiteX569" fmla="*/ 782914 w 1994354"/>
              <a:gd name="connsiteY569" fmla="*/ 1040225 h 2027849"/>
              <a:gd name="connsiteX570" fmla="*/ 825669 w 1994354"/>
              <a:gd name="connsiteY570" fmla="*/ 852237 h 2027849"/>
              <a:gd name="connsiteX571" fmla="*/ 835646 w 1994354"/>
              <a:gd name="connsiteY571" fmla="*/ 870559 h 2027849"/>
              <a:gd name="connsiteX572" fmla="*/ 817337 w 1994354"/>
              <a:gd name="connsiteY572" fmla="*/ 880553 h 2027849"/>
              <a:gd name="connsiteX573" fmla="*/ 807360 w 1994354"/>
              <a:gd name="connsiteY573" fmla="*/ 862231 h 2027849"/>
              <a:gd name="connsiteX574" fmla="*/ 825669 w 1994354"/>
              <a:gd name="connsiteY574" fmla="*/ 852244 h 2027849"/>
              <a:gd name="connsiteX575" fmla="*/ 731349 w 1994354"/>
              <a:gd name="connsiteY575" fmla="*/ 1156961 h 2027849"/>
              <a:gd name="connsiteX576" fmla="*/ 741120 w 1994354"/>
              <a:gd name="connsiteY576" fmla="*/ 1175294 h 2027849"/>
              <a:gd name="connsiteX577" fmla="*/ 722812 w 1994354"/>
              <a:gd name="connsiteY577" fmla="*/ 1185079 h 2027849"/>
              <a:gd name="connsiteX578" fmla="*/ 713006 w 1994354"/>
              <a:gd name="connsiteY578" fmla="*/ 1166747 h 2027849"/>
              <a:gd name="connsiteX579" fmla="*/ 713040 w 1994354"/>
              <a:gd name="connsiteY579" fmla="*/ 1166664 h 2027849"/>
              <a:gd name="connsiteX580" fmla="*/ 731040 w 1994354"/>
              <a:gd name="connsiteY580" fmla="*/ 1156876 h 2027849"/>
              <a:gd name="connsiteX581" fmla="*/ 731349 w 1994354"/>
              <a:gd name="connsiteY581" fmla="*/ 1156968 h 2027849"/>
              <a:gd name="connsiteX582" fmla="*/ 603360 w 1994354"/>
              <a:gd name="connsiteY582" fmla="*/ 1570423 h 2027849"/>
              <a:gd name="connsiteX583" fmla="*/ 612617 w 1994354"/>
              <a:gd name="connsiteY583" fmla="*/ 1588855 h 2027849"/>
              <a:gd name="connsiteX584" fmla="*/ 594206 w 1994354"/>
              <a:gd name="connsiteY584" fmla="*/ 1598126 h 2027849"/>
              <a:gd name="connsiteX585" fmla="*/ 584914 w 1994354"/>
              <a:gd name="connsiteY585" fmla="*/ 1579739 h 2027849"/>
              <a:gd name="connsiteX586" fmla="*/ 602812 w 1994354"/>
              <a:gd name="connsiteY586" fmla="*/ 1570245 h 2027849"/>
              <a:gd name="connsiteX587" fmla="*/ 603360 w 1994354"/>
              <a:gd name="connsiteY587" fmla="*/ 1570430 h 2027849"/>
              <a:gd name="connsiteX588" fmla="*/ 645257 w 1994354"/>
              <a:gd name="connsiteY588" fmla="*/ 1435091 h 2027849"/>
              <a:gd name="connsiteX589" fmla="*/ 655097 w 1994354"/>
              <a:gd name="connsiteY589" fmla="*/ 1453605 h 2027849"/>
              <a:gd name="connsiteX590" fmla="*/ 636583 w 1994354"/>
              <a:gd name="connsiteY590" fmla="*/ 1463445 h 2027849"/>
              <a:gd name="connsiteX591" fmla="*/ 626743 w 1994354"/>
              <a:gd name="connsiteY591" fmla="*/ 1444931 h 2027849"/>
              <a:gd name="connsiteX592" fmla="*/ 626812 w 1994354"/>
              <a:gd name="connsiteY592" fmla="*/ 1444718 h 2027849"/>
              <a:gd name="connsiteX593" fmla="*/ 645257 w 1994354"/>
              <a:gd name="connsiteY593" fmla="*/ 1435097 h 2027849"/>
              <a:gd name="connsiteX594" fmla="*/ 689795 w 1994354"/>
              <a:gd name="connsiteY594" fmla="*/ 1292033 h 2027849"/>
              <a:gd name="connsiteX595" fmla="*/ 699017 w 1994354"/>
              <a:gd name="connsiteY595" fmla="*/ 1310678 h 2027849"/>
              <a:gd name="connsiteX596" fmla="*/ 699017 w 1994354"/>
              <a:gd name="connsiteY596" fmla="*/ 1310712 h 2027849"/>
              <a:gd name="connsiteX597" fmla="*/ 680400 w 1994354"/>
              <a:gd name="connsiteY597" fmla="*/ 1319771 h 2027849"/>
              <a:gd name="connsiteX598" fmla="*/ 671349 w 1994354"/>
              <a:gd name="connsiteY598" fmla="*/ 1301157 h 2027849"/>
              <a:gd name="connsiteX599" fmla="*/ 689795 w 1994354"/>
              <a:gd name="connsiteY599" fmla="*/ 1292040 h 2027849"/>
              <a:gd name="connsiteX600" fmla="*/ 561463 w 1994354"/>
              <a:gd name="connsiteY600" fmla="*/ 1705327 h 2027849"/>
              <a:gd name="connsiteX601" fmla="*/ 570823 w 1994354"/>
              <a:gd name="connsiteY601" fmla="*/ 1723958 h 2027849"/>
              <a:gd name="connsiteX602" fmla="*/ 552549 w 1994354"/>
              <a:gd name="connsiteY602" fmla="*/ 1733712 h 2027849"/>
              <a:gd name="connsiteX603" fmla="*/ 542812 w 1994354"/>
              <a:gd name="connsiteY603" fmla="*/ 1715448 h 2027849"/>
              <a:gd name="connsiteX604" fmla="*/ 542983 w 1994354"/>
              <a:gd name="connsiteY604" fmla="*/ 1714907 h 2027849"/>
              <a:gd name="connsiteX605" fmla="*/ 561463 w 1994354"/>
              <a:gd name="connsiteY605" fmla="*/ 1705334 h 2027849"/>
              <a:gd name="connsiteX606" fmla="*/ 696446 w 1994354"/>
              <a:gd name="connsiteY606" fmla="*/ 1747214 h 2027849"/>
              <a:gd name="connsiteX607" fmla="*/ 706251 w 1994354"/>
              <a:gd name="connsiteY607" fmla="*/ 1765763 h 2027849"/>
              <a:gd name="connsiteX608" fmla="*/ 687600 w 1994354"/>
              <a:gd name="connsiteY608" fmla="*/ 1775675 h 2027849"/>
              <a:gd name="connsiteX609" fmla="*/ 677966 w 1994354"/>
              <a:gd name="connsiteY609" fmla="*/ 1756986 h 2027849"/>
              <a:gd name="connsiteX610" fmla="*/ 696446 w 1994354"/>
              <a:gd name="connsiteY610" fmla="*/ 1747221 h 2027849"/>
              <a:gd name="connsiteX611" fmla="*/ 1266411 w 1994354"/>
              <a:gd name="connsiteY611" fmla="*/ 387888 h 2027849"/>
              <a:gd name="connsiteX612" fmla="*/ 1275840 w 1994354"/>
              <a:gd name="connsiteY612" fmla="*/ 406283 h 2027849"/>
              <a:gd name="connsiteX613" fmla="*/ 1257463 w 1994354"/>
              <a:gd name="connsiteY613" fmla="*/ 415711 h 2027849"/>
              <a:gd name="connsiteX614" fmla="*/ 1248000 w 1994354"/>
              <a:gd name="connsiteY614" fmla="*/ 397372 h 2027849"/>
              <a:gd name="connsiteX615" fmla="*/ 1266034 w 1994354"/>
              <a:gd name="connsiteY615" fmla="*/ 387779 h 2027849"/>
              <a:gd name="connsiteX616" fmla="*/ 1266411 w 1994354"/>
              <a:gd name="connsiteY616" fmla="*/ 387895 h 2027849"/>
              <a:gd name="connsiteX617" fmla="*/ 873291 w 1994354"/>
              <a:gd name="connsiteY617" fmla="*/ 1654176 h 2027849"/>
              <a:gd name="connsiteX618" fmla="*/ 882994 w 1994354"/>
              <a:gd name="connsiteY618" fmla="*/ 1672386 h 2027849"/>
              <a:gd name="connsiteX619" fmla="*/ 864754 w 1994354"/>
              <a:gd name="connsiteY619" fmla="*/ 1682075 h 2027849"/>
              <a:gd name="connsiteX620" fmla="*/ 855052 w 1994354"/>
              <a:gd name="connsiteY620" fmla="*/ 1663968 h 2027849"/>
              <a:gd name="connsiteX621" fmla="*/ 872674 w 1994354"/>
              <a:gd name="connsiteY621" fmla="*/ 1653988 h 2027849"/>
              <a:gd name="connsiteX622" fmla="*/ 873291 w 1994354"/>
              <a:gd name="connsiteY622" fmla="*/ 1654176 h 2027849"/>
              <a:gd name="connsiteX623" fmla="*/ 831360 w 1994354"/>
              <a:gd name="connsiteY623" fmla="*/ 1789067 h 2027849"/>
              <a:gd name="connsiteX624" fmla="*/ 841269 w 1994354"/>
              <a:gd name="connsiteY624" fmla="*/ 1807389 h 2027849"/>
              <a:gd name="connsiteX625" fmla="*/ 823234 w 1994354"/>
              <a:gd name="connsiteY625" fmla="*/ 1817630 h 2027849"/>
              <a:gd name="connsiteX626" fmla="*/ 812983 w 1994354"/>
              <a:gd name="connsiteY626" fmla="*/ 1799603 h 2027849"/>
              <a:gd name="connsiteX627" fmla="*/ 813120 w 1994354"/>
              <a:gd name="connsiteY627" fmla="*/ 1799191 h 2027849"/>
              <a:gd name="connsiteX628" fmla="*/ 831360 w 1994354"/>
              <a:gd name="connsiteY628" fmla="*/ 1789067 h 2027849"/>
              <a:gd name="connsiteX629" fmla="*/ 1129611 w 1994354"/>
              <a:gd name="connsiteY629" fmla="*/ 829200 h 2027849"/>
              <a:gd name="connsiteX630" fmla="*/ 1119737 w 1994354"/>
              <a:gd name="connsiteY630" fmla="*/ 810998 h 2027849"/>
              <a:gd name="connsiteX631" fmla="*/ 1137943 w 1994354"/>
              <a:gd name="connsiteY631" fmla="*/ 801131 h 2027849"/>
              <a:gd name="connsiteX632" fmla="*/ 1147817 w 1994354"/>
              <a:gd name="connsiteY632" fmla="*/ 819316 h 2027849"/>
              <a:gd name="connsiteX633" fmla="*/ 1129886 w 1994354"/>
              <a:gd name="connsiteY633" fmla="*/ 829283 h 2027849"/>
              <a:gd name="connsiteX634" fmla="*/ 1129611 w 1994354"/>
              <a:gd name="connsiteY634" fmla="*/ 829200 h 2027849"/>
              <a:gd name="connsiteX635" fmla="*/ 1096251 w 1994354"/>
              <a:gd name="connsiteY635" fmla="*/ 936172 h 2027849"/>
              <a:gd name="connsiteX636" fmla="*/ 1106057 w 1994354"/>
              <a:gd name="connsiteY636" fmla="*/ 954604 h 2027849"/>
              <a:gd name="connsiteX637" fmla="*/ 1087646 w 1994354"/>
              <a:gd name="connsiteY637" fmla="*/ 964420 h 2027849"/>
              <a:gd name="connsiteX638" fmla="*/ 1077806 w 1994354"/>
              <a:gd name="connsiteY638" fmla="*/ 945988 h 2027849"/>
              <a:gd name="connsiteX639" fmla="*/ 1077840 w 1994354"/>
              <a:gd name="connsiteY639" fmla="*/ 945916 h 2027849"/>
              <a:gd name="connsiteX640" fmla="*/ 1096251 w 1994354"/>
              <a:gd name="connsiteY640" fmla="*/ 936162 h 2027849"/>
              <a:gd name="connsiteX641" fmla="*/ 1044206 w 1994354"/>
              <a:gd name="connsiteY641" fmla="*/ 1105811 h 2027849"/>
              <a:gd name="connsiteX642" fmla="*/ 1053326 w 1994354"/>
              <a:gd name="connsiteY642" fmla="*/ 1124603 h 2027849"/>
              <a:gd name="connsiteX643" fmla="*/ 1034537 w 1994354"/>
              <a:gd name="connsiteY643" fmla="*/ 1133712 h 2027849"/>
              <a:gd name="connsiteX644" fmla="*/ 1025417 w 1994354"/>
              <a:gd name="connsiteY644" fmla="*/ 1114924 h 2027849"/>
              <a:gd name="connsiteX645" fmla="*/ 1025451 w 1994354"/>
              <a:gd name="connsiteY645" fmla="*/ 1114817 h 2027849"/>
              <a:gd name="connsiteX646" fmla="*/ 1044206 w 1994354"/>
              <a:gd name="connsiteY646" fmla="*/ 1105800 h 2027849"/>
              <a:gd name="connsiteX647" fmla="*/ 992709 w 1994354"/>
              <a:gd name="connsiteY647" fmla="*/ 1268832 h 2027849"/>
              <a:gd name="connsiteX648" fmla="*/ 983451 w 1994354"/>
              <a:gd name="connsiteY648" fmla="*/ 1250222 h 2027849"/>
              <a:gd name="connsiteX649" fmla="*/ 1002034 w 1994354"/>
              <a:gd name="connsiteY649" fmla="*/ 1241044 h 2027849"/>
              <a:gd name="connsiteX650" fmla="*/ 1011189 w 1994354"/>
              <a:gd name="connsiteY650" fmla="*/ 1259616 h 2027849"/>
              <a:gd name="connsiteX651" fmla="*/ 992709 w 1994354"/>
              <a:gd name="connsiteY651" fmla="*/ 1268822 h 2027849"/>
              <a:gd name="connsiteX652" fmla="*/ 925097 w 1994354"/>
              <a:gd name="connsiteY652" fmla="*/ 1537214 h 2027849"/>
              <a:gd name="connsiteX653" fmla="*/ 906789 w 1994354"/>
              <a:gd name="connsiteY653" fmla="*/ 1546941 h 2027849"/>
              <a:gd name="connsiteX654" fmla="*/ 897052 w 1994354"/>
              <a:gd name="connsiteY654" fmla="*/ 1528636 h 2027849"/>
              <a:gd name="connsiteX655" fmla="*/ 915223 w 1994354"/>
              <a:gd name="connsiteY655" fmla="*/ 1518864 h 2027849"/>
              <a:gd name="connsiteX656" fmla="*/ 925097 w 1994354"/>
              <a:gd name="connsiteY656" fmla="*/ 1537204 h 2027849"/>
              <a:gd name="connsiteX657" fmla="*/ 959623 w 1994354"/>
              <a:gd name="connsiteY657" fmla="*/ 1375763 h 2027849"/>
              <a:gd name="connsiteX658" fmla="*/ 969497 w 1994354"/>
              <a:gd name="connsiteY658" fmla="*/ 1394095 h 2027849"/>
              <a:gd name="connsiteX659" fmla="*/ 951291 w 1994354"/>
              <a:gd name="connsiteY659" fmla="*/ 1404000 h 2027849"/>
              <a:gd name="connsiteX660" fmla="*/ 941383 w 1994354"/>
              <a:gd name="connsiteY660" fmla="*/ 1385791 h 2027849"/>
              <a:gd name="connsiteX661" fmla="*/ 959623 w 1994354"/>
              <a:gd name="connsiteY661" fmla="*/ 1375752 h 2027849"/>
              <a:gd name="connsiteX662" fmla="*/ 1205966 w 1994354"/>
              <a:gd name="connsiteY662" fmla="*/ 532900 h 2027849"/>
              <a:gd name="connsiteX663" fmla="*/ 1223931 w 1994354"/>
              <a:gd name="connsiteY663" fmla="*/ 522532 h 2027849"/>
              <a:gd name="connsiteX664" fmla="*/ 1234286 w 1994354"/>
              <a:gd name="connsiteY664" fmla="*/ 540494 h 2027849"/>
              <a:gd name="connsiteX665" fmla="*/ 1234149 w 1994354"/>
              <a:gd name="connsiteY665" fmla="*/ 540998 h 2027849"/>
              <a:gd name="connsiteX666" fmla="*/ 1216012 w 1994354"/>
              <a:gd name="connsiteY666" fmla="*/ 551033 h 2027849"/>
              <a:gd name="connsiteX667" fmla="*/ 1205966 w 1994354"/>
              <a:gd name="connsiteY667" fmla="*/ 532889 h 2027849"/>
              <a:gd name="connsiteX668" fmla="*/ 1171337 w 1994354"/>
              <a:gd name="connsiteY668" fmla="*/ 694242 h 2027849"/>
              <a:gd name="connsiteX669" fmla="*/ 1161497 w 1994354"/>
              <a:gd name="connsiteY669" fmla="*/ 675799 h 2027849"/>
              <a:gd name="connsiteX670" fmla="*/ 1179943 w 1994354"/>
              <a:gd name="connsiteY670" fmla="*/ 665959 h 2027849"/>
              <a:gd name="connsiteX671" fmla="*/ 1189132 w 1994354"/>
              <a:gd name="connsiteY671" fmla="*/ 684737 h 2027849"/>
              <a:gd name="connsiteX672" fmla="*/ 1171337 w 1994354"/>
              <a:gd name="connsiteY672" fmla="*/ 694221 h 2027849"/>
              <a:gd name="connsiteX673" fmla="*/ 967029 w 1994354"/>
              <a:gd name="connsiteY673" fmla="*/ 1831156 h 2027849"/>
              <a:gd name="connsiteX674" fmla="*/ 976354 w 1994354"/>
              <a:gd name="connsiteY674" fmla="*/ 1849838 h 2027849"/>
              <a:gd name="connsiteX675" fmla="*/ 958012 w 1994354"/>
              <a:gd name="connsiteY675" fmla="*/ 1859647 h 2027849"/>
              <a:gd name="connsiteX676" fmla="*/ 948206 w 1994354"/>
              <a:gd name="connsiteY676" fmla="*/ 1841304 h 2027849"/>
              <a:gd name="connsiteX677" fmla="*/ 948411 w 1994354"/>
              <a:gd name="connsiteY677" fmla="*/ 1840667 h 2027849"/>
              <a:gd name="connsiteX678" fmla="*/ 967029 w 1994354"/>
              <a:gd name="connsiteY678" fmla="*/ 1831135 h 2027849"/>
              <a:gd name="connsiteX679" fmla="*/ 1041669 w 1994354"/>
              <a:gd name="connsiteY679" fmla="*/ 1589099 h 2027849"/>
              <a:gd name="connsiteX680" fmla="*/ 1032000 w 1994354"/>
              <a:gd name="connsiteY680" fmla="*/ 1570516 h 2027849"/>
              <a:gd name="connsiteX681" fmla="*/ 1050583 w 1994354"/>
              <a:gd name="connsiteY681" fmla="*/ 1560837 h 2027849"/>
              <a:gd name="connsiteX682" fmla="*/ 1060251 w 1994354"/>
              <a:gd name="connsiteY682" fmla="*/ 1579420 h 2027849"/>
              <a:gd name="connsiteX683" fmla="*/ 1060217 w 1994354"/>
              <a:gd name="connsiteY683" fmla="*/ 1579526 h 2027849"/>
              <a:gd name="connsiteX684" fmla="*/ 1041669 w 1994354"/>
              <a:gd name="connsiteY684" fmla="*/ 1589102 h 2027849"/>
              <a:gd name="connsiteX685" fmla="*/ 1104686 w 1994354"/>
              <a:gd name="connsiteY685" fmla="*/ 1436184 h 2027849"/>
              <a:gd name="connsiteX686" fmla="*/ 1086309 w 1994354"/>
              <a:gd name="connsiteY686" fmla="*/ 1445925 h 2027849"/>
              <a:gd name="connsiteX687" fmla="*/ 1076571 w 1994354"/>
              <a:gd name="connsiteY687" fmla="*/ 1427548 h 2027849"/>
              <a:gd name="connsiteX688" fmla="*/ 1094949 w 1994354"/>
              <a:gd name="connsiteY688" fmla="*/ 1417814 h 2027849"/>
              <a:gd name="connsiteX689" fmla="*/ 1104686 w 1994354"/>
              <a:gd name="connsiteY689" fmla="*/ 1436191 h 2027849"/>
              <a:gd name="connsiteX690" fmla="*/ 1128275 w 1994354"/>
              <a:gd name="connsiteY690" fmla="*/ 1310873 h 2027849"/>
              <a:gd name="connsiteX691" fmla="*/ 1118469 w 1994354"/>
              <a:gd name="connsiteY691" fmla="*/ 1292517 h 2027849"/>
              <a:gd name="connsiteX692" fmla="*/ 1136880 w 1994354"/>
              <a:gd name="connsiteY692" fmla="*/ 1282883 h 2027849"/>
              <a:gd name="connsiteX693" fmla="*/ 1146617 w 1994354"/>
              <a:gd name="connsiteY693" fmla="*/ 1301010 h 2027849"/>
              <a:gd name="connsiteX694" fmla="*/ 1128275 w 1994354"/>
              <a:gd name="connsiteY694" fmla="*/ 1310880 h 2027849"/>
              <a:gd name="connsiteX695" fmla="*/ 1359874 w 1994354"/>
              <a:gd name="connsiteY695" fmla="*/ 564816 h 2027849"/>
              <a:gd name="connsiteX696" fmla="*/ 1369303 w 1994354"/>
              <a:gd name="connsiteY696" fmla="*/ 583457 h 2027849"/>
              <a:gd name="connsiteX697" fmla="*/ 1350652 w 1994354"/>
              <a:gd name="connsiteY697" fmla="*/ 592876 h 2027849"/>
              <a:gd name="connsiteX698" fmla="*/ 1341291 w 1994354"/>
              <a:gd name="connsiteY698" fmla="*/ 574279 h 2027849"/>
              <a:gd name="connsiteX699" fmla="*/ 1359874 w 1994354"/>
              <a:gd name="connsiteY699" fmla="*/ 564816 h 2027849"/>
              <a:gd name="connsiteX700" fmla="*/ 1314960 w 1994354"/>
              <a:gd name="connsiteY700" fmla="*/ 707836 h 2027849"/>
              <a:gd name="connsiteX701" fmla="*/ 1325109 w 1994354"/>
              <a:gd name="connsiteY701" fmla="*/ 726103 h 2027849"/>
              <a:gd name="connsiteX702" fmla="*/ 1306869 w 1994354"/>
              <a:gd name="connsiteY702" fmla="*/ 736265 h 2027849"/>
              <a:gd name="connsiteX703" fmla="*/ 1296686 w 1994354"/>
              <a:gd name="connsiteY703" fmla="*/ 717998 h 2027849"/>
              <a:gd name="connsiteX704" fmla="*/ 1296720 w 1994354"/>
              <a:gd name="connsiteY704" fmla="*/ 717909 h 2027849"/>
              <a:gd name="connsiteX705" fmla="*/ 1314960 w 1994354"/>
              <a:gd name="connsiteY705" fmla="*/ 707836 h 2027849"/>
              <a:gd name="connsiteX706" fmla="*/ 1273097 w 1994354"/>
              <a:gd name="connsiteY706" fmla="*/ 843072 h 2027849"/>
              <a:gd name="connsiteX707" fmla="*/ 1282834 w 1994354"/>
              <a:gd name="connsiteY707" fmla="*/ 861319 h 2027849"/>
              <a:gd name="connsiteX708" fmla="*/ 1264594 w 1994354"/>
              <a:gd name="connsiteY708" fmla="*/ 871070 h 2027849"/>
              <a:gd name="connsiteX709" fmla="*/ 1254823 w 1994354"/>
              <a:gd name="connsiteY709" fmla="*/ 852916 h 2027849"/>
              <a:gd name="connsiteX710" fmla="*/ 1272994 w 1994354"/>
              <a:gd name="connsiteY710" fmla="*/ 843041 h 2027849"/>
              <a:gd name="connsiteX711" fmla="*/ 1273097 w 1994354"/>
              <a:gd name="connsiteY711" fmla="*/ 843072 h 2027849"/>
              <a:gd name="connsiteX712" fmla="*/ 1212994 w 1994354"/>
              <a:gd name="connsiteY712" fmla="*/ 987813 h 2027849"/>
              <a:gd name="connsiteX713" fmla="*/ 1231440 w 1994354"/>
              <a:gd name="connsiteY713" fmla="*/ 978240 h 2027849"/>
              <a:gd name="connsiteX714" fmla="*/ 1241040 w 1994354"/>
              <a:gd name="connsiteY714" fmla="*/ 996700 h 2027849"/>
              <a:gd name="connsiteX715" fmla="*/ 1222594 w 1994354"/>
              <a:gd name="connsiteY715" fmla="*/ 1006279 h 2027849"/>
              <a:gd name="connsiteX716" fmla="*/ 1212994 w 1994354"/>
              <a:gd name="connsiteY716" fmla="*/ 987813 h 2027849"/>
              <a:gd name="connsiteX717" fmla="*/ 1170275 w 1994354"/>
              <a:gd name="connsiteY717" fmla="*/ 1175829 h 2027849"/>
              <a:gd name="connsiteX718" fmla="*/ 1160229 w 1994354"/>
              <a:gd name="connsiteY718" fmla="*/ 1157510 h 2027849"/>
              <a:gd name="connsiteX719" fmla="*/ 1178537 w 1994354"/>
              <a:gd name="connsiteY719" fmla="*/ 1147464 h 2027849"/>
              <a:gd name="connsiteX720" fmla="*/ 1188583 w 1994354"/>
              <a:gd name="connsiteY720" fmla="*/ 1165783 h 2027849"/>
              <a:gd name="connsiteX721" fmla="*/ 1188583 w 1994354"/>
              <a:gd name="connsiteY721" fmla="*/ 1165817 h 2027849"/>
              <a:gd name="connsiteX722" fmla="*/ 1170275 w 1994354"/>
              <a:gd name="connsiteY722" fmla="*/ 1175829 h 2027849"/>
              <a:gd name="connsiteX723" fmla="*/ 1101806 w 1994354"/>
              <a:gd name="connsiteY723" fmla="*/ 1872964 h 2027849"/>
              <a:gd name="connsiteX724" fmla="*/ 1111817 w 1994354"/>
              <a:gd name="connsiteY724" fmla="*/ 1891420 h 2027849"/>
              <a:gd name="connsiteX725" fmla="*/ 1093269 w 1994354"/>
              <a:gd name="connsiteY725" fmla="*/ 1901524 h 2027849"/>
              <a:gd name="connsiteX726" fmla="*/ 1083394 w 1994354"/>
              <a:gd name="connsiteY726" fmla="*/ 1882955 h 2027849"/>
              <a:gd name="connsiteX727" fmla="*/ 1101806 w 1994354"/>
              <a:gd name="connsiteY727" fmla="*/ 1872964 h 2027849"/>
              <a:gd name="connsiteX728" fmla="*/ 1671977 w 1994354"/>
              <a:gd name="connsiteY728" fmla="*/ 513710 h 2027849"/>
              <a:gd name="connsiteX729" fmla="*/ 1681543 w 1994354"/>
              <a:gd name="connsiteY729" fmla="*/ 531744 h 2027849"/>
              <a:gd name="connsiteX730" fmla="*/ 1681406 w 1994354"/>
              <a:gd name="connsiteY730" fmla="*/ 532135 h 2027849"/>
              <a:gd name="connsiteX731" fmla="*/ 1662994 w 1994354"/>
              <a:gd name="connsiteY731" fmla="*/ 541543 h 2027849"/>
              <a:gd name="connsiteX732" fmla="*/ 1653566 w 1994354"/>
              <a:gd name="connsiteY732" fmla="*/ 523121 h 2027849"/>
              <a:gd name="connsiteX733" fmla="*/ 1671977 w 1994354"/>
              <a:gd name="connsiteY733" fmla="*/ 513707 h 2027849"/>
              <a:gd name="connsiteX734" fmla="*/ 1611497 w 1994354"/>
              <a:gd name="connsiteY734" fmla="*/ 658739 h 2027849"/>
              <a:gd name="connsiteX735" fmla="*/ 1629566 w 1994354"/>
              <a:gd name="connsiteY735" fmla="*/ 648669 h 2027849"/>
              <a:gd name="connsiteX736" fmla="*/ 1639646 w 1994354"/>
              <a:gd name="connsiteY736" fmla="*/ 666751 h 2027849"/>
              <a:gd name="connsiteX737" fmla="*/ 1621577 w 1994354"/>
              <a:gd name="connsiteY737" fmla="*/ 676817 h 2027849"/>
              <a:gd name="connsiteX738" fmla="*/ 1611497 w 1994354"/>
              <a:gd name="connsiteY738" fmla="*/ 658739 h 2027849"/>
              <a:gd name="connsiteX739" fmla="*/ 1577006 w 1994354"/>
              <a:gd name="connsiteY739" fmla="*/ 820077 h 2027849"/>
              <a:gd name="connsiteX740" fmla="*/ 1566789 w 1994354"/>
              <a:gd name="connsiteY740" fmla="*/ 801833 h 2027849"/>
              <a:gd name="connsiteX741" fmla="*/ 1585029 w 1994354"/>
              <a:gd name="connsiteY741" fmla="*/ 791630 h 2027849"/>
              <a:gd name="connsiteX742" fmla="*/ 1595246 w 1994354"/>
              <a:gd name="connsiteY742" fmla="*/ 809870 h 2027849"/>
              <a:gd name="connsiteX743" fmla="*/ 1595212 w 1994354"/>
              <a:gd name="connsiteY743" fmla="*/ 809997 h 2027849"/>
              <a:gd name="connsiteX744" fmla="*/ 1577006 w 1994354"/>
              <a:gd name="connsiteY744" fmla="*/ 820077 h 2027849"/>
              <a:gd name="connsiteX745" fmla="*/ 1543714 w 1994354"/>
              <a:gd name="connsiteY745" fmla="*/ 927011 h 2027849"/>
              <a:gd name="connsiteX746" fmla="*/ 1553246 w 1994354"/>
              <a:gd name="connsiteY746" fmla="*/ 945391 h 2027849"/>
              <a:gd name="connsiteX747" fmla="*/ 1534869 w 1994354"/>
              <a:gd name="connsiteY747" fmla="*/ 954930 h 2027849"/>
              <a:gd name="connsiteX748" fmla="*/ 1525337 w 1994354"/>
              <a:gd name="connsiteY748" fmla="*/ 936549 h 2027849"/>
              <a:gd name="connsiteX749" fmla="*/ 1525337 w 1994354"/>
              <a:gd name="connsiteY749" fmla="*/ 936532 h 2027849"/>
              <a:gd name="connsiteX750" fmla="*/ 1543372 w 1994354"/>
              <a:gd name="connsiteY750" fmla="*/ 926908 h 2027849"/>
              <a:gd name="connsiteX751" fmla="*/ 1543714 w 1994354"/>
              <a:gd name="connsiteY751" fmla="*/ 927021 h 2027849"/>
              <a:gd name="connsiteX752" fmla="*/ 1501440 w 1994354"/>
              <a:gd name="connsiteY752" fmla="*/ 1061880 h 2027849"/>
              <a:gd name="connsiteX753" fmla="*/ 1511520 w 1994354"/>
              <a:gd name="connsiteY753" fmla="*/ 1080155 h 2027849"/>
              <a:gd name="connsiteX754" fmla="*/ 1493246 w 1994354"/>
              <a:gd name="connsiteY754" fmla="*/ 1090235 h 2027849"/>
              <a:gd name="connsiteX755" fmla="*/ 1483166 w 1994354"/>
              <a:gd name="connsiteY755" fmla="*/ 1071960 h 2027849"/>
              <a:gd name="connsiteX756" fmla="*/ 1501440 w 1994354"/>
              <a:gd name="connsiteY756" fmla="*/ 1061880 h 2027849"/>
              <a:gd name="connsiteX757" fmla="*/ 1449326 w 1994354"/>
              <a:gd name="connsiteY757" fmla="*/ 1231468 h 2027849"/>
              <a:gd name="connsiteX758" fmla="*/ 1459029 w 1994354"/>
              <a:gd name="connsiteY758" fmla="*/ 1249968 h 2027849"/>
              <a:gd name="connsiteX759" fmla="*/ 1440549 w 1994354"/>
              <a:gd name="connsiteY759" fmla="*/ 1259678 h 2027849"/>
              <a:gd name="connsiteX760" fmla="*/ 1430812 w 1994354"/>
              <a:gd name="connsiteY760" fmla="*/ 1241177 h 2027849"/>
              <a:gd name="connsiteX761" fmla="*/ 1430880 w 1994354"/>
              <a:gd name="connsiteY761" fmla="*/ 1241006 h 2027849"/>
              <a:gd name="connsiteX762" fmla="*/ 1449291 w 1994354"/>
              <a:gd name="connsiteY762" fmla="*/ 1231464 h 2027849"/>
              <a:gd name="connsiteX763" fmla="*/ 1449326 w 1994354"/>
              <a:gd name="connsiteY763" fmla="*/ 1231478 h 2027849"/>
              <a:gd name="connsiteX764" fmla="*/ 1312320 w 1994354"/>
              <a:gd name="connsiteY764" fmla="*/ 1673068 h 2027849"/>
              <a:gd name="connsiteX765" fmla="*/ 1302103 w 1994354"/>
              <a:gd name="connsiteY765" fmla="*/ 1654773 h 2027849"/>
              <a:gd name="connsiteX766" fmla="*/ 1320411 w 1994354"/>
              <a:gd name="connsiteY766" fmla="*/ 1644552 h 2027849"/>
              <a:gd name="connsiteX767" fmla="*/ 1330629 w 1994354"/>
              <a:gd name="connsiteY767" fmla="*/ 1662851 h 2027849"/>
              <a:gd name="connsiteX768" fmla="*/ 1330560 w 1994354"/>
              <a:gd name="connsiteY768" fmla="*/ 1663043 h 2027849"/>
              <a:gd name="connsiteX769" fmla="*/ 1312320 w 1994354"/>
              <a:gd name="connsiteY769" fmla="*/ 1673078 h 2027849"/>
              <a:gd name="connsiteX770" fmla="*/ 1366046 w 1994354"/>
              <a:gd name="connsiteY770" fmla="*/ 1501855 h 2027849"/>
              <a:gd name="connsiteX771" fmla="*/ 1374960 w 1994354"/>
              <a:gd name="connsiteY771" fmla="*/ 1520702 h 2027849"/>
              <a:gd name="connsiteX772" fmla="*/ 1356103 w 1994354"/>
              <a:gd name="connsiteY772" fmla="*/ 1529616 h 2027849"/>
              <a:gd name="connsiteX773" fmla="*/ 1347189 w 1994354"/>
              <a:gd name="connsiteY773" fmla="*/ 1510770 h 2027849"/>
              <a:gd name="connsiteX774" fmla="*/ 1347223 w 1994354"/>
              <a:gd name="connsiteY774" fmla="*/ 1510701 h 2027849"/>
              <a:gd name="connsiteX775" fmla="*/ 1365909 w 1994354"/>
              <a:gd name="connsiteY775" fmla="*/ 1501811 h 2027849"/>
              <a:gd name="connsiteX776" fmla="*/ 1366046 w 1994354"/>
              <a:gd name="connsiteY776" fmla="*/ 1501859 h 2027849"/>
              <a:gd name="connsiteX777" fmla="*/ 1407737 w 1994354"/>
              <a:gd name="connsiteY777" fmla="*/ 1366807 h 2027849"/>
              <a:gd name="connsiteX778" fmla="*/ 1416823 w 1994354"/>
              <a:gd name="connsiteY778" fmla="*/ 1385500 h 2027849"/>
              <a:gd name="connsiteX779" fmla="*/ 1398137 w 1994354"/>
              <a:gd name="connsiteY779" fmla="*/ 1394592 h 2027849"/>
              <a:gd name="connsiteX780" fmla="*/ 1389052 w 1994354"/>
              <a:gd name="connsiteY780" fmla="*/ 1375900 h 2027849"/>
              <a:gd name="connsiteX781" fmla="*/ 1389086 w 1994354"/>
              <a:gd name="connsiteY781" fmla="*/ 1375783 h 2027849"/>
              <a:gd name="connsiteX782" fmla="*/ 1407463 w 1994354"/>
              <a:gd name="connsiteY782" fmla="*/ 1366718 h 2027849"/>
              <a:gd name="connsiteX783" fmla="*/ 1407737 w 1994354"/>
              <a:gd name="connsiteY783" fmla="*/ 1366811 h 2027849"/>
              <a:gd name="connsiteX784" fmla="*/ 1278652 w 1994354"/>
              <a:gd name="connsiteY784" fmla="*/ 1779950 h 2027849"/>
              <a:gd name="connsiteX785" fmla="*/ 1288594 w 1994354"/>
              <a:gd name="connsiteY785" fmla="*/ 1798008 h 2027849"/>
              <a:gd name="connsiteX786" fmla="*/ 1270560 w 1994354"/>
              <a:gd name="connsiteY786" fmla="*/ 1807965 h 2027849"/>
              <a:gd name="connsiteX787" fmla="*/ 1260583 w 1994354"/>
              <a:gd name="connsiteY787" fmla="*/ 1789941 h 2027849"/>
              <a:gd name="connsiteX788" fmla="*/ 1278069 w 1994354"/>
              <a:gd name="connsiteY788" fmla="*/ 1779768 h 2027849"/>
              <a:gd name="connsiteX789" fmla="*/ 1278652 w 1994354"/>
              <a:gd name="connsiteY789" fmla="*/ 1779936 h 2027849"/>
              <a:gd name="connsiteX790" fmla="*/ 1236823 w 1994354"/>
              <a:gd name="connsiteY790" fmla="*/ 1914871 h 2027849"/>
              <a:gd name="connsiteX791" fmla="*/ 1246766 w 1994354"/>
              <a:gd name="connsiteY791" fmla="*/ 1933149 h 2027849"/>
              <a:gd name="connsiteX792" fmla="*/ 1246766 w 1994354"/>
              <a:gd name="connsiteY792" fmla="*/ 1933169 h 2027849"/>
              <a:gd name="connsiteX793" fmla="*/ 1228937 w 1994354"/>
              <a:gd name="connsiteY793" fmla="*/ 1943616 h 2027849"/>
              <a:gd name="connsiteX794" fmla="*/ 1218480 w 1994354"/>
              <a:gd name="connsiteY794" fmla="*/ 1925774 h 2027849"/>
              <a:gd name="connsiteX795" fmla="*/ 1218686 w 1994354"/>
              <a:gd name="connsiteY795" fmla="*/ 1925054 h 2027849"/>
              <a:gd name="connsiteX796" fmla="*/ 1236789 w 1994354"/>
              <a:gd name="connsiteY796" fmla="*/ 1914851 h 2027849"/>
              <a:gd name="connsiteX797" fmla="*/ 1236823 w 1994354"/>
              <a:gd name="connsiteY797" fmla="*/ 1914857 h 2027849"/>
              <a:gd name="connsiteX798" fmla="*/ 1414389 w 1994354"/>
              <a:gd name="connsiteY798" fmla="*/ 1822056 h 2027849"/>
              <a:gd name="connsiteX799" fmla="*/ 1423440 w 1994354"/>
              <a:gd name="connsiteY799" fmla="*/ 1840584 h 2027849"/>
              <a:gd name="connsiteX800" fmla="*/ 1404926 w 1994354"/>
              <a:gd name="connsiteY800" fmla="*/ 1849636 h 2027849"/>
              <a:gd name="connsiteX801" fmla="*/ 1395806 w 1994354"/>
              <a:gd name="connsiteY801" fmla="*/ 1831269 h 2027849"/>
              <a:gd name="connsiteX802" fmla="*/ 1414389 w 1994354"/>
              <a:gd name="connsiteY802" fmla="*/ 1822039 h 2027849"/>
              <a:gd name="connsiteX803" fmla="*/ 1414389 w 1994354"/>
              <a:gd name="connsiteY803" fmla="*/ 1822043 h 2027849"/>
              <a:gd name="connsiteX804" fmla="*/ 1372320 w 1994354"/>
              <a:gd name="connsiteY804" fmla="*/ 1956909 h 2027849"/>
              <a:gd name="connsiteX805" fmla="*/ 1381989 w 1994354"/>
              <a:gd name="connsiteY805" fmla="*/ 1975495 h 2027849"/>
              <a:gd name="connsiteX806" fmla="*/ 1363372 w 1994354"/>
              <a:gd name="connsiteY806" fmla="*/ 1985332 h 2027849"/>
              <a:gd name="connsiteX807" fmla="*/ 1353840 w 1994354"/>
              <a:gd name="connsiteY807" fmla="*/ 1966615 h 2027849"/>
              <a:gd name="connsiteX808" fmla="*/ 1372320 w 1994354"/>
              <a:gd name="connsiteY808" fmla="*/ 1956895 h 2027849"/>
              <a:gd name="connsiteX809" fmla="*/ 1456115 w 1994354"/>
              <a:gd name="connsiteY809" fmla="*/ 1686669 h 2027849"/>
              <a:gd name="connsiteX810" fmla="*/ 1465852 w 1994354"/>
              <a:gd name="connsiteY810" fmla="*/ 1705214 h 2027849"/>
              <a:gd name="connsiteX811" fmla="*/ 1447303 w 1994354"/>
              <a:gd name="connsiteY811" fmla="*/ 1714951 h 2027849"/>
              <a:gd name="connsiteX812" fmla="*/ 1437566 w 1994354"/>
              <a:gd name="connsiteY812" fmla="*/ 1696396 h 2027849"/>
              <a:gd name="connsiteX813" fmla="*/ 1456115 w 1994354"/>
              <a:gd name="connsiteY813" fmla="*/ 1686655 h 2027849"/>
              <a:gd name="connsiteX814" fmla="*/ 1500480 w 1994354"/>
              <a:gd name="connsiteY814" fmla="*/ 1543560 h 2027849"/>
              <a:gd name="connsiteX815" fmla="*/ 1510251 w 1994354"/>
              <a:gd name="connsiteY815" fmla="*/ 1562075 h 2027849"/>
              <a:gd name="connsiteX816" fmla="*/ 1491737 w 1994354"/>
              <a:gd name="connsiteY816" fmla="*/ 1571767 h 2027849"/>
              <a:gd name="connsiteX817" fmla="*/ 1482069 w 1994354"/>
              <a:gd name="connsiteY817" fmla="*/ 1553263 h 2027849"/>
              <a:gd name="connsiteX818" fmla="*/ 1500480 w 1994354"/>
              <a:gd name="connsiteY818" fmla="*/ 1543547 h 2027849"/>
              <a:gd name="connsiteX819" fmla="*/ 1575806 w 1994354"/>
              <a:gd name="connsiteY819" fmla="*/ 1301640 h 2027849"/>
              <a:gd name="connsiteX820" fmla="*/ 1565897 w 1994354"/>
              <a:gd name="connsiteY820" fmla="*/ 1283256 h 2027849"/>
              <a:gd name="connsiteX821" fmla="*/ 1584103 w 1994354"/>
              <a:gd name="connsiteY821" fmla="*/ 1273289 h 2027849"/>
              <a:gd name="connsiteX822" fmla="*/ 1594697 w 1994354"/>
              <a:gd name="connsiteY822" fmla="*/ 1291300 h 2027849"/>
              <a:gd name="connsiteX823" fmla="*/ 1576663 w 1994354"/>
              <a:gd name="connsiteY823" fmla="*/ 1301880 h 2027849"/>
              <a:gd name="connsiteX824" fmla="*/ 1575806 w 1994354"/>
              <a:gd name="connsiteY824" fmla="*/ 1301627 h 2027849"/>
              <a:gd name="connsiteX825" fmla="*/ 1628229 w 1994354"/>
              <a:gd name="connsiteY825" fmla="*/ 1132135 h 2027849"/>
              <a:gd name="connsiteX826" fmla="*/ 1618492 w 1994354"/>
              <a:gd name="connsiteY826" fmla="*/ 1113665 h 2027849"/>
              <a:gd name="connsiteX827" fmla="*/ 1636800 w 1994354"/>
              <a:gd name="connsiteY827" fmla="*/ 1103880 h 2027849"/>
              <a:gd name="connsiteX828" fmla="*/ 1646674 w 1994354"/>
              <a:gd name="connsiteY828" fmla="*/ 1122326 h 2027849"/>
              <a:gd name="connsiteX829" fmla="*/ 1628229 w 1994354"/>
              <a:gd name="connsiteY829" fmla="*/ 1132121 h 2027849"/>
              <a:gd name="connsiteX830" fmla="*/ 1507475 w 1994354"/>
              <a:gd name="connsiteY830" fmla="*/ 1998854 h 2027849"/>
              <a:gd name="connsiteX831" fmla="*/ 1517006 w 1994354"/>
              <a:gd name="connsiteY831" fmla="*/ 2016230 h 2027849"/>
              <a:gd name="connsiteX832" fmla="*/ 1516629 w 1994354"/>
              <a:gd name="connsiteY832" fmla="*/ 2017303 h 2027849"/>
              <a:gd name="connsiteX833" fmla="*/ 1499006 w 1994354"/>
              <a:gd name="connsiteY833" fmla="*/ 2027332 h 2027849"/>
              <a:gd name="connsiteX834" fmla="*/ 1498457 w 1994354"/>
              <a:gd name="connsiteY834" fmla="*/ 2027174 h 2027849"/>
              <a:gd name="connsiteX835" fmla="*/ 1488994 w 1994354"/>
              <a:gd name="connsiteY835" fmla="*/ 2008499 h 2027849"/>
              <a:gd name="connsiteX836" fmla="*/ 1507475 w 1994354"/>
              <a:gd name="connsiteY836" fmla="*/ 1998840 h 2027849"/>
              <a:gd name="connsiteX837" fmla="*/ 1626994 w 1994354"/>
              <a:gd name="connsiteY837" fmla="*/ 1613682 h 2027849"/>
              <a:gd name="connsiteX838" fmla="*/ 1617532 w 1994354"/>
              <a:gd name="connsiteY838" fmla="*/ 1595102 h 2027849"/>
              <a:gd name="connsiteX839" fmla="*/ 1635429 w 1994354"/>
              <a:gd name="connsiteY839" fmla="*/ 1585437 h 2027849"/>
              <a:gd name="connsiteX840" fmla="*/ 1644617 w 1994354"/>
              <a:gd name="connsiteY840" fmla="*/ 1604150 h 2027849"/>
              <a:gd name="connsiteX841" fmla="*/ 1626994 w 1994354"/>
              <a:gd name="connsiteY841" fmla="*/ 1613668 h 2027849"/>
              <a:gd name="connsiteX842" fmla="*/ 1814023 w 1994354"/>
              <a:gd name="connsiteY842" fmla="*/ 1010887 h 2027849"/>
              <a:gd name="connsiteX843" fmla="*/ 1822972 w 1994354"/>
              <a:gd name="connsiteY843" fmla="*/ 1029559 h 2027849"/>
              <a:gd name="connsiteX844" fmla="*/ 1805040 w 1994354"/>
              <a:gd name="connsiteY844" fmla="*/ 1038744 h 2027849"/>
              <a:gd name="connsiteX845" fmla="*/ 1795611 w 1994354"/>
              <a:gd name="connsiteY845" fmla="*/ 1020316 h 2027849"/>
              <a:gd name="connsiteX846" fmla="*/ 1814023 w 1994354"/>
              <a:gd name="connsiteY846" fmla="*/ 1010873 h 2027849"/>
              <a:gd name="connsiteX847" fmla="*/ 1855749 w 1994354"/>
              <a:gd name="connsiteY847" fmla="*/ 875599 h 2027849"/>
              <a:gd name="connsiteX848" fmla="*/ 1864972 w 1994354"/>
              <a:gd name="connsiteY848" fmla="*/ 894357 h 2027849"/>
              <a:gd name="connsiteX849" fmla="*/ 1847109 w 1994354"/>
              <a:gd name="connsiteY849" fmla="*/ 903854 h 2027849"/>
              <a:gd name="connsiteX850" fmla="*/ 1837303 w 1994354"/>
              <a:gd name="connsiteY850" fmla="*/ 885405 h 2027849"/>
              <a:gd name="connsiteX851" fmla="*/ 1855749 w 1994354"/>
              <a:gd name="connsiteY851" fmla="*/ 875592 h 2027849"/>
              <a:gd name="connsiteX852" fmla="*/ 1686789 w 1994354"/>
              <a:gd name="connsiteY852" fmla="*/ 1468807 h 2027849"/>
              <a:gd name="connsiteX853" fmla="*/ 1669783 w 1994354"/>
              <a:gd name="connsiteY853" fmla="*/ 1478863 h 2027849"/>
              <a:gd name="connsiteX854" fmla="*/ 1668686 w 1994354"/>
              <a:gd name="connsiteY854" fmla="*/ 1478538 h 2027849"/>
              <a:gd name="connsiteX855" fmla="*/ 1659291 w 1994354"/>
              <a:gd name="connsiteY855" fmla="*/ 1459999 h 2027849"/>
              <a:gd name="connsiteX856" fmla="*/ 1677532 w 1994354"/>
              <a:gd name="connsiteY856" fmla="*/ 1450512 h 2027849"/>
              <a:gd name="connsiteX857" fmla="*/ 1687166 w 1994354"/>
              <a:gd name="connsiteY857" fmla="*/ 1467635 h 2027849"/>
              <a:gd name="connsiteX858" fmla="*/ 1686789 w 1994354"/>
              <a:gd name="connsiteY858" fmla="*/ 1468793 h 2027849"/>
              <a:gd name="connsiteX859" fmla="*/ 1719223 w 1994354"/>
              <a:gd name="connsiteY859" fmla="*/ 1315207 h 2027849"/>
              <a:gd name="connsiteX860" fmla="*/ 1728686 w 1994354"/>
              <a:gd name="connsiteY860" fmla="*/ 1333828 h 2027849"/>
              <a:gd name="connsiteX861" fmla="*/ 1710857 w 1994354"/>
              <a:gd name="connsiteY861" fmla="*/ 1343534 h 2027849"/>
              <a:gd name="connsiteX862" fmla="*/ 1700880 w 1994354"/>
              <a:gd name="connsiteY862" fmla="*/ 1325181 h 2027849"/>
              <a:gd name="connsiteX863" fmla="*/ 1719223 w 1994354"/>
              <a:gd name="connsiteY863" fmla="*/ 1315193 h 2027849"/>
              <a:gd name="connsiteX864" fmla="*/ 1549543 w 1994354"/>
              <a:gd name="connsiteY864" fmla="*/ 1863988 h 2027849"/>
              <a:gd name="connsiteX865" fmla="*/ 1558457 w 1994354"/>
              <a:gd name="connsiteY865" fmla="*/ 1882584 h 2027849"/>
              <a:gd name="connsiteX866" fmla="*/ 1540251 w 1994354"/>
              <a:gd name="connsiteY866" fmla="*/ 1891636 h 2027849"/>
              <a:gd name="connsiteX867" fmla="*/ 1531063 w 1994354"/>
              <a:gd name="connsiteY867" fmla="*/ 1873159 h 2027849"/>
              <a:gd name="connsiteX868" fmla="*/ 1549543 w 1994354"/>
              <a:gd name="connsiteY868" fmla="*/ 1863974 h 2027849"/>
              <a:gd name="connsiteX869" fmla="*/ 1591372 w 1994354"/>
              <a:gd name="connsiteY869" fmla="*/ 1728635 h 2027849"/>
              <a:gd name="connsiteX870" fmla="*/ 1600697 w 1994354"/>
              <a:gd name="connsiteY870" fmla="*/ 1746384 h 2027849"/>
              <a:gd name="connsiteX871" fmla="*/ 1600423 w 1994354"/>
              <a:gd name="connsiteY871" fmla="*/ 1747149 h 2027849"/>
              <a:gd name="connsiteX872" fmla="*/ 1583383 w 1994354"/>
              <a:gd name="connsiteY872" fmla="*/ 1757119 h 2027849"/>
              <a:gd name="connsiteX873" fmla="*/ 1582251 w 1994354"/>
              <a:gd name="connsiteY873" fmla="*/ 1756776 h 2027849"/>
              <a:gd name="connsiteX874" fmla="*/ 1572720 w 1994354"/>
              <a:gd name="connsiteY874" fmla="*/ 1738139 h 2027849"/>
              <a:gd name="connsiteX875" fmla="*/ 1591372 w 1994354"/>
              <a:gd name="connsiteY875" fmla="*/ 1728621 h 2027849"/>
              <a:gd name="connsiteX876" fmla="*/ 1933132 w 1994354"/>
              <a:gd name="connsiteY876" fmla="*/ 625320 h 2027849"/>
              <a:gd name="connsiteX877" fmla="*/ 1923874 w 1994354"/>
              <a:gd name="connsiteY877" fmla="*/ 606844 h 2027849"/>
              <a:gd name="connsiteX878" fmla="*/ 1942354 w 1994354"/>
              <a:gd name="connsiteY878" fmla="*/ 597593 h 2027849"/>
              <a:gd name="connsiteX879" fmla="*/ 1951783 w 1994354"/>
              <a:gd name="connsiteY879" fmla="*/ 614729 h 2027849"/>
              <a:gd name="connsiteX880" fmla="*/ 1951337 w 1994354"/>
              <a:gd name="connsiteY880" fmla="*/ 615998 h 2027849"/>
              <a:gd name="connsiteX881" fmla="*/ 1934674 w 1994354"/>
              <a:gd name="connsiteY881" fmla="*/ 625800 h 2027849"/>
              <a:gd name="connsiteX882" fmla="*/ 1933132 w 1994354"/>
              <a:gd name="connsiteY882" fmla="*/ 625307 h 2027849"/>
              <a:gd name="connsiteX883" fmla="*/ 1909577 w 1994354"/>
              <a:gd name="connsiteY883" fmla="*/ 750669 h 2027849"/>
              <a:gd name="connsiteX884" fmla="*/ 1892640 w 1994354"/>
              <a:gd name="connsiteY884" fmla="*/ 760999 h 2027849"/>
              <a:gd name="connsiteX885" fmla="*/ 1891611 w 1994354"/>
              <a:gd name="connsiteY885" fmla="*/ 760704 h 2027849"/>
              <a:gd name="connsiteX886" fmla="*/ 1881703 w 1994354"/>
              <a:gd name="connsiteY886" fmla="*/ 742348 h 2027849"/>
              <a:gd name="connsiteX887" fmla="*/ 1900046 w 1994354"/>
              <a:gd name="connsiteY887" fmla="*/ 732429 h 2027849"/>
              <a:gd name="connsiteX888" fmla="*/ 1909955 w 1994354"/>
              <a:gd name="connsiteY888" fmla="*/ 749441 h 2027849"/>
              <a:gd name="connsiteX889" fmla="*/ 1909577 w 1994354"/>
              <a:gd name="connsiteY889" fmla="*/ 750669 h 2027849"/>
              <a:gd name="connsiteX890" fmla="*/ 1763006 w 1994354"/>
              <a:gd name="connsiteY890" fmla="*/ 1173947 h 2027849"/>
              <a:gd name="connsiteX891" fmla="*/ 1753577 w 1994354"/>
              <a:gd name="connsiteY891" fmla="*/ 1155316 h 2027849"/>
              <a:gd name="connsiteX892" fmla="*/ 1772194 w 1994354"/>
              <a:gd name="connsiteY892" fmla="*/ 1145877 h 2027849"/>
              <a:gd name="connsiteX893" fmla="*/ 1781109 w 1994354"/>
              <a:gd name="connsiteY893" fmla="*/ 1164775 h 2027849"/>
              <a:gd name="connsiteX894" fmla="*/ 1763006 w 1994354"/>
              <a:gd name="connsiteY894" fmla="*/ 1173947 h 202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</a:cxnLst>
            <a:rect l="l" t="t" r="r" b="b"/>
            <a:pathLst>
              <a:path w="1994354" h="2027849">
                <a:moveTo>
                  <a:pt x="1991760" y="484629"/>
                </a:moveTo>
                <a:cubicBezTo>
                  <a:pt x="1988229" y="489871"/>
                  <a:pt x="1981783" y="492281"/>
                  <a:pt x="1975680" y="490615"/>
                </a:cubicBezTo>
                <a:cubicBezTo>
                  <a:pt x="1969372" y="488719"/>
                  <a:pt x="1965052" y="482980"/>
                  <a:pt x="1964914" y="476410"/>
                </a:cubicBezTo>
                <a:cubicBezTo>
                  <a:pt x="1964949" y="469567"/>
                  <a:pt x="1969680" y="463639"/>
                  <a:pt x="1976332" y="462086"/>
                </a:cubicBezTo>
                <a:cubicBezTo>
                  <a:pt x="1977806" y="461699"/>
                  <a:pt x="1979280" y="461325"/>
                  <a:pt x="1980754" y="460944"/>
                </a:cubicBezTo>
                <a:cubicBezTo>
                  <a:pt x="1982914" y="461630"/>
                  <a:pt x="1985109" y="462292"/>
                  <a:pt x="1987269" y="462967"/>
                </a:cubicBezTo>
                <a:cubicBezTo>
                  <a:pt x="1988160" y="463927"/>
                  <a:pt x="1989052" y="464897"/>
                  <a:pt x="1989977" y="465847"/>
                </a:cubicBezTo>
                <a:cubicBezTo>
                  <a:pt x="1995052" y="470839"/>
                  <a:pt x="1995806" y="478769"/>
                  <a:pt x="1991760" y="484629"/>
                </a:cubicBezTo>
                <a:close/>
                <a:moveTo>
                  <a:pt x="1670160" y="996885"/>
                </a:moveTo>
                <a:cubicBezTo>
                  <a:pt x="1662411" y="994629"/>
                  <a:pt x="1657955" y="986507"/>
                  <a:pt x="1660183" y="978748"/>
                </a:cubicBezTo>
                <a:cubicBezTo>
                  <a:pt x="1662446" y="970985"/>
                  <a:pt x="1670571" y="966525"/>
                  <a:pt x="1678320" y="968784"/>
                </a:cubicBezTo>
                <a:cubicBezTo>
                  <a:pt x="1678457" y="968819"/>
                  <a:pt x="1678560" y="968856"/>
                  <a:pt x="1678697" y="968894"/>
                </a:cubicBezTo>
                <a:cubicBezTo>
                  <a:pt x="1686446" y="971150"/>
                  <a:pt x="1690903" y="979272"/>
                  <a:pt x="1688674" y="987031"/>
                </a:cubicBezTo>
                <a:cubicBezTo>
                  <a:pt x="1686411" y="994793"/>
                  <a:pt x="1678286" y="999254"/>
                  <a:pt x="1670537" y="996995"/>
                </a:cubicBezTo>
                <a:cubicBezTo>
                  <a:pt x="1670400" y="996960"/>
                  <a:pt x="1670297" y="996923"/>
                  <a:pt x="1670160" y="996885"/>
                </a:cubicBezTo>
                <a:close/>
                <a:moveTo>
                  <a:pt x="1712194" y="862015"/>
                </a:moveTo>
                <a:cubicBezTo>
                  <a:pt x="1704377" y="859711"/>
                  <a:pt x="1699886" y="851493"/>
                  <a:pt x="1702183" y="843662"/>
                </a:cubicBezTo>
                <a:cubicBezTo>
                  <a:pt x="1704480" y="835831"/>
                  <a:pt x="1712709" y="831353"/>
                  <a:pt x="1720526" y="833657"/>
                </a:cubicBezTo>
                <a:cubicBezTo>
                  <a:pt x="1728343" y="835951"/>
                  <a:pt x="1732834" y="844115"/>
                  <a:pt x="1730571" y="851925"/>
                </a:cubicBezTo>
                <a:cubicBezTo>
                  <a:pt x="1728137" y="859673"/>
                  <a:pt x="1720046" y="864127"/>
                  <a:pt x="1712194" y="862015"/>
                </a:cubicBezTo>
                <a:close/>
                <a:moveTo>
                  <a:pt x="1756526" y="718790"/>
                </a:moveTo>
                <a:cubicBezTo>
                  <a:pt x="1748743" y="716380"/>
                  <a:pt x="1744354" y="708110"/>
                  <a:pt x="1746789" y="700317"/>
                </a:cubicBezTo>
                <a:cubicBezTo>
                  <a:pt x="1749154" y="692623"/>
                  <a:pt x="1757246" y="688252"/>
                  <a:pt x="1764994" y="690490"/>
                </a:cubicBezTo>
                <a:cubicBezTo>
                  <a:pt x="1772709" y="692983"/>
                  <a:pt x="1777063" y="701119"/>
                  <a:pt x="1774903" y="708926"/>
                </a:cubicBezTo>
                <a:cubicBezTo>
                  <a:pt x="1772469" y="716657"/>
                  <a:pt x="1764309" y="721039"/>
                  <a:pt x="1756526" y="718790"/>
                </a:cubicBezTo>
                <a:close/>
                <a:moveTo>
                  <a:pt x="1798046" y="583409"/>
                </a:moveTo>
                <a:cubicBezTo>
                  <a:pt x="1790332" y="580992"/>
                  <a:pt x="1786080" y="572794"/>
                  <a:pt x="1788480" y="565097"/>
                </a:cubicBezTo>
                <a:cubicBezTo>
                  <a:pt x="1790914" y="557397"/>
                  <a:pt x="1799109" y="553115"/>
                  <a:pt x="1806789" y="555532"/>
                </a:cubicBezTo>
                <a:cubicBezTo>
                  <a:pt x="1806960" y="555583"/>
                  <a:pt x="1807097" y="555635"/>
                  <a:pt x="1807269" y="555689"/>
                </a:cubicBezTo>
                <a:cubicBezTo>
                  <a:pt x="1814983" y="558106"/>
                  <a:pt x="1819234" y="566304"/>
                  <a:pt x="1816834" y="574002"/>
                </a:cubicBezTo>
                <a:cubicBezTo>
                  <a:pt x="1814400" y="581702"/>
                  <a:pt x="1806206" y="585984"/>
                  <a:pt x="1798526" y="583567"/>
                </a:cubicBezTo>
                <a:cubicBezTo>
                  <a:pt x="1798354" y="583516"/>
                  <a:pt x="1798217" y="583464"/>
                  <a:pt x="1798046" y="583409"/>
                </a:cubicBezTo>
                <a:close/>
                <a:moveTo>
                  <a:pt x="1839874" y="448499"/>
                </a:moveTo>
                <a:cubicBezTo>
                  <a:pt x="1833669" y="446359"/>
                  <a:pt x="1829623" y="440397"/>
                  <a:pt x="1829897" y="433841"/>
                </a:cubicBezTo>
                <a:cubicBezTo>
                  <a:pt x="1830137" y="427019"/>
                  <a:pt x="1835074" y="421276"/>
                  <a:pt x="1841795" y="420038"/>
                </a:cubicBezTo>
                <a:cubicBezTo>
                  <a:pt x="1843303" y="419729"/>
                  <a:pt x="1844846" y="419517"/>
                  <a:pt x="1846389" y="419260"/>
                </a:cubicBezTo>
                <a:cubicBezTo>
                  <a:pt x="1848137" y="419801"/>
                  <a:pt x="1849852" y="420340"/>
                  <a:pt x="1851600" y="420878"/>
                </a:cubicBezTo>
                <a:cubicBezTo>
                  <a:pt x="1852732" y="421955"/>
                  <a:pt x="1853897" y="422997"/>
                  <a:pt x="1854960" y="424115"/>
                </a:cubicBezTo>
                <a:cubicBezTo>
                  <a:pt x="1859589" y="428757"/>
                  <a:pt x="1860617" y="435895"/>
                  <a:pt x="1857463" y="441648"/>
                </a:cubicBezTo>
                <a:cubicBezTo>
                  <a:pt x="1853931" y="447772"/>
                  <a:pt x="1846629" y="450617"/>
                  <a:pt x="1839874" y="448499"/>
                </a:cubicBezTo>
                <a:close/>
                <a:moveTo>
                  <a:pt x="1542446" y="1408602"/>
                </a:moveTo>
                <a:cubicBezTo>
                  <a:pt x="1550160" y="1411070"/>
                  <a:pt x="1554480" y="1419271"/>
                  <a:pt x="1552149" y="1427033"/>
                </a:cubicBezTo>
                <a:cubicBezTo>
                  <a:pt x="1549543" y="1434696"/>
                  <a:pt x="1541315" y="1438924"/>
                  <a:pt x="1533566" y="1436610"/>
                </a:cubicBezTo>
                <a:cubicBezTo>
                  <a:pt x="1525852" y="1434100"/>
                  <a:pt x="1521566" y="1425854"/>
                  <a:pt x="1523966" y="1418095"/>
                </a:cubicBezTo>
                <a:cubicBezTo>
                  <a:pt x="1526434" y="1410371"/>
                  <a:pt x="1534732" y="1406119"/>
                  <a:pt x="1542446" y="1408602"/>
                </a:cubicBezTo>
                <a:close/>
                <a:moveTo>
                  <a:pt x="1705269" y="406742"/>
                </a:moveTo>
                <a:cubicBezTo>
                  <a:pt x="1698994" y="404781"/>
                  <a:pt x="1694709" y="398997"/>
                  <a:pt x="1694640" y="392424"/>
                </a:cubicBezTo>
                <a:cubicBezTo>
                  <a:pt x="1694709" y="385564"/>
                  <a:pt x="1699543" y="379667"/>
                  <a:pt x="1706229" y="378199"/>
                </a:cubicBezTo>
                <a:cubicBezTo>
                  <a:pt x="1707703" y="377832"/>
                  <a:pt x="1709212" y="377513"/>
                  <a:pt x="1710720" y="377171"/>
                </a:cubicBezTo>
                <a:cubicBezTo>
                  <a:pt x="1712880" y="377856"/>
                  <a:pt x="1715074" y="378518"/>
                  <a:pt x="1717234" y="379193"/>
                </a:cubicBezTo>
                <a:cubicBezTo>
                  <a:pt x="1718263" y="380342"/>
                  <a:pt x="1719257" y="381491"/>
                  <a:pt x="1720286" y="382643"/>
                </a:cubicBezTo>
                <a:cubicBezTo>
                  <a:pt x="1724880" y="387710"/>
                  <a:pt x="1725394" y="395280"/>
                  <a:pt x="1721520" y="400920"/>
                </a:cubicBezTo>
                <a:cubicBezTo>
                  <a:pt x="1717852" y="406060"/>
                  <a:pt x="1711372" y="408381"/>
                  <a:pt x="1705269" y="406742"/>
                </a:cubicBezTo>
                <a:close/>
                <a:moveTo>
                  <a:pt x="1135269" y="1765992"/>
                </a:moveTo>
                <a:cubicBezTo>
                  <a:pt x="1127520" y="1763747"/>
                  <a:pt x="1123097" y="1755655"/>
                  <a:pt x="1125326" y="1747920"/>
                </a:cubicBezTo>
                <a:cubicBezTo>
                  <a:pt x="1127589" y="1740189"/>
                  <a:pt x="1135680" y="1735739"/>
                  <a:pt x="1143394" y="1737988"/>
                </a:cubicBezTo>
                <a:cubicBezTo>
                  <a:pt x="1143497" y="1738015"/>
                  <a:pt x="1143600" y="1738046"/>
                  <a:pt x="1143703" y="1738077"/>
                </a:cubicBezTo>
                <a:cubicBezTo>
                  <a:pt x="1151451" y="1740220"/>
                  <a:pt x="1156012" y="1748253"/>
                  <a:pt x="1153886" y="1756015"/>
                </a:cubicBezTo>
                <a:cubicBezTo>
                  <a:pt x="1151726" y="1763781"/>
                  <a:pt x="1143703" y="1768337"/>
                  <a:pt x="1135955" y="1766195"/>
                </a:cubicBezTo>
                <a:cubicBezTo>
                  <a:pt x="1135714" y="1766133"/>
                  <a:pt x="1135509" y="1766064"/>
                  <a:pt x="1135269" y="1765992"/>
                </a:cubicBezTo>
                <a:close/>
                <a:moveTo>
                  <a:pt x="1527943" y="499615"/>
                </a:moveTo>
                <a:cubicBezTo>
                  <a:pt x="1520229" y="497243"/>
                  <a:pt x="1515909" y="489072"/>
                  <a:pt x="1518275" y="481365"/>
                </a:cubicBezTo>
                <a:cubicBezTo>
                  <a:pt x="1520640" y="473657"/>
                  <a:pt x="1528834" y="469331"/>
                  <a:pt x="1536514" y="471703"/>
                </a:cubicBezTo>
                <a:cubicBezTo>
                  <a:pt x="1536583" y="471720"/>
                  <a:pt x="1536652" y="471741"/>
                  <a:pt x="1536720" y="471761"/>
                </a:cubicBezTo>
                <a:cubicBezTo>
                  <a:pt x="1544469" y="474011"/>
                  <a:pt x="1548926" y="482112"/>
                  <a:pt x="1546663" y="489861"/>
                </a:cubicBezTo>
                <a:cubicBezTo>
                  <a:pt x="1544434" y="497606"/>
                  <a:pt x="1536309" y="502063"/>
                  <a:pt x="1528560" y="499814"/>
                </a:cubicBezTo>
                <a:cubicBezTo>
                  <a:pt x="1528354" y="499752"/>
                  <a:pt x="1528149" y="499687"/>
                  <a:pt x="1527943" y="499615"/>
                </a:cubicBezTo>
                <a:close/>
                <a:moveTo>
                  <a:pt x="1569326" y="364553"/>
                </a:moveTo>
                <a:cubicBezTo>
                  <a:pt x="1562949" y="362184"/>
                  <a:pt x="1558937" y="355831"/>
                  <a:pt x="1559554" y="349053"/>
                </a:cubicBezTo>
                <a:cubicBezTo>
                  <a:pt x="1560275" y="342525"/>
                  <a:pt x="1565212" y="337255"/>
                  <a:pt x="1571692" y="336124"/>
                </a:cubicBezTo>
                <a:cubicBezTo>
                  <a:pt x="1573234" y="335843"/>
                  <a:pt x="1574812" y="335699"/>
                  <a:pt x="1576354" y="335489"/>
                </a:cubicBezTo>
                <a:cubicBezTo>
                  <a:pt x="1578103" y="336031"/>
                  <a:pt x="1579852" y="336569"/>
                  <a:pt x="1581566" y="337108"/>
                </a:cubicBezTo>
                <a:cubicBezTo>
                  <a:pt x="1582800" y="338380"/>
                  <a:pt x="1584103" y="339593"/>
                  <a:pt x="1585269" y="340931"/>
                </a:cubicBezTo>
                <a:cubicBezTo>
                  <a:pt x="1589623" y="345827"/>
                  <a:pt x="1590172" y="353051"/>
                  <a:pt x="1586571" y="358536"/>
                </a:cubicBezTo>
                <a:cubicBezTo>
                  <a:pt x="1582903" y="364279"/>
                  <a:pt x="1575771" y="366765"/>
                  <a:pt x="1569326" y="364553"/>
                </a:cubicBezTo>
                <a:close/>
                <a:moveTo>
                  <a:pt x="1450594" y="749925"/>
                </a:moveTo>
                <a:cubicBezTo>
                  <a:pt x="1458275" y="752551"/>
                  <a:pt x="1462526" y="760793"/>
                  <a:pt x="1460160" y="768569"/>
                </a:cubicBezTo>
                <a:cubicBezTo>
                  <a:pt x="1457417" y="776198"/>
                  <a:pt x="1449189" y="780347"/>
                  <a:pt x="1441406" y="778015"/>
                </a:cubicBezTo>
                <a:cubicBezTo>
                  <a:pt x="1433657" y="775478"/>
                  <a:pt x="1429406" y="767129"/>
                  <a:pt x="1431943" y="759371"/>
                </a:cubicBezTo>
                <a:cubicBezTo>
                  <a:pt x="1434480" y="751612"/>
                  <a:pt x="1442846" y="747377"/>
                  <a:pt x="1450594" y="749915"/>
                </a:cubicBezTo>
                <a:close/>
                <a:moveTo>
                  <a:pt x="1494617" y="606611"/>
                </a:moveTo>
                <a:cubicBezTo>
                  <a:pt x="1502332" y="609100"/>
                  <a:pt x="1506754" y="617188"/>
                  <a:pt x="1504697" y="625032"/>
                </a:cubicBezTo>
                <a:cubicBezTo>
                  <a:pt x="1502229" y="632757"/>
                  <a:pt x="1494069" y="637135"/>
                  <a:pt x="1486251" y="634937"/>
                </a:cubicBezTo>
                <a:cubicBezTo>
                  <a:pt x="1478400" y="632678"/>
                  <a:pt x="1473909" y="624497"/>
                  <a:pt x="1476137" y="616660"/>
                </a:cubicBezTo>
                <a:cubicBezTo>
                  <a:pt x="1478400" y="608822"/>
                  <a:pt x="1486594" y="604300"/>
                  <a:pt x="1494446" y="606559"/>
                </a:cubicBezTo>
                <a:cubicBezTo>
                  <a:pt x="1494480" y="606576"/>
                  <a:pt x="1494549" y="606593"/>
                  <a:pt x="1494617" y="606614"/>
                </a:cubicBezTo>
                <a:close/>
                <a:moveTo>
                  <a:pt x="1408594" y="885100"/>
                </a:moveTo>
                <a:cubicBezTo>
                  <a:pt x="1416343" y="887455"/>
                  <a:pt x="1420697" y="895636"/>
                  <a:pt x="1418332" y="903371"/>
                </a:cubicBezTo>
                <a:cubicBezTo>
                  <a:pt x="1415966" y="911105"/>
                  <a:pt x="1407806" y="915467"/>
                  <a:pt x="1400057" y="913108"/>
                </a:cubicBezTo>
                <a:cubicBezTo>
                  <a:pt x="1399920" y="913063"/>
                  <a:pt x="1399749" y="913015"/>
                  <a:pt x="1399611" y="912964"/>
                </a:cubicBezTo>
                <a:cubicBezTo>
                  <a:pt x="1391863" y="910653"/>
                  <a:pt x="1387440" y="902496"/>
                  <a:pt x="1389771" y="894751"/>
                </a:cubicBezTo>
                <a:cubicBezTo>
                  <a:pt x="1392069" y="887003"/>
                  <a:pt x="1400229" y="882593"/>
                  <a:pt x="1407977" y="884904"/>
                </a:cubicBezTo>
                <a:cubicBezTo>
                  <a:pt x="1408183" y="884966"/>
                  <a:pt x="1408389" y="885031"/>
                  <a:pt x="1408594" y="885103"/>
                </a:cubicBezTo>
                <a:close/>
                <a:moveTo>
                  <a:pt x="1185943" y="1602844"/>
                </a:moveTo>
                <a:cubicBezTo>
                  <a:pt x="1193760" y="1605295"/>
                  <a:pt x="1198080" y="1613610"/>
                  <a:pt x="1195646" y="1621413"/>
                </a:cubicBezTo>
                <a:cubicBezTo>
                  <a:pt x="1193177" y="1629216"/>
                  <a:pt x="1184880" y="1633557"/>
                  <a:pt x="1177063" y="1631105"/>
                </a:cubicBezTo>
                <a:cubicBezTo>
                  <a:pt x="1176994" y="1631082"/>
                  <a:pt x="1176892" y="1631054"/>
                  <a:pt x="1176823" y="1631027"/>
                </a:cubicBezTo>
                <a:cubicBezTo>
                  <a:pt x="1169074" y="1628373"/>
                  <a:pt x="1164960" y="1619952"/>
                  <a:pt x="1167600" y="1612214"/>
                </a:cubicBezTo>
                <a:cubicBezTo>
                  <a:pt x="1170206" y="1604661"/>
                  <a:pt x="1178297" y="1600519"/>
                  <a:pt x="1185943" y="1602847"/>
                </a:cubicBezTo>
                <a:close/>
                <a:moveTo>
                  <a:pt x="1229966" y="1459626"/>
                </a:moveTo>
                <a:cubicBezTo>
                  <a:pt x="1237714" y="1462080"/>
                  <a:pt x="1242137" y="1470172"/>
                  <a:pt x="1240080" y="1478020"/>
                </a:cubicBezTo>
                <a:cubicBezTo>
                  <a:pt x="1237611" y="1485758"/>
                  <a:pt x="1229451" y="1490136"/>
                  <a:pt x="1221635" y="1487904"/>
                </a:cubicBezTo>
                <a:cubicBezTo>
                  <a:pt x="1213817" y="1485607"/>
                  <a:pt x="1209360" y="1477437"/>
                  <a:pt x="1211623" y="1469627"/>
                </a:cubicBezTo>
                <a:cubicBezTo>
                  <a:pt x="1213989" y="1461857"/>
                  <a:pt x="1222149" y="1457411"/>
                  <a:pt x="1229966" y="1459629"/>
                </a:cubicBezTo>
                <a:close/>
                <a:moveTo>
                  <a:pt x="1263429" y="1352801"/>
                </a:moveTo>
                <a:cubicBezTo>
                  <a:pt x="1255680" y="1350388"/>
                  <a:pt x="1251291" y="1342204"/>
                  <a:pt x="1253589" y="1334417"/>
                </a:cubicBezTo>
                <a:cubicBezTo>
                  <a:pt x="1255955" y="1326665"/>
                  <a:pt x="1264149" y="1322294"/>
                  <a:pt x="1271897" y="1324656"/>
                </a:cubicBezTo>
                <a:cubicBezTo>
                  <a:pt x="1271931" y="1324663"/>
                  <a:pt x="1271931" y="1324670"/>
                  <a:pt x="1271966" y="1324677"/>
                </a:cubicBezTo>
                <a:cubicBezTo>
                  <a:pt x="1279714" y="1327056"/>
                  <a:pt x="1284172" y="1335196"/>
                  <a:pt x="1281977" y="1343013"/>
                </a:cubicBezTo>
                <a:cubicBezTo>
                  <a:pt x="1279406" y="1350703"/>
                  <a:pt x="1271246" y="1355013"/>
                  <a:pt x="1263429" y="1352805"/>
                </a:cubicBezTo>
                <a:close/>
                <a:moveTo>
                  <a:pt x="1348046" y="1029960"/>
                </a:moveTo>
                <a:cubicBezTo>
                  <a:pt x="1350411" y="1022184"/>
                  <a:pt x="1358571" y="1017737"/>
                  <a:pt x="1366389" y="1019969"/>
                </a:cubicBezTo>
                <a:cubicBezTo>
                  <a:pt x="1374240" y="1022232"/>
                  <a:pt x="1378732" y="1030420"/>
                  <a:pt x="1376469" y="1038254"/>
                </a:cubicBezTo>
                <a:cubicBezTo>
                  <a:pt x="1374206" y="1046088"/>
                  <a:pt x="1366046" y="1050607"/>
                  <a:pt x="1358194" y="1048344"/>
                </a:cubicBezTo>
                <a:cubicBezTo>
                  <a:pt x="1358126" y="1048324"/>
                  <a:pt x="1358057" y="1048303"/>
                  <a:pt x="1357989" y="1048283"/>
                </a:cubicBezTo>
                <a:cubicBezTo>
                  <a:pt x="1350206" y="1045931"/>
                  <a:pt x="1345783" y="1037764"/>
                  <a:pt x="1348046" y="1029964"/>
                </a:cubicBezTo>
                <a:close/>
                <a:moveTo>
                  <a:pt x="1305052" y="1217630"/>
                </a:moveTo>
                <a:cubicBezTo>
                  <a:pt x="1297303" y="1215103"/>
                  <a:pt x="1293052" y="1206765"/>
                  <a:pt x="1295589" y="1199010"/>
                </a:cubicBezTo>
                <a:cubicBezTo>
                  <a:pt x="1298126" y="1191254"/>
                  <a:pt x="1306457" y="1187016"/>
                  <a:pt x="1314206" y="1189543"/>
                </a:cubicBezTo>
                <a:cubicBezTo>
                  <a:pt x="1321955" y="1192070"/>
                  <a:pt x="1326206" y="1200408"/>
                  <a:pt x="1323669" y="1208167"/>
                </a:cubicBezTo>
                <a:cubicBezTo>
                  <a:pt x="1321132" y="1215923"/>
                  <a:pt x="1312800" y="1220160"/>
                  <a:pt x="1305052" y="1217633"/>
                </a:cubicBezTo>
                <a:close/>
                <a:moveTo>
                  <a:pt x="1434549" y="322752"/>
                </a:moveTo>
                <a:cubicBezTo>
                  <a:pt x="1428343" y="320675"/>
                  <a:pt x="1424229" y="314777"/>
                  <a:pt x="1424400" y="308229"/>
                </a:cubicBezTo>
                <a:cubicBezTo>
                  <a:pt x="1424537" y="301396"/>
                  <a:pt x="1429406" y="295584"/>
                  <a:pt x="1436126" y="294278"/>
                </a:cubicBezTo>
                <a:cubicBezTo>
                  <a:pt x="1437635" y="293935"/>
                  <a:pt x="1439177" y="293688"/>
                  <a:pt x="1440686" y="293400"/>
                </a:cubicBezTo>
                <a:cubicBezTo>
                  <a:pt x="1442434" y="293939"/>
                  <a:pt x="1444183" y="294477"/>
                  <a:pt x="1445897" y="295019"/>
                </a:cubicBezTo>
                <a:cubicBezTo>
                  <a:pt x="1447063" y="296075"/>
                  <a:pt x="1448263" y="297076"/>
                  <a:pt x="1449394" y="298193"/>
                </a:cubicBezTo>
                <a:cubicBezTo>
                  <a:pt x="1454263" y="302976"/>
                  <a:pt x="1455223" y="310454"/>
                  <a:pt x="1451726" y="316310"/>
                </a:cubicBezTo>
                <a:cubicBezTo>
                  <a:pt x="1448091" y="322073"/>
                  <a:pt x="1441063" y="324710"/>
                  <a:pt x="1434549" y="322756"/>
                </a:cubicBezTo>
                <a:close/>
                <a:moveTo>
                  <a:pt x="1401463" y="429796"/>
                </a:moveTo>
                <a:cubicBezTo>
                  <a:pt x="1409212" y="432062"/>
                  <a:pt x="1413635" y="440177"/>
                  <a:pt x="1411372" y="447919"/>
                </a:cubicBezTo>
                <a:cubicBezTo>
                  <a:pt x="1409109" y="455661"/>
                  <a:pt x="1400983" y="460097"/>
                  <a:pt x="1393234" y="457828"/>
                </a:cubicBezTo>
                <a:cubicBezTo>
                  <a:pt x="1393132" y="457790"/>
                  <a:pt x="1392994" y="457749"/>
                  <a:pt x="1392857" y="457708"/>
                </a:cubicBezTo>
                <a:cubicBezTo>
                  <a:pt x="1385109" y="455489"/>
                  <a:pt x="1380617" y="447405"/>
                  <a:pt x="1382846" y="439649"/>
                </a:cubicBezTo>
                <a:cubicBezTo>
                  <a:pt x="1385040" y="431894"/>
                  <a:pt x="1393132" y="427406"/>
                  <a:pt x="1400880" y="429621"/>
                </a:cubicBezTo>
                <a:cubicBezTo>
                  <a:pt x="1401086" y="429676"/>
                  <a:pt x="1401257" y="429737"/>
                  <a:pt x="1401463" y="429799"/>
                </a:cubicBezTo>
                <a:close/>
                <a:moveTo>
                  <a:pt x="1008686" y="1696173"/>
                </a:moveTo>
                <a:cubicBezTo>
                  <a:pt x="1016332" y="1698655"/>
                  <a:pt x="1020549" y="1706877"/>
                  <a:pt x="1018080" y="1714540"/>
                </a:cubicBezTo>
                <a:cubicBezTo>
                  <a:pt x="1015577" y="1722199"/>
                  <a:pt x="1007349" y="1726399"/>
                  <a:pt x="999703" y="1723917"/>
                </a:cubicBezTo>
                <a:cubicBezTo>
                  <a:pt x="992091" y="1721455"/>
                  <a:pt x="987874" y="1713326"/>
                  <a:pt x="990275" y="1705698"/>
                </a:cubicBezTo>
                <a:cubicBezTo>
                  <a:pt x="992640" y="1698038"/>
                  <a:pt x="1000731" y="1693735"/>
                  <a:pt x="1008411" y="1696084"/>
                </a:cubicBezTo>
                <a:cubicBezTo>
                  <a:pt x="1008480" y="1696115"/>
                  <a:pt x="1008583" y="1696146"/>
                  <a:pt x="1008686" y="1696176"/>
                </a:cubicBezTo>
                <a:close/>
                <a:moveTo>
                  <a:pt x="1299874" y="280968"/>
                </a:moveTo>
                <a:cubicBezTo>
                  <a:pt x="1293840" y="279131"/>
                  <a:pt x="1289554" y="273737"/>
                  <a:pt x="1289143" y="267429"/>
                </a:cubicBezTo>
                <a:cubicBezTo>
                  <a:pt x="1288903" y="260846"/>
                  <a:pt x="1293017" y="254890"/>
                  <a:pt x="1299257" y="252782"/>
                </a:cubicBezTo>
                <a:cubicBezTo>
                  <a:pt x="1301143" y="252161"/>
                  <a:pt x="1303097" y="251795"/>
                  <a:pt x="1305017" y="251311"/>
                </a:cubicBezTo>
                <a:cubicBezTo>
                  <a:pt x="1307212" y="251997"/>
                  <a:pt x="1309372" y="252658"/>
                  <a:pt x="1311532" y="253334"/>
                </a:cubicBezTo>
                <a:cubicBezTo>
                  <a:pt x="1312732" y="254633"/>
                  <a:pt x="1314000" y="255885"/>
                  <a:pt x="1315132" y="257236"/>
                </a:cubicBezTo>
                <a:cubicBezTo>
                  <a:pt x="1319383" y="262289"/>
                  <a:pt x="1319760" y="269537"/>
                  <a:pt x="1316057" y="275003"/>
                </a:cubicBezTo>
                <a:cubicBezTo>
                  <a:pt x="1312457" y="280200"/>
                  <a:pt x="1305977" y="282587"/>
                  <a:pt x="1299874" y="280972"/>
                </a:cubicBezTo>
                <a:close/>
                <a:moveTo>
                  <a:pt x="729771" y="1640191"/>
                </a:moveTo>
                <a:cubicBezTo>
                  <a:pt x="722023" y="1638017"/>
                  <a:pt x="717497" y="1629971"/>
                  <a:pt x="719657" y="1622212"/>
                </a:cubicBezTo>
                <a:cubicBezTo>
                  <a:pt x="721817" y="1614456"/>
                  <a:pt x="729874" y="1609931"/>
                  <a:pt x="737623" y="1612101"/>
                </a:cubicBezTo>
                <a:cubicBezTo>
                  <a:pt x="737829" y="1612152"/>
                  <a:pt x="738000" y="1612204"/>
                  <a:pt x="738172" y="1612262"/>
                </a:cubicBezTo>
                <a:cubicBezTo>
                  <a:pt x="745920" y="1614491"/>
                  <a:pt x="750377" y="1622572"/>
                  <a:pt x="748148" y="1630314"/>
                </a:cubicBezTo>
                <a:cubicBezTo>
                  <a:pt x="745920" y="1638055"/>
                  <a:pt x="737829" y="1642523"/>
                  <a:pt x="730115" y="1640294"/>
                </a:cubicBezTo>
                <a:cubicBezTo>
                  <a:pt x="729977" y="1640263"/>
                  <a:pt x="729874" y="1640229"/>
                  <a:pt x="729771" y="1640195"/>
                </a:cubicBezTo>
                <a:close/>
                <a:moveTo>
                  <a:pt x="994354" y="787235"/>
                </a:moveTo>
                <a:cubicBezTo>
                  <a:pt x="986606" y="784886"/>
                  <a:pt x="982251" y="776712"/>
                  <a:pt x="984617" y="768977"/>
                </a:cubicBezTo>
                <a:cubicBezTo>
                  <a:pt x="986949" y="761243"/>
                  <a:pt x="995109" y="756874"/>
                  <a:pt x="1002857" y="759223"/>
                </a:cubicBezTo>
                <a:cubicBezTo>
                  <a:pt x="1010640" y="761455"/>
                  <a:pt x="1015132" y="769567"/>
                  <a:pt x="1012869" y="777336"/>
                </a:cubicBezTo>
                <a:cubicBezTo>
                  <a:pt x="1010640" y="785109"/>
                  <a:pt x="1002549" y="789597"/>
                  <a:pt x="994766" y="787365"/>
                </a:cubicBezTo>
                <a:cubicBezTo>
                  <a:pt x="994629" y="787324"/>
                  <a:pt x="994492" y="787283"/>
                  <a:pt x="994354" y="787238"/>
                </a:cubicBezTo>
                <a:close/>
                <a:moveTo>
                  <a:pt x="1122823" y="373934"/>
                </a:moveTo>
                <a:cubicBezTo>
                  <a:pt x="1115040" y="371805"/>
                  <a:pt x="1110446" y="363768"/>
                  <a:pt x="1112571" y="355982"/>
                </a:cubicBezTo>
                <a:cubicBezTo>
                  <a:pt x="1114732" y="348199"/>
                  <a:pt x="1122754" y="343615"/>
                  <a:pt x="1130537" y="345744"/>
                </a:cubicBezTo>
                <a:cubicBezTo>
                  <a:pt x="1130640" y="345775"/>
                  <a:pt x="1130777" y="345809"/>
                  <a:pt x="1130880" y="345844"/>
                </a:cubicBezTo>
                <a:cubicBezTo>
                  <a:pt x="1138629" y="348069"/>
                  <a:pt x="1143120" y="356160"/>
                  <a:pt x="1140892" y="363919"/>
                </a:cubicBezTo>
                <a:cubicBezTo>
                  <a:pt x="1138663" y="371678"/>
                  <a:pt x="1130571" y="376163"/>
                  <a:pt x="1122823" y="373937"/>
                </a:cubicBezTo>
                <a:close/>
                <a:moveTo>
                  <a:pt x="1163966" y="238817"/>
                </a:moveTo>
                <a:cubicBezTo>
                  <a:pt x="1157520" y="236555"/>
                  <a:pt x="1153475" y="230205"/>
                  <a:pt x="1154091" y="223416"/>
                </a:cubicBezTo>
                <a:cubicBezTo>
                  <a:pt x="1154674" y="216871"/>
                  <a:pt x="1159543" y="211526"/>
                  <a:pt x="1166023" y="210357"/>
                </a:cubicBezTo>
                <a:cubicBezTo>
                  <a:pt x="1167566" y="210059"/>
                  <a:pt x="1169109" y="209867"/>
                  <a:pt x="1170652" y="209630"/>
                </a:cubicBezTo>
                <a:cubicBezTo>
                  <a:pt x="1172400" y="210168"/>
                  <a:pt x="1174149" y="210707"/>
                  <a:pt x="1175863" y="211248"/>
                </a:cubicBezTo>
                <a:cubicBezTo>
                  <a:pt x="1177132" y="212500"/>
                  <a:pt x="1178469" y="213689"/>
                  <a:pt x="1179669" y="215020"/>
                </a:cubicBezTo>
                <a:cubicBezTo>
                  <a:pt x="1184091" y="219861"/>
                  <a:pt x="1184743" y="227078"/>
                  <a:pt x="1181212" y="232618"/>
                </a:cubicBezTo>
                <a:cubicBezTo>
                  <a:pt x="1177543" y="238385"/>
                  <a:pt x="1170446" y="240940"/>
                  <a:pt x="1163966" y="238821"/>
                </a:cubicBezTo>
                <a:close/>
                <a:moveTo>
                  <a:pt x="1089120" y="480813"/>
                </a:moveTo>
                <a:cubicBezTo>
                  <a:pt x="1096869" y="483275"/>
                  <a:pt x="1101291" y="491387"/>
                  <a:pt x="1099166" y="499221"/>
                </a:cubicBezTo>
                <a:cubicBezTo>
                  <a:pt x="1096732" y="506962"/>
                  <a:pt x="1088571" y="511358"/>
                  <a:pt x="1080754" y="509143"/>
                </a:cubicBezTo>
                <a:cubicBezTo>
                  <a:pt x="1072903" y="506966"/>
                  <a:pt x="1068275" y="498827"/>
                  <a:pt x="1070469" y="490965"/>
                </a:cubicBezTo>
                <a:cubicBezTo>
                  <a:pt x="1072629" y="483103"/>
                  <a:pt x="1080789" y="478498"/>
                  <a:pt x="1088640" y="480676"/>
                </a:cubicBezTo>
                <a:cubicBezTo>
                  <a:pt x="1088812" y="480720"/>
                  <a:pt x="1088949" y="480768"/>
                  <a:pt x="1089120" y="480816"/>
                </a:cubicBezTo>
                <a:close/>
                <a:moveTo>
                  <a:pt x="1045166" y="624127"/>
                </a:moveTo>
                <a:cubicBezTo>
                  <a:pt x="1052914" y="626699"/>
                  <a:pt x="1057097" y="635064"/>
                  <a:pt x="1054526" y="642813"/>
                </a:cubicBezTo>
                <a:cubicBezTo>
                  <a:pt x="1051955" y="650558"/>
                  <a:pt x="1043589" y="654755"/>
                  <a:pt x="1035840" y="652183"/>
                </a:cubicBezTo>
                <a:cubicBezTo>
                  <a:pt x="1028091" y="649608"/>
                  <a:pt x="1023909" y="641246"/>
                  <a:pt x="1026480" y="633497"/>
                </a:cubicBezTo>
                <a:cubicBezTo>
                  <a:pt x="1029120" y="625793"/>
                  <a:pt x="1037417" y="621624"/>
                  <a:pt x="1045166" y="624134"/>
                </a:cubicBezTo>
                <a:close/>
                <a:moveTo>
                  <a:pt x="952012" y="922330"/>
                </a:moveTo>
                <a:cubicBezTo>
                  <a:pt x="944229" y="919852"/>
                  <a:pt x="939943" y="911544"/>
                  <a:pt x="942446" y="903775"/>
                </a:cubicBezTo>
                <a:cubicBezTo>
                  <a:pt x="944914" y="896010"/>
                  <a:pt x="953212" y="891724"/>
                  <a:pt x="960994" y="894203"/>
                </a:cubicBezTo>
                <a:cubicBezTo>
                  <a:pt x="961132" y="894244"/>
                  <a:pt x="961234" y="894285"/>
                  <a:pt x="961372" y="894329"/>
                </a:cubicBezTo>
                <a:cubicBezTo>
                  <a:pt x="969120" y="896915"/>
                  <a:pt x="973269" y="905280"/>
                  <a:pt x="970697" y="913012"/>
                </a:cubicBezTo>
                <a:cubicBezTo>
                  <a:pt x="968126" y="920747"/>
                  <a:pt x="959760" y="924923"/>
                  <a:pt x="952012" y="922337"/>
                </a:cubicBezTo>
                <a:close/>
                <a:moveTo>
                  <a:pt x="899554" y="1091829"/>
                </a:moveTo>
                <a:cubicBezTo>
                  <a:pt x="891771" y="1089408"/>
                  <a:pt x="887417" y="1081132"/>
                  <a:pt x="889817" y="1073342"/>
                </a:cubicBezTo>
                <a:cubicBezTo>
                  <a:pt x="892251" y="1065549"/>
                  <a:pt x="900549" y="1061198"/>
                  <a:pt x="908332" y="1063619"/>
                </a:cubicBezTo>
                <a:cubicBezTo>
                  <a:pt x="908434" y="1063660"/>
                  <a:pt x="908571" y="1063701"/>
                  <a:pt x="908709" y="1063745"/>
                </a:cubicBezTo>
                <a:cubicBezTo>
                  <a:pt x="916457" y="1066272"/>
                  <a:pt x="920709" y="1074611"/>
                  <a:pt x="918172" y="1082369"/>
                </a:cubicBezTo>
                <a:cubicBezTo>
                  <a:pt x="915635" y="1090125"/>
                  <a:pt x="907303" y="1094363"/>
                  <a:pt x="899554" y="1091836"/>
                </a:cubicBezTo>
                <a:close/>
                <a:moveTo>
                  <a:pt x="866709" y="1198955"/>
                </a:moveTo>
                <a:cubicBezTo>
                  <a:pt x="874423" y="1201461"/>
                  <a:pt x="878709" y="1209683"/>
                  <a:pt x="876343" y="1217441"/>
                </a:cubicBezTo>
                <a:cubicBezTo>
                  <a:pt x="873669" y="1225091"/>
                  <a:pt x="865440" y="1229273"/>
                  <a:pt x="857692" y="1226922"/>
                </a:cubicBezTo>
                <a:cubicBezTo>
                  <a:pt x="849943" y="1224569"/>
                  <a:pt x="845520" y="1216372"/>
                  <a:pt x="847886" y="1208603"/>
                </a:cubicBezTo>
                <a:cubicBezTo>
                  <a:pt x="850251" y="1200837"/>
                  <a:pt x="858446" y="1196448"/>
                  <a:pt x="866194" y="1198800"/>
                </a:cubicBezTo>
                <a:cubicBezTo>
                  <a:pt x="866366" y="1198848"/>
                  <a:pt x="866537" y="1198903"/>
                  <a:pt x="866709" y="1198961"/>
                </a:cubicBezTo>
                <a:close/>
                <a:moveTo>
                  <a:pt x="806194" y="1343640"/>
                </a:moveTo>
                <a:cubicBezTo>
                  <a:pt x="808663" y="1335899"/>
                  <a:pt x="816857" y="1331551"/>
                  <a:pt x="824640" y="1333872"/>
                </a:cubicBezTo>
                <a:cubicBezTo>
                  <a:pt x="832354" y="1336413"/>
                  <a:pt x="836674" y="1344576"/>
                  <a:pt x="834480" y="1352387"/>
                </a:cubicBezTo>
                <a:cubicBezTo>
                  <a:pt x="831977" y="1360108"/>
                  <a:pt x="823749" y="1364404"/>
                  <a:pt x="815966" y="1362052"/>
                </a:cubicBezTo>
                <a:cubicBezTo>
                  <a:pt x="808183" y="1359665"/>
                  <a:pt x="803829" y="1351430"/>
                  <a:pt x="806194" y="1343651"/>
                </a:cubicBezTo>
                <a:close/>
                <a:moveTo>
                  <a:pt x="771429" y="1505256"/>
                </a:moveTo>
                <a:cubicBezTo>
                  <a:pt x="763611" y="1502795"/>
                  <a:pt x="759291" y="1494473"/>
                  <a:pt x="761760" y="1486673"/>
                </a:cubicBezTo>
                <a:cubicBezTo>
                  <a:pt x="764229" y="1478873"/>
                  <a:pt x="772526" y="1474543"/>
                  <a:pt x="780343" y="1477005"/>
                </a:cubicBezTo>
                <a:cubicBezTo>
                  <a:pt x="788160" y="1479467"/>
                  <a:pt x="792480" y="1487788"/>
                  <a:pt x="790012" y="1495595"/>
                </a:cubicBezTo>
                <a:cubicBezTo>
                  <a:pt x="787543" y="1503398"/>
                  <a:pt x="779246" y="1507728"/>
                  <a:pt x="771429" y="1505267"/>
                </a:cubicBezTo>
                <a:close/>
                <a:moveTo>
                  <a:pt x="1028709" y="196835"/>
                </a:moveTo>
                <a:cubicBezTo>
                  <a:pt x="1022777" y="194644"/>
                  <a:pt x="1018834" y="188993"/>
                  <a:pt x="1018834" y="182675"/>
                </a:cubicBezTo>
                <a:cubicBezTo>
                  <a:pt x="1018903" y="175814"/>
                  <a:pt x="1023737" y="169927"/>
                  <a:pt x="1030457" y="168508"/>
                </a:cubicBezTo>
                <a:cubicBezTo>
                  <a:pt x="1031966" y="168165"/>
                  <a:pt x="1033475" y="167856"/>
                  <a:pt x="1034983" y="167534"/>
                </a:cubicBezTo>
                <a:lnTo>
                  <a:pt x="1041532" y="169557"/>
                </a:lnTo>
                <a:cubicBezTo>
                  <a:pt x="1042526" y="170716"/>
                  <a:pt x="1043486" y="171875"/>
                  <a:pt x="1044480" y="173030"/>
                </a:cubicBezTo>
                <a:cubicBezTo>
                  <a:pt x="1049074" y="178115"/>
                  <a:pt x="1049554" y="185685"/>
                  <a:pt x="1045646" y="191308"/>
                </a:cubicBezTo>
                <a:cubicBezTo>
                  <a:pt x="1041806" y="196646"/>
                  <a:pt x="1034949" y="198888"/>
                  <a:pt x="1028709" y="196845"/>
                </a:cubicBezTo>
                <a:close/>
                <a:moveTo>
                  <a:pt x="724012" y="703368"/>
                </a:moveTo>
                <a:cubicBezTo>
                  <a:pt x="716263" y="701123"/>
                  <a:pt x="711771" y="693011"/>
                  <a:pt x="714034" y="685245"/>
                </a:cubicBezTo>
                <a:cubicBezTo>
                  <a:pt x="716263" y="677483"/>
                  <a:pt x="724389" y="673008"/>
                  <a:pt x="732137" y="675254"/>
                </a:cubicBezTo>
                <a:cubicBezTo>
                  <a:pt x="732275" y="675288"/>
                  <a:pt x="732377" y="675326"/>
                  <a:pt x="732514" y="675367"/>
                </a:cubicBezTo>
                <a:cubicBezTo>
                  <a:pt x="740263" y="677613"/>
                  <a:pt x="744754" y="685725"/>
                  <a:pt x="742492" y="693490"/>
                </a:cubicBezTo>
                <a:cubicBezTo>
                  <a:pt x="740263" y="701253"/>
                  <a:pt x="732137" y="705727"/>
                  <a:pt x="724389" y="703481"/>
                </a:cubicBezTo>
                <a:cubicBezTo>
                  <a:pt x="724251" y="703447"/>
                  <a:pt x="724148" y="703409"/>
                  <a:pt x="724012" y="703368"/>
                </a:cubicBezTo>
                <a:close/>
                <a:moveTo>
                  <a:pt x="800469" y="406848"/>
                </a:moveTo>
                <a:cubicBezTo>
                  <a:pt x="802903" y="399100"/>
                  <a:pt x="811097" y="394718"/>
                  <a:pt x="818880" y="396984"/>
                </a:cubicBezTo>
                <a:cubicBezTo>
                  <a:pt x="826629" y="399480"/>
                  <a:pt x="830983" y="407657"/>
                  <a:pt x="828754" y="415475"/>
                </a:cubicBezTo>
                <a:cubicBezTo>
                  <a:pt x="826286" y="423213"/>
                  <a:pt x="818057" y="427550"/>
                  <a:pt x="810275" y="425243"/>
                </a:cubicBezTo>
                <a:cubicBezTo>
                  <a:pt x="802492" y="422849"/>
                  <a:pt x="798137" y="414631"/>
                  <a:pt x="800469" y="406848"/>
                </a:cubicBezTo>
                <a:close/>
                <a:moveTo>
                  <a:pt x="765909" y="568451"/>
                </a:moveTo>
                <a:cubicBezTo>
                  <a:pt x="758091" y="566088"/>
                  <a:pt x="753669" y="557839"/>
                  <a:pt x="756034" y="550025"/>
                </a:cubicBezTo>
                <a:cubicBezTo>
                  <a:pt x="758400" y="542212"/>
                  <a:pt x="766663" y="537792"/>
                  <a:pt x="774446" y="540155"/>
                </a:cubicBezTo>
                <a:cubicBezTo>
                  <a:pt x="782263" y="542507"/>
                  <a:pt x="786686" y="550711"/>
                  <a:pt x="784354" y="558508"/>
                </a:cubicBezTo>
                <a:cubicBezTo>
                  <a:pt x="781920" y="566291"/>
                  <a:pt x="773726" y="570707"/>
                  <a:pt x="765909" y="568451"/>
                </a:cubicBezTo>
                <a:close/>
                <a:moveTo>
                  <a:pt x="852034" y="289931"/>
                </a:moveTo>
                <a:cubicBezTo>
                  <a:pt x="844320" y="287541"/>
                  <a:pt x="840034" y="279353"/>
                  <a:pt x="842400" y="271649"/>
                </a:cubicBezTo>
                <a:cubicBezTo>
                  <a:pt x="844800" y="263942"/>
                  <a:pt x="852994" y="259632"/>
                  <a:pt x="860709" y="262025"/>
                </a:cubicBezTo>
                <a:cubicBezTo>
                  <a:pt x="860777" y="262056"/>
                  <a:pt x="860880" y="262087"/>
                  <a:pt x="860983" y="262118"/>
                </a:cubicBezTo>
                <a:cubicBezTo>
                  <a:pt x="868697" y="264508"/>
                  <a:pt x="872983" y="272695"/>
                  <a:pt x="870617" y="280399"/>
                </a:cubicBezTo>
                <a:cubicBezTo>
                  <a:pt x="868217" y="288107"/>
                  <a:pt x="860023" y="292416"/>
                  <a:pt x="852308" y="290023"/>
                </a:cubicBezTo>
                <a:cubicBezTo>
                  <a:pt x="852240" y="289992"/>
                  <a:pt x="852137" y="289961"/>
                  <a:pt x="852034" y="289931"/>
                </a:cubicBezTo>
                <a:close/>
                <a:moveTo>
                  <a:pt x="894549" y="155219"/>
                </a:moveTo>
                <a:cubicBezTo>
                  <a:pt x="888206" y="153419"/>
                  <a:pt x="883783" y="147693"/>
                  <a:pt x="883646" y="141103"/>
                </a:cubicBezTo>
                <a:cubicBezTo>
                  <a:pt x="883577" y="134760"/>
                  <a:pt x="887589" y="129093"/>
                  <a:pt x="893589" y="127022"/>
                </a:cubicBezTo>
                <a:cubicBezTo>
                  <a:pt x="895475" y="126388"/>
                  <a:pt x="897429" y="125973"/>
                  <a:pt x="899314" y="125455"/>
                </a:cubicBezTo>
                <a:cubicBezTo>
                  <a:pt x="901509" y="126141"/>
                  <a:pt x="903669" y="126806"/>
                  <a:pt x="905863" y="127481"/>
                </a:cubicBezTo>
                <a:cubicBezTo>
                  <a:pt x="907063" y="128760"/>
                  <a:pt x="908366" y="129991"/>
                  <a:pt x="909532" y="131335"/>
                </a:cubicBezTo>
                <a:cubicBezTo>
                  <a:pt x="913714" y="136108"/>
                  <a:pt x="914297" y="143037"/>
                  <a:pt x="911006" y="148454"/>
                </a:cubicBezTo>
                <a:cubicBezTo>
                  <a:pt x="907646" y="154125"/>
                  <a:pt x="900926" y="156881"/>
                  <a:pt x="894549" y="155219"/>
                </a:cubicBezTo>
                <a:close/>
                <a:moveTo>
                  <a:pt x="758674" y="113078"/>
                </a:moveTo>
                <a:cubicBezTo>
                  <a:pt x="752469" y="110976"/>
                  <a:pt x="748354" y="105055"/>
                  <a:pt x="748594" y="98503"/>
                </a:cubicBezTo>
                <a:cubicBezTo>
                  <a:pt x="748766" y="91670"/>
                  <a:pt x="753669" y="85879"/>
                  <a:pt x="760389" y="84611"/>
                </a:cubicBezTo>
                <a:cubicBezTo>
                  <a:pt x="761897" y="84268"/>
                  <a:pt x="763440" y="84052"/>
                  <a:pt x="764949" y="83774"/>
                </a:cubicBezTo>
                <a:lnTo>
                  <a:pt x="770194" y="85392"/>
                </a:lnTo>
                <a:cubicBezTo>
                  <a:pt x="771326" y="86459"/>
                  <a:pt x="772526" y="87480"/>
                  <a:pt x="773623" y="88595"/>
                </a:cubicBezTo>
                <a:cubicBezTo>
                  <a:pt x="778457" y="93391"/>
                  <a:pt x="779383" y="100886"/>
                  <a:pt x="775817" y="106697"/>
                </a:cubicBezTo>
                <a:cubicBezTo>
                  <a:pt x="772217" y="112461"/>
                  <a:pt x="765189" y="115080"/>
                  <a:pt x="758674" y="113078"/>
                </a:cubicBezTo>
                <a:close/>
                <a:moveTo>
                  <a:pt x="725554" y="220108"/>
                </a:moveTo>
                <a:cubicBezTo>
                  <a:pt x="733269" y="222491"/>
                  <a:pt x="737589" y="230668"/>
                  <a:pt x="735189" y="238379"/>
                </a:cubicBezTo>
                <a:cubicBezTo>
                  <a:pt x="732823" y="246086"/>
                  <a:pt x="724629" y="250406"/>
                  <a:pt x="716914" y="248023"/>
                </a:cubicBezTo>
                <a:cubicBezTo>
                  <a:pt x="709269" y="245657"/>
                  <a:pt x="704949" y="237559"/>
                  <a:pt x="707246" y="229879"/>
                </a:cubicBezTo>
                <a:cubicBezTo>
                  <a:pt x="709577" y="222141"/>
                  <a:pt x="717737" y="217756"/>
                  <a:pt x="725451" y="220080"/>
                </a:cubicBezTo>
                <a:cubicBezTo>
                  <a:pt x="725486" y="220091"/>
                  <a:pt x="725520" y="220097"/>
                  <a:pt x="725554" y="220108"/>
                </a:cubicBezTo>
                <a:close/>
                <a:moveTo>
                  <a:pt x="332777" y="1486495"/>
                </a:moveTo>
                <a:cubicBezTo>
                  <a:pt x="340457" y="1488943"/>
                  <a:pt x="344674" y="1497148"/>
                  <a:pt x="342240" y="1504821"/>
                </a:cubicBezTo>
                <a:cubicBezTo>
                  <a:pt x="339771" y="1512491"/>
                  <a:pt x="331577" y="1516725"/>
                  <a:pt x="323897" y="1514277"/>
                </a:cubicBezTo>
                <a:cubicBezTo>
                  <a:pt x="316286" y="1511850"/>
                  <a:pt x="312069" y="1503755"/>
                  <a:pt x="314400" y="1496119"/>
                </a:cubicBezTo>
                <a:cubicBezTo>
                  <a:pt x="316731" y="1488425"/>
                  <a:pt x="324891" y="1484088"/>
                  <a:pt x="332571" y="1486433"/>
                </a:cubicBezTo>
                <a:cubicBezTo>
                  <a:pt x="332640" y="1486454"/>
                  <a:pt x="332709" y="1486475"/>
                  <a:pt x="332777" y="1486495"/>
                </a:cubicBezTo>
                <a:close/>
                <a:moveTo>
                  <a:pt x="624000" y="71301"/>
                </a:moveTo>
                <a:cubicBezTo>
                  <a:pt x="617726" y="69364"/>
                  <a:pt x="613406" y="63600"/>
                  <a:pt x="613337" y="57031"/>
                </a:cubicBezTo>
                <a:cubicBezTo>
                  <a:pt x="613372" y="50181"/>
                  <a:pt x="618137" y="44263"/>
                  <a:pt x="624823" y="42761"/>
                </a:cubicBezTo>
                <a:cubicBezTo>
                  <a:pt x="626297" y="42388"/>
                  <a:pt x="627806" y="42045"/>
                  <a:pt x="629280" y="41685"/>
                </a:cubicBezTo>
                <a:cubicBezTo>
                  <a:pt x="631475" y="42371"/>
                  <a:pt x="633635" y="43036"/>
                  <a:pt x="635829" y="43711"/>
                </a:cubicBezTo>
                <a:cubicBezTo>
                  <a:pt x="636857" y="44849"/>
                  <a:pt x="637886" y="45984"/>
                  <a:pt x="638880" y="47140"/>
                </a:cubicBezTo>
                <a:cubicBezTo>
                  <a:pt x="643509" y="52180"/>
                  <a:pt x="644057" y="59747"/>
                  <a:pt x="640217" y="65407"/>
                </a:cubicBezTo>
                <a:cubicBezTo>
                  <a:pt x="636583" y="70574"/>
                  <a:pt x="630103" y="72926"/>
                  <a:pt x="624000" y="71301"/>
                </a:cubicBezTo>
                <a:close/>
                <a:moveTo>
                  <a:pt x="185692" y="1017909"/>
                </a:moveTo>
                <a:cubicBezTo>
                  <a:pt x="178903" y="1017590"/>
                  <a:pt x="173212" y="1012663"/>
                  <a:pt x="171909" y="1005984"/>
                </a:cubicBezTo>
                <a:cubicBezTo>
                  <a:pt x="171463" y="1004051"/>
                  <a:pt x="170846" y="1002155"/>
                  <a:pt x="170332" y="1000242"/>
                </a:cubicBezTo>
                <a:cubicBezTo>
                  <a:pt x="170743" y="998939"/>
                  <a:pt x="171154" y="997632"/>
                  <a:pt x="171532" y="996329"/>
                </a:cubicBezTo>
                <a:cubicBezTo>
                  <a:pt x="173074" y="995105"/>
                  <a:pt x="174686" y="993957"/>
                  <a:pt x="176160" y="992647"/>
                </a:cubicBezTo>
                <a:cubicBezTo>
                  <a:pt x="181097" y="987971"/>
                  <a:pt x="188571" y="987213"/>
                  <a:pt x="194332" y="990802"/>
                </a:cubicBezTo>
                <a:cubicBezTo>
                  <a:pt x="199749" y="994430"/>
                  <a:pt x="202320" y="1001095"/>
                  <a:pt x="200674" y="1007421"/>
                </a:cubicBezTo>
                <a:cubicBezTo>
                  <a:pt x="198617" y="1013894"/>
                  <a:pt x="192480" y="1018190"/>
                  <a:pt x="185692" y="1017909"/>
                </a:cubicBezTo>
                <a:close/>
                <a:moveTo>
                  <a:pt x="408720" y="300134"/>
                </a:moveTo>
                <a:cubicBezTo>
                  <a:pt x="401931" y="299890"/>
                  <a:pt x="396137" y="295084"/>
                  <a:pt x="394663" y="288443"/>
                </a:cubicBezTo>
                <a:cubicBezTo>
                  <a:pt x="394217" y="286560"/>
                  <a:pt x="393463" y="284743"/>
                  <a:pt x="392880" y="282895"/>
                </a:cubicBezTo>
                <a:cubicBezTo>
                  <a:pt x="393291" y="281589"/>
                  <a:pt x="393669" y="280286"/>
                  <a:pt x="394080" y="278983"/>
                </a:cubicBezTo>
                <a:cubicBezTo>
                  <a:pt x="395589" y="277660"/>
                  <a:pt x="397132" y="276381"/>
                  <a:pt x="398606" y="275009"/>
                </a:cubicBezTo>
                <a:cubicBezTo>
                  <a:pt x="403372" y="270131"/>
                  <a:pt x="410880" y="269212"/>
                  <a:pt x="416674" y="272805"/>
                </a:cubicBezTo>
                <a:cubicBezTo>
                  <a:pt x="422468" y="276336"/>
                  <a:pt x="425212" y="283327"/>
                  <a:pt x="423291" y="289852"/>
                </a:cubicBezTo>
                <a:cubicBezTo>
                  <a:pt x="421097" y="296016"/>
                  <a:pt x="415269" y="300134"/>
                  <a:pt x="408720" y="300134"/>
                </a:cubicBezTo>
                <a:close/>
                <a:moveTo>
                  <a:pt x="451029" y="164973"/>
                </a:moveTo>
                <a:cubicBezTo>
                  <a:pt x="443966" y="164949"/>
                  <a:pt x="437897" y="159936"/>
                  <a:pt x="436526" y="153000"/>
                </a:cubicBezTo>
                <a:cubicBezTo>
                  <a:pt x="436080" y="151067"/>
                  <a:pt x="435463" y="149167"/>
                  <a:pt x="434949" y="147251"/>
                </a:cubicBezTo>
                <a:lnTo>
                  <a:pt x="436183" y="143339"/>
                </a:lnTo>
                <a:cubicBezTo>
                  <a:pt x="437692" y="142115"/>
                  <a:pt x="439303" y="140966"/>
                  <a:pt x="440743" y="139656"/>
                </a:cubicBezTo>
                <a:cubicBezTo>
                  <a:pt x="445680" y="134973"/>
                  <a:pt x="453154" y="134205"/>
                  <a:pt x="458949" y="137784"/>
                </a:cubicBezTo>
                <a:cubicBezTo>
                  <a:pt x="465840" y="142070"/>
                  <a:pt x="467966" y="151135"/>
                  <a:pt x="463680" y="158030"/>
                </a:cubicBezTo>
                <a:cubicBezTo>
                  <a:pt x="460972" y="162398"/>
                  <a:pt x="456172" y="165028"/>
                  <a:pt x="451029" y="164973"/>
                </a:cubicBezTo>
                <a:close/>
                <a:moveTo>
                  <a:pt x="491280" y="29863"/>
                </a:moveTo>
                <a:cubicBezTo>
                  <a:pt x="485246" y="29119"/>
                  <a:pt x="480240" y="24765"/>
                  <a:pt x="478697" y="18868"/>
                </a:cubicBezTo>
                <a:cubicBezTo>
                  <a:pt x="478080" y="16468"/>
                  <a:pt x="477600" y="14030"/>
                  <a:pt x="477017" y="11606"/>
                </a:cubicBezTo>
                <a:lnTo>
                  <a:pt x="477840" y="8997"/>
                </a:lnTo>
                <a:cubicBezTo>
                  <a:pt x="482674" y="4354"/>
                  <a:pt x="487577" y="-147"/>
                  <a:pt x="494949" y="4"/>
                </a:cubicBezTo>
                <a:cubicBezTo>
                  <a:pt x="496663" y="542"/>
                  <a:pt x="498411" y="1084"/>
                  <a:pt x="500160" y="1622"/>
                </a:cubicBezTo>
                <a:cubicBezTo>
                  <a:pt x="501429" y="2884"/>
                  <a:pt x="502731" y="4090"/>
                  <a:pt x="503931" y="5421"/>
                </a:cubicBezTo>
                <a:cubicBezTo>
                  <a:pt x="507806" y="9796"/>
                  <a:pt x="508766" y="16025"/>
                  <a:pt x="506366" y="21353"/>
                </a:cubicBezTo>
                <a:cubicBezTo>
                  <a:pt x="503589" y="27045"/>
                  <a:pt x="497589" y="30432"/>
                  <a:pt x="491280" y="29863"/>
                </a:cubicBezTo>
                <a:close/>
                <a:moveTo>
                  <a:pt x="372720" y="416133"/>
                </a:moveTo>
                <a:cubicBezTo>
                  <a:pt x="379577" y="420446"/>
                  <a:pt x="381635" y="429491"/>
                  <a:pt x="377314" y="436337"/>
                </a:cubicBezTo>
                <a:cubicBezTo>
                  <a:pt x="374400" y="440952"/>
                  <a:pt x="369189" y="443572"/>
                  <a:pt x="363737" y="443133"/>
                </a:cubicBezTo>
                <a:cubicBezTo>
                  <a:pt x="357154" y="442766"/>
                  <a:pt x="351669" y="438045"/>
                  <a:pt x="350297" y="431609"/>
                </a:cubicBezTo>
                <a:lnTo>
                  <a:pt x="348754" y="425061"/>
                </a:lnTo>
                <a:lnTo>
                  <a:pt x="349577" y="422452"/>
                </a:lnTo>
                <a:cubicBezTo>
                  <a:pt x="351223" y="420916"/>
                  <a:pt x="352869" y="419366"/>
                  <a:pt x="354514" y="417844"/>
                </a:cubicBezTo>
                <a:cubicBezTo>
                  <a:pt x="359451" y="413099"/>
                  <a:pt x="366994" y="412389"/>
                  <a:pt x="372720" y="416133"/>
                </a:cubicBezTo>
                <a:close/>
                <a:moveTo>
                  <a:pt x="330617" y="551150"/>
                </a:moveTo>
                <a:cubicBezTo>
                  <a:pt x="337474" y="555497"/>
                  <a:pt x="339532" y="564590"/>
                  <a:pt x="335177" y="571461"/>
                </a:cubicBezTo>
                <a:cubicBezTo>
                  <a:pt x="330857" y="578335"/>
                  <a:pt x="321737" y="580382"/>
                  <a:pt x="314880" y="576034"/>
                </a:cubicBezTo>
                <a:cubicBezTo>
                  <a:pt x="311451" y="573868"/>
                  <a:pt x="309086" y="570388"/>
                  <a:pt x="308297" y="566410"/>
                </a:cubicBezTo>
                <a:cubicBezTo>
                  <a:pt x="307852" y="564487"/>
                  <a:pt x="307234" y="562605"/>
                  <a:pt x="306686" y="560702"/>
                </a:cubicBezTo>
                <a:cubicBezTo>
                  <a:pt x="307097" y="559399"/>
                  <a:pt x="307509" y="558096"/>
                  <a:pt x="307886" y="556790"/>
                </a:cubicBezTo>
                <a:cubicBezTo>
                  <a:pt x="309429" y="555546"/>
                  <a:pt x="311006" y="554369"/>
                  <a:pt x="312480" y="553046"/>
                </a:cubicBezTo>
                <a:cubicBezTo>
                  <a:pt x="317383" y="548338"/>
                  <a:pt x="324857" y="547557"/>
                  <a:pt x="330617" y="551150"/>
                </a:cubicBezTo>
                <a:close/>
                <a:moveTo>
                  <a:pt x="288411" y="686054"/>
                </a:moveTo>
                <a:cubicBezTo>
                  <a:pt x="295406" y="690113"/>
                  <a:pt x="297806" y="699086"/>
                  <a:pt x="293760" y="706097"/>
                </a:cubicBezTo>
                <a:cubicBezTo>
                  <a:pt x="291051" y="710771"/>
                  <a:pt x="285977" y="713579"/>
                  <a:pt x="280594" y="713407"/>
                </a:cubicBezTo>
                <a:cubicBezTo>
                  <a:pt x="273771" y="713311"/>
                  <a:pt x="267909" y="708518"/>
                  <a:pt x="266468" y="701850"/>
                </a:cubicBezTo>
                <a:cubicBezTo>
                  <a:pt x="265989" y="699981"/>
                  <a:pt x="265234" y="698181"/>
                  <a:pt x="264617" y="696347"/>
                </a:cubicBezTo>
                <a:cubicBezTo>
                  <a:pt x="265029" y="695044"/>
                  <a:pt x="265406" y="693737"/>
                  <a:pt x="265817" y="692435"/>
                </a:cubicBezTo>
                <a:cubicBezTo>
                  <a:pt x="267326" y="691097"/>
                  <a:pt x="268869" y="689801"/>
                  <a:pt x="270308" y="688416"/>
                </a:cubicBezTo>
                <a:cubicBezTo>
                  <a:pt x="275074" y="683517"/>
                  <a:pt x="282549" y="682540"/>
                  <a:pt x="288411" y="686054"/>
                </a:cubicBezTo>
                <a:close/>
                <a:moveTo>
                  <a:pt x="236366" y="855868"/>
                </a:moveTo>
                <a:cubicBezTo>
                  <a:pt x="243189" y="860201"/>
                  <a:pt x="245212" y="869246"/>
                  <a:pt x="240891" y="876072"/>
                </a:cubicBezTo>
                <a:cubicBezTo>
                  <a:pt x="238080" y="880471"/>
                  <a:pt x="233177" y="883056"/>
                  <a:pt x="227966" y="882857"/>
                </a:cubicBezTo>
                <a:cubicBezTo>
                  <a:pt x="221143" y="882741"/>
                  <a:pt x="215280" y="877896"/>
                  <a:pt x="213909" y="871200"/>
                </a:cubicBezTo>
                <a:cubicBezTo>
                  <a:pt x="213394" y="869010"/>
                  <a:pt x="212914" y="866808"/>
                  <a:pt x="212400" y="864614"/>
                </a:cubicBezTo>
                <a:lnTo>
                  <a:pt x="213223" y="862005"/>
                </a:lnTo>
                <a:cubicBezTo>
                  <a:pt x="214869" y="860486"/>
                  <a:pt x="216514" y="858960"/>
                  <a:pt x="218194" y="857448"/>
                </a:cubicBezTo>
                <a:cubicBezTo>
                  <a:pt x="223132" y="852707"/>
                  <a:pt x="230709" y="852048"/>
                  <a:pt x="236366" y="855868"/>
                </a:cubicBezTo>
                <a:close/>
                <a:moveTo>
                  <a:pt x="152057" y="1125789"/>
                </a:moveTo>
                <a:cubicBezTo>
                  <a:pt x="157852" y="1129324"/>
                  <a:pt x="160560" y="1136321"/>
                  <a:pt x="158640" y="1142843"/>
                </a:cubicBezTo>
                <a:cubicBezTo>
                  <a:pt x="156514" y="1149031"/>
                  <a:pt x="150686" y="1153166"/>
                  <a:pt x="144137" y="1153097"/>
                </a:cubicBezTo>
                <a:cubicBezTo>
                  <a:pt x="137314" y="1152888"/>
                  <a:pt x="131520" y="1148088"/>
                  <a:pt x="130046" y="1141440"/>
                </a:cubicBezTo>
                <a:cubicBezTo>
                  <a:pt x="129600" y="1139555"/>
                  <a:pt x="128846" y="1137734"/>
                  <a:pt x="128263" y="1135886"/>
                </a:cubicBezTo>
                <a:cubicBezTo>
                  <a:pt x="128640" y="1134580"/>
                  <a:pt x="129051" y="1133277"/>
                  <a:pt x="129463" y="1131974"/>
                </a:cubicBezTo>
                <a:cubicBezTo>
                  <a:pt x="130972" y="1130651"/>
                  <a:pt x="132514" y="1129372"/>
                  <a:pt x="133955" y="1128000"/>
                </a:cubicBezTo>
                <a:cubicBezTo>
                  <a:pt x="138720" y="1123128"/>
                  <a:pt x="146263" y="1122213"/>
                  <a:pt x="152057" y="1125789"/>
                </a:cubicBezTo>
                <a:close/>
                <a:moveTo>
                  <a:pt x="107520" y="1268709"/>
                </a:moveTo>
                <a:cubicBezTo>
                  <a:pt x="113314" y="1272275"/>
                  <a:pt x="116091" y="1279242"/>
                  <a:pt x="114308" y="1285817"/>
                </a:cubicBezTo>
                <a:cubicBezTo>
                  <a:pt x="112183" y="1292311"/>
                  <a:pt x="105943" y="1296546"/>
                  <a:pt x="99120" y="1296103"/>
                </a:cubicBezTo>
                <a:cubicBezTo>
                  <a:pt x="92537" y="1295757"/>
                  <a:pt x="87051" y="1291039"/>
                  <a:pt x="85680" y="1284604"/>
                </a:cubicBezTo>
                <a:lnTo>
                  <a:pt x="84137" y="1278045"/>
                </a:lnTo>
                <a:lnTo>
                  <a:pt x="84960" y="1275439"/>
                </a:lnTo>
                <a:cubicBezTo>
                  <a:pt x="86606" y="1273900"/>
                  <a:pt x="88251" y="1272353"/>
                  <a:pt x="89897" y="1270831"/>
                </a:cubicBezTo>
                <a:cubicBezTo>
                  <a:pt x="94628" y="1266278"/>
                  <a:pt x="101829" y="1265414"/>
                  <a:pt x="107520" y="1268709"/>
                </a:cubicBezTo>
                <a:close/>
                <a:moveTo>
                  <a:pt x="66034" y="1404138"/>
                </a:moveTo>
                <a:cubicBezTo>
                  <a:pt x="72960" y="1408409"/>
                  <a:pt x="75086" y="1417475"/>
                  <a:pt x="70800" y="1424383"/>
                </a:cubicBezTo>
                <a:cubicBezTo>
                  <a:pt x="68126" y="1428734"/>
                  <a:pt x="63360" y="1431374"/>
                  <a:pt x="58251" y="1431357"/>
                </a:cubicBezTo>
                <a:cubicBezTo>
                  <a:pt x="51189" y="1431333"/>
                  <a:pt x="45086" y="1426348"/>
                  <a:pt x="43680" y="1419419"/>
                </a:cubicBezTo>
                <a:cubicBezTo>
                  <a:pt x="43234" y="1417495"/>
                  <a:pt x="42617" y="1415613"/>
                  <a:pt x="42069" y="1413710"/>
                </a:cubicBezTo>
                <a:cubicBezTo>
                  <a:pt x="42480" y="1412407"/>
                  <a:pt x="42891" y="1411101"/>
                  <a:pt x="43269" y="1409798"/>
                </a:cubicBezTo>
                <a:cubicBezTo>
                  <a:pt x="44812" y="1408553"/>
                  <a:pt x="46389" y="1407371"/>
                  <a:pt x="47863" y="1406047"/>
                </a:cubicBezTo>
                <a:cubicBezTo>
                  <a:pt x="52766" y="1401312"/>
                  <a:pt x="60240" y="1400517"/>
                  <a:pt x="66034" y="1404120"/>
                </a:cubicBezTo>
                <a:close/>
                <a:moveTo>
                  <a:pt x="24343" y="1539477"/>
                </a:moveTo>
                <a:cubicBezTo>
                  <a:pt x="30000" y="1543245"/>
                  <a:pt x="32434" y="1550373"/>
                  <a:pt x="30206" y="1556812"/>
                </a:cubicBezTo>
                <a:cubicBezTo>
                  <a:pt x="27532" y="1563635"/>
                  <a:pt x="20366" y="1567602"/>
                  <a:pt x="13166" y="1566278"/>
                </a:cubicBezTo>
                <a:cubicBezTo>
                  <a:pt x="7474" y="1565044"/>
                  <a:pt x="3017" y="1560566"/>
                  <a:pt x="1852" y="1554857"/>
                </a:cubicBezTo>
                <a:cubicBezTo>
                  <a:pt x="1337" y="1552989"/>
                  <a:pt x="617" y="1551185"/>
                  <a:pt x="0" y="1549355"/>
                </a:cubicBezTo>
                <a:cubicBezTo>
                  <a:pt x="377" y="1548052"/>
                  <a:pt x="789" y="1546745"/>
                  <a:pt x="1200" y="1545443"/>
                </a:cubicBezTo>
                <a:cubicBezTo>
                  <a:pt x="2709" y="1544102"/>
                  <a:pt x="4251" y="1542806"/>
                  <a:pt x="5692" y="1541421"/>
                </a:cubicBezTo>
                <a:cubicBezTo>
                  <a:pt x="10628" y="1536357"/>
                  <a:pt x="18480" y="1535531"/>
                  <a:pt x="24343" y="1539460"/>
                </a:cubicBezTo>
                <a:close/>
                <a:moveTo>
                  <a:pt x="155897" y="1579526"/>
                </a:moveTo>
                <a:cubicBezTo>
                  <a:pt x="163680" y="1582180"/>
                  <a:pt x="167829" y="1590635"/>
                  <a:pt x="165189" y="1598414"/>
                </a:cubicBezTo>
                <a:cubicBezTo>
                  <a:pt x="162617" y="1605964"/>
                  <a:pt x="154526" y="1610140"/>
                  <a:pt x="146880" y="1607880"/>
                </a:cubicBezTo>
                <a:cubicBezTo>
                  <a:pt x="139200" y="1605247"/>
                  <a:pt x="135017" y="1596967"/>
                  <a:pt x="137451" y="1589219"/>
                </a:cubicBezTo>
                <a:cubicBezTo>
                  <a:pt x="139886" y="1581463"/>
                  <a:pt x="148115" y="1577126"/>
                  <a:pt x="155897" y="1579509"/>
                </a:cubicBezTo>
                <a:close/>
                <a:moveTo>
                  <a:pt x="317314" y="1059326"/>
                </a:moveTo>
                <a:cubicBezTo>
                  <a:pt x="309566" y="1056977"/>
                  <a:pt x="305177" y="1048783"/>
                  <a:pt x="307509" y="1041021"/>
                </a:cubicBezTo>
                <a:cubicBezTo>
                  <a:pt x="307509" y="1041021"/>
                  <a:pt x="307509" y="1041017"/>
                  <a:pt x="307509" y="1041017"/>
                </a:cubicBezTo>
                <a:cubicBezTo>
                  <a:pt x="309874" y="1033300"/>
                  <a:pt x="318034" y="1028959"/>
                  <a:pt x="325749" y="1031325"/>
                </a:cubicBezTo>
                <a:cubicBezTo>
                  <a:pt x="333497" y="1033691"/>
                  <a:pt x="337817" y="1041864"/>
                  <a:pt x="335451" y="1049582"/>
                </a:cubicBezTo>
                <a:cubicBezTo>
                  <a:pt x="333120" y="1057255"/>
                  <a:pt x="324994" y="1061599"/>
                  <a:pt x="317314" y="1059309"/>
                </a:cubicBezTo>
                <a:close/>
                <a:moveTo>
                  <a:pt x="590606" y="178252"/>
                </a:moveTo>
                <a:cubicBezTo>
                  <a:pt x="598217" y="180563"/>
                  <a:pt x="602503" y="188603"/>
                  <a:pt x="600206" y="196214"/>
                </a:cubicBezTo>
                <a:cubicBezTo>
                  <a:pt x="600172" y="196354"/>
                  <a:pt x="600103" y="196492"/>
                  <a:pt x="600069" y="196629"/>
                </a:cubicBezTo>
                <a:cubicBezTo>
                  <a:pt x="597635" y="204316"/>
                  <a:pt x="589406" y="208564"/>
                  <a:pt x="581726" y="206112"/>
                </a:cubicBezTo>
                <a:cubicBezTo>
                  <a:pt x="574012" y="203661"/>
                  <a:pt x="569795" y="195443"/>
                  <a:pt x="572229" y="187756"/>
                </a:cubicBezTo>
                <a:cubicBezTo>
                  <a:pt x="574526" y="180120"/>
                  <a:pt x="582583" y="175797"/>
                  <a:pt x="590229" y="178097"/>
                </a:cubicBezTo>
                <a:cubicBezTo>
                  <a:pt x="590332" y="178139"/>
                  <a:pt x="590469" y="178180"/>
                  <a:pt x="590606" y="178221"/>
                </a:cubicBezTo>
                <a:close/>
                <a:moveTo>
                  <a:pt x="513737" y="474857"/>
                </a:moveTo>
                <a:cubicBezTo>
                  <a:pt x="511200" y="482520"/>
                  <a:pt x="502937" y="486683"/>
                  <a:pt x="495291" y="484159"/>
                </a:cubicBezTo>
                <a:cubicBezTo>
                  <a:pt x="487611" y="481632"/>
                  <a:pt x="483463" y="473373"/>
                  <a:pt x="486000" y="465710"/>
                </a:cubicBezTo>
                <a:cubicBezTo>
                  <a:pt x="488503" y="458095"/>
                  <a:pt x="496663" y="453926"/>
                  <a:pt x="504308" y="456367"/>
                </a:cubicBezTo>
                <a:cubicBezTo>
                  <a:pt x="512023" y="458867"/>
                  <a:pt x="516240" y="467136"/>
                  <a:pt x="513737" y="474840"/>
                </a:cubicBezTo>
                <a:close/>
                <a:moveTo>
                  <a:pt x="548503" y="313115"/>
                </a:moveTo>
                <a:cubicBezTo>
                  <a:pt x="556354" y="315388"/>
                  <a:pt x="560846" y="323582"/>
                  <a:pt x="558583" y="331416"/>
                </a:cubicBezTo>
                <a:cubicBezTo>
                  <a:pt x="556320" y="339254"/>
                  <a:pt x="548126" y="343766"/>
                  <a:pt x="540275" y="341493"/>
                </a:cubicBezTo>
                <a:cubicBezTo>
                  <a:pt x="532457" y="339223"/>
                  <a:pt x="527931" y="331029"/>
                  <a:pt x="530194" y="323191"/>
                </a:cubicBezTo>
                <a:cubicBezTo>
                  <a:pt x="530194" y="323160"/>
                  <a:pt x="530229" y="323126"/>
                  <a:pt x="530229" y="323095"/>
                </a:cubicBezTo>
                <a:cubicBezTo>
                  <a:pt x="532492" y="315299"/>
                  <a:pt x="540652" y="310814"/>
                  <a:pt x="548434" y="313080"/>
                </a:cubicBezTo>
                <a:cubicBezTo>
                  <a:pt x="548469" y="313087"/>
                  <a:pt x="548469" y="313091"/>
                  <a:pt x="548503" y="313097"/>
                </a:cubicBezTo>
                <a:close/>
                <a:moveTo>
                  <a:pt x="462069" y="591473"/>
                </a:moveTo>
                <a:cubicBezTo>
                  <a:pt x="469817" y="593747"/>
                  <a:pt x="474275" y="601882"/>
                  <a:pt x="472012" y="609641"/>
                </a:cubicBezTo>
                <a:cubicBezTo>
                  <a:pt x="469714" y="617400"/>
                  <a:pt x="461589" y="621844"/>
                  <a:pt x="453840" y="619570"/>
                </a:cubicBezTo>
                <a:cubicBezTo>
                  <a:pt x="446091" y="617297"/>
                  <a:pt x="441635" y="609172"/>
                  <a:pt x="443897" y="601416"/>
                </a:cubicBezTo>
                <a:cubicBezTo>
                  <a:pt x="445989" y="593743"/>
                  <a:pt x="453909" y="589221"/>
                  <a:pt x="461589" y="591312"/>
                </a:cubicBezTo>
                <a:cubicBezTo>
                  <a:pt x="461760" y="591357"/>
                  <a:pt x="461897" y="591405"/>
                  <a:pt x="462069" y="591456"/>
                </a:cubicBezTo>
                <a:close/>
                <a:moveTo>
                  <a:pt x="402034" y="736368"/>
                </a:moveTo>
                <a:cubicBezTo>
                  <a:pt x="404332" y="728630"/>
                  <a:pt x="412423" y="724204"/>
                  <a:pt x="420172" y="726487"/>
                </a:cubicBezTo>
                <a:cubicBezTo>
                  <a:pt x="427920" y="728767"/>
                  <a:pt x="432343" y="736893"/>
                  <a:pt x="430046" y="744631"/>
                </a:cubicBezTo>
                <a:cubicBezTo>
                  <a:pt x="430046" y="744720"/>
                  <a:pt x="430012" y="744813"/>
                  <a:pt x="429977" y="744902"/>
                </a:cubicBezTo>
                <a:cubicBezTo>
                  <a:pt x="427611" y="752620"/>
                  <a:pt x="419451" y="756960"/>
                  <a:pt x="411737" y="754598"/>
                </a:cubicBezTo>
                <a:cubicBezTo>
                  <a:pt x="404023" y="752236"/>
                  <a:pt x="399669" y="744069"/>
                  <a:pt x="402034" y="736351"/>
                </a:cubicBezTo>
                <a:close/>
                <a:moveTo>
                  <a:pt x="359349" y="924271"/>
                </a:moveTo>
                <a:cubicBezTo>
                  <a:pt x="351497" y="922094"/>
                  <a:pt x="346869" y="913954"/>
                  <a:pt x="349063" y="906093"/>
                </a:cubicBezTo>
                <a:cubicBezTo>
                  <a:pt x="351223" y="898231"/>
                  <a:pt x="359383" y="893627"/>
                  <a:pt x="367234" y="895804"/>
                </a:cubicBezTo>
                <a:cubicBezTo>
                  <a:pt x="375086" y="897984"/>
                  <a:pt x="379714" y="906120"/>
                  <a:pt x="377520" y="913982"/>
                </a:cubicBezTo>
                <a:cubicBezTo>
                  <a:pt x="377520" y="914030"/>
                  <a:pt x="377486" y="914082"/>
                  <a:pt x="377486" y="914129"/>
                </a:cubicBezTo>
                <a:cubicBezTo>
                  <a:pt x="375291" y="921923"/>
                  <a:pt x="367200" y="926462"/>
                  <a:pt x="359417" y="924271"/>
                </a:cubicBezTo>
                <a:cubicBezTo>
                  <a:pt x="359383" y="924264"/>
                  <a:pt x="359383" y="924261"/>
                  <a:pt x="359349" y="924254"/>
                </a:cubicBezTo>
                <a:close/>
                <a:moveTo>
                  <a:pt x="283749" y="1166095"/>
                </a:moveTo>
                <a:cubicBezTo>
                  <a:pt x="291600" y="1168303"/>
                  <a:pt x="296160" y="1176446"/>
                  <a:pt x="293931" y="1184284"/>
                </a:cubicBezTo>
                <a:cubicBezTo>
                  <a:pt x="291737" y="1192121"/>
                  <a:pt x="283577" y="1196685"/>
                  <a:pt x="275760" y="1194477"/>
                </a:cubicBezTo>
                <a:cubicBezTo>
                  <a:pt x="267909" y="1192265"/>
                  <a:pt x="263349" y="1184123"/>
                  <a:pt x="265543" y="1176285"/>
                </a:cubicBezTo>
                <a:cubicBezTo>
                  <a:pt x="265577" y="1176264"/>
                  <a:pt x="265577" y="1176244"/>
                  <a:pt x="265577" y="1176223"/>
                </a:cubicBezTo>
                <a:cubicBezTo>
                  <a:pt x="267737" y="1168430"/>
                  <a:pt x="275829" y="1163870"/>
                  <a:pt x="283611" y="1166040"/>
                </a:cubicBezTo>
                <a:cubicBezTo>
                  <a:pt x="283646" y="1166054"/>
                  <a:pt x="283714" y="1166064"/>
                  <a:pt x="283749" y="1166078"/>
                </a:cubicBezTo>
                <a:close/>
                <a:moveTo>
                  <a:pt x="198069" y="1444732"/>
                </a:moveTo>
                <a:cubicBezTo>
                  <a:pt x="205680" y="1447382"/>
                  <a:pt x="209692" y="1455696"/>
                  <a:pt x="207051" y="1463304"/>
                </a:cubicBezTo>
                <a:cubicBezTo>
                  <a:pt x="204411" y="1470909"/>
                  <a:pt x="196080" y="1474927"/>
                  <a:pt x="188468" y="1472280"/>
                </a:cubicBezTo>
                <a:cubicBezTo>
                  <a:pt x="180891" y="1469633"/>
                  <a:pt x="176846" y="1461343"/>
                  <a:pt x="179486" y="1453742"/>
                </a:cubicBezTo>
                <a:cubicBezTo>
                  <a:pt x="181886" y="1446234"/>
                  <a:pt x="189909" y="1442092"/>
                  <a:pt x="197417" y="1444492"/>
                </a:cubicBezTo>
                <a:cubicBezTo>
                  <a:pt x="197623" y="1444560"/>
                  <a:pt x="197863" y="1444636"/>
                  <a:pt x="198069" y="1444715"/>
                </a:cubicBezTo>
                <a:close/>
                <a:moveTo>
                  <a:pt x="240069" y="1309433"/>
                </a:moveTo>
                <a:cubicBezTo>
                  <a:pt x="247852" y="1312008"/>
                  <a:pt x="252034" y="1320391"/>
                  <a:pt x="249463" y="1328157"/>
                </a:cubicBezTo>
                <a:cubicBezTo>
                  <a:pt x="246891" y="1335923"/>
                  <a:pt x="238526" y="1340133"/>
                  <a:pt x="230743" y="1337558"/>
                </a:cubicBezTo>
                <a:cubicBezTo>
                  <a:pt x="222994" y="1334983"/>
                  <a:pt x="218777" y="1326600"/>
                  <a:pt x="221349" y="1318835"/>
                </a:cubicBezTo>
                <a:cubicBezTo>
                  <a:pt x="221383" y="1318763"/>
                  <a:pt x="221383" y="1318694"/>
                  <a:pt x="221417" y="1318622"/>
                </a:cubicBezTo>
                <a:cubicBezTo>
                  <a:pt x="223989" y="1310939"/>
                  <a:pt x="232320" y="1306811"/>
                  <a:pt x="240000" y="1309396"/>
                </a:cubicBezTo>
                <a:cubicBezTo>
                  <a:pt x="240034" y="1309403"/>
                  <a:pt x="240034" y="1309409"/>
                  <a:pt x="240069" y="1309416"/>
                </a:cubicBezTo>
                <a:close/>
                <a:moveTo>
                  <a:pt x="291189" y="1621512"/>
                </a:moveTo>
                <a:cubicBezTo>
                  <a:pt x="298869" y="1624176"/>
                  <a:pt x="303017" y="1632450"/>
                  <a:pt x="300583" y="1640191"/>
                </a:cubicBezTo>
                <a:cubicBezTo>
                  <a:pt x="298217" y="1647974"/>
                  <a:pt x="289989" y="1652366"/>
                  <a:pt x="282206" y="1650004"/>
                </a:cubicBezTo>
                <a:cubicBezTo>
                  <a:pt x="274423" y="1647638"/>
                  <a:pt x="270034" y="1639413"/>
                  <a:pt x="272400" y="1631633"/>
                </a:cubicBezTo>
                <a:cubicBezTo>
                  <a:pt x="272468" y="1631424"/>
                  <a:pt x="272537" y="1631219"/>
                  <a:pt x="272606" y="1631013"/>
                </a:cubicBezTo>
                <a:cubicBezTo>
                  <a:pt x="275177" y="1623295"/>
                  <a:pt x="283440" y="1619057"/>
                  <a:pt x="291189" y="1621495"/>
                </a:cubicBezTo>
                <a:close/>
                <a:moveTo>
                  <a:pt x="366103" y="1379541"/>
                </a:moveTo>
                <a:cubicBezTo>
                  <a:pt x="358251" y="1377203"/>
                  <a:pt x="353795" y="1368953"/>
                  <a:pt x="356126" y="1361112"/>
                </a:cubicBezTo>
                <a:cubicBezTo>
                  <a:pt x="358492" y="1353275"/>
                  <a:pt x="366720" y="1348817"/>
                  <a:pt x="374571" y="1351152"/>
                </a:cubicBezTo>
                <a:cubicBezTo>
                  <a:pt x="382423" y="1353491"/>
                  <a:pt x="386880" y="1361743"/>
                  <a:pt x="384514" y="1369581"/>
                </a:cubicBezTo>
                <a:cubicBezTo>
                  <a:pt x="384514" y="1369598"/>
                  <a:pt x="384514" y="1369615"/>
                  <a:pt x="384514" y="1369632"/>
                </a:cubicBezTo>
                <a:cubicBezTo>
                  <a:pt x="382080" y="1377391"/>
                  <a:pt x="373920" y="1381790"/>
                  <a:pt x="366103" y="1379524"/>
                </a:cubicBezTo>
                <a:close/>
                <a:moveTo>
                  <a:pt x="410366" y="1236247"/>
                </a:moveTo>
                <a:cubicBezTo>
                  <a:pt x="402617" y="1233785"/>
                  <a:pt x="398297" y="1225495"/>
                  <a:pt x="400766" y="1217733"/>
                </a:cubicBezTo>
                <a:cubicBezTo>
                  <a:pt x="403234" y="1209971"/>
                  <a:pt x="411532" y="1205671"/>
                  <a:pt x="419280" y="1208133"/>
                </a:cubicBezTo>
                <a:cubicBezTo>
                  <a:pt x="426960" y="1210701"/>
                  <a:pt x="431212" y="1218936"/>
                  <a:pt x="428846" y="1226695"/>
                </a:cubicBezTo>
                <a:cubicBezTo>
                  <a:pt x="426343" y="1234416"/>
                  <a:pt x="418115" y="1238678"/>
                  <a:pt x="410366" y="1236230"/>
                </a:cubicBezTo>
                <a:close/>
                <a:moveTo>
                  <a:pt x="546720" y="796615"/>
                </a:moveTo>
                <a:cubicBezTo>
                  <a:pt x="538972" y="794133"/>
                  <a:pt x="534686" y="785829"/>
                  <a:pt x="537154" y="778067"/>
                </a:cubicBezTo>
                <a:cubicBezTo>
                  <a:pt x="539623" y="770304"/>
                  <a:pt x="547955" y="766022"/>
                  <a:pt x="555703" y="768501"/>
                </a:cubicBezTo>
                <a:cubicBezTo>
                  <a:pt x="563451" y="770983"/>
                  <a:pt x="567737" y="779284"/>
                  <a:pt x="565269" y="787039"/>
                </a:cubicBezTo>
                <a:cubicBezTo>
                  <a:pt x="562766" y="794798"/>
                  <a:pt x="554469" y="799077"/>
                  <a:pt x="546720" y="796598"/>
                </a:cubicBezTo>
                <a:close/>
                <a:moveTo>
                  <a:pt x="597703" y="633552"/>
                </a:moveTo>
                <a:cubicBezTo>
                  <a:pt x="605383" y="636079"/>
                  <a:pt x="609566" y="644352"/>
                  <a:pt x="607029" y="652032"/>
                </a:cubicBezTo>
                <a:cubicBezTo>
                  <a:pt x="604492" y="659709"/>
                  <a:pt x="596229" y="663885"/>
                  <a:pt x="588549" y="661358"/>
                </a:cubicBezTo>
                <a:cubicBezTo>
                  <a:pt x="580869" y="658831"/>
                  <a:pt x="576686" y="650551"/>
                  <a:pt x="579223" y="642868"/>
                </a:cubicBezTo>
                <a:cubicBezTo>
                  <a:pt x="581726" y="635188"/>
                  <a:pt x="590023" y="631008"/>
                  <a:pt x="597703" y="633535"/>
                </a:cubicBezTo>
                <a:close/>
                <a:moveTo>
                  <a:pt x="494023" y="966048"/>
                </a:moveTo>
                <a:cubicBezTo>
                  <a:pt x="486275" y="963515"/>
                  <a:pt x="482023" y="955176"/>
                  <a:pt x="484560" y="947421"/>
                </a:cubicBezTo>
                <a:cubicBezTo>
                  <a:pt x="487097" y="939669"/>
                  <a:pt x="495429" y="935435"/>
                  <a:pt x="503177" y="937968"/>
                </a:cubicBezTo>
                <a:cubicBezTo>
                  <a:pt x="510960" y="940499"/>
                  <a:pt x="515177" y="948840"/>
                  <a:pt x="512640" y="956592"/>
                </a:cubicBezTo>
                <a:cubicBezTo>
                  <a:pt x="512640" y="956603"/>
                  <a:pt x="512640" y="956609"/>
                  <a:pt x="512640" y="956620"/>
                </a:cubicBezTo>
                <a:cubicBezTo>
                  <a:pt x="510069" y="964334"/>
                  <a:pt x="501771" y="968534"/>
                  <a:pt x="494023" y="966031"/>
                </a:cubicBezTo>
                <a:close/>
                <a:moveTo>
                  <a:pt x="452537" y="1101254"/>
                </a:moveTo>
                <a:cubicBezTo>
                  <a:pt x="444754" y="1098909"/>
                  <a:pt x="440332" y="1090728"/>
                  <a:pt x="442629" y="1082939"/>
                </a:cubicBezTo>
                <a:cubicBezTo>
                  <a:pt x="445029" y="1075173"/>
                  <a:pt x="453257" y="1070819"/>
                  <a:pt x="461040" y="1073219"/>
                </a:cubicBezTo>
                <a:cubicBezTo>
                  <a:pt x="468686" y="1075581"/>
                  <a:pt x="473040" y="1083624"/>
                  <a:pt x="470846" y="1091321"/>
                </a:cubicBezTo>
                <a:cubicBezTo>
                  <a:pt x="468446" y="1099046"/>
                  <a:pt x="460320" y="1103445"/>
                  <a:pt x="452537" y="1101237"/>
                </a:cubicBezTo>
                <a:close/>
                <a:moveTo>
                  <a:pt x="665349" y="365030"/>
                </a:moveTo>
                <a:cubicBezTo>
                  <a:pt x="667714" y="357261"/>
                  <a:pt x="675840" y="352821"/>
                  <a:pt x="683657" y="355056"/>
                </a:cubicBezTo>
                <a:cubicBezTo>
                  <a:pt x="691440" y="357446"/>
                  <a:pt x="695829" y="365702"/>
                  <a:pt x="693463" y="373502"/>
                </a:cubicBezTo>
                <a:cubicBezTo>
                  <a:pt x="691097" y="381213"/>
                  <a:pt x="682972" y="385605"/>
                  <a:pt x="675223" y="383359"/>
                </a:cubicBezTo>
                <a:cubicBezTo>
                  <a:pt x="667440" y="381035"/>
                  <a:pt x="663017" y="372837"/>
                  <a:pt x="665349" y="365051"/>
                </a:cubicBezTo>
                <a:cubicBezTo>
                  <a:pt x="665349" y="365040"/>
                  <a:pt x="665349" y="365027"/>
                  <a:pt x="665349" y="365013"/>
                </a:cubicBezTo>
                <a:close/>
                <a:moveTo>
                  <a:pt x="630617" y="526495"/>
                </a:moveTo>
                <a:cubicBezTo>
                  <a:pt x="622834" y="524085"/>
                  <a:pt x="618446" y="515808"/>
                  <a:pt x="620846" y="508008"/>
                </a:cubicBezTo>
                <a:cubicBezTo>
                  <a:pt x="623280" y="500208"/>
                  <a:pt x="631543" y="495840"/>
                  <a:pt x="639360" y="498254"/>
                </a:cubicBezTo>
                <a:cubicBezTo>
                  <a:pt x="647143" y="500664"/>
                  <a:pt x="651532" y="508941"/>
                  <a:pt x="649097" y="516741"/>
                </a:cubicBezTo>
                <a:cubicBezTo>
                  <a:pt x="649097" y="516748"/>
                  <a:pt x="649097" y="516755"/>
                  <a:pt x="649097" y="516761"/>
                </a:cubicBezTo>
                <a:cubicBezTo>
                  <a:pt x="646629" y="524496"/>
                  <a:pt x="638400" y="528816"/>
                  <a:pt x="630617" y="526478"/>
                </a:cubicBezTo>
                <a:close/>
                <a:moveTo>
                  <a:pt x="468137" y="1528505"/>
                </a:moveTo>
                <a:cubicBezTo>
                  <a:pt x="475783" y="1531080"/>
                  <a:pt x="479863" y="1539357"/>
                  <a:pt x="477291" y="1546992"/>
                </a:cubicBezTo>
                <a:cubicBezTo>
                  <a:pt x="474720" y="1554628"/>
                  <a:pt x="466457" y="1558728"/>
                  <a:pt x="458812" y="1556150"/>
                </a:cubicBezTo>
                <a:cubicBezTo>
                  <a:pt x="451234" y="1553599"/>
                  <a:pt x="447154" y="1545446"/>
                  <a:pt x="449589" y="1537852"/>
                </a:cubicBezTo>
                <a:cubicBezTo>
                  <a:pt x="452091" y="1530151"/>
                  <a:pt x="460389" y="1525955"/>
                  <a:pt x="468103" y="1528471"/>
                </a:cubicBezTo>
                <a:cubicBezTo>
                  <a:pt x="468103" y="1528478"/>
                  <a:pt x="468137" y="1528481"/>
                  <a:pt x="468137" y="1528488"/>
                </a:cubicBezTo>
                <a:close/>
                <a:moveTo>
                  <a:pt x="425829" y="1663283"/>
                </a:moveTo>
                <a:cubicBezTo>
                  <a:pt x="433577" y="1665707"/>
                  <a:pt x="438034" y="1673801"/>
                  <a:pt x="435943" y="1681643"/>
                </a:cubicBezTo>
                <a:cubicBezTo>
                  <a:pt x="433406" y="1689323"/>
                  <a:pt x="425417" y="1693780"/>
                  <a:pt x="417532" y="1691904"/>
                </a:cubicBezTo>
                <a:cubicBezTo>
                  <a:pt x="409852" y="1689326"/>
                  <a:pt x="405497" y="1681242"/>
                  <a:pt x="407554" y="1673411"/>
                </a:cubicBezTo>
                <a:cubicBezTo>
                  <a:pt x="409852" y="1665611"/>
                  <a:pt x="417977" y="1661095"/>
                  <a:pt x="425829" y="1663265"/>
                </a:cubicBezTo>
                <a:close/>
                <a:moveTo>
                  <a:pt x="587726" y="1143192"/>
                </a:moveTo>
                <a:cubicBezTo>
                  <a:pt x="579943" y="1140854"/>
                  <a:pt x="575486" y="1132708"/>
                  <a:pt x="577714" y="1124901"/>
                </a:cubicBezTo>
                <a:cubicBezTo>
                  <a:pt x="579977" y="1117132"/>
                  <a:pt x="588137" y="1112685"/>
                  <a:pt x="595920" y="1114965"/>
                </a:cubicBezTo>
                <a:cubicBezTo>
                  <a:pt x="595920" y="1114972"/>
                  <a:pt x="595955" y="1114982"/>
                  <a:pt x="595989" y="1114989"/>
                </a:cubicBezTo>
                <a:cubicBezTo>
                  <a:pt x="603771" y="1117276"/>
                  <a:pt x="608297" y="1125408"/>
                  <a:pt x="606103" y="1133232"/>
                </a:cubicBezTo>
                <a:cubicBezTo>
                  <a:pt x="603669" y="1140971"/>
                  <a:pt x="595543" y="1145376"/>
                  <a:pt x="587726" y="1143175"/>
                </a:cubicBezTo>
                <a:close/>
                <a:moveTo>
                  <a:pt x="690926" y="810446"/>
                </a:moveTo>
                <a:cubicBezTo>
                  <a:pt x="698709" y="812873"/>
                  <a:pt x="703063" y="821154"/>
                  <a:pt x="700629" y="828940"/>
                </a:cubicBezTo>
                <a:cubicBezTo>
                  <a:pt x="698194" y="836726"/>
                  <a:pt x="689931" y="841070"/>
                  <a:pt x="682148" y="838639"/>
                </a:cubicBezTo>
                <a:cubicBezTo>
                  <a:pt x="682012" y="838601"/>
                  <a:pt x="681874" y="838564"/>
                  <a:pt x="681771" y="838523"/>
                </a:cubicBezTo>
                <a:cubicBezTo>
                  <a:pt x="674023" y="835996"/>
                  <a:pt x="669771" y="827657"/>
                  <a:pt x="672308" y="819899"/>
                </a:cubicBezTo>
                <a:cubicBezTo>
                  <a:pt x="674846" y="812140"/>
                  <a:pt x="683177" y="807902"/>
                  <a:pt x="690926" y="810429"/>
                </a:cubicBezTo>
                <a:close/>
                <a:moveTo>
                  <a:pt x="638469" y="979934"/>
                </a:moveTo>
                <a:cubicBezTo>
                  <a:pt x="646217" y="982516"/>
                  <a:pt x="650366" y="990881"/>
                  <a:pt x="647795" y="998616"/>
                </a:cubicBezTo>
                <a:cubicBezTo>
                  <a:pt x="645223" y="1006355"/>
                  <a:pt x="636857" y="1010531"/>
                  <a:pt x="629109" y="1007949"/>
                </a:cubicBezTo>
                <a:cubicBezTo>
                  <a:pt x="621394" y="1005364"/>
                  <a:pt x="617212" y="997005"/>
                  <a:pt x="619783" y="989270"/>
                </a:cubicBezTo>
                <a:cubicBezTo>
                  <a:pt x="622457" y="981621"/>
                  <a:pt x="630720" y="977483"/>
                  <a:pt x="638469" y="979917"/>
                </a:cubicBezTo>
                <a:close/>
                <a:moveTo>
                  <a:pt x="545589" y="1278196"/>
                </a:moveTo>
                <a:cubicBezTo>
                  <a:pt x="537840" y="1275803"/>
                  <a:pt x="533486" y="1267577"/>
                  <a:pt x="535886" y="1259819"/>
                </a:cubicBezTo>
                <a:cubicBezTo>
                  <a:pt x="535886" y="1259805"/>
                  <a:pt x="535886" y="1259791"/>
                  <a:pt x="535886" y="1259778"/>
                </a:cubicBezTo>
                <a:cubicBezTo>
                  <a:pt x="538354" y="1252049"/>
                  <a:pt x="546549" y="1247716"/>
                  <a:pt x="554332" y="1250037"/>
                </a:cubicBezTo>
                <a:cubicBezTo>
                  <a:pt x="562046" y="1252564"/>
                  <a:pt x="566366" y="1260755"/>
                  <a:pt x="564103" y="1268551"/>
                </a:cubicBezTo>
                <a:cubicBezTo>
                  <a:pt x="561600" y="1276289"/>
                  <a:pt x="553372" y="1280579"/>
                  <a:pt x="545589" y="1278179"/>
                </a:cubicBezTo>
                <a:close/>
                <a:moveTo>
                  <a:pt x="500880" y="1421352"/>
                </a:moveTo>
                <a:cubicBezTo>
                  <a:pt x="493132" y="1418778"/>
                  <a:pt x="488914" y="1410398"/>
                  <a:pt x="491486" y="1402632"/>
                </a:cubicBezTo>
                <a:cubicBezTo>
                  <a:pt x="494057" y="1394870"/>
                  <a:pt x="502423" y="1390660"/>
                  <a:pt x="510206" y="1393235"/>
                </a:cubicBezTo>
                <a:cubicBezTo>
                  <a:pt x="517955" y="1395806"/>
                  <a:pt x="522172" y="1404185"/>
                  <a:pt x="519600" y="1411951"/>
                </a:cubicBezTo>
                <a:cubicBezTo>
                  <a:pt x="516857" y="1419583"/>
                  <a:pt x="508629" y="1423718"/>
                  <a:pt x="500880" y="1421335"/>
                </a:cubicBezTo>
                <a:close/>
                <a:moveTo>
                  <a:pt x="995897" y="303981"/>
                </a:moveTo>
                <a:cubicBezTo>
                  <a:pt x="1003646" y="306257"/>
                  <a:pt x="1008069" y="314380"/>
                  <a:pt x="1005806" y="322121"/>
                </a:cubicBezTo>
                <a:cubicBezTo>
                  <a:pt x="1003509" y="329863"/>
                  <a:pt x="995383" y="334296"/>
                  <a:pt x="987669" y="332020"/>
                </a:cubicBezTo>
                <a:cubicBezTo>
                  <a:pt x="987566" y="331996"/>
                  <a:pt x="987497" y="331975"/>
                  <a:pt x="987429" y="331951"/>
                </a:cubicBezTo>
                <a:cubicBezTo>
                  <a:pt x="979714" y="329613"/>
                  <a:pt x="975326" y="321453"/>
                  <a:pt x="977657" y="313728"/>
                </a:cubicBezTo>
                <a:cubicBezTo>
                  <a:pt x="980023" y="306000"/>
                  <a:pt x="988183" y="301632"/>
                  <a:pt x="995897" y="303971"/>
                </a:cubicBezTo>
                <a:close/>
                <a:moveTo>
                  <a:pt x="954377" y="439015"/>
                </a:moveTo>
                <a:cubicBezTo>
                  <a:pt x="962057" y="441635"/>
                  <a:pt x="966206" y="449966"/>
                  <a:pt x="963635" y="457670"/>
                </a:cubicBezTo>
                <a:cubicBezTo>
                  <a:pt x="960994" y="465302"/>
                  <a:pt x="952663" y="469351"/>
                  <a:pt x="945052" y="466711"/>
                </a:cubicBezTo>
                <a:cubicBezTo>
                  <a:pt x="937406" y="464075"/>
                  <a:pt x="933360" y="455750"/>
                  <a:pt x="936000" y="448118"/>
                </a:cubicBezTo>
                <a:cubicBezTo>
                  <a:pt x="938606" y="440572"/>
                  <a:pt x="946800" y="436512"/>
                  <a:pt x="954377" y="439005"/>
                </a:cubicBezTo>
                <a:close/>
                <a:moveTo>
                  <a:pt x="909497" y="582052"/>
                </a:moveTo>
                <a:cubicBezTo>
                  <a:pt x="917349" y="584263"/>
                  <a:pt x="921943" y="592423"/>
                  <a:pt x="919714" y="600281"/>
                </a:cubicBezTo>
                <a:cubicBezTo>
                  <a:pt x="917520" y="608140"/>
                  <a:pt x="909360" y="612720"/>
                  <a:pt x="901509" y="610509"/>
                </a:cubicBezTo>
                <a:cubicBezTo>
                  <a:pt x="893623" y="608297"/>
                  <a:pt x="889063" y="600137"/>
                  <a:pt x="891257" y="592279"/>
                </a:cubicBezTo>
                <a:cubicBezTo>
                  <a:pt x="891291" y="592211"/>
                  <a:pt x="891291" y="592142"/>
                  <a:pt x="891326" y="592073"/>
                </a:cubicBezTo>
                <a:cubicBezTo>
                  <a:pt x="893554" y="584301"/>
                  <a:pt x="901680" y="579806"/>
                  <a:pt x="909429" y="582034"/>
                </a:cubicBezTo>
                <a:cubicBezTo>
                  <a:pt x="909463" y="582041"/>
                  <a:pt x="909463" y="582045"/>
                  <a:pt x="909497" y="582052"/>
                </a:cubicBezTo>
                <a:close/>
                <a:moveTo>
                  <a:pt x="867532" y="717247"/>
                </a:moveTo>
                <a:cubicBezTo>
                  <a:pt x="875280" y="719500"/>
                  <a:pt x="879771" y="727622"/>
                  <a:pt x="877509" y="735384"/>
                </a:cubicBezTo>
                <a:cubicBezTo>
                  <a:pt x="875246" y="743147"/>
                  <a:pt x="867120" y="747614"/>
                  <a:pt x="859372" y="745358"/>
                </a:cubicBezTo>
                <a:cubicBezTo>
                  <a:pt x="851623" y="743105"/>
                  <a:pt x="847132" y="734983"/>
                  <a:pt x="849394" y="727221"/>
                </a:cubicBezTo>
                <a:cubicBezTo>
                  <a:pt x="849394" y="727221"/>
                  <a:pt x="849394" y="727221"/>
                  <a:pt x="849394" y="727221"/>
                </a:cubicBezTo>
                <a:cubicBezTo>
                  <a:pt x="851554" y="719520"/>
                  <a:pt x="859509" y="715012"/>
                  <a:pt x="867223" y="717158"/>
                </a:cubicBezTo>
                <a:cubicBezTo>
                  <a:pt x="867326" y="717185"/>
                  <a:pt x="867429" y="717216"/>
                  <a:pt x="867532" y="717247"/>
                </a:cubicBezTo>
                <a:close/>
                <a:moveTo>
                  <a:pt x="782914" y="1040219"/>
                </a:moveTo>
                <a:cubicBezTo>
                  <a:pt x="780411" y="1047899"/>
                  <a:pt x="772183" y="1052109"/>
                  <a:pt x="764503" y="1049620"/>
                </a:cubicBezTo>
                <a:cubicBezTo>
                  <a:pt x="756823" y="1047131"/>
                  <a:pt x="752606" y="1038888"/>
                  <a:pt x="755109" y="1031205"/>
                </a:cubicBezTo>
                <a:cubicBezTo>
                  <a:pt x="757577" y="1023590"/>
                  <a:pt x="765703" y="1019373"/>
                  <a:pt x="773349" y="1021752"/>
                </a:cubicBezTo>
                <a:cubicBezTo>
                  <a:pt x="781097" y="1024204"/>
                  <a:pt x="785383" y="1032467"/>
                  <a:pt x="782914" y="1040205"/>
                </a:cubicBezTo>
                <a:cubicBezTo>
                  <a:pt x="782914" y="1040212"/>
                  <a:pt x="782914" y="1040219"/>
                  <a:pt x="782914" y="1040225"/>
                </a:cubicBezTo>
                <a:close/>
                <a:moveTo>
                  <a:pt x="825669" y="852237"/>
                </a:moveTo>
                <a:cubicBezTo>
                  <a:pt x="833486" y="854537"/>
                  <a:pt x="837977" y="862742"/>
                  <a:pt x="835646" y="870559"/>
                </a:cubicBezTo>
                <a:cubicBezTo>
                  <a:pt x="833349" y="878380"/>
                  <a:pt x="825154" y="882854"/>
                  <a:pt x="817337" y="880553"/>
                </a:cubicBezTo>
                <a:cubicBezTo>
                  <a:pt x="809520" y="878253"/>
                  <a:pt x="805063" y="870052"/>
                  <a:pt x="807360" y="862231"/>
                </a:cubicBezTo>
                <a:cubicBezTo>
                  <a:pt x="809657" y="854414"/>
                  <a:pt x="817852" y="849943"/>
                  <a:pt x="825669" y="852244"/>
                </a:cubicBezTo>
                <a:close/>
                <a:moveTo>
                  <a:pt x="731349" y="1156961"/>
                </a:moveTo>
                <a:cubicBezTo>
                  <a:pt x="739097" y="1159324"/>
                  <a:pt x="743486" y="1167532"/>
                  <a:pt x="741120" y="1175294"/>
                </a:cubicBezTo>
                <a:cubicBezTo>
                  <a:pt x="738789" y="1183060"/>
                  <a:pt x="730560" y="1187441"/>
                  <a:pt x="722812" y="1185079"/>
                </a:cubicBezTo>
                <a:cubicBezTo>
                  <a:pt x="715029" y="1182720"/>
                  <a:pt x="710640" y="1174512"/>
                  <a:pt x="713006" y="1166747"/>
                </a:cubicBezTo>
                <a:cubicBezTo>
                  <a:pt x="713040" y="1166719"/>
                  <a:pt x="713040" y="1166692"/>
                  <a:pt x="713040" y="1166664"/>
                </a:cubicBezTo>
                <a:cubicBezTo>
                  <a:pt x="715303" y="1158988"/>
                  <a:pt x="723360" y="1154606"/>
                  <a:pt x="731040" y="1156876"/>
                </a:cubicBezTo>
                <a:cubicBezTo>
                  <a:pt x="731143" y="1156907"/>
                  <a:pt x="731246" y="1156937"/>
                  <a:pt x="731349" y="1156968"/>
                </a:cubicBezTo>
                <a:close/>
                <a:moveTo>
                  <a:pt x="603360" y="1570423"/>
                </a:moveTo>
                <a:cubicBezTo>
                  <a:pt x="611006" y="1572953"/>
                  <a:pt x="615154" y="1581206"/>
                  <a:pt x="612617" y="1588855"/>
                </a:cubicBezTo>
                <a:cubicBezTo>
                  <a:pt x="610115" y="1596504"/>
                  <a:pt x="601852" y="1600656"/>
                  <a:pt x="594206" y="1598126"/>
                </a:cubicBezTo>
                <a:cubicBezTo>
                  <a:pt x="586560" y="1595603"/>
                  <a:pt x="582411" y="1587378"/>
                  <a:pt x="584914" y="1579739"/>
                </a:cubicBezTo>
                <a:cubicBezTo>
                  <a:pt x="587246" y="1572179"/>
                  <a:pt x="595234" y="1567927"/>
                  <a:pt x="602812" y="1570245"/>
                </a:cubicBezTo>
                <a:cubicBezTo>
                  <a:pt x="602983" y="1570303"/>
                  <a:pt x="603189" y="1570365"/>
                  <a:pt x="603360" y="1570430"/>
                </a:cubicBezTo>
                <a:close/>
                <a:moveTo>
                  <a:pt x="645257" y="1435091"/>
                </a:moveTo>
                <a:cubicBezTo>
                  <a:pt x="653074" y="1437484"/>
                  <a:pt x="657497" y="1445774"/>
                  <a:pt x="655097" y="1453605"/>
                </a:cubicBezTo>
                <a:cubicBezTo>
                  <a:pt x="652697" y="1461432"/>
                  <a:pt x="644400" y="1465838"/>
                  <a:pt x="636583" y="1463445"/>
                </a:cubicBezTo>
                <a:cubicBezTo>
                  <a:pt x="628766" y="1461048"/>
                  <a:pt x="624343" y="1452762"/>
                  <a:pt x="626743" y="1444931"/>
                </a:cubicBezTo>
                <a:cubicBezTo>
                  <a:pt x="626777" y="1444862"/>
                  <a:pt x="626777" y="1444790"/>
                  <a:pt x="626812" y="1444718"/>
                </a:cubicBezTo>
                <a:cubicBezTo>
                  <a:pt x="629280" y="1436980"/>
                  <a:pt x="637509" y="1432680"/>
                  <a:pt x="645257" y="1435097"/>
                </a:cubicBezTo>
                <a:close/>
                <a:moveTo>
                  <a:pt x="689795" y="1292033"/>
                </a:moveTo>
                <a:cubicBezTo>
                  <a:pt x="697509" y="1294632"/>
                  <a:pt x="701623" y="1302977"/>
                  <a:pt x="699017" y="1310678"/>
                </a:cubicBezTo>
                <a:cubicBezTo>
                  <a:pt x="699017" y="1310688"/>
                  <a:pt x="699017" y="1310702"/>
                  <a:pt x="699017" y="1310712"/>
                </a:cubicBezTo>
                <a:cubicBezTo>
                  <a:pt x="696377" y="1318355"/>
                  <a:pt x="688046" y="1322411"/>
                  <a:pt x="680400" y="1319771"/>
                </a:cubicBezTo>
                <a:cubicBezTo>
                  <a:pt x="672754" y="1317134"/>
                  <a:pt x="668709" y="1308799"/>
                  <a:pt x="671349" y="1301157"/>
                </a:cubicBezTo>
                <a:cubicBezTo>
                  <a:pt x="673955" y="1293576"/>
                  <a:pt x="682183" y="1289513"/>
                  <a:pt x="689795" y="1292040"/>
                </a:cubicBezTo>
                <a:close/>
                <a:moveTo>
                  <a:pt x="561463" y="1705327"/>
                </a:moveTo>
                <a:cubicBezTo>
                  <a:pt x="569177" y="1707916"/>
                  <a:pt x="573360" y="1716230"/>
                  <a:pt x="570823" y="1723958"/>
                </a:cubicBezTo>
                <a:cubicBezTo>
                  <a:pt x="568457" y="1731693"/>
                  <a:pt x="560297" y="1736061"/>
                  <a:pt x="552549" y="1733712"/>
                </a:cubicBezTo>
                <a:cubicBezTo>
                  <a:pt x="544834" y="1731360"/>
                  <a:pt x="540446" y="1723183"/>
                  <a:pt x="542812" y="1715448"/>
                </a:cubicBezTo>
                <a:cubicBezTo>
                  <a:pt x="542846" y="1715267"/>
                  <a:pt x="542914" y="1715085"/>
                  <a:pt x="542983" y="1714907"/>
                </a:cubicBezTo>
                <a:cubicBezTo>
                  <a:pt x="545451" y="1707162"/>
                  <a:pt x="553714" y="1702879"/>
                  <a:pt x="561463" y="1705334"/>
                </a:cubicBezTo>
                <a:close/>
                <a:moveTo>
                  <a:pt x="696446" y="1747214"/>
                </a:moveTo>
                <a:cubicBezTo>
                  <a:pt x="704126" y="1749789"/>
                  <a:pt x="708446" y="1757952"/>
                  <a:pt x="706251" y="1765763"/>
                </a:cubicBezTo>
                <a:cubicBezTo>
                  <a:pt x="703509" y="1773381"/>
                  <a:pt x="695451" y="1777674"/>
                  <a:pt x="687600" y="1775675"/>
                </a:cubicBezTo>
                <a:cubicBezTo>
                  <a:pt x="679955" y="1772956"/>
                  <a:pt x="675737" y="1764779"/>
                  <a:pt x="677966" y="1756986"/>
                </a:cubicBezTo>
                <a:cubicBezTo>
                  <a:pt x="680434" y="1749237"/>
                  <a:pt x="688663" y="1744889"/>
                  <a:pt x="696446" y="1747221"/>
                </a:cubicBezTo>
                <a:close/>
                <a:moveTo>
                  <a:pt x="1266411" y="387888"/>
                </a:moveTo>
                <a:cubicBezTo>
                  <a:pt x="1274091" y="390364"/>
                  <a:pt x="1278309" y="398599"/>
                  <a:pt x="1275840" y="406283"/>
                </a:cubicBezTo>
                <a:cubicBezTo>
                  <a:pt x="1273372" y="413966"/>
                  <a:pt x="1265143" y="418187"/>
                  <a:pt x="1257463" y="415711"/>
                </a:cubicBezTo>
                <a:cubicBezTo>
                  <a:pt x="1249783" y="413243"/>
                  <a:pt x="1245566" y="405045"/>
                  <a:pt x="1248000" y="397372"/>
                </a:cubicBezTo>
                <a:cubicBezTo>
                  <a:pt x="1250332" y="389740"/>
                  <a:pt x="1258423" y="385444"/>
                  <a:pt x="1266034" y="387779"/>
                </a:cubicBezTo>
                <a:cubicBezTo>
                  <a:pt x="1266172" y="387816"/>
                  <a:pt x="1266275" y="387854"/>
                  <a:pt x="1266411" y="387895"/>
                </a:cubicBezTo>
                <a:close/>
                <a:moveTo>
                  <a:pt x="873291" y="1654176"/>
                </a:moveTo>
                <a:cubicBezTo>
                  <a:pt x="881006" y="1656528"/>
                  <a:pt x="885326" y="1664682"/>
                  <a:pt x="882994" y="1672386"/>
                </a:cubicBezTo>
                <a:cubicBezTo>
                  <a:pt x="880629" y="1680089"/>
                  <a:pt x="872469" y="1684427"/>
                  <a:pt x="864754" y="1682075"/>
                </a:cubicBezTo>
                <a:cubicBezTo>
                  <a:pt x="857109" y="1679733"/>
                  <a:pt x="852754" y="1671648"/>
                  <a:pt x="855052" y="1663968"/>
                </a:cubicBezTo>
                <a:cubicBezTo>
                  <a:pt x="857177" y="1656347"/>
                  <a:pt x="865063" y="1651879"/>
                  <a:pt x="872674" y="1653988"/>
                </a:cubicBezTo>
                <a:cubicBezTo>
                  <a:pt x="872880" y="1654046"/>
                  <a:pt x="873086" y="1654108"/>
                  <a:pt x="873291" y="1654176"/>
                </a:cubicBezTo>
                <a:close/>
                <a:moveTo>
                  <a:pt x="831360" y="1789067"/>
                </a:moveTo>
                <a:cubicBezTo>
                  <a:pt x="839143" y="1791398"/>
                  <a:pt x="843600" y="1799596"/>
                  <a:pt x="841269" y="1807389"/>
                </a:cubicBezTo>
                <a:cubicBezTo>
                  <a:pt x="839109" y="1815196"/>
                  <a:pt x="831052" y="1819780"/>
                  <a:pt x="823234" y="1817630"/>
                </a:cubicBezTo>
                <a:cubicBezTo>
                  <a:pt x="815451" y="1815480"/>
                  <a:pt x="810857" y="1807409"/>
                  <a:pt x="812983" y="1799603"/>
                </a:cubicBezTo>
                <a:cubicBezTo>
                  <a:pt x="813052" y="1799466"/>
                  <a:pt x="813086" y="1799328"/>
                  <a:pt x="813120" y="1799191"/>
                </a:cubicBezTo>
                <a:cubicBezTo>
                  <a:pt x="815383" y="1791381"/>
                  <a:pt x="823543" y="1786859"/>
                  <a:pt x="831360" y="1789067"/>
                </a:cubicBezTo>
                <a:close/>
                <a:moveTo>
                  <a:pt x="1129611" y="829200"/>
                </a:moveTo>
                <a:cubicBezTo>
                  <a:pt x="1121863" y="826900"/>
                  <a:pt x="1117440" y="818750"/>
                  <a:pt x="1119737" y="810998"/>
                </a:cubicBezTo>
                <a:cubicBezTo>
                  <a:pt x="1122034" y="803249"/>
                  <a:pt x="1130194" y="798830"/>
                  <a:pt x="1137943" y="801131"/>
                </a:cubicBezTo>
                <a:cubicBezTo>
                  <a:pt x="1145692" y="803431"/>
                  <a:pt x="1150115" y="811567"/>
                  <a:pt x="1147817" y="819316"/>
                </a:cubicBezTo>
                <a:cubicBezTo>
                  <a:pt x="1145623" y="827020"/>
                  <a:pt x="1137600" y="831480"/>
                  <a:pt x="1129886" y="829283"/>
                </a:cubicBezTo>
                <a:cubicBezTo>
                  <a:pt x="1129783" y="829255"/>
                  <a:pt x="1129714" y="829228"/>
                  <a:pt x="1129611" y="829200"/>
                </a:cubicBezTo>
                <a:close/>
                <a:moveTo>
                  <a:pt x="1096251" y="936172"/>
                </a:moveTo>
                <a:cubicBezTo>
                  <a:pt x="1104069" y="938551"/>
                  <a:pt x="1108457" y="946804"/>
                  <a:pt x="1106057" y="954604"/>
                </a:cubicBezTo>
                <a:cubicBezTo>
                  <a:pt x="1103692" y="962407"/>
                  <a:pt x="1095429" y="966799"/>
                  <a:pt x="1087646" y="964420"/>
                </a:cubicBezTo>
                <a:cubicBezTo>
                  <a:pt x="1079829" y="962040"/>
                  <a:pt x="1075440" y="953788"/>
                  <a:pt x="1077806" y="945988"/>
                </a:cubicBezTo>
                <a:cubicBezTo>
                  <a:pt x="1077840" y="945964"/>
                  <a:pt x="1077840" y="945940"/>
                  <a:pt x="1077840" y="945916"/>
                </a:cubicBezTo>
                <a:cubicBezTo>
                  <a:pt x="1080240" y="938143"/>
                  <a:pt x="1088469" y="933775"/>
                  <a:pt x="1096251" y="936162"/>
                </a:cubicBezTo>
                <a:close/>
                <a:moveTo>
                  <a:pt x="1044206" y="1105811"/>
                </a:moveTo>
                <a:cubicBezTo>
                  <a:pt x="1051920" y="1108485"/>
                  <a:pt x="1056000" y="1116895"/>
                  <a:pt x="1053326" y="1124603"/>
                </a:cubicBezTo>
                <a:cubicBezTo>
                  <a:pt x="1050652" y="1132307"/>
                  <a:pt x="1042217" y="1136387"/>
                  <a:pt x="1034537" y="1133712"/>
                </a:cubicBezTo>
                <a:cubicBezTo>
                  <a:pt x="1026823" y="1131041"/>
                  <a:pt x="1022743" y="1122628"/>
                  <a:pt x="1025417" y="1114924"/>
                </a:cubicBezTo>
                <a:cubicBezTo>
                  <a:pt x="1025417" y="1114886"/>
                  <a:pt x="1025451" y="1114852"/>
                  <a:pt x="1025451" y="1114817"/>
                </a:cubicBezTo>
                <a:cubicBezTo>
                  <a:pt x="1028160" y="1107151"/>
                  <a:pt x="1036526" y="1103116"/>
                  <a:pt x="1044206" y="1105800"/>
                </a:cubicBezTo>
                <a:close/>
                <a:moveTo>
                  <a:pt x="992709" y="1268832"/>
                </a:moveTo>
                <a:cubicBezTo>
                  <a:pt x="985029" y="1266247"/>
                  <a:pt x="980880" y="1257916"/>
                  <a:pt x="983451" y="1250222"/>
                </a:cubicBezTo>
                <a:cubicBezTo>
                  <a:pt x="986057" y="1242559"/>
                  <a:pt x="994354" y="1238448"/>
                  <a:pt x="1002034" y="1241044"/>
                </a:cubicBezTo>
                <a:cubicBezTo>
                  <a:pt x="1009680" y="1243636"/>
                  <a:pt x="1013795" y="1251953"/>
                  <a:pt x="1011189" y="1259616"/>
                </a:cubicBezTo>
                <a:cubicBezTo>
                  <a:pt x="1008617" y="1267252"/>
                  <a:pt x="1000354" y="1271363"/>
                  <a:pt x="992709" y="1268822"/>
                </a:cubicBezTo>
                <a:close/>
                <a:moveTo>
                  <a:pt x="925097" y="1537214"/>
                </a:moveTo>
                <a:cubicBezTo>
                  <a:pt x="922731" y="1544956"/>
                  <a:pt x="914537" y="1549310"/>
                  <a:pt x="906789" y="1546941"/>
                </a:cubicBezTo>
                <a:cubicBezTo>
                  <a:pt x="899040" y="1544572"/>
                  <a:pt x="894686" y="1536374"/>
                  <a:pt x="897052" y="1528636"/>
                </a:cubicBezTo>
                <a:cubicBezTo>
                  <a:pt x="899417" y="1520952"/>
                  <a:pt x="907509" y="1516595"/>
                  <a:pt x="915223" y="1518864"/>
                </a:cubicBezTo>
                <a:cubicBezTo>
                  <a:pt x="923006" y="1521227"/>
                  <a:pt x="927394" y="1529417"/>
                  <a:pt x="925097" y="1537204"/>
                </a:cubicBezTo>
                <a:close/>
                <a:moveTo>
                  <a:pt x="959623" y="1375763"/>
                </a:moveTo>
                <a:cubicBezTo>
                  <a:pt x="967406" y="1378108"/>
                  <a:pt x="971829" y="1386309"/>
                  <a:pt x="969497" y="1394095"/>
                </a:cubicBezTo>
                <a:cubicBezTo>
                  <a:pt x="967200" y="1401857"/>
                  <a:pt x="959040" y="1406294"/>
                  <a:pt x="951291" y="1404000"/>
                </a:cubicBezTo>
                <a:cubicBezTo>
                  <a:pt x="943509" y="1401707"/>
                  <a:pt x="939086" y="1393553"/>
                  <a:pt x="941383" y="1385791"/>
                </a:cubicBezTo>
                <a:cubicBezTo>
                  <a:pt x="943646" y="1377991"/>
                  <a:pt x="951806" y="1373500"/>
                  <a:pt x="959623" y="1375752"/>
                </a:cubicBezTo>
                <a:close/>
                <a:moveTo>
                  <a:pt x="1205966" y="532900"/>
                </a:moveTo>
                <a:cubicBezTo>
                  <a:pt x="1208057" y="525076"/>
                  <a:pt x="1216115" y="520437"/>
                  <a:pt x="1223931" y="522532"/>
                </a:cubicBezTo>
                <a:cubicBezTo>
                  <a:pt x="1231749" y="524630"/>
                  <a:pt x="1236377" y="532670"/>
                  <a:pt x="1234286" y="540494"/>
                </a:cubicBezTo>
                <a:cubicBezTo>
                  <a:pt x="1234251" y="540662"/>
                  <a:pt x="1234183" y="540830"/>
                  <a:pt x="1234149" y="540998"/>
                </a:cubicBezTo>
                <a:cubicBezTo>
                  <a:pt x="1231920" y="548781"/>
                  <a:pt x="1223795" y="553272"/>
                  <a:pt x="1216012" y="551033"/>
                </a:cubicBezTo>
                <a:cubicBezTo>
                  <a:pt x="1208229" y="548794"/>
                  <a:pt x="1203737" y="540672"/>
                  <a:pt x="1205966" y="532889"/>
                </a:cubicBezTo>
                <a:close/>
                <a:moveTo>
                  <a:pt x="1171337" y="694242"/>
                </a:moveTo>
                <a:cubicBezTo>
                  <a:pt x="1163520" y="691865"/>
                  <a:pt x="1159132" y="683606"/>
                  <a:pt x="1161497" y="675799"/>
                </a:cubicBezTo>
                <a:cubicBezTo>
                  <a:pt x="1163863" y="667989"/>
                  <a:pt x="1172126" y="663583"/>
                  <a:pt x="1179943" y="665959"/>
                </a:cubicBezTo>
                <a:cubicBezTo>
                  <a:pt x="1187657" y="668609"/>
                  <a:pt x="1191771" y="677016"/>
                  <a:pt x="1189132" y="684737"/>
                </a:cubicBezTo>
                <a:cubicBezTo>
                  <a:pt x="1186594" y="692078"/>
                  <a:pt x="1178846" y="696220"/>
                  <a:pt x="1171337" y="694221"/>
                </a:cubicBezTo>
                <a:close/>
                <a:moveTo>
                  <a:pt x="967029" y="1831156"/>
                </a:moveTo>
                <a:cubicBezTo>
                  <a:pt x="974709" y="1833792"/>
                  <a:pt x="978857" y="1842110"/>
                  <a:pt x="976354" y="1849838"/>
                </a:cubicBezTo>
                <a:cubicBezTo>
                  <a:pt x="973989" y="1857611"/>
                  <a:pt x="965795" y="1862003"/>
                  <a:pt x="958012" y="1859647"/>
                </a:cubicBezTo>
                <a:cubicBezTo>
                  <a:pt x="950229" y="1857292"/>
                  <a:pt x="945840" y="1849077"/>
                  <a:pt x="948206" y="1841304"/>
                </a:cubicBezTo>
                <a:cubicBezTo>
                  <a:pt x="948275" y="1841088"/>
                  <a:pt x="948343" y="1840879"/>
                  <a:pt x="948411" y="1840667"/>
                </a:cubicBezTo>
                <a:cubicBezTo>
                  <a:pt x="950983" y="1832942"/>
                  <a:pt x="959246" y="1828701"/>
                  <a:pt x="967029" y="1831135"/>
                </a:cubicBezTo>
                <a:close/>
                <a:moveTo>
                  <a:pt x="1041669" y="1589099"/>
                </a:moveTo>
                <a:cubicBezTo>
                  <a:pt x="1033852" y="1586640"/>
                  <a:pt x="1029532" y="1578319"/>
                  <a:pt x="1032000" y="1570516"/>
                </a:cubicBezTo>
                <a:cubicBezTo>
                  <a:pt x="1034434" y="1562712"/>
                  <a:pt x="1042766" y="1558379"/>
                  <a:pt x="1050583" y="1560837"/>
                </a:cubicBezTo>
                <a:cubicBezTo>
                  <a:pt x="1058366" y="1563299"/>
                  <a:pt x="1062720" y="1571616"/>
                  <a:pt x="1060251" y="1579420"/>
                </a:cubicBezTo>
                <a:cubicBezTo>
                  <a:pt x="1060251" y="1579458"/>
                  <a:pt x="1060217" y="1579492"/>
                  <a:pt x="1060217" y="1579526"/>
                </a:cubicBezTo>
                <a:cubicBezTo>
                  <a:pt x="1057680" y="1587240"/>
                  <a:pt x="1049417" y="1591502"/>
                  <a:pt x="1041669" y="1589102"/>
                </a:cubicBezTo>
                <a:close/>
                <a:moveTo>
                  <a:pt x="1104686" y="1436184"/>
                </a:moveTo>
                <a:cubicBezTo>
                  <a:pt x="1102286" y="1443947"/>
                  <a:pt x="1094057" y="1448308"/>
                  <a:pt x="1086309" y="1445925"/>
                </a:cubicBezTo>
                <a:cubicBezTo>
                  <a:pt x="1078560" y="1443539"/>
                  <a:pt x="1074172" y="1435310"/>
                  <a:pt x="1076571" y="1427548"/>
                </a:cubicBezTo>
                <a:cubicBezTo>
                  <a:pt x="1078972" y="1419785"/>
                  <a:pt x="1087200" y="1415424"/>
                  <a:pt x="1094949" y="1417814"/>
                </a:cubicBezTo>
                <a:cubicBezTo>
                  <a:pt x="1102697" y="1420200"/>
                  <a:pt x="1107086" y="1428429"/>
                  <a:pt x="1104686" y="1436191"/>
                </a:cubicBezTo>
                <a:close/>
                <a:moveTo>
                  <a:pt x="1128275" y="1310873"/>
                </a:moveTo>
                <a:cubicBezTo>
                  <a:pt x="1120492" y="1308501"/>
                  <a:pt x="1116137" y="1300293"/>
                  <a:pt x="1118469" y="1292517"/>
                </a:cubicBezTo>
                <a:cubicBezTo>
                  <a:pt x="1120903" y="1284768"/>
                  <a:pt x="1129132" y="1280455"/>
                  <a:pt x="1136880" y="1282883"/>
                </a:cubicBezTo>
                <a:cubicBezTo>
                  <a:pt x="1144526" y="1285272"/>
                  <a:pt x="1148846" y="1293326"/>
                  <a:pt x="1146617" y="1301010"/>
                </a:cubicBezTo>
                <a:cubicBezTo>
                  <a:pt x="1144251" y="1308768"/>
                  <a:pt x="1136057" y="1313167"/>
                  <a:pt x="1128275" y="1310880"/>
                </a:cubicBezTo>
                <a:close/>
                <a:moveTo>
                  <a:pt x="1359874" y="564816"/>
                </a:moveTo>
                <a:cubicBezTo>
                  <a:pt x="1367623" y="567364"/>
                  <a:pt x="1371840" y="575709"/>
                  <a:pt x="1369303" y="583457"/>
                </a:cubicBezTo>
                <a:cubicBezTo>
                  <a:pt x="1366732" y="591206"/>
                  <a:pt x="1358400" y="595423"/>
                  <a:pt x="1350652" y="592876"/>
                </a:cubicBezTo>
                <a:cubicBezTo>
                  <a:pt x="1342937" y="590325"/>
                  <a:pt x="1338754" y="582000"/>
                  <a:pt x="1341291" y="574279"/>
                </a:cubicBezTo>
                <a:cubicBezTo>
                  <a:pt x="1343863" y="566582"/>
                  <a:pt x="1352126" y="562372"/>
                  <a:pt x="1359874" y="564816"/>
                </a:cubicBezTo>
                <a:close/>
                <a:moveTo>
                  <a:pt x="1314960" y="707836"/>
                </a:moveTo>
                <a:cubicBezTo>
                  <a:pt x="1322812" y="710075"/>
                  <a:pt x="1327372" y="718252"/>
                  <a:pt x="1325109" y="726103"/>
                </a:cubicBezTo>
                <a:cubicBezTo>
                  <a:pt x="1322880" y="733951"/>
                  <a:pt x="1314720" y="738501"/>
                  <a:pt x="1306869" y="736265"/>
                </a:cubicBezTo>
                <a:cubicBezTo>
                  <a:pt x="1299017" y="734026"/>
                  <a:pt x="1294457" y="725850"/>
                  <a:pt x="1296686" y="717998"/>
                </a:cubicBezTo>
                <a:cubicBezTo>
                  <a:pt x="1296686" y="717971"/>
                  <a:pt x="1296720" y="717940"/>
                  <a:pt x="1296720" y="717909"/>
                </a:cubicBezTo>
                <a:cubicBezTo>
                  <a:pt x="1299017" y="710116"/>
                  <a:pt x="1307143" y="705621"/>
                  <a:pt x="1314960" y="707836"/>
                </a:cubicBezTo>
                <a:close/>
                <a:moveTo>
                  <a:pt x="1273097" y="843072"/>
                </a:moveTo>
                <a:cubicBezTo>
                  <a:pt x="1280846" y="845417"/>
                  <a:pt x="1285200" y="853588"/>
                  <a:pt x="1282834" y="861319"/>
                </a:cubicBezTo>
                <a:cubicBezTo>
                  <a:pt x="1280503" y="869051"/>
                  <a:pt x="1272343" y="873418"/>
                  <a:pt x="1264594" y="871070"/>
                </a:cubicBezTo>
                <a:cubicBezTo>
                  <a:pt x="1256914" y="868735"/>
                  <a:pt x="1252526" y="860627"/>
                  <a:pt x="1254823" y="852916"/>
                </a:cubicBezTo>
                <a:cubicBezTo>
                  <a:pt x="1257120" y="845171"/>
                  <a:pt x="1265246" y="840751"/>
                  <a:pt x="1272994" y="843041"/>
                </a:cubicBezTo>
                <a:cubicBezTo>
                  <a:pt x="1273029" y="843052"/>
                  <a:pt x="1273063" y="843062"/>
                  <a:pt x="1273097" y="843072"/>
                </a:cubicBezTo>
                <a:close/>
                <a:moveTo>
                  <a:pt x="1212994" y="987813"/>
                </a:moveTo>
                <a:cubicBezTo>
                  <a:pt x="1215463" y="980075"/>
                  <a:pt x="1223726" y="975789"/>
                  <a:pt x="1231440" y="978240"/>
                </a:cubicBezTo>
                <a:cubicBezTo>
                  <a:pt x="1239189" y="980695"/>
                  <a:pt x="1243475" y="988958"/>
                  <a:pt x="1241040" y="996700"/>
                </a:cubicBezTo>
                <a:cubicBezTo>
                  <a:pt x="1238571" y="1004428"/>
                  <a:pt x="1230343" y="1008713"/>
                  <a:pt x="1222594" y="1006279"/>
                </a:cubicBezTo>
                <a:cubicBezTo>
                  <a:pt x="1214880" y="1003780"/>
                  <a:pt x="1210629" y="995558"/>
                  <a:pt x="1212994" y="987813"/>
                </a:cubicBezTo>
                <a:close/>
                <a:moveTo>
                  <a:pt x="1170275" y="1175829"/>
                </a:moveTo>
                <a:cubicBezTo>
                  <a:pt x="1162457" y="1173546"/>
                  <a:pt x="1157931" y="1165344"/>
                  <a:pt x="1160229" y="1157510"/>
                </a:cubicBezTo>
                <a:cubicBezTo>
                  <a:pt x="1162526" y="1149676"/>
                  <a:pt x="1170720" y="1145177"/>
                  <a:pt x="1178537" y="1147464"/>
                </a:cubicBezTo>
                <a:cubicBezTo>
                  <a:pt x="1186389" y="1149748"/>
                  <a:pt x="1190880" y="1157949"/>
                  <a:pt x="1188583" y="1165783"/>
                </a:cubicBezTo>
                <a:cubicBezTo>
                  <a:pt x="1188583" y="1165793"/>
                  <a:pt x="1188583" y="1165807"/>
                  <a:pt x="1188583" y="1165817"/>
                </a:cubicBezTo>
                <a:cubicBezTo>
                  <a:pt x="1186286" y="1173635"/>
                  <a:pt x="1178091" y="1178112"/>
                  <a:pt x="1170275" y="1175829"/>
                </a:cubicBezTo>
                <a:close/>
                <a:moveTo>
                  <a:pt x="1101806" y="1872964"/>
                </a:moveTo>
                <a:cubicBezTo>
                  <a:pt x="1109520" y="1875484"/>
                  <a:pt x="1113909" y="1883585"/>
                  <a:pt x="1111817" y="1891420"/>
                </a:cubicBezTo>
                <a:cubicBezTo>
                  <a:pt x="1109109" y="1899024"/>
                  <a:pt x="1101120" y="1903379"/>
                  <a:pt x="1093269" y="1901524"/>
                </a:cubicBezTo>
                <a:cubicBezTo>
                  <a:pt x="1085589" y="1898904"/>
                  <a:pt x="1081269" y="1890779"/>
                  <a:pt x="1083394" y="1882955"/>
                </a:cubicBezTo>
                <a:cubicBezTo>
                  <a:pt x="1085795" y="1875179"/>
                  <a:pt x="1093989" y="1870742"/>
                  <a:pt x="1101806" y="1872964"/>
                </a:cubicBezTo>
                <a:close/>
                <a:moveTo>
                  <a:pt x="1671977" y="513710"/>
                </a:moveTo>
                <a:cubicBezTo>
                  <a:pt x="1679589" y="516052"/>
                  <a:pt x="1683874" y="524126"/>
                  <a:pt x="1681543" y="531744"/>
                </a:cubicBezTo>
                <a:cubicBezTo>
                  <a:pt x="1681509" y="531874"/>
                  <a:pt x="1681440" y="532005"/>
                  <a:pt x="1681406" y="532135"/>
                </a:cubicBezTo>
                <a:cubicBezTo>
                  <a:pt x="1678903" y="539819"/>
                  <a:pt x="1670674" y="544032"/>
                  <a:pt x="1662994" y="541543"/>
                </a:cubicBezTo>
                <a:cubicBezTo>
                  <a:pt x="1655315" y="539054"/>
                  <a:pt x="1651097" y="530805"/>
                  <a:pt x="1653566" y="523121"/>
                </a:cubicBezTo>
                <a:cubicBezTo>
                  <a:pt x="1656069" y="515445"/>
                  <a:pt x="1664297" y="511231"/>
                  <a:pt x="1671977" y="513707"/>
                </a:cubicBezTo>
                <a:close/>
                <a:moveTo>
                  <a:pt x="1611497" y="658739"/>
                </a:moveTo>
                <a:cubicBezTo>
                  <a:pt x="1613726" y="650966"/>
                  <a:pt x="1621817" y="646457"/>
                  <a:pt x="1629566" y="648669"/>
                </a:cubicBezTo>
                <a:cubicBezTo>
                  <a:pt x="1637349" y="650884"/>
                  <a:pt x="1641874" y="658979"/>
                  <a:pt x="1639646" y="666751"/>
                </a:cubicBezTo>
                <a:cubicBezTo>
                  <a:pt x="1637417" y="674524"/>
                  <a:pt x="1629326" y="679032"/>
                  <a:pt x="1621577" y="676817"/>
                </a:cubicBezTo>
                <a:cubicBezTo>
                  <a:pt x="1613795" y="674606"/>
                  <a:pt x="1609269" y="666511"/>
                  <a:pt x="1611497" y="658739"/>
                </a:cubicBezTo>
                <a:close/>
                <a:moveTo>
                  <a:pt x="1577006" y="820077"/>
                </a:moveTo>
                <a:cubicBezTo>
                  <a:pt x="1569154" y="817859"/>
                  <a:pt x="1564594" y="809692"/>
                  <a:pt x="1566789" y="801833"/>
                </a:cubicBezTo>
                <a:cubicBezTo>
                  <a:pt x="1569017" y="793979"/>
                  <a:pt x="1577177" y="789408"/>
                  <a:pt x="1585029" y="791630"/>
                </a:cubicBezTo>
                <a:cubicBezTo>
                  <a:pt x="1592880" y="793848"/>
                  <a:pt x="1597475" y="802015"/>
                  <a:pt x="1595246" y="809870"/>
                </a:cubicBezTo>
                <a:cubicBezTo>
                  <a:pt x="1595246" y="809915"/>
                  <a:pt x="1595212" y="809956"/>
                  <a:pt x="1595212" y="809997"/>
                </a:cubicBezTo>
                <a:cubicBezTo>
                  <a:pt x="1592949" y="817790"/>
                  <a:pt x="1584823" y="822292"/>
                  <a:pt x="1577006" y="820077"/>
                </a:cubicBezTo>
                <a:close/>
                <a:moveTo>
                  <a:pt x="1543714" y="927011"/>
                </a:moveTo>
                <a:cubicBezTo>
                  <a:pt x="1551429" y="929452"/>
                  <a:pt x="1555680" y="937684"/>
                  <a:pt x="1553246" y="945391"/>
                </a:cubicBezTo>
                <a:cubicBezTo>
                  <a:pt x="1550812" y="953102"/>
                  <a:pt x="1542583" y="957371"/>
                  <a:pt x="1534869" y="954930"/>
                </a:cubicBezTo>
                <a:cubicBezTo>
                  <a:pt x="1527154" y="952488"/>
                  <a:pt x="1522903" y="944256"/>
                  <a:pt x="1525337" y="936549"/>
                </a:cubicBezTo>
                <a:cubicBezTo>
                  <a:pt x="1525337" y="936542"/>
                  <a:pt x="1525337" y="936539"/>
                  <a:pt x="1525337" y="936532"/>
                </a:cubicBezTo>
                <a:cubicBezTo>
                  <a:pt x="1527669" y="928900"/>
                  <a:pt x="1535726" y="924590"/>
                  <a:pt x="1543372" y="926908"/>
                </a:cubicBezTo>
                <a:cubicBezTo>
                  <a:pt x="1543475" y="926942"/>
                  <a:pt x="1543611" y="926980"/>
                  <a:pt x="1543714" y="927021"/>
                </a:cubicBezTo>
                <a:close/>
                <a:moveTo>
                  <a:pt x="1501440" y="1061880"/>
                </a:moveTo>
                <a:cubicBezTo>
                  <a:pt x="1509257" y="1064143"/>
                  <a:pt x="1513783" y="1072324"/>
                  <a:pt x="1511520" y="1080155"/>
                </a:cubicBezTo>
                <a:cubicBezTo>
                  <a:pt x="1509257" y="1087985"/>
                  <a:pt x="1501063" y="1092497"/>
                  <a:pt x="1493246" y="1090235"/>
                </a:cubicBezTo>
                <a:cubicBezTo>
                  <a:pt x="1485429" y="1087972"/>
                  <a:pt x="1480903" y="1079791"/>
                  <a:pt x="1483166" y="1071960"/>
                </a:cubicBezTo>
                <a:cubicBezTo>
                  <a:pt x="1485429" y="1064129"/>
                  <a:pt x="1493623" y="1059618"/>
                  <a:pt x="1501440" y="1061880"/>
                </a:cubicBezTo>
                <a:close/>
                <a:moveTo>
                  <a:pt x="1449326" y="1231468"/>
                </a:moveTo>
                <a:cubicBezTo>
                  <a:pt x="1457109" y="1233895"/>
                  <a:pt x="1461463" y="1242179"/>
                  <a:pt x="1459029" y="1249968"/>
                </a:cubicBezTo>
                <a:cubicBezTo>
                  <a:pt x="1456594" y="1257758"/>
                  <a:pt x="1448332" y="1262105"/>
                  <a:pt x="1440549" y="1259678"/>
                </a:cubicBezTo>
                <a:cubicBezTo>
                  <a:pt x="1432732" y="1257251"/>
                  <a:pt x="1428411" y="1248967"/>
                  <a:pt x="1430812" y="1241177"/>
                </a:cubicBezTo>
                <a:cubicBezTo>
                  <a:pt x="1430846" y="1241119"/>
                  <a:pt x="1430846" y="1241064"/>
                  <a:pt x="1430880" y="1241006"/>
                </a:cubicBezTo>
                <a:cubicBezTo>
                  <a:pt x="1433315" y="1233288"/>
                  <a:pt x="1441577" y="1229016"/>
                  <a:pt x="1449291" y="1231464"/>
                </a:cubicBezTo>
                <a:cubicBezTo>
                  <a:pt x="1449291" y="1231471"/>
                  <a:pt x="1449326" y="1231475"/>
                  <a:pt x="1449326" y="1231478"/>
                </a:cubicBezTo>
                <a:close/>
                <a:moveTo>
                  <a:pt x="1312320" y="1673068"/>
                </a:moveTo>
                <a:cubicBezTo>
                  <a:pt x="1304434" y="1670836"/>
                  <a:pt x="1299874" y="1662645"/>
                  <a:pt x="1302103" y="1654773"/>
                </a:cubicBezTo>
                <a:cubicBezTo>
                  <a:pt x="1304332" y="1646897"/>
                  <a:pt x="1312526" y="1642324"/>
                  <a:pt x="1320411" y="1644552"/>
                </a:cubicBezTo>
                <a:cubicBezTo>
                  <a:pt x="1328263" y="1646784"/>
                  <a:pt x="1332857" y="1654975"/>
                  <a:pt x="1330629" y="1662851"/>
                </a:cubicBezTo>
                <a:cubicBezTo>
                  <a:pt x="1330594" y="1662912"/>
                  <a:pt x="1330594" y="1662977"/>
                  <a:pt x="1330560" y="1663043"/>
                </a:cubicBezTo>
                <a:cubicBezTo>
                  <a:pt x="1328263" y="1670832"/>
                  <a:pt x="1320137" y="1675314"/>
                  <a:pt x="1312320" y="1673078"/>
                </a:cubicBezTo>
                <a:close/>
                <a:moveTo>
                  <a:pt x="1366046" y="1501855"/>
                </a:moveTo>
                <a:cubicBezTo>
                  <a:pt x="1373726" y="1504598"/>
                  <a:pt x="1377703" y="1513036"/>
                  <a:pt x="1374960" y="1520702"/>
                </a:cubicBezTo>
                <a:cubicBezTo>
                  <a:pt x="1372217" y="1528368"/>
                  <a:pt x="1363783" y="1532359"/>
                  <a:pt x="1356103" y="1529616"/>
                </a:cubicBezTo>
                <a:cubicBezTo>
                  <a:pt x="1348457" y="1526873"/>
                  <a:pt x="1344446" y="1518436"/>
                  <a:pt x="1347189" y="1510770"/>
                </a:cubicBezTo>
                <a:cubicBezTo>
                  <a:pt x="1347223" y="1510745"/>
                  <a:pt x="1347223" y="1510725"/>
                  <a:pt x="1347223" y="1510701"/>
                </a:cubicBezTo>
                <a:cubicBezTo>
                  <a:pt x="1349931" y="1503086"/>
                  <a:pt x="1358297" y="1499105"/>
                  <a:pt x="1365909" y="1501811"/>
                </a:cubicBezTo>
                <a:cubicBezTo>
                  <a:pt x="1365943" y="1501824"/>
                  <a:pt x="1366012" y="1501842"/>
                  <a:pt x="1366046" y="1501859"/>
                </a:cubicBezTo>
                <a:close/>
                <a:moveTo>
                  <a:pt x="1407737" y="1366807"/>
                </a:moveTo>
                <a:cubicBezTo>
                  <a:pt x="1415417" y="1369458"/>
                  <a:pt x="1419497" y="1377827"/>
                  <a:pt x="1416823" y="1385500"/>
                </a:cubicBezTo>
                <a:cubicBezTo>
                  <a:pt x="1414183" y="1393173"/>
                  <a:pt x="1405817" y="1397243"/>
                  <a:pt x="1398137" y="1394592"/>
                </a:cubicBezTo>
                <a:cubicBezTo>
                  <a:pt x="1390457" y="1391942"/>
                  <a:pt x="1386377" y="1383573"/>
                  <a:pt x="1389052" y="1375900"/>
                </a:cubicBezTo>
                <a:cubicBezTo>
                  <a:pt x="1389052" y="1375862"/>
                  <a:pt x="1389086" y="1375821"/>
                  <a:pt x="1389086" y="1375783"/>
                </a:cubicBezTo>
                <a:cubicBezTo>
                  <a:pt x="1391657" y="1368203"/>
                  <a:pt x="1399886" y="1364143"/>
                  <a:pt x="1407463" y="1366718"/>
                </a:cubicBezTo>
                <a:cubicBezTo>
                  <a:pt x="1407566" y="1366749"/>
                  <a:pt x="1407635" y="1366780"/>
                  <a:pt x="1407737" y="1366811"/>
                </a:cubicBezTo>
                <a:close/>
                <a:moveTo>
                  <a:pt x="1278652" y="1779950"/>
                </a:moveTo>
                <a:cubicBezTo>
                  <a:pt x="1286400" y="1782189"/>
                  <a:pt x="1290857" y="1790273"/>
                  <a:pt x="1288594" y="1798008"/>
                </a:cubicBezTo>
                <a:cubicBezTo>
                  <a:pt x="1286366" y="1805747"/>
                  <a:pt x="1278275" y="1810204"/>
                  <a:pt x="1270560" y="1807965"/>
                </a:cubicBezTo>
                <a:cubicBezTo>
                  <a:pt x="1262812" y="1805733"/>
                  <a:pt x="1258354" y="1797669"/>
                  <a:pt x="1260583" y="1789941"/>
                </a:cubicBezTo>
                <a:cubicBezTo>
                  <a:pt x="1262606" y="1782302"/>
                  <a:pt x="1270423" y="1777749"/>
                  <a:pt x="1278069" y="1779768"/>
                </a:cubicBezTo>
                <a:cubicBezTo>
                  <a:pt x="1278275" y="1779820"/>
                  <a:pt x="1278446" y="1779878"/>
                  <a:pt x="1278652" y="1779936"/>
                </a:cubicBezTo>
                <a:close/>
                <a:moveTo>
                  <a:pt x="1236823" y="1914871"/>
                </a:moveTo>
                <a:cubicBezTo>
                  <a:pt x="1244606" y="1917172"/>
                  <a:pt x="1249063" y="1925356"/>
                  <a:pt x="1246766" y="1933149"/>
                </a:cubicBezTo>
                <a:cubicBezTo>
                  <a:pt x="1246766" y="1933156"/>
                  <a:pt x="1246766" y="1933163"/>
                  <a:pt x="1246766" y="1933169"/>
                </a:cubicBezTo>
                <a:cubicBezTo>
                  <a:pt x="1244709" y="1940980"/>
                  <a:pt x="1236720" y="1945660"/>
                  <a:pt x="1228937" y="1943616"/>
                </a:cubicBezTo>
                <a:cubicBezTo>
                  <a:pt x="1221120" y="1941576"/>
                  <a:pt x="1216423" y="1933588"/>
                  <a:pt x="1218480" y="1925774"/>
                </a:cubicBezTo>
                <a:cubicBezTo>
                  <a:pt x="1218549" y="1925534"/>
                  <a:pt x="1218617" y="1925294"/>
                  <a:pt x="1218686" y="1925054"/>
                </a:cubicBezTo>
                <a:cubicBezTo>
                  <a:pt x="1220880" y="1917237"/>
                  <a:pt x="1228972" y="1912667"/>
                  <a:pt x="1236789" y="1914851"/>
                </a:cubicBezTo>
                <a:cubicBezTo>
                  <a:pt x="1236789" y="1914851"/>
                  <a:pt x="1236823" y="1914854"/>
                  <a:pt x="1236823" y="1914857"/>
                </a:cubicBezTo>
                <a:close/>
                <a:moveTo>
                  <a:pt x="1414389" y="1822056"/>
                </a:moveTo>
                <a:cubicBezTo>
                  <a:pt x="1422000" y="1824672"/>
                  <a:pt x="1426046" y="1832969"/>
                  <a:pt x="1423440" y="1840584"/>
                </a:cubicBezTo>
                <a:cubicBezTo>
                  <a:pt x="1420834" y="1848203"/>
                  <a:pt x="1412537" y="1852255"/>
                  <a:pt x="1404926" y="1849636"/>
                </a:cubicBezTo>
                <a:cubicBezTo>
                  <a:pt x="1397349" y="1847040"/>
                  <a:pt x="1393303" y="1838853"/>
                  <a:pt x="1395806" y="1831269"/>
                </a:cubicBezTo>
                <a:cubicBezTo>
                  <a:pt x="1398377" y="1823592"/>
                  <a:pt x="1406709" y="1819461"/>
                  <a:pt x="1414389" y="1822039"/>
                </a:cubicBezTo>
                <a:cubicBezTo>
                  <a:pt x="1414389" y="1822043"/>
                  <a:pt x="1414389" y="1822043"/>
                  <a:pt x="1414389" y="1822043"/>
                </a:cubicBezTo>
                <a:close/>
                <a:moveTo>
                  <a:pt x="1372320" y="1956909"/>
                </a:moveTo>
                <a:cubicBezTo>
                  <a:pt x="1380000" y="1959518"/>
                  <a:pt x="1384251" y="1967709"/>
                  <a:pt x="1381989" y="1975495"/>
                </a:cubicBezTo>
                <a:cubicBezTo>
                  <a:pt x="1379280" y="1983117"/>
                  <a:pt x="1371189" y="1987392"/>
                  <a:pt x="1363372" y="1985332"/>
                </a:cubicBezTo>
                <a:cubicBezTo>
                  <a:pt x="1355726" y="1982610"/>
                  <a:pt x="1351543" y="1974395"/>
                  <a:pt x="1353840" y="1966615"/>
                </a:cubicBezTo>
                <a:cubicBezTo>
                  <a:pt x="1356309" y="1958877"/>
                  <a:pt x="1364537" y="1954550"/>
                  <a:pt x="1372320" y="1956895"/>
                </a:cubicBezTo>
                <a:close/>
                <a:moveTo>
                  <a:pt x="1456115" y="1686669"/>
                </a:moveTo>
                <a:cubicBezTo>
                  <a:pt x="1463931" y="1689103"/>
                  <a:pt x="1468286" y="1697407"/>
                  <a:pt x="1465852" y="1705214"/>
                </a:cubicBezTo>
                <a:cubicBezTo>
                  <a:pt x="1463417" y="1713024"/>
                  <a:pt x="1455120" y="1717386"/>
                  <a:pt x="1447303" y="1714951"/>
                </a:cubicBezTo>
                <a:cubicBezTo>
                  <a:pt x="1439486" y="1712517"/>
                  <a:pt x="1435132" y="1704209"/>
                  <a:pt x="1437566" y="1696396"/>
                </a:cubicBezTo>
                <a:cubicBezTo>
                  <a:pt x="1440000" y="1688582"/>
                  <a:pt x="1448297" y="1684221"/>
                  <a:pt x="1456115" y="1686655"/>
                </a:cubicBezTo>
                <a:close/>
                <a:moveTo>
                  <a:pt x="1500480" y="1543560"/>
                </a:moveTo>
                <a:cubicBezTo>
                  <a:pt x="1508194" y="1546101"/>
                  <a:pt x="1512514" y="1554278"/>
                  <a:pt x="1510251" y="1562075"/>
                </a:cubicBezTo>
                <a:cubicBezTo>
                  <a:pt x="1507817" y="1569861"/>
                  <a:pt x="1499520" y="1574201"/>
                  <a:pt x="1491737" y="1571767"/>
                </a:cubicBezTo>
                <a:cubicBezTo>
                  <a:pt x="1483955" y="1569333"/>
                  <a:pt x="1479635" y="1561049"/>
                  <a:pt x="1482069" y="1553263"/>
                </a:cubicBezTo>
                <a:cubicBezTo>
                  <a:pt x="1484469" y="1545508"/>
                  <a:pt x="1492697" y="1541167"/>
                  <a:pt x="1500480" y="1543547"/>
                </a:cubicBezTo>
                <a:close/>
                <a:moveTo>
                  <a:pt x="1575806" y="1301640"/>
                </a:moveTo>
                <a:cubicBezTo>
                  <a:pt x="1567989" y="1299302"/>
                  <a:pt x="1563566" y="1291070"/>
                  <a:pt x="1565897" y="1283256"/>
                </a:cubicBezTo>
                <a:cubicBezTo>
                  <a:pt x="1568194" y="1275508"/>
                  <a:pt x="1576320" y="1271064"/>
                  <a:pt x="1584103" y="1273289"/>
                </a:cubicBezTo>
                <a:cubicBezTo>
                  <a:pt x="1591989" y="1275343"/>
                  <a:pt x="1596720" y="1283407"/>
                  <a:pt x="1594697" y="1291300"/>
                </a:cubicBezTo>
                <a:cubicBezTo>
                  <a:pt x="1592640" y="1299196"/>
                  <a:pt x="1584549" y="1303931"/>
                  <a:pt x="1576663" y="1301880"/>
                </a:cubicBezTo>
                <a:cubicBezTo>
                  <a:pt x="1576389" y="1301805"/>
                  <a:pt x="1576080" y="1301719"/>
                  <a:pt x="1575806" y="1301627"/>
                </a:cubicBezTo>
                <a:close/>
                <a:moveTo>
                  <a:pt x="1628229" y="1132135"/>
                </a:moveTo>
                <a:cubicBezTo>
                  <a:pt x="1620446" y="1129725"/>
                  <a:pt x="1616091" y="1121455"/>
                  <a:pt x="1618492" y="1113665"/>
                </a:cubicBezTo>
                <a:cubicBezTo>
                  <a:pt x="1620892" y="1105941"/>
                  <a:pt x="1629052" y="1101576"/>
                  <a:pt x="1636800" y="1103880"/>
                </a:cubicBezTo>
                <a:cubicBezTo>
                  <a:pt x="1644514" y="1106376"/>
                  <a:pt x="1648869" y="1114523"/>
                  <a:pt x="1646674" y="1122326"/>
                </a:cubicBezTo>
                <a:cubicBezTo>
                  <a:pt x="1644206" y="1130057"/>
                  <a:pt x="1636012" y="1134408"/>
                  <a:pt x="1628229" y="1132121"/>
                </a:cubicBezTo>
                <a:close/>
                <a:moveTo>
                  <a:pt x="1507475" y="1998854"/>
                </a:moveTo>
                <a:cubicBezTo>
                  <a:pt x="1514914" y="2001024"/>
                  <a:pt x="1519166" y="2008804"/>
                  <a:pt x="1517006" y="2016230"/>
                </a:cubicBezTo>
                <a:cubicBezTo>
                  <a:pt x="1516869" y="2016593"/>
                  <a:pt x="1516766" y="2016950"/>
                  <a:pt x="1516629" y="2017303"/>
                </a:cubicBezTo>
                <a:cubicBezTo>
                  <a:pt x="1514537" y="2024942"/>
                  <a:pt x="1506617" y="2029433"/>
                  <a:pt x="1499006" y="2027332"/>
                </a:cubicBezTo>
                <a:cubicBezTo>
                  <a:pt x="1498800" y="2027284"/>
                  <a:pt x="1498629" y="2027229"/>
                  <a:pt x="1498457" y="2027174"/>
                </a:cubicBezTo>
                <a:cubicBezTo>
                  <a:pt x="1490777" y="2024513"/>
                  <a:pt x="1486594" y="2016257"/>
                  <a:pt x="1488994" y="2008499"/>
                </a:cubicBezTo>
                <a:cubicBezTo>
                  <a:pt x="1491463" y="2000743"/>
                  <a:pt x="1499692" y="1996430"/>
                  <a:pt x="1507475" y="1998840"/>
                </a:cubicBezTo>
                <a:close/>
                <a:moveTo>
                  <a:pt x="1626994" y="1613682"/>
                </a:moveTo>
                <a:cubicBezTo>
                  <a:pt x="1619246" y="1611162"/>
                  <a:pt x="1615029" y="1602844"/>
                  <a:pt x="1617532" y="1595102"/>
                </a:cubicBezTo>
                <a:cubicBezTo>
                  <a:pt x="1619966" y="1587624"/>
                  <a:pt x="1627852" y="1583370"/>
                  <a:pt x="1635429" y="1585437"/>
                </a:cubicBezTo>
                <a:cubicBezTo>
                  <a:pt x="1643143" y="1588067"/>
                  <a:pt x="1647257" y="1596446"/>
                  <a:pt x="1644617" y="1604150"/>
                </a:cubicBezTo>
                <a:cubicBezTo>
                  <a:pt x="1642149" y="1611439"/>
                  <a:pt x="1634469" y="1615588"/>
                  <a:pt x="1626994" y="1613668"/>
                </a:cubicBezTo>
                <a:close/>
                <a:moveTo>
                  <a:pt x="1814023" y="1010887"/>
                </a:moveTo>
                <a:cubicBezTo>
                  <a:pt x="1821635" y="1013572"/>
                  <a:pt x="1825646" y="1021931"/>
                  <a:pt x="1822972" y="1029559"/>
                </a:cubicBezTo>
                <a:cubicBezTo>
                  <a:pt x="1820400" y="1036900"/>
                  <a:pt x="1812514" y="1040935"/>
                  <a:pt x="1805040" y="1038744"/>
                </a:cubicBezTo>
                <a:cubicBezTo>
                  <a:pt x="1797360" y="1036265"/>
                  <a:pt x="1793109" y="1028013"/>
                  <a:pt x="1795611" y="1020316"/>
                </a:cubicBezTo>
                <a:cubicBezTo>
                  <a:pt x="1798080" y="1012622"/>
                  <a:pt x="1806343" y="1008395"/>
                  <a:pt x="1814023" y="1010873"/>
                </a:cubicBezTo>
                <a:close/>
                <a:moveTo>
                  <a:pt x="1855749" y="875599"/>
                </a:moveTo>
                <a:cubicBezTo>
                  <a:pt x="1863463" y="878232"/>
                  <a:pt x="1867611" y="886629"/>
                  <a:pt x="1864972" y="894357"/>
                </a:cubicBezTo>
                <a:cubicBezTo>
                  <a:pt x="1862469" y="901742"/>
                  <a:pt x="1854652" y="905897"/>
                  <a:pt x="1847109" y="903854"/>
                </a:cubicBezTo>
                <a:cubicBezTo>
                  <a:pt x="1839291" y="901468"/>
                  <a:pt x="1834903" y="893208"/>
                  <a:pt x="1837303" y="885405"/>
                </a:cubicBezTo>
                <a:cubicBezTo>
                  <a:pt x="1839669" y="877598"/>
                  <a:pt x="1847931" y="873206"/>
                  <a:pt x="1855749" y="875592"/>
                </a:cubicBezTo>
                <a:close/>
                <a:moveTo>
                  <a:pt x="1686789" y="1468807"/>
                </a:moveTo>
                <a:cubicBezTo>
                  <a:pt x="1684869" y="1476285"/>
                  <a:pt x="1677257" y="1480787"/>
                  <a:pt x="1669783" y="1478863"/>
                </a:cubicBezTo>
                <a:cubicBezTo>
                  <a:pt x="1669406" y="1478771"/>
                  <a:pt x="1669029" y="1478661"/>
                  <a:pt x="1668686" y="1478538"/>
                </a:cubicBezTo>
                <a:cubicBezTo>
                  <a:pt x="1660972" y="1476011"/>
                  <a:pt x="1656754" y="1467710"/>
                  <a:pt x="1659291" y="1459999"/>
                </a:cubicBezTo>
                <a:cubicBezTo>
                  <a:pt x="1661795" y="1452401"/>
                  <a:pt x="1669886" y="1448188"/>
                  <a:pt x="1677532" y="1450512"/>
                </a:cubicBezTo>
                <a:cubicBezTo>
                  <a:pt x="1684937" y="1452580"/>
                  <a:pt x="1689223" y="1460243"/>
                  <a:pt x="1687166" y="1467635"/>
                </a:cubicBezTo>
                <a:cubicBezTo>
                  <a:pt x="1687063" y="1468025"/>
                  <a:pt x="1686926" y="1468413"/>
                  <a:pt x="1686789" y="1468793"/>
                </a:cubicBezTo>
                <a:close/>
                <a:moveTo>
                  <a:pt x="1719223" y="1315207"/>
                </a:moveTo>
                <a:cubicBezTo>
                  <a:pt x="1726972" y="1317731"/>
                  <a:pt x="1731223" y="1326069"/>
                  <a:pt x="1728686" y="1333828"/>
                </a:cubicBezTo>
                <a:cubicBezTo>
                  <a:pt x="1726286" y="1341288"/>
                  <a:pt x="1718434" y="1345550"/>
                  <a:pt x="1710857" y="1343534"/>
                </a:cubicBezTo>
                <a:cubicBezTo>
                  <a:pt x="1703040" y="1341223"/>
                  <a:pt x="1698549" y="1333008"/>
                  <a:pt x="1700880" y="1325181"/>
                </a:cubicBezTo>
                <a:cubicBezTo>
                  <a:pt x="1703177" y="1317353"/>
                  <a:pt x="1711406" y="1312883"/>
                  <a:pt x="1719223" y="1315193"/>
                </a:cubicBezTo>
                <a:close/>
                <a:moveTo>
                  <a:pt x="1549543" y="1863988"/>
                </a:moveTo>
                <a:cubicBezTo>
                  <a:pt x="1557154" y="1866659"/>
                  <a:pt x="1561132" y="1874987"/>
                  <a:pt x="1558457" y="1882584"/>
                </a:cubicBezTo>
                <a:cubicBezTo>
                  <a:pt x="1555852" y="1890035"/>
                  <a:pt x="1547760" y="1894049"/>
                  <a:pt x="1540251" y="1891636"/>
                </a:cubicBezTo>
                <a:cubicBezTo>
                  <a:pt x="1532606" y="1889071"/>
                  <a:pt x="1528492" y="1880798"/>
                  <a:pt x="1531063" y="1873159"/>
                </a:cubicBezTo>
                <a:cubicBezTo>
                  <a:pt x="1533635" y="1865520"/>
                  <a:pt x="1541897" y="1861409"/>
                  <a:pt x="1549543" y="1863974"/>
                </a:cubicBezTo>
                <a:close/>
                <a:moveTo>
                  <a:pt x="1591372" y="1728635"/>
                </a:moveTo>
                <a:cubicBezTo>
                  <a:pt x="1598846" y="1730963"/>
                  <a:pt x="1603029" y="1738910"/>
                  <a:pt x="1600697" y="1746384"/>
                </a:cubicBezTo>
                <a:cubicBezTo>
                  <a:pt x="1600594" y="1746641"/>
                  <a:pt x="1600526" y="1746895"/>
                  <a:pt x="1600423" y="1747149"/>
                </a:cubicBezTo>
                <a:cubicBezTo>
                  <a:pt x="1598469" y="1754613"/>
                  <a:pt x="1590823" y="1759077"/>
                  <a:pt x="1583383" y="1757119"/>
                </a:cubicBezTo>
                <a:cubicBezTo>
                  <a:pt x="1583006" y="1757023"/>
                  <a:pt x="1582629" y="1756907"/>
                  <a:pt x="1582251" y="1756776"/>
                </a:cubicBezTo>
                <a:cubicBezTo>
                  <a:pt x="1574469" y="1754256"/>
                  <a:pt x="1570217" y="1745915"/>
                  <a:pt x="1572720" y="1738139"/>
                </a:cubicBezTo>
                <a:cubicBezTo>
                  <a:pt x="1575257" y="1730363"/>
                  <a:pt x="1583589" y="1726104"/>
                  <a:pt x="1591372" y="1728621"/>
                </a:cubicBezTo>
                <a:close/>
                <a:moveTo>
                  <a:pt x="1933132" y="625320"/>
                </a:moveTo>
                <a:cubicBezTo>
                  <a:pt x="1925486" y="622773"/>
                  <a:pt x="1921337" y="614503"/>
                  <a:pt x="1923874" y="606844"/>
                </a:cubicBezTo>
                <a:cubicBezTo>
                  <a:pt x="1926411" y="599188"/>
                  <a:pt x="1934709" y="595046"/>
                  <a:pt x="1942354" y="597593"/>
                </a:cubicBezTo>
                <a:cubicBezTo>
                  <a:pt x="1949692" y="599726"/>
                  <a:pt x="1953909" y="607396"/>
                  <a:pt x="1951783" y="614729"/>
                </a:cubicBezTo>
                <a:cubicBezTo>
                  <a:pt x="1951646" y="615158"/>
                  <a:pt x="1951509" y="615583"/>
                  <a:pt x="1951337" y="615998"/>
                </a:cubicBezTo>
                <a:cubicBezTo>
                  <a:pt x="1949451" y="623311"/>
                  <a:pt x="1941977" y="627700"/>
                  <a:pt x="1934674" y="625800"/>
                </a:cubicBezTo>
                <a:cubicBezTo>
                  <a:pt x="1934126" y="625667"/>
                  <a:pt x="1933646" y="625502"/>
                  <a:pt x="1933132" y="625307"/>
                </a:cubicBezTo>
                <a:close/>
                <a:moveTo>
                  <a:pt x="1909577" y="750669"/>
                </a:moveTo>
                <a:cubicBezTo>
                  <a:pt x="1907760" y="758195"/>
                  <a:pt x="1900183" y="762820"/>
                  <a:pt x="1892640" y="760999"/>
                </a:cubicBezTo>
                <a:cubicBezTo>
                  <a:pt x="1892297" y="760913"/>
                  <a:pt x="1891955" y="760817"/>
                  <a:pt x="1891611" y="760704"/>
                </a:cubicBezTo>
                <a:cubicBezTo>
                  <a:pt x="1883795" y="758376"/>
                  <a:pt x="1879372" y="750158"/>
                  <a:pt x="1881703" y="742348"/>
                </a:cubicBezTo>
                <a:cubicBezTo>
                  <a:pt x="1884034" y="734541"/>
                  <a:pt x="1892229" y="730101"/>
                  <a:pt x="1900046" y="732429"/>
                </a:cubicBezTo>
                <a:cubicBezTo>
                  <a:pt x="1907486" y="734387"/>
                  <a:pt x="1911909" y="742005"/>
                  <a:pt x="1909955" y="749441"/>
                </a:cubicBezTo>
                <a:cubicBezTo>
                  <a:pt x="1909852" y="749856"/>
                  <a:pt x="1909714" y="750264"/>
                  <a:pt x="1909577" y="750669"/>
                </a:cubicBezTo>
                <a:close/>
                <a:moveTo>
                  <a:pt x="1763006" y="1173947"/>
                </a:moveTo>
                <a:cubicBezTo>
                  <a:pt x="1755257" y="1171409"/>
                  <a:pt x="1751040" y="1163068"/>
                  <a:pt x="1753577" y="1155316"/>
                </a:cubicBezTo>
                <a:cubicBezTo>
                  <a:pt x="1756115" y="1147567"/>
                  <a:pt x="1764446" y="1143340"/>
                  <a:pt x="1772194" y="1145877"/>
                </a:cubicBezTo>
                <a:cubicBezTo>
                  <a:pt x="1779874" y="1148637"/>
                  <a:pt x="1783852" y="1157099"/>
                  <a:pt x="1781109" y="1164775"/>
                </a:cubicBezTo>
                <a:cubicBezTo>
                  <a:pt x="1778469" y="1172147"/>
                  <a:pt x="1770514" y="1176168"/>
                  <a:pt x="1763006" y="1173947"/>
                </a:cubicBezTo>
                <a:close/>
              </a:path>
            </a:pathLst>
          </a:custGeom>
          <a:solidFill>
            <a:schemeClr val="accent1"/>
          </a:solidFill>
          <a:ln w="3429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>
              <a:cs typeface="思源黑体 Regular" panose="020B0500000000000000" charset="-122"/>
            </a:endParaRPr>
          </a:p>
        </p:txBody>
      </p:sp>
      <p:pic>
        <p:nvPicPr>
          <p:cNvPr id="6" name="图片 5" descr="C:/Users/张箐/Desktop/微信图片_20260105145645_163_299.png微信图片_20260105145645_163_299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l="2818" r="6603"/>
          <a:stretch>
            <a:fillRect/>
          </a:stretch>
        </p:blipFill>
        <p:spPr>
          <a:xfrm rot="2760000">
            <a:off x="5818867" y="648380"/>
            <a:ext cx="5923826" cy="5923826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302" h="6302">
                <a:moveTo>
                  <a:pt x="3151" y="0"/>
                </a:moveTo>
                <a:cubicBezTo>
                  <a:pt x="4891" y="0"/>
                  <a:pt x="6302" y="1411"/>
                  <a:pt x="6302" y="3151"/>
                </a:cubicBezTo>
                <a:cubicBezTo>
                  <a:pt x="6302" y="4891"/>
                  <a:pt x="4891" y="6302"/>
                  <a:pt x="3151" y="6302"/>
                </a:cubicBezTo>
                <a:cubicBezTo>
                  <a:pt x="1411" y="6302"/>
                  <a:pt x="0" y="4891"/>
                  <a:pt x="0" y="3151"/>
                </a:cubicBezTo>
                <a:cubicBezTo>
                  <a:pt x="0" y="1411"/>
                  <a:pt x="1411" y="0"/>
                  <a:pt x="3151" y="0"/>
                </a:cubicBezTo>
                <a:close/>
              </a:path>
            </a:pathLst>
          </a:custGeom>
          <a:solidFill>
            <a:schemeClr val="accent1"/>
          </a:solidFill>
          <a:ln w="28575" cmpd="sng">
            <a:solidFill>
              <a:srgbClr val="FFC000"/>
            </a:solidFill>
            <a:prstDash val="solid"/>
          </a:ln>
          <a:effectLst>
            <a:outerShdw blurRad="228600" dist="152400" algn="l" rotWithShape="0">
              <a:prstClr val="black">
                <a:alpha val="2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5213684" y="1620253"/>
            <a:ext cx="5746307" cy="3513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1597660" y="3185795"/>
            <a:ext cx="3139440" cy="966470"/>
          </a:xfrm>
        </p:spPr>
        <p:txBody>
          <a:bodyPr>
            <a:noAutofit/>
          </a:bodyPr>
          <a:lstStyle/>
          <a:p>
            <a:r>
              <a:rPr lang="zh-CN" altLang="en-US" sz="5500" dirty="0">
                <a:sym typeface="+mn-ea"/>
              </a:rPr>
              <a:t>公司介绍</a:t>
            </a:r>
            <a:endParaRPr lang="zh-CN" altLang="en-US" sz="5500" dirty="0"/>
          </a:p>
        </p:txBody>
      </p:sp>
      <p:sp>
        <p:nvSpPr>
          <p:cNvPr id="9" name="文本框 8"/>
          <p:cNvSpPr txBox="1"/>
          <p:nvPr/>
        </p:nvSpPr>
        <p:spPr>
          <a:xfrm>
            <a:off x="2389377" y="1941438"/>
            <a:ext cx="1287273" cy="10936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图片 2" descr="C:/Users/张箐/Desktop/微信图片_20251203152440_1815_54.jpg微信图片_20251203152440_1815_54"/>
          <p:cNvPicPr>
            <a:picLocks noChangeAspect="1"/>
          </p:cNvPicPr>
          <p:nvPr/>
        </p:nvPicPr>
        <p:blipFill>
          <a:blip r:embed="rId1"/>
          <a:srcRect t="1548"/>
          <a:stretch>
            <a:fillRect/>
          </a:stretch>
        </p:blipFill>
        <p:spPr>
          <a:xfrm>
            <a:off x="5376965" y="1871276"/>
            <a:ext cx="5419184" cy="3145325"/>
          </a:xfrm>
          <a:prstGeom prst="rect">
            <a:avLst/>
          </a:prstGeom>
        </p:spPr>
      </p:pic>
      <p:sp>
        <p:nvSpPr>
          <p:cNvPr id="7" name="任意多边形: 形状 6"/>
          <p:cNvSpPr/>
          <p:nvPr/>
        </p:nvSpPr>
        <p:spPr>
          <a:xfrm>
            <a:off x="5376964" y="1776850"/>
            <a:ext cx="5419185" cy="3198317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5376964" y="2488267"/>
            <a:ext cx="5419184" cy="2785886"/>
          </a:xfrm>
          <a:custGeom>
            <a:avLst/>
            <a:gdLst>
              <a:gd name="connsiteX0" fmla="*/ 0 w 12192001"/>
              <a:gd name="connsiteY0" fmla="*/ 5395165 h 5395166"/>
              <a:gd name="connsiteX1" fmla="*/ 12192001 w 12192001"/>
              <a:gd name="connsiteY1" fmla="*/ 5395165 h 5395166"/>
              <a:gd name="connsiteX2" fmla="*/ 12192001 w 12192001"/>
              <a:gd name="connsiteY2" fmla="*/ 5395166 h 5395166"/>
              <a:gd name="connsiteX3" fmla="*/ 0 w 12192001"/>
              <a:gd name="connsiteY3" fmla="*/ 5395166 h 5395166"/>
              <a:gd name="connsiteX4" fmla="*/ 2310973 w 12192001"/>
              <a:gd name="connsiteY4" fmla="*/ 0 h 5395166"/>
              <a:gd name="connsiteX5" fmla="*/ 5961015 w 12192001"/>
              <a:gd name="connsiteY5" fmla="*/ 1626427 h 5395166"/>
              <a:gd name="connsiteX6" fmla="*/ 12192001 w 12192001"/>
              <a:gd name="connsiteY6" fmla="*/ 4777628 h 5395166"/>
              <a:gd name="connsiteX7" fmla="*/ 12192001 w 12192001"/>
              <a:gd name="connsiteY7" fmla="*/ 4823393 h 5395166"/>
              <a:gd name="connsiteX8" fmla="*/ 5961015 w 12192001"/>
              <a:gd name="connsiteY8" fmla="*/ 1905726 h 5395166"/>
              <a:gd name="connsiteX9" fmla="*/ 2310973 w 12192001"/>
              <a:gd name="connsiteY9" fmla="*/ 399832 h 5395166"/>
              <a:gd name="connsiteX10" fmla="*/ 0 w 12192001"/>
              <a:gd name="connsiteY10" fmla="*/ 1129250 h 5395166"/>
              <a:gd name="connsiteX11" fmla="*/ 0 w 12192001"/>
              <a:gd name="connsiteY11" fmla="*/ 787801 h 5395166"/>
              <a:gd name="connsiteX12" fmla="*/ 2310973 w 12192001"/>
              <a:gd name="connsiteY12" fmla="*/ 0 h 539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1" h="5395166">
                <a:moveTo>
                  <a:pt x="0" y="5395165"/>
                </a:moveTo>
                <a:lnTo>
                  <a:pt x="12192001" y="5395165"/>
                </a:lnTo>
                <a:lnTo>
                  <a:pt x="12192001" y="5395166"/>
                </a:lnTo>
                <a:lnTo>
                  <a:pt x="0" y="5395166"/>
                </a:lnTo>
                <a:close/>
                <a:moveTo>
                  <a:pt x="2310973" y="0"/>
                </a:moveTo>
                <a:cubicBezTo>
                  <a:pt x="3293676" y="0"/>
                  <a:pt x="4546353" y="355781"/>
                  <a:pt x="5961015" y="1626427"/>
                </a:cubicBezTo>
                <a:cubicBezTo>
                  <a:pt x="9438272" y="4752215"/>
                  <a:pt x="12192001" y="4777628"/>
                  <a:pt x="12192001" y="4777628"/>
                </a:cubicBezTo>
                <a:lnTo>
                  <a:pt x="12192001" y="4823393"/>
                </a:lnTo>
                <a:cubicBezTo>
                  <a:pt x="12192001" y="4823393"/>
                  <a:pt x="9438272" y="4799863"/>
                  <a:pt x="5961015" y="1905726"/>
                </a:cubicBezTo>
                <a:cubicBezTo>
                  <a:pt x="4546353" y="729246"/>
                  <a:pt x="3293676" y="399832"/>
                  <a:pt x="2310973" y="399832"/>
                </a:cubicBezTo>
                <a:cubicBezTo>
                  <a:pt x="874714" y="399832"/>
                  <a:pt x="0" y="1129250"/>
                  <a:pt x="0" y="1129250"/>
                </a:cubicBezTo>
                <a:lnTo>
                  <a:pt x="0" y="787801"/>
                </a:lnTo>
                <a:cubicBezTo>
                  <a:pt x="0" y="787801"/>
                  <a:pt x="874714" y="0"/>
                  <a:pt x="2310973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5955643" y="4644564"/>
            <a:ext cx="4387343" cy="744073"/>
            <a:chOff x="318007" y="4755835"/>
            <a:chExt cx="6275053" cy="489254"/>
          </a:xfrm>
        </p:grpSpPr>
        <p:grpSp>
          <p:nvGrpSpPr>
            <p:cNvPr id="13" name="组合 12"/>
            <p:cNvGrpSpPr/>
            <p:nvPr/>
          </p:nvGrpSpPr>
          <p:grpSpPr>
            <a:xfrm>
              <a:off x="318007" y="4755835"/>
              <a:ext cx="6275053" cy="474436"/>
              <a:chOff x="2958474" y="4627033"/>
              <a:chExt cx="6275053" cy="474436"/>
            </a:xfrm>
          </p:grpSpPr>
          <p:sp>
            <p:nvSpPr>
              <p:cNvPr id="15" name="直角三角形 14"/>
              <p:cNvSpPr/>
              <p:nvPr/>
            </p:nvSpPr>
            <p:spPr>
              <a:xfrm flipH="1" flipV="1">
                <a:off x="2958474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6" name="直角三角形 15"/>
              <p:cNvSpPr/>
              <p:nvPr/>
            </p:nvSpPr>
            <p:spPr>
              <a:xfrm flipV="1">
                <a:off x="9013372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3178629" y="4627033"/>
                <a:ext cx="5834743" cy="474436"/>
              </a:xfrm>
              <a:prstGeom prst="rect">
                <a:avLst/>
              </a:prstGeom>
              <a:solidFill>
                <a:srgbClr val="24222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530644" y="4755835"/>
              <a:ext cx="5834742" cy="48925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Original Garamond Std Roman" panose="02010600010101010101" charset="-122"/>
              </a:endParaRP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6104255" y="4727575"/>
            <a:ext cx="407924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000" b="1" dirty="0">
                <a:solidFill>
                  <a:schemeClr val="bg1"/>
                </a:solidFill>
                <a:latin typeface="Garamond" panose="02020404030301010803" charset="0"/>
                <a:ea typeface="微软雅黑" panose="020B0503020204020204" pitchFamily="34" charset="-122"/>
                <a:cs typeface="Garamond" panose="02020404030301010803" charset="0"/>
              </a:rPr>
              <a:t>打造全产业链的中国饮料服务平台</a:t>
            </a:r>
            <a:endParaRPr lang="zh-CN" altLang="en-US" sz="2000" b="1" dirty="0">
              <a:solidFill>
                <a:schemeClr val="bg1"/>
              </a:solidFill>
              <a:latin typeface="Garamond" panose="02020404030301010803" charset="0"/>
              <a:ea typeface="微软雅黑" panose="020B0503020204020204" pitchFamily="34" charset="-122"/>
              <a:cs typeface="Garamond" panose="02020404030301010803" charset="0"/>
            </a:endParaRPr>
          </a:p>
        </p:txBody>
      </p:sp>
      <p:sp>
        <p:nvSpPr>
          <p:cNvPr id="24" name="任意多边形: 形状 23"/>
          <p:cNvSpPr/>
          <p:nvPr/>
        </p:nvSpPr>
        <p:spPr>
          <a:xfrm>
            <a:off x="0" y="-44535"/>
            <a:ext cx="12192000" cy="387879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31" name="矩形 30"/>
          <p:cNvSpPr/>
          <p:nvPr>
            <p:custDataLst>
              <p:tags r:id="rId3"/>
            </p:custDataLst>
          </p:nvPr>
        </p:nvSpPr>
        <p:spPr>
          <a:xfrm>
            <a:off x="572135" y="870585"/>
            <a:ext cx="4450715" cy="57073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文本框 19"/>
          <p:cNvSpPr txBox="1"/>
          <p:nvPr>
            <p:custDataLst>
              <p:tags r:id="rId4"/>
            </p:custDataLst>
          </p:nvPr>
        </p:nvSpPr>
        <p:spPr>
          <a:xfrm>
            <a:off x="859790" y="1533525"/>
            <a:ext cx="3863975" cy="463550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>
            <a:defPPr>
              <a:defRPr lang="zh-CN"/>
            </a:defPPr>
            <a:lvl1pPr fontAlgn="auto">
              <a:lnSpc>
                <a:spcPct val="130000"/>
              </a:lnSpc>
              <a:spcAft>
                <a:spcPts val="1000"/>
              </a:spcAft>
              <a:defRPr sz="1600" spc="150"/>
            </a:lvl1pPr>
          </a:lstStyle>
          <a:p>
            <a:pPr marL="0" lvl="0" indent="0" algn="l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None/>
            </a:pPr>
            <a:r>
              <a:rPr lang="zh-CN" altLang="en-US" sz="2700" spc="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提供蛋白饮料、茶饮料、咖啡、碳酸、精酿啤酒、预调酒、轻发酵低酒精饮料、谷物、果汁、水等各啤酒、饮料类产品配方研发与灌装OEM服务。</a:t>
            </a:r>
            <a:endParaRPr lang="zh-CN" altLang="en-US" sz="2700" spc="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7" name="椭圆 56"/>
          <p:cNvSpPr/>
          <p:nvPr>
            <p:custDataLst>
              <p:tags r:id="rId5"/>
            </p:custDataLst>
          </p:nvPr>
        </p:nvSpPr>
        <p:spPr>
          <a:xfrm flipH="1">
            <a:off x="658495" y="1005840"/>
            <a:ext cx="358775" cy="35877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3" name="弧形 32"/>
          <p:cNvSpPr/>
          <p:nvPr>
            <p:custDataLst>
              <p:tags r:id="rId6"/>
            </p:custDataLst>
          </p:nvPr>
        </p:nvSpPr>
        <p:spPr>
          <a:xfrm flipH="1">
            <a:off x="658495" y="937895"/>
            <a:ext cx="1373505" cy="1373505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7" name="椭圆 36"/>
          <p:cNvSpPr/>
          <p:nvPr>
            <p:custDataLst>
              <p:tags r:id="rId7"/>
            </p:custDataLst>
          </p:nvPr>
        </p:nvSpPr>
        <p:spPr>
          <a:xfrm flipH="1">
            <a:off x="4643526" y="6169079"/>
            <a:ext cx="274355" cy="2743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1" name="弧形 50"/>
          <p:cNvSpPr/>
          <p:nvPr>
            <p:custDataLst>
              <p:tags r:id="rId8"/>
            </p:custDataLst>
          </p:nvPr>
        </p:nvSpPr>
        <p:spPr>
          <a:xfrm flipV="1">
            <a:off x="3771153" y="5322089"/>
            <a:ext cx="1176841" cy="1176841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2" name="图片 1" descr="微信图片_20260105101108_158_29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9230" y="856615"/>
            <a:ext cx="6360795" cy="57213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五边形 3"/>
          <p:cNvSpPr/>
          <p:nvPr/>
        </p:nvSpPr>
        <p:spPr>
          <a:xfrm>
            <a:off x="-6351" y="1266602"/>
            <a:ext cx="3059833" cy="36004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 txBox="1"/>
          <p:nvPr/>
        </p:nvSpPr>
        <p:spPr>
          <a:xfrm>
            <a:off x="389186" y="1230598"/>
            <a:ext cx="2468960" cy="4320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000" dirty="0"/>
              <a:t>滁州华冠</a:t>
            </a:r>
            <a:endParaRPr lang="zh-CN" altLang="en-US" sz="200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01623" y="1875552"/>
            <a:ext cx="2483907" cy="3196670"/>
            <a:chOff x="467544" y="1772816"/>
            <a:chExt cx="2088232" cy="2687455"/>
          </a:xfrm>
        </p:grpSpPr>
        <p:sp>
          <p:nvSpPr>
            <p:cNvPr id="15" name="圆角矩形 14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灌装品类</a:t>
              </a:r>
              <a:endParaRPr lang="zh-CN" altLang="en-US" sz="17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蛋白饮料，植物饮料，果汁饮料，功能饮料，碳酸饮料。</a:t>
              </a:r>
              <a:endParaRPr lang="zh-CN" altLang="en-US" sz="24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" name="直接连接符 14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4211003" y="2564448"/>
            <a:ext cx="5256212" cy="1587"/>
          </a:xfrm>
          <a:prstGeom prst="line">
            <a:avLst/>
          </a:prstGeom>
          <a:noFill/>
          <a:ln w="12700">
            <a:solidFill>
              <a:srgbClr val="D8D8D8"/>
            </a:solidFill>
            <a:beve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>
            <a:normAutofit fontScale="25000" lnSpcReduction="20000"/>
          </a:bodyPr>
          <a:lstStyle/>
          <a:p>
            <a:pPr>
              <a:defRPr/>
            </a:pPr>
            <a:endParaRPr lang="zh-CN" altLang="en-US"/>
          </a:p>
        </p:txBody>
      </p:sp>
      <p:sp>
        <p:nvSpPr>
          <p:cNvPr id="26" name="椭圆 4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4211003" y="4577398"/>
            <a:ext cx="550862" cy="552450"/>
          </a:xfrm>
          <a:prstGeom prst="ellipse">
            <a:avLst/>
          </a:prstGeom>
          <a:solidFill>
            <a:srgbClr val="0369BF"/>
          </a:solidFill>
          <a:ln>
            <a:noFill/>
          </a:ln>
        </p:spPr>
        <p:txBody>
          <a:bodyPr lIns="90000" tIns="46800" rIns="90000" bIns="46800" anchor="ctr">
            <a:norm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zh-CN" sz="1800" b="1" dirty="0">
                <a:solidFill>
                  <a:srgbClr val="FFFFFF"/>
                </a:solidFill>
                <a:latin typeface="微软雅黑" panose="020B0503020204020204" pitchFamily="34" charset="-122"/>
                <a:sym typeface="Adobe 黑体 Std R" panose="020B0400000000000000" charset="-122"/>
              </a:rPr>
              <a:t>C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sym typeface="Adobe 黑体 Std R" panose="020B0400000000000000" charset="-122"/>
            </a:endParaRPr>
          </a:p>
        </p:txBody>
      </p:sp>
      <p:sp>
        <p:nvSpPr>
          <p:cNvPr id="27" name="文本框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28540" y="4369435"/>
            <a:ext cx="2276475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zh-CN" sz="2400" b="1" dirty="0">
                <a:latin typeface="微软雅黑" panose="020B0503020204020204" pitchFamily="34" charset="-122"/>
                <a:cs typeface="+mn-ea"/>
                <a:sym typeface="Calibri Light" panose="020F0302020204030204" pitchFamily="34" charset="0"/>
              </a:rPr>
              <a:t>PET</a:t>
            </a:r>
            <a:endParaRPr lang="en-US" altLang="zh-CN" sz="2400" b="1" dirty="0">
              <a:latin typeface="微软雅黑" panose="020B0503020204020204" pitchFamily="34" charset="-122"/>
              <a:cs typeface="+mn-ea"/>
              <a:sym typeface="Calibri Light" panose="020F0302020204030204" pitchFamily="34" charset="0"/>
            </a:endParaRPr>
          </a:p>
        </p:txBody>
      </p:sp>
      <p:sp>
        <p:nvSpPr>
          <p:cNvPr id="28" name="文本框 27"/>
          <p:cNvSpPr txBox="1"/>
          <p:nvPr>
            <p:custDataLst>
              <p:tags r:id="rId6"/>
            </p:custDataLst>
          </p:nvPr>
        </p:nvSpPr>
        <p:spPr>
          <a:xfrm>
            <a:off x="4828540" y="4788535"/>
            <a:ext cx="5628005" cy="646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normAutofit/>
          </a:bodyPr>
          <a:lstStyle>
            <a:defPPr>
              <a:defRPr lang="zh-CN"/>
            </a:defPPr>
            <a:lvl1pPr eaLnBrk="1" hangingPunct="1">
              <a:lnSpc>
                <a:spcPct val="100000"/>
              </a:lnSpc>
              <a:buFont typeface="Arial" panose="020B0604020202020204" pitchFamily="34" charset="0"/>
              <a:buNone/>
              <a:defRPr sz="1800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</a:rPr>
              <a:t>三条线，产能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</a:rPr>
              <a:t>5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</a:rPr>
              <a:t>亿。</a:t>
            </a:r>
            <a:endParaRPr lang="zh-CN" altLang="en-US" sz="2000" dirty="0">
              <a:solidFill>
                <a:srgbClr val="000000"/>
              </a:solidFill>
              <a:latin typeface="微软雅黑" panose="020B0503020204020204" pitchFamily="34" charset="-122"/>
            </a:endParaRPr>
          </a:p>
        </p:txBody>
      </p:sp>
      <p:sp>
        <p:nvSpPr>
          <p:cNvPr id="32" name="椭圆 3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4211003" y="2993073"/>
            <a:ext cx="550862" cy="550862"/>
          </a:xfrm>
          <a:prstGeom prst="ellipse">
            <a:avLst/>
          </a:prstGeom>
          <a:solidFill>
            <a:srgbClr val="FF8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0000" tIns="46800" rIns="90000" bIns="468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18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dobe 黑体 Std R" panose="020B0400000000000000" charset="-122"/>
              </a:rPr>
              <a:t>B</a:t>
            </a:r>
            <a:endParaRPr lang="en-US" altLang="zh-CN" sz="1800" b="1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dobe 黑体 Std R" panose="020B0400000000000000" charset="-122"/>
            </a:endParaRPr>
          </a:p>
        </p:txBody>
      </p:sp>
      <p:sp>
        <p:nvSpPr>
          <p:cNvPr id="33" name="文本框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28540" y="2812098"/>
            <a:ext cx="22764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zh-CN" altLang="en-US" sz="2400" b="1" dirty="0">
                <a:latin typeface="微软雅黑" panose="020B0503020204020204" pitchFamily="34" charset="-122"/>
                <a:cs typeface="+mn-ea"/>
                <a:sym typeface="Calibri Light" panose="020F0302020204030204" pitchFamily="34" charset="0"/>
              </a:rPr>
              <a:t>纸包</a:t>
            </a:r>
            <a:endParaRPr lang="zh-CN" altLang="en-US" sz="2400" b="1" dirty="0">
              <a:latin typeface="微软雅黑" panose="020B0503020204020204" pitchFamily="34" charset="-122"/>
              <a:cs typeface="+mn-ea"/>
              <a:sym typeface="Calibri Light" panose="020F0302020204030204" pitchFamily="34" charset="0"/>
            </a:endParaRPr>
          </a:p>
        </p:txBody>
      </p:sp>
      <p:sp>
        <p:nvSpPr>
          <p:cNvPr id="36" name="文本框 35"/>
          <p:cNvSpPr txBox="1"/>
          <p:nvPr>
            <p:custDataLst>
              <p:tags r:id="rId9"/>
            </p:custDataLst>
          </p:nvPr>
        </p:nvSpPr>
        <p:spPr>
          <a:xfrm>
            <a:off x="4828540" y="3232785"/>
            <a:ext cx="5628005" cy="646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normAutofit/>
          </a:bodyPr>
          <a:lstStyle>
            <a:defPPr>
              <a:defRPr lang="zh-CN"/>
            </a:defPPr>
            <a:lvl1pPr eaLnBrk="1" hangingPunct="1">
              <a:lnSpc>
                <a:spcPct val="100000"/>
              </a:lnSpc>
              <a:buFont typeface="Arial" panose="020B0604020202020204" pitchFamily="34" charset="0"/>
              <a:buNone/>
              <a:defRPr sz="1800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普通纸包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20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条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(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全品类），卡特罐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条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产能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10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 sz="2000" dirty="0">
              <a:solidFill>
                <a:srgbClr val="000000"/>
              </a:solidFill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7" name="椭圆 2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4211003" y="1426210"/>
            <a:ext cx="550862" cy="554038"/>
          </a:xfrm>
          <a:prstGeom prst="ellipse">
            <a:avLst/>
          </a:prstGeom>
          <a:solidFill>
            <a:srgbClr val="0369BF"/>
          </a:solidFill>
          <a:ln>
            <a:noFill/>
          </a:ln>
        </p:spPr>
        <p:txBody>
          <a:bodyPr lIns="90000" tIns="46800" rIns="90000" bIns="46800" anchor="ctr">
            <a:norm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US" altLang="zh-CN" sz="1800" b="1" dirty="0">
                <a:solidFill>
                  <a:srgbClr val="FFFFFF"/>
                </a:solidFill>
                <a:latin typeface="微软雅黑" panose="020B0503020204020204" pitchFamily="34" charset="-122"/>
                <a:sym typeface="Adobe 黑体 Std R" panose="020B0400000000000000" charset="-122"/>
              </a:rPr>
              <a:t>A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sym typeface="Adobe 黑体 Std R" panose="020B0400000000000000" charset="-122"/>
            </a:endParaRPr>
          </a:p>
        </p:txBody>
      </p:sp>
      <p:sp>
        <p:nvSpPr>
          <p:cNvPr id="38" name="文本框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28540" y="1253173"/>
            <a:ext cx="22764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zh-CN" altLang="en-US" sz="2400" b="1" dirty="0">
                <a:latin typeface="微软雅黑" panose="020B0503020204020204" pitchFamily="34" charset="-122"/>
                <a:cs typeface="+mn-ea"/>
                <a:sym typeface="Calibri Light" panose="020F0302020204030204" pitchFamily="34" charset="0"/>
              </a:rPr>
              <a:t>金属罐</a:t>
            </a:r>
            <a:endParaRPr lang="zh-CN" altLang="en-US" sz="2400" b="1" dirty="0">
              <a:latin typeface="微软雅黑" panose="020B0503020204020204" pitchFamily="34" charset="-122"/>
              <a:cs typeface="+mn-ea"/>
              <a:sym typeface="Calibri Light" panose="020F0302020204030204" pitchFamily="34" charset="0"/>
            </a:endParaRPr>
          </a:p>
        </p:txBody>
      </p:sp>
      <p:sp>
        <p:nvSpPr>
          <p:cNvPr id="39" name="文本框 38"/>
          <p:cNvSpPr txBox="1"/>
          <p:nvPr>
            <p:custDataLst>
              <p:tags r:id="rId12"/>
            </p:custDataLst>
          </p:nvPr>
        </p:nvSpPr>
        <p:spPr>
          <a:xfrm>
            <a:off x="4828540" y="1672590"/>
            <a:ext cx="562800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normAutofit/>
          </a:bodyPr>
          <a:lstStyle>
            <a:defPPr>
              <a:defRPr lang="zh-CN"/>
            </a:defPPr>
            <a:lvl1pPr eaLnBrk="1" hangingPunct="1">
              <a:lnSpc>
                <a:spcPct val="100000"/>
              </a:lnSpc>
              <a:buFont typeface="Arial" panose="020B0604020202020204" pitchFamily="34" charset="0"/>
              <a:buNone/>
              <a:defRPr sz="1800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三片罐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条，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ABC1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条，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TBC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一条，产能</a:t>
            </a:r>
            <a:r>
              <a:rPr lang="en-US" altLang="zh-CN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 sz="2000" dirty="0">
              <a:solidFill>
                <a:srgbClr val="000000"/>
              </a:solidFill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五边形 3"/>
          <p:cNvSpPr/>
          <p:nvPr/>
        </p:nvSpPr>
        <p:spPr>
          <a:xfrm>
            <a:off x="-6351" y="1266602"/>
            <a:ext cx="3059833" cy="36004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 txBox="1"/>
          <p:nvPr/>
        </p:nvSpPr>
        <p:spPr>
          <a:xfrm>
            <a:off x="389186" y="1230598"/>
            <a:ext cx="2468960" cy="4320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000" dirty="0"/>
              <a:t>简阳嘉饮</a:t>
            </a:r>
            <a:endParaRPr lang="zh-CN" altLang="en-US" sz="200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01623" y="2346722"/>
            <a:ext cx="2483907" cy="3196670"/>
            <a:chOff x="467544" y="1772816"/>
            <a:chExt cx="2088232" cy="2687455"/>
          </a:xfrm>
        </p:grpSpPr>
        <p:sp>
          <p:nvSpPr>
            <p:cNvPr id="15" name="圆角矩形 14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灌装品类</a:t>
              </a:r>
              <a:endParaRPr lang="zh-CN" altLang="en-US" sz="17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碳酸饮料，果汁饮料，植物饮料，蛋白饮料等。</a:t>
              </a:r>
              <a:endParaRPr lang="zh-CN" altLang="en-US" sz="24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94" name="椭圆 1"/>
          <p:cNvSpPr/>
          <p:nvPr/>
        </p:nvSpPr>
        <p:spPr>
          <a:xfrm>
            <a:off x="4737611" y="2235483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5" name="椭圆 1"/>
          <p:cNvSpPr/>
          <p:nvPr/>
        </p:nvSpPr>
        <p:spPr>
          <a:xfrm>
            <a:off x="4611508" y="3444136"/>
            <a:ext cx="692888" cy="1378283"/>
          </a:xfrm>
          <a:custGeom>
            <a:avLst/>
            <a:gdLst/>
            <a:ahLst/>
            <a:cxnLst/>
            <a:rect l="l" t="t" r="r" b="b"/>
            <a:pathLst>
              <a:path w="828092" h="1656184">
                <a:moveTo>
                  <a:pt x="828092" y="0"/>
                </a:move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6012"/>
                  <a:pt x="470172" y="1476164"/>
                  <a:pt x="828092" y="1476164"/>
                </a:cubicBezTo>
                <a:lnTo>
                  <a:pt x="828092" y="1656184"/>
                </a:lnTo>
                <a:cubicBezTo>
                  <a:pt x="370749" y="1656184"/>
                  <a:pt x="0" y="1285435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6" name="椭圆 1"/>
          <p:cNvSpPr/>
          <p:nvPr/>
        </p:nvSpPr>
        <p:spPr>
          <a:xfrm rot="5400000">
            <a:off x="4517459" y="4665767"/>
            <a:ext cx="1371760" cy="1385776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7" name="椭圆 1"/>
          <p:cNvSpPr/>
          <p:nvPr/>
        </p:nvSpPr>
        <p:spPr>
          <a:xfrm rot="10800000">
            <a:off x="3504905" y="2045561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8" name="椭圆 1"/>
          <p:cNvSpPr/>
          <p:nvPr/>
        </p:nvSpPr>
        <p:spPr>
          <a:xfrm rot="6199008">
            <a:off x="3765565" y="4128069"/>
            <a:ext cx="689141" cy="1305604"/>
          </a:xfrm>
          <a:custGeom>
            <a:avLst/>
            <a:gdLst/>
            <a:ahLst/>
            <a:cxnLst/>
            <a:rect l="l" t="t" r="r" b="b"/>
            <a:pathLst>
              <a:path w="828092" h="1560369">
                <a:moveTo>
                  <a:pt x="16824" y="994982"/>
                </a:moveTo>
                <a:cubicBezTo>
                  <a:pt x="5793" y="941075"/>
                  <a:pt x="0" y="885260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0557"/>
                  <a:pt x="461395" y="1467304"/>
                  <a:pt x="811810" y="1474523"/>
                </a:cubicBezTo>
                <a:lnTo>
                  <a:pt x="449129" y="1560369"/>
                </a:lnTo>
                <a:cubicBezTo>
                  <a:pt x="229080" y="1450469"/>
                  <a:pt x="67556" y="1242904"/>
                  <a:pt x="16824" y="994982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9" name="圆角矩形 14"/>
          <p:cNvSpPr/>
          <p:nvPr/>
        </p:nvSpPr>
        <p:spPr>
          <a:xfrm>
            <a:off x="5988524" y="2568865"/>
            <a:ext cx="3313811" cy="539328"/>
          </a:xfrm>
          <a:custGeom>
            <a:avLst/>
            <a:gdLst/>
            <a:ahLst/>
            <a:cxnLst/>
            <a:rect l="l" t="t" r="r" b="b"/>
            <a:pathLst>
              <a:path w="3960440" h="648072">
                <a:moveTo>
                  <a:pt x="0" y="0"/>
                </a:moveTo>
                <a:lnTo>
                  <a:pt x="3636404" y="0"/>
                </a:lnTo>
                <a:cubicBezTo>
                  <a:pt x="3815364" y="0"/>
                  <a:pt x="3960440" y="145076"/>
                  <a:pt x="3960440" y="324036"/>
                </a:cubicBezTo>
                <a:cubicBezTo>
                  <a:pt x="3960440" y="502996"/>
                  <a:pt x="3815364" y="648072"/>
                  <a:pt x="3636404" y="648072"/>
                </a:cubicBezTo>
                <a:lnTo>
                  <a:pt x="0" y="648072"/>
                </a:ln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endParaRPr lang="zh-CN" altLang="en-US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0" name="圆角矩形 14"/>
          <p:cNvSpPr/>
          <p:nvPr/>
        </p:nvSpPr>
        <p:spPr>
          <a:xfrm>
            <a:off x="5710823" y="4907950"/>
            <a:ext cx="3374771" cy="539328"/>
          </a:xfrm>
          <a:custGeom>
            <a:avLst/>
            <a:gdLst>
              <a:gd name="connsiteX0" fmla="*/ 0 w 4033295"/>
              <a:gd name="connsiteY0" fmla="*/ 0 h 648072"/>
              <a:gd name="connsiteX1" fmla="*/ 3709259 w 4033295"/>
              <a:gd name="connsiteY1" fmla="*/ 0 h 648072"/>
              <a:gd name="connsiteX2" fmla="*/ 4033295 w 4033295"/>
              <a:gd name="connsiteY2" fmla="*/ 324036 h 648072"/>
              <a:gd name="connsiteX3" fmla="*/ 3709259 w 4033295"/>
              <a:gd name="connsiteY3" fmla="*/ 648072 h 648072"/>
              <a:gd name="connsiteX4" fmla="*/ 72855 w 4033295"/>
              <a:gd name="connsiteY4" fmla="*/ 648072 h 648072"/>
              <a:gd name="connsiteX5" fmla="*/ 0 w 4033295"/>
              <a:gd name="connsiteY5" fmla="*/ 0 h 648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33295" h="648072">
                <a:moveTo>
                  <a:pt x="0" y="0"/>
                </a:moveTo>
                <a:lnTo>
                  <a:pt x="3709259" y="0"/>
                </a:lnTo>
                <a:cubicBezTo>
                  <a:pt x="3888219" y="0"/>
                  <a:pt x="4033295" y="145076"/>
                  <a:pt x="4033295" y="324036"/>
                </a:cubicBezTo>
                <a:cubicBezTo>
                  <a:pt x="4033295" y="502996"/>
                  <a:pt x="3888219" y="648072"/>
                  <a:pt x="3709259" y="648072"/>
                </a:cubicBezTo>
                <a:lnTo>
                  <a:pt x="72855" y="648072"/>
                </a:lnTo>
                <a:cubicBezTo>
                  <a:pt x="72855" y="432048"/>
                  <a:pt x="0" y="216024"/>
                  <a:pt x="0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纸包</a:t>
            </a:r>
            <a:endParaRPr lang="zh-CN" altLang="en-US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5184857" y="2587712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A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5064354" y="5038488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B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6088380" y="3228340"/>
            <a:ext cx="4617085" cy="450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两片罐</a:t>
            </a:r>
            <a:r>
              <a:rPr lang="en-US" altLang="zh-CN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</a:t>
            </a: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条，产能</a:t>
            </a:r>
            <a:r>
              <a:rPr lang="en-US" altLang="zh-CN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5</a:t>
            </a: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5988685" y="5447030"/>
            <a:ext cx="4961255" cy="81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纸包：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9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条（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0Z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S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50B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，产能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30000"/>
              </a:lnSpc>
              <a:defRPr/>
            </a:pPr>
            <a:endParaRPr lang="zh-CN" altLang="en-US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五边形 3"/>
          <p:cNvSpPr/>
          <p:nvPr/>
        </p:nvSpPr>
        <p:spPr>
          <a:xfrm>
            <a:off x="-6351" y="1266602"/>
            <a:ext cx="3059833" cy="36004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 txBox="1"/>
          <p:nvPr/>
        </p:nvSpPr>
        <p:spPr>
          <a:xfrm>
            <a:off x="389186" y="1230598"/>
            <a:ext cx="2468960" cy="4320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000" dirty="0"/>
              <a:t>临颍嘉饮</a:t>
            </a:r>
            <a:endParaRPr lang="zh-CN" altLang="en-US" sz="200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01623" y="2346722"/>
            <a:ext cx="2483907" cy="3196670"/>
            <a:chOff x="467544" y="1772816"/>
            <a:chExt cx="2088232" cy="2687455"/>
          </a:xfrm>
        </p:grpSpPr>
        <p:sp>
          <p:nvSpPr>
            <p:cNvPr id="15" name="圆角矩形 14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灌装品类</a:t>
              </a:r>
              <a:endParaRPr lang="zh-CN" altLang="en-US" sz="17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果汁饮料，植物饮料，蛋白饮料，功能饮料等。</a:t>
              </a:r>
              <a:endParaRPr lang="zh-CN" altLang="en-US" sz="24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94" name="椭圆 1"/>
          <p:cNvSpPr/>
          <p:nvPr/>
        </p:nvSpPr>
        <p:spPr>
          <a:xfrm>
            <a:off x="4737611" y="2235483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5" name="椭圆 1"/>
          <p:cNvSpPr/>
          <p:nvPr/>
        </p:nvSpPr>
        <p:spPr>
          <a:xfrm>
            <a:off x="4611508" y="3444136"/>
            <a:ext cx="692888" cy="1378283"/>
          </a:xfrm>
          <a:custGeom>
            <a:avLst/>
            <a:gdLst/>
            <a:ahLst/>
            <a:cxnLst/>
            <a:rect l="l" t="t" r="r" b="b"/>
            <a:pathLst>
              <a:path w="828092" h="1656184">
                <a:moveTo>
                  <a:pt x="828092" y="0"/>
                </a:move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6012"/>
                  <a:pt x="470172" y="1476164"/>
                  <a:pt x="828092" y="1476164"/>
                </a:cubicBezTo>
                <a:lnTo>
                  <a:pt x="828092" y="1656184"/>
                </a:lnTo>
                <a:cubicBezTo>
                  <a:pt x="370749" y="1656184"/>
                  <a:pt x="0" y="1285435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6" name="椭圆 1"/>
          <p:cNvSpPr/>
          <p:nvPr/>
        </p:nvSpPr>
        <p:spPr>
          <a:xfrm rot="5400000">
            <a:off x="4517459" y="4665767"/>
            <a:ext cx="1371760" cy="1385776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7" name="椭圆 1"/>
          <p:cNvSpPr/>
          <p:nvPr/>
        </p:nvSpPr>
        <p:spPr>
          <a:xfrm rot="10800000">
            <a:off x="3504905" y="2045561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8" name="椭圆 1"/>
          <p:cNvSpPr/>
          <p:nvPr/>
        </p:nvSpPr>
        <p:spPr>
          <a:xfrm rot="6199008">
            <a:off x="3765565" y="4128069"/>
            <a:ext cx="689141" cy="1305604"/>
          </a:xfrm>
          <a:custGeom>
            <a:avLst/>
            <a:gdLst/>
            <a:ahLst/>
            <a:cxnLst/>
            <a:rect l="l" t="t" r="r" b="b"/>
            <a:pathLst>
              <a:path w="828092" h="1560369">
                <a:moveTo>
                  <a:pt x="16824" y="994982"/>
                </a:moveTo>
                <a:cubicBezTo>
                  <a:pt x="5793" y="941075"/>
                  <a:pt x="0" y="885260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0557"/>
                  <a:pt x="461395" y="1467304"/>
                  <a:pt x="811810" y="1474523"/>
                </a:cubicBezTo>
                <a:lnTo>
                  <a:pt x="449129" y="1560369"/>
                </a:lnTo>
                <a:cubicBezTo>
                  <a:pt x="229080" y="1450469"/>
                  <a:pt x="67556" y="1242904"/>
                  <a:pt x="16824" y="994982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9" name="圆角矩形 14"/>
          <p:cNvSpPr/>
          <p:nvPr/>
        </p:nvSpPr>
        <p:spPr>
          <a:xfrm>
            <a:off x="5988524" y="2568865"/>
            <a:ext cx="3313811" cy="539328"/>
          </a:xfrm>
          <a:custGeom>
            <a:avLst/>
            <a:gdLst/>
            <a:ahLst/>
            <a:cxnLst/>
            <a:rect l="l" t="t" r="r" b="b"/>
            <a:pathLst>
              <a:path w="3960440" h="648072">
                <a:moveTo>
                  <a:pt x="0" y="0"/>
                </a:moveTo>
                <a:lnTo>
                  <a:pt x="3636404" y="0"/>
                </a:lnTo>
                <a:cubicBezTo>
                  <a:pt x="3815364" y="0"/>
                  <a:pt x="3960440" y="145076"/>
                  <a:pt x="3960440" y="324036"/>
                </a:cubicBezTo>
                <a:cubicBezTo>
                  <a:pt x="3960440" y="502996"/>
                  <a:pt x="3815364" y="648072"/>
                  <a:pt x="3636404" y="648072"/>
                </a:cubicBezTo>
                <a:lnTo>
                  <a:pt x="0" y="648072"/>
                </a:ln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endParaRPr lang="zh-CN" altLang="en-US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0" name="圆角矩形 14"/>
          <p:cNvSpPr/>
          <p:nvPr/>
        </p:nvSpPr>
        <p:spPr>
          <a:xfrm>
            <a:off x="5710823" y="4907950"/>
            <a:ext cx="3374771" cy="539328"/>
          </a:xfrm>
          <a:custGeom>
            <a:avLst/>
            <a:gdLst>
              <a:gd name="connsiteX0" fmla="*/ 0 w 4033295"/>
              <a:gd name="connsiteY0" fmla="*/ 0 h 648072"/>
              <a:gd name="connsiteX1" fmla="*/ 3709259 w 4033295"/>
              <a:gd name="connsiteY1" fmla="*/ 0 h 648072"/>
              <a:gd name="connsiteX2" fmla="*/ 4033295 w 4033295"/>
              <a:gd name="connsiteY2" fmla="*/ 324036 h 648072"/>
              <a:gd name="connsiteX3" fmla="*/ 3709259 w 4033295"/>
              <a:gd name="connsiteY3" fmla="*/ 648072 h 648072"/>
              <a:gd name="connsiteX4" fmla="*/ 72855 w 4033295"/>
              <a:gd name="connsiteY4" fmla="*/ 648072 h 648072"/>
              <a:gd name="connsiteX5" fmla="*/ 0 w 4033295"/>
              <a:gd name="connsiteY5" fmla="*/ 0 h 648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33295" h="648072">
                <a:moveTo>
                  <a:pt x="0" y="0"/>
                </a:moveTo>
                <a:lnTo>
                  <a:pt x="3709259" y="0"/>
                </a:lnTo>
                <a:cubicBezTo>
                  <a:pt x="3888219" y="0"/>
                  <a:pt x="4033295" y="145076"/>
                  <a:pt x="4033295" y="324036"/>
                </a:cubicBezTo>
                <a:cubicBezTo>
                  <a:pt x="4033295" y="502996"/>
                  <a:pt x="3888219" y="648072"/>
                  <a:pt x="3709259" y="648072"/>
                </a:cubicBezTo>
                <a:lnTo>
                  <a:pt x="72855" y="648072"/>
                </a:lnTo>
                <a:cubicBezTo>
                  <a:pt x="72855" y="432048"/>
                  <a:pt x="0" y="216024"/>
                  <a:pt x="0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纸包</a:t>
            </a:r>
            <a:endParaRPr lang="zh-CN" altLang="en-US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5184857" y="2587712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A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5064354" y="5038488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B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6088380" y="3228340"/>
            <a:ext cx="4617085" cy="450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kern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三片罐</a:t>
            </a:r>
            <a:r>
              <a:rPr lang="en-US" altLang="zh-CN" kern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1</a:t>
            </a:r>
            <a:r>
              <a:rPr lang="zh-CN" altLang="en-US" kern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条，产能</a:t>
            </a:r>
            <a:r>
              <a:rPr lang="en-US" altLang="zh-CN" kern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3</a:t>
            </a:r>
            <a:r>
              <a:rPr lang="zh-CN" altLang="en-US" kern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亿。</a:t>
            </a:r>
            <a:endParaRPr lang="zh-CN" altLang="en-US" kern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5988685" y="5447030"/>
            <a:ext cx="4961255" cy="81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altLang="zh-CN">
                <a:solidFill>
                  <a:schemeClr val="tx1"/>
                </a:solidFill>
                <a:latin typeface="+mj-ea"/>
                <a:ea typeface="+mj-ea"/>
                <a:cs typeface="+mj-ea"/>
              </a:rPr>
              <a:t>2</a:t>
            </a:r>
            <a:r>
              <a:rPr lang="zh-CN" altLang="en-US">
                <a:solidFill>
                  <a:schemeClr val="tx1"/>
                </a:solidFill>
                <a:latin typeface="+mj-ea"/>
                <a:ea typeface="+mj-ea"/>
                <a:cs typeface="+mj-ea"/>
              </a:rPr>
              <a:t>条（</a:t>
            </a:r>
            <a:r>
              <a:rPr lang="en-US" altLang="zh-CN">
                <a:solidFill>
                  <a:schemeClr val="tx1"/>
                </a:solidFill>
                <a:latin typeface="+mj-ea"/>
                <a:ea typeface="+mj-ea"/>
                <a:cs typeface="+mj-ea"/>
              </a:rPr>
              <a:t>125S</a:t>
            </a:r>
            <a:r>
              <a:rPr lang="zh-CN" altLang="en-US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，</a:t>
            </a:r>
            <a:r>
              <a:rPr lang="en-US" altLang="zh-CN">
                <a:solidFill>
                  <a:schemeClr val="tx1"/>
                </a:solidFill>
                <a:latin typeface="+mj-ea"/>
                <a:ea typeface="+mj-ea"/>
                <a:cs typeface="+mj-ea"/>
              </a:rPr>
              <a:t>1L</a:t>
            </a:r>
            <a:r>
              <a:rPr lang="zh-CN" altLang="en-US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），产能</a:t>
            </a:r>
            <a:r>
              <a:rPr lang="en-US" altLang="zh-CN">
                <a:solidFill>
                  <a:schemeClr val="tx1"/>
                </a:solidFill>
                <a:latin typeface="+mj-ea"/>
                <a:ea typeface="+mj-ea"/>
                <a:cs typeface="+mj-ea"/>
              </a:rPr>
              <a:t>1</a:t>
            </a:r>
            <a:r>
              <a:rPr lang="zh-CN" altLang="en-US">
                <a:solidFill>
                  <a:schemeClr val="tx1"/>
                </a:solidFill>
                <a:latin typeface="+mj-ea"/>
                <a:ea typeface="+mj-ea"/>
                <a:cs typeface="+mj-ea"/>
              </a:rPr>
              <a:t>亿。</a:t>
            </a:r>
            <a:endParaRPr lang="zh-CN" altLang="en-US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>
              <a:lnSpc>
                <a:spcPct val="130000"/>
              </a:lnSpc>
              <a:defRPr/>
            </a:pPr>
            <a:endParaRPr lang="zh-CN" altLang="en-US" kern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五边形 3"/>
          <p:cNvSpPr/>
          <p:nvPr/>
        </p:nvSpPr>
        <p:spPr>
          <a:xfrm>
            <a:off x="-6351" y="1266602"/>
            <a:ext cx="3059833" cy="36004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 txBox="1"/>
          <p:nvPr/>
        </p:nvSpPr>
        <p:spPr>
          <a:xfrm>
            <a:off x="389186" y="1230598"/>
            <a:ext cx="2468960" cy="4320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000" dirty="0"/>
              <a:t>鹰潭华冠</a:t>
            </a:r>
            <a:endParaRPr lang="zh-CN" altLang="en-US" sz="200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01623" y="2346722"/>
            <a:ext cx="2483907" cy="3196670"/>
            <a:chOff x="467544" y="1772816"/>
            <a:chExt cx="2088232" cy="2687455"/>
          </a:xfrm>
        </p:grpSpPr>
        <p:sp>
          <p:nvSpPr>
            <p:cNvPr id="15" name="圆角矩形 14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灌装品类</a:t>
              </a:r>
              <a:endParaRPr lang="zh-CN" altLang="en-US" sz="17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碳酸饮料，植物饮料，果汁饮料，蛋白饮料等。</a:t>
              </a:r>
              <a:endParaRPr lang="zh-CN" altLang="en-US" sz="24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94" name="椭圆 1"/>
          <p:cNvSpPr/>
          <p:nvPr/>
        </p:nvSpPr>
        <p:spPr>
          <a:xfrm>
            <a:off x="4737611" y="2235483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5" name="椭圆 1"/>
          <p:cNvSpPr/>
          <p:nvPr/>
        </p:nvSpPr>
        <p:spPr>
          <a:xfrm>
            <a:off x="4611508" y="3444136"/>
            <a:ext cx="692888" cy="1378283"/>
          </a:xfrm>
          <a:custGeom>
            <a:avLst/>
            <a:gdLst/>
            <a:ahLst/>
            <a:cxnLst/>
            <a:rect l="l" t="t" r="r" b="b"/>
            <a:pathLst>
              <a:path w="828092" h="1656184">
                <a:moveTo>
                  <a:pt x="828092" y="0"/>
                </a:move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6012"/>
                  <a:pt x="470172" y="1476164"/>
                  <a:pt x="828092" y="1476164"/>
                </a:cubicBezTo>
                <a:lnTo>
                  <a:pt x="828092" y="1656184"/>
                </a:lnTo>
                <a:cubicBezTo>
                  <a:pt x="370749" y="1656184"/>
                  <a:pt x="0" y="1285435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6" name="椭圆 1"/>
          <p:cNvSpPr/>
          <p:nvPr/>
        </p:nvSpPr>
        <p:spPr>
          <a:xfrm rot="5400000">
            <a:off x="4517459" y="4665767"/>
            <a:ext cx="1371760" cy="1385776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zh-CN" altLang="en-US" sz="2000" b="1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7" name="椭圆 1"/>
          <p:cNvSpPr/>
          <p:nvPr/>
        </p:nvSpPr>
        <p:spPr>
          <a:xfrm rot="10800000">
            <a:off x="3504905" y="2045561"/>
            <a:ext cx="1379217" cy="1378283"/>
          </a:xfrm>
          <a:custGeom>
            <a:avLst/>
            <a:gdLst/>
            <a:ahLst/>
            <a:cxnLst/>
            <a:rect l="l" t="t" r="r" b="b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8" name="椭圆 1"/>
          <p:cNvSpPr/>
          <p:nvPr/>
        </p:nvSpPr>
        <p:spPr>
          <a:xfrm rot="6199008">
            <a:off x="3765565" y="4128069"/>
            <a:ext cx="689141" cy="1305604"/>
          </a:xfrm>
          <a:custGeom>
            <a:avLst/>
            <a:gdLst/>
            <a:ahLst/>
            <a:cxnLst/>
            <a:rect l="l" t="t" r="r" b="b"/>
            <a:pathLst>
              <a:path w="828092" h="1560369">
                <a:moveTo>
                  <a:pt x="16824" y="994982"/>
                </a:moveTo>
                <a:cubicBezTo>
                  <a:pt x="5793" y="941075"/>
                  <a:pt x="0" y="885260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0557"/>
                  <a:pt x="461395" y="1467304"/>
                  <a:pt x="811810" y="1474523"/>
                </a:cubicBezTo>
                <a:lnTo>
                  <a:pt x="449129" y="1560369"/>
                </a:lnTo>
                <a:cubicBezTo>
                  <a:pt x="229080" y="1450469"/>
                  <a:pt x="67556" y="1242904"/>
                  <a:pt x="16824" y="994982"/>
                </a:cubicBezTo>
                <a:close/>
              </a:path>
            </a:pathLst>
          </a:cu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</a:endParaRPr>
          </a:p>
        </p:txBody>
      </p:sp>
      <p:sp>
        <p:nvSpPr>
          <p:cNvPr id="399" name="圆角矩形 14"/>
          <p:cNvSpPr/>
          <p:nvPr/>
        </p:nvSpPr>
        <p:spPr>
          <a:xfrm>
            <a:off x="5988524" y="2568865"/>
            <a:ext cx="3313811" cy="539328"/>
          </a:xfrm>
          <a:custGeom>
            <a:avLst/>
            <a:gdLst/>
            <a:ahLst/>
            <a:cxnLst/>
            <a:rect l="l" t="t" r="r" b="b"/>
            <a:pathLst>
              <a:path w="3960440" h="648072">
                <a:moveTo>
                  <a:pt x="0" y="0"/>
                </a:moveTo>
                <a:lnTo>
                  <a:pt x="3636404" y="0"/>
                </a:lnTo>
                <a:cubicBezTo>
                  <a:pt x="3815364" y="0"/>
                  <a:pt x="3960440" y="145076"/>
                  <a:pt x="3960440" y="324036"/>
                </a:cubicBezTo>
                <a:cubicBezTo>
                  <a:pt x="3960440" y="502996"/>
                  <a:pt x="3815364" y="648072"/>
                  <a:pt x="3636404" y="648072"/>
                </a:cubicBezTo>
                <a:lnTo>
                  <a:pt x="0" y="648072"/>
                </a:ln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endParaRPr lang="zh-CN" altLang="en-US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0" name="圆角矩形 14"/>
          <p:cNvSpPr/>
          <p:nvPr/>
        </p:nvSpPr>
        <p:spPr>
          <a:xfrm>
            <a:off x="5710823" y="4907950"/>
            <a:ext cx="3374771" cy="539328"/>
          </a:xfrm>
          <a:custGeom>
            <a:avLst/>
            <a:gdLst>
              <a:gd name="connsiteX0" fmla="*/ 0 w 4033295"/>
              <a:gd name="connsiteY0" fmla="*/ 0 h 648072"/>
              <a:gd name="connsiteX1" fmla="*/ 3709259 w 4033295"/>
              <a:gd name="connsiteY1" fmla="*/ 0 h 648072"/>
              <a:gd name="connsiteX2" fmla="*/ 4033295 w 4033295"/>
              <a:gd name="connsiteY2" fmla="*/ 324036 h 648072"/>
              <a:gd name="connsiteX3" fmla="*/ 3709259 w 4033295"/>
              <a:gd name="connsiteY3" fmla="*/ 648072 h 648072"/>
              <a:gd name="connsiteX4" fmla="*/ 72855 w 4033295"/>
              <a:gd name="connsiteY4" fmla="*/ 648072 h 648072"/>
              <a:gd name="connsiteX5" fmla="*/ 0 w 4033295"/>
              <a:gd name="connsiteY5" fmla="*/ 0 h 648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33295" h="648072">
                <a:moveTo>
                  <a:pt x="0" y="0"/>
                </a:moveTo>
                <a:lnTo>
                  <a:pt x="3709259" y="0"/>
                </a:lnTo>
                <a:cubicBezTo>
                  <a:pt x="3888219" y="0"/>
                  <a:pt x="4033295" y="145076"/>
                  <a:pt x="4033295" y="324036"/>
                </a:cubicBezTo>
                <a:cubicBezTo>
                  <a:pt x="4033295" y="502996"/>
                  <a:pt x="3888219" y="648072"/>
                  <a:pt x="3709259" y="648072"/>
                </a:cubicBezTo>
                <a:lnTo>
                  <a:pt x="72855" y="648072"/>
                </a:lnTo>
                <a:cubicBezTo>
                  <a:pt x="72855" y="432048"/>
                  <a:pt x="0" y="216024"/>
                  <a:pt x="0" y="0"/>
                </a:cubicBezTo>
                <a:close/>
              </a:path>
            </a:pathLst>
          </a:custGeom>
          <a:solidFill>
            <a:srgbClr val="0369B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zh-CN" sz="2000" b="1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ET</a:t>
            </a:r>
            <a:endParaRPr lang="en-US" altLang="zh-CN" sz="2000" b="1" kern="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5184857" y="2587712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A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5064354" y="5038488"/>
            <a:ext cx="5070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4400" b="1" kern="0" dirty="0">
                <a:solidFill>
                  <a:srgbClr val="0369BF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B</a:t>
            </a:r>
            <a:endParaRPr lang="en-US" altLang="zh-CN" sz="4400" b="1" kern="0" dirty="0">
              <a:solidFill>
                <a:srgbClr val="0369BF"/>
              </a:soli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6088380" y="3228340"/>
            <a:ext cx="4617085" cy="450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两片罐</a:t>
            </a:r>
            <a:r>
              <a:rPr lang="en-US" altLang="zh-CN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条，产能</a:t>
            </a:r>
            <a:r>
              <a:rPr lang="en-US" altLang="zh-CN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5</a:t>
            </a:r>
            <a:r>
              <a:rPr lang="zh-CN" altLang="en-US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5988685" y="5447030"/>
            <a:ext cx="4961255" cy="81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1 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条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产能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7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亿。</a:t>
            </a:r>
            <a:endParaRPr lang="zh-CN" altLang="en-US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30000"/>
              </a:lnSpc>
              <a:defRPr/>
            </a:pPr>
            <a:endParaRPr lang="zh-CN" altLang="en-US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969260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灌装服务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9" name="Rectangle 2"/>
          <p:cNvSpPr/>
          <p:nvPr>
            <p:custDataLst>
              <p:tags r:id="rId3"/>
            </p:custDataLst>
          </p:nvPr>
        </p:nvSpPr>
        <p:spPr>
          <a:xfrm>
            <a:off x="0" y="1576070"/>
            <a:ext cx="12191365" cy="5366385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Rectangle: Rounded Corners 36"/>
          <p:cNvSpPr/>
          <p:nvPr>
            <p:custDataLst>
              <p:tags r:id="rId4"/>
            </p:custDataLst>
          </p:nvPr>
        </p:nvSpPr>
        <p:spPr>
          <a:xfrm>
            <a:off x="1468755" y="4911090"/>
            <a:ext cx="2369185" cy="53975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8" name="Rectangle: Rounded Corners 37"/>
          <p:cNvSpPr/>
          <p:nvPr>
            <p:custDataLst>
              <p:tags r:id="rId5"/>
            </p:custDataLst>
          </p:nvPr>
        </p:nvSpPr>
        <p:spPr>
          <a:xfrm>
            <a:off x="1378585" y="5744210"/>
            <a:ext cx="2879725" cy="53340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" name="TextBox 39"/>
          <p:cNvSpPr txBox="1"/>
          <p:nvPr>
            <p:custDataLst>
              <p:tags r:id="rId6"/>
            </p:custDataLst>
          </p:nvPr>
        </p:nvSpPr>
        <p:spPr>
          <a:xfrm>
            <a:off x="1395730" y="4657090"/>
            <a:ext cx="295656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三片罐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条，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产能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8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亿。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50" name="Rectangle: Rounded Corners 49"/>
          <p:cNvSpPr/>
          <p:nvPr>
            <p:custDataLst>
              <p:tags r:id="rId7"/>
            </p:custDataLst>
          </p:nvPr>
        </p:nvSpPr>
        <p:spPr>
          <a:xfrm>
            <a:off x="4911725" y="4911090"/>
            <a:ext cx="2369185" cy="53975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1" name="Rectangle: Rounded Corners 50"/>
          <p:cNvSpPr/>
          <p:nvPr>
            <p:custDataLst>
              <p:tags r:id="rId8"/>
            </p:custDataLst>
          </p:nvPr>
        </p:nvSpPr>
        <p:spPr>
          <a:xfrm>
            <a:off x="4822190" y="5744210"/>
            <a:ext cx="2879725" cy="53340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3" name="TextBox 52"/>
          <p:cNvSpPr txBox="1"/>
          <p:nvPr>
            <p:custDataLst>
              <p:tags r:id="rId9"/>
            </p:custDataLst>
          </p:nvPr>
        </p:nvSpPr>
        <p:spPr>
          <a:xfrm>
            <a:off x="4767580" y="4667885"/>
            <a:ext cx="31807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三片罐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条，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产能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8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亿。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3" name="Rectangle: Rounded Corners 62"/>
          <p:cNvSpPr/>
          <p:nvPr>
            <p:custDataLst>
              <p:tags r:id="rId10"/>
            </p:custDataLst>
          </p:nvPr>
        </p:nvSpPr>
        <p:spPr>
          <a:xfrm>
            <a:off x="8315960" y="5389880"/>
            <a:ext cx="2369185" cy="53975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4" name="Rectangle: Rounded Corners 63"/>
          <p:cNvSpPr/>
          <p:nvPr>
            <p:custDataLst>
              <p:tags r:id="rId11"/>
            </p:custDataLst>
          </p:nvPr>
        </p:nvSpPr>
        <p:spPr>
          <a:xfrm>
            <a:off x="8226425" y="5744210"/>
            <a:ext cx="2879725" cy="53340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/>
            <a:endParaRPr lang="id-ID" sz="125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6" name="TextBox 65"/>
          <p:cNvSpPr txBox="1"/>
          <p:nvPr>
            <p:custDataLst>
              <p:tags r:id="rId12"/>
            </p:custDataLst>
          </p:nvPr>
        </p:nvSpPr>
        <p:spPr>
          <a:xfrm>
            <a:off x="7728369" y="4749165"/>
            <a:ext cx="3925570" cy="10693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两片罐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条，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ctr"/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产能</a:t>
            </a:r>
            <a:r>
              <a:rPr lang="en-US" altLang="zh-CN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</a:t>
            </a:r>
            <a:r>
              <a:rPr lang="zh-CN" altLang="en-US" sz="2400" b="1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亿。</a:t>
            </a:r>
            <a:endParaRPr lang="zh-CN" altLang="en-US" sz="2400" b="1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75" name="Rectangular Callout 3"/>
          <p:cNvSpPr/>
          <p:nvPr>
            <p:custDataLst>
              <p:tags r:id="rId13"/>
            </p:custDataLst>
          </p:nvPr>
        </p:nvSpPr>
        <p:spPr>
          <a:xfrm>
            <a:off x="7870190" y="1114425"/>
            <a:ext cx="3410585" cy="3158490"/>
          </a:xfrm>
          <a:prstGeom prst="wedgeRectCallout">
            <a:avLst>
              <a:gd name="adj1" fmla="val 50117"/>
              <a:gd name="adj2" fmla="val -20608"/>
            </a:avLst>
          </a:prstGeom>
          <a:solidFill>
            <a:srgbClr val="0369BF"/>
          </a:solidFill>
          <a:ln>
            <a:noFill/>
          </a:ln>
          <a:effectLst/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lIns="202500" tIns="157500" rIns="202500" bIns="202500" rtlCol="0" anchor="ctr"/>
          <a:lstStyle/>
          <a:p>
            <a:pPr lvl="0" algn="just">
              <a:lnSpc>
                <a:spcPct val="120000"/>
              </a:lnSpc>
            </a:pPr>
            <a:endParaRPr lang="en-IN" sz="1400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>
            <p:custDataLst>
              <p:tags r:id="rId14"/>
            </p:custDataLst>
          </p:nvPr>
        </p:nvGrpSpPr>
        <p:grpSpPr>
          <a:xfrm>
            <a:off x="8478520" y="1368425"/>
            <a:ext cx="280670" cy="340360"/>
            <a:chOff x="7890130" y="1761433"/>
            <a:chExt cx="217785" cy="290711"/>
          </a:xfrm>
        </p:grpSpPr>
        <p:sp>
          <p:nvSpPr>
            <p:cNvPr id="76" name="AutoShape 115"/>
            <p:cNvSpPr/>
            <p:nvPr>
              <p:custDataLst>
                <p:tags r:id="rId15"/>
              </p:custDataLst>
            </p:nvPr>
          </p:nvSpPr>
          <p:spPr bwMode="auto">
            <a:xfrm>
              <a:off x="7890130" y="1761433"/>
              <a:ext cx="217785" cy="29071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800" y="12825"/>
                  </a:moveTo>
                  <a:lnTo>
                    <a:pt x="19800" y="13500"/>
                  </a:lnTo>
                  <a:lnTo>
                    <a:pt x="19800" y="14850"/>
                  </a:lnTo>
                  <a:lnTo>
                    <a:pt x="19800" y="15525"/>
                  </a:lnTo>
                  <a:cubicBezTo>
                    <a:pt x="19800" y="18129"/>
                    <a:pt x="16972" y="20249"/>
                    <a:pt x="13499" y="20249"/>
                  </a:cubicBezTo>
                  <a:lnTo>
                    <a:pt x="8099" y="20249"/>
                  </a:lnTo>
                  <a:cubicBezTo>
                    <a:pt x="4627" y="20249"/>
                    <a:pt x="1800" y="18129"/>
                    <a:pt x="1800" y="15525"/>
                  </a:cubicBezTo>
                  <a:lnTo>
                    <a:pt x="1800" y="14850"/>
                  </a:lnTo>
                  <a:lnTo>
                    <a:pt x="1800" y="13500"/>
                  </a:lnTo>
                  <a:lnTo>
                    <a:pt x="1800" y="12825"/>
                  </a:lnTo>
                  <a:lnTo>
                    <a:pt x="1800" y="10800"/>
                  </a:lnTo>
                  <a:cubicBezTo>
                    <a:pt x="1800" y="10427"/>
                    <a:pt x="2203" y="10124"/>
                    <a:pt x="2699" y="10124"/>
                  </a:cubicBezTo>
                  <a:lnTo>
                    <a:pt x="4499" y="10124"/>
                  </a:lnTo>
                  <a:lnTo>
                    <a:pt x="17100" y="10124"/>
                  </a:lnTo>
                  <a:lnTo>
                    <a:pt x="18899" y="10124"/>
                  </a:lnTo>
                  <a:cubicBezTo>
                    <a:pt x="19396" y="10124"/>
                    <a:pt x="19800" y="10427"/>
                    <a:pt x="19800" y="10800"/>
                  </a:cubicBezTo>
                  <a:cubicBezTo>
                    <a:pt x="19800" y="10800"/>
                    <a:pt x="19800" y="12825"/>
                    <a:pt x="19800" y="12825"/>
                  </a:cubicBezTo>
                  <a:close/>
                  <a:moveTo>
                    <a:pt x="14400" y="6075"/>
                  </a:moveTo>
                  <a:lnTo>
                    <a:pt x="14400" y="6076"/>
                  </a:lnTo>
                  <a:lnTo>
                    <a:pt x="14400" y="8774"/>
                  </a:lnTo>
                  <a:lnTo>
                    <a:pt x="7200" y="8774"/>
                  </a:lnTo>
                  <a:lnTo>
                    <a:pt x="7200" y="6076"/>
                  </a:lnTo>
                  <a:lnTo>
                    <a:pt x="7200" y="6075"/>
                  </a:lnTo>
                  <a:cubicBezTo>
                    <a:pt x="7200" y="4583"/>
                    <a:pt x="8811" y="3375"/>
                    <a:pt x="10800" y="3375"/>
                  </a:cubicBezTo>
                  <a:cubicBezTo>
                    <a:pt x="12788" y="3375"/>
                    <a:pt x="14400" y="4583"/>
                    <a:pt x="14400" y="6075"/>
                  </a:cubicBezTo>
                  <a:moveTo>
                    <a:pt x="4499" y="6075"/>
                  </a:moveTo>
                  <a:cubicBezTo>
                    <a:pt x="4499" y="3465"/>
                    <a:pt x="7320" y="1350"/>
                    <a:pt x="10800" y="1350"/>
                  </a:cubicBezTo>
                  <a:cubicBezTo>
                    <a:pt x="14279" y="1350"/>
                    <a:pt x="17100" y="3465"/>
                    <a:pt x="17100" y="6075"/>
                  </a:cubicBezTo>
                  <a:lnTo>
                    <a:pt x="17100" y="8774"/>
                  </a:lnTo>
                  <a:lnTo>
                    <a:pt x="15299" y="8774"/>
                  </a:lnTo>
                  <a:lnTo>
                    <a:pt x="15299" y="6076"/>
                  </a:lnTo>
                  <a:cubicBezTo>
                    <a:pt x="15299" y="4212"/>
                    <a:pt x="13285" y="2701"/>
                    <a:pt x="10800" y="2701"/>
                  </a:cubicBezTo>
                  <a:cubicBezTo>
                    <a:pt x="8314" y="2701"/>
                    <a:pt x="6299" y="4212"/>
                    <a:pt x="6299" y="6076"/>
                  </a:cubicBezTo>
                  <a:lnTo>
                    <a:pt x="6299" y="8774"/>
                  </a:lnTo>
                  <a:lnTo>
                    <a:pt x="4499" y="8774"/>
                  </a:lnTo>
                  <a:cubicBezTo>
                    <a:pt x="4499" y="8774"/>
                    <a:pt x="4499" y="6075"/>
                    <a:pt x="4499" y="6075"/>
                  </a:cubicBezTo>
                  <a:close/>
                  <a:moveTo>
                    <a:pt x="18899" y="8774"/>
                  </a:moveTo>
                  <a:lnTo>
                    <a:pt x="18899" y="6075"/>
                  </a:lnTo>
                  <a:cubicBezTo>
                    <a:pt x="18899" y="2719"/>
                    <a:pt x="15274" y="0"/>
                    <a:pt x="10800" y="0"/>
                  </a:cubicBezTo>
                  <a:cubicBezTo>
                    <a:pt x="6325" y="0"/>
                    <a:pt x="2699" y="2719"/>
                    <a:pt x="2699" y="6075"/>
                  </a:cubicBezTo>
                  <a:lnTo>
                    <a:pt x="2699" y="8774"/>
                  </a:lnTo>
                  <a:cubicBezTo>
                    <a:pt x="1208" y="8774"/>
                    <a:pt x="0" y="9681"/>
                    <a:pt x="0" y="10800"/>
                  </a:cubicBezTo>
                  <a:lnTo>
                    <a:pt x="0" y="12825"/>
                  </a:lnTo>
                  <a:lnTo>
                    <a:pt x="0" y="13500"/>
                  </a:lnTo>
                  <a:lnTo>
                    <a:pt x="0" y="14850"/>
                  </a:lnTo>
                  <a:lnTo>
                    <a:pt x="0" y="15525"/>
                  </a:lnTo>
                  <a:cubicBezTo>
                    <a:pt x="0" y="18880"/>
                    <a:pt x="3625" y="21599"/>
                    <a:pt x="8099" y="21599"/>
                  </a:cubicBezTo>
                  <a:lnTo>
                    <a:pt x="13499" y="21599"/>
                  </a:lnTo>
                  <a:cubicBezTo>
                    <a:pt x="17974" y="21599"/>
                    <a:pt x="21600" y="18880"/>
                    <a:pt x="21600" y="15525"/>
                  </a:cubicBezTo>
                  <a:lnTo>
                    <a:pt x="21600" y="14850"/>
                  </a:lnTo>
                  <a:lnTo>
                    <a:pt x="21600" y="13500"/>
                  </a:lnTo>
                  <a:lnTo>
                    <a:pt x="21600" y="12825"/>
                  </a:lnTo>
                  <a:lnTo>
                    <a:pt x="21600" y="10800"/>
                  </a:lnTo>
                  <a:cubicBezTo>
                    <a:pt x="21600" y="9681"/>
                    <a:pt x="20391" y="8774"/>
                    <a:pt x="18899" y="8774"/>
                  </a:cubicBezTo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lIns="11906" tIns="11906" rIns="11906" bIns="11906" anchor="ctr"/>
            <a:lstStyle/>
            <a:p>
              <a:pPr algn="ctr" defTabSz="142875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4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Gill Sans" charset="0"/>
              </a:endParaRPr>
            </a:p>
          </p:txBody>
        </p:sp>
        <p:sp>
          <p:nvSpPr>
            <p:cNvPr id="77" name="AutoShape 116"/>
            <p:cNvSpPr/>
            <p:nvPr>
              <p:custDataLst>
                <p:tags r:id="rId16"/>
              </p:custDataLst>
            </p:nvPr>
          </p:nvSpPr>
          <p:spPr bwMode="auto">
            <a:xfrm>
              <a:off x="7982863" y="1938875"/>
              <a:ext cx="36215" cy="5457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38" y="0"/>
                    <a:pt x="0" y="3226"/>
                    <a:pt x="0" y="7201"/>
                  </a:cubicBezTo>
                  <a:cubicBezTo>
                    <a:pt x="0" y="9390"/>
                    <a:pt x="1798" y="13537"/>
                    <a:pt x="3601" y="16821"/>
                  </a:cubicBezTo>
                  <a:cubicBezTo>
                    <a:pt x="5070" y="19493"/>
                    <a:pt x="6916" y="21600"/>
                    <a:pt x="10800" y="21600"/>
                  </a:cubicBezTo>
                  <a:cubicBezTo>
                    <a:pt x="15016" y="21600"/>
                    <a:pt x="16529" y="19514"/>
                    <a:pt x="18003" y="16858"/>
                  </a:cubicBezTo>
                  <a:cubicBezTo>
                    <a:pt x="19828" y="13567"/>
                    <a:pt x="21600" y="9397"/>
                    <a:pt x="21600" y="7201"/>
                  </a:cubicBezTo>
                  <a:cubicBezTo>
                    <a:pt x="21600" y="3226"/>
                    <a:pt x="16761" y="0"/>
                    <a:pt x="10800" y="0"/>
                  </a:cubicBezTo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lIns="11906" tIns="11906" rIns="11906" bIns="11906" anchor="ctr"/>
            <a:lstStyle/>
            <a:p>
              <a:pPr algn="ctr" defTabSz="142875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4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Gill Sans" charset="0"/>
              </a:endParaRPr>
            </a:p>
          </p:txBody>
        </p:sp>
      </p:grpSp>
      <p:sp>
        <p:nvSpPr>
          <p:cNvPr id="78" name="Rectangle 30"/>
          <p:cNvSpPr/>
          <p:nvPr>
            <p:custDataLst>
              <p:tags r:id="rId17"/>
            </p:custDataLst>
          </p:nvPr>
        </p:nvSpPr>
        <p:spPr>
          <a:xfrm>
            <a:off x="8315960" y="1940560"/>
            <a:ext cx="2724785" cy="1374140"/>
          </a:xfrm>
          <a:prstGeom prst="rect">
            <a:avLst/>
          </a:prstGeom>
          <a:noFill/>
          <a:ln>
            <a:noFill/>
          </a:ln>
        </p:spPr>
        <p:txBody>
          <a:bodyPr wrap="square" tIns="46800" bIns="46800"/>
          <a:lstStyle/>
          <a:p>
            <a:pPr algn="l"/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灌装品类：碳酸饮料，果汁饮料等。</a:t>
            </a:r>
            <a:endParaRPr lang="zh-CN" altLang="en-US" sz="2400" spc="1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sp>
        <p:nvSpPr>
          <p:cNvPr id="79" name="Rectangle 31"/>
          <p:cNvSpPr/>
          <p:nvPr>
            <p:custDataLst>
              <p:tags r:id="rId18"/>
            </p:custDataLst>
          </p:nvPr>
        </p:nvSpPr>
        <p:spPr>
          <a:xfrm>
            <a:off x="8938895" y="1255395"/>
            <a:ext cx="1833245" cy="453390"/>
          </a:xfrm>
          <a:prstGeom prst="rect">
            <a:avLst/>
          </a:prstGeom>
          <a:noFill/>
          <a:ln>
            <a:noFill/>
          </a:ln>
        </p:spPr>
        <p:txBody>
          <a:bodyPr wrap="square" tIns="46800" bIns="4680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rPr>
              <a:t>孝感华冠</a:t>
            </a:r>
            <a:endParaRPr lang="zh-CN" altLang="en-US" sz="2400" b="1" spc="30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0" name="Rectangular Callout 3"/>
          <p:cNvSpPr/>
          <p:nvPr>
            <p:custDataLst>
              <p:tags r:id="rId19"/>
            </p:custDataLst>
          </p:nvPr>
        </p:nvSpPr>
        <p:spPr>
          <a:xfrm>
            <a:off x="4458970" y="1114425"/>
            <a:ext cx="3410585" cy="3158490"/>
          </a:xfrm>
          <a:prstGeom prst="wedgeRectCallout">
            <a:avLst>
              <a:gd name="adj1" fmla="val 62951"/>
              <a:gd name="adj2" fmla="val -20608"/>
            </a:avLst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lIns="202500" tIns="157500" rIns="202500" bIns="202500" rtlCol="0" anchor="ctr"/>
          <a:lstStyle/>
          <a:p>
            <a:pPr lvl="0" algn="just">
              <a:lnSpc>
                <a:spcPct val="120000"/>
              </a:lnSpc>
            </a:pPr>
            <a:endParaRPr lang="en-IN" sz="875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1" name="AutoShape 117"/>
          <p:cNvSpPr/>
          <p:nvPr>
            <p:custDataLst>
              <p:tags r:id="rId20"/>
            </p:custDataLst>
          </p:nvPr>
        </p:nvSpPr>
        <p:spPr bwMode="auto">
          <a:xfrm>
            <a:off x="4974590" y="1368425"/>
            <a:ext cx="374650" cy="255270"/>
          </a:xfrm>
          <a:custGeom>
            <a:avLst/>
            <a:gdLst>
              <a:gd name="T0" fmla="+- 0 10799 1"/>
              <a:gd name="T1" fmla="*/ T0 w 21596"/>
              <a:gd name="T2" fmla="*/ 10800 h 21600"/>
              <a:gd name="T3" fmla="+- 0 10799 1"/>
              <a:gd name="T4" fmla="*/ T3 w 21596"/>
              <a:gd name="T5" fmla="*/ 10800 h 21600"/>
              <a:gd name="T6" fmla="+- 0 10799 1"/>
              <a:gd name="T7" fmla="*/ T6 w 21596"/>
              <a:gd name="T8" fmla="*/ 10800 h 21600"/>
              <a:gd name="T9" fmla="+- 0 10799 1"/>
              <a:gd name="T10" fmla="*/ T9 w 21596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1596" h="21600">
                <a:moveTo>
                  <a:pt x="4511" y="2151"/>
                </a:moveTo>
                <a:lnTo>
                  <a:pt x="6064" y="3877"/>
                </a:lnTo>
                <a:lnTo>
                  <a:pt x="4246" y="6302"/>
                </a:lnTo>
                <a:lnTo>
                  <a:pt x="1353" y="6302"/>
                </a:lnTo>
                <a:cubicBezTo>
                  <a:pt x="1353" y="6302"/>
                  <a:pt x="4511" y="2151"/>
                  <a:pt x="4511" y="2151"/>
                </a:cubicBezTo>
                <a:close/>
                <a:moveTo>
                  <a:pt x="17348" y="6302"/>
                </a:moveTo>
                <a:lnTo>
                  <a:pt x="15531" y="3877"/>
                </a:lnTo>
                <a:lnTo>
                  <a:pt x="17082" y="2153"/>
                </a:lnTo>
                <a:lnTo>
                  <a:pt x="20191" y="6302"/>
                </a:lnTo>
                <a:cubicBezTo>
                  <a:pt x="20191" y="6302"/>
                  <a:pt x="17348" y="6302"/>
                  <a:pt x="17348" y="6302"/>
                </a:cubicBezTo>
                <a:close/>
                <a:moveTo>
                  <a:pt x="17264" y="7202"/>
                </a:moveTo>
                <a:lnTo>
                  <a:pt x="19663" y="7202"/>
                </a:lnTo>
                <a:lnTo>
                  <a:pt x="13021" y="16638"/>
                </a:lnTo>
                <a:cubicBezTo>
                  <a:pt x="13021" y="16638"/>
                  <a:pt x="17264" y="7202"/>
                  <a:pt x="17264" y="7202"/>
                </a:cubicBezTo>
                <a:close/>
                <a:moveTo>
                  <a:pt x="8574" y="16637"/>
                </a:moveTo>
                <a:lnTo>
                  <a:pt x="1933" y="7202"/>
                </a:lnTo>
                <a:lnTo>
                  <a:pt x="4330" y="7202"/>
                </a:lnTo>
                <a:cubicBezTo>
                  <a:pt x="4330" y="7202"/>
                  <a:pt x="8574" y="16637"/>
                  <a:pt x="8574" y="16637"/>
                </a:cubicBezTo>
                <a:close/>
                <a:moveTo>
                  <a:pt x="8429" y="7202"/>
                </a:moveTo>
                <a:lnTo>
                  <a:pt x="10084" y="18249"/>
                </a:lnTo>
                <a:lnTo>
                  <a:pt x="5117" y="7202"/>
                </a:lnTo>
                <a:cubicBezTo>
                  <a:pt x="5117" y="7202"/>
                  <a:pt x="8429" y="7202"/>
                  <a:pt x="8429" y="7202"/>
                </a:cubicBezTo>
                <a:close/>
                <a:moveTo>
                  <a:pt x="6584" y="4456"/>
                </a:moveTo>
                <a:lnTo>
                  <a:pt x="8246" y="6302"/>
                </a:lnTo>
                <a:lnTo>
                  <a:pt x="5200" y="6302"/>
                </a:lnTo>
                <a:cubicBezTo>
                  <a:pt x="5200" y="6302"/>
                  <a:pt x="6584" y="4456"/>
                  <a:pt x="6584" y="4456"/>
                </a:cubicBezTo>
                <a:close/>
                <a:moveTo>
                  <a:pt x="6543" y="3238"/>
                </a:moveTo>
                <a:lnTo>
                  <a:pt x="5250" y="1800"/>
                </a:lnTo>
                <a:lnTo>
                  <a:pt x="7621" y="1800"/>
                </a:lnTo>
                <a:cubicBezTo>
                  <a:pt x="7621" y="1800"/>
                  <a:pt x="6543" y="3238"/>
                  <a:pt x="6543" y="3238"/>
                </a:cubicBezTo>
                <a:close/>
                <a:moveTo>
                  <a:pt x="10797" y="3466"/>
                </a:moveTo>
                <a:lnTo>
                  <a:pt x="9299" y="1800"/>
                </a:lnTo>
                <a:lnTo>
                  <a:pt x="12296" y="1800"/>
                </a:lnTo>
                <a:cubicBezTo>
                  <a:pt x="12296" y="1800"/>
                  <a:pt x="10797" y="3466"/>
                  <a:pt x="10797" y="3466"/>
                </a:cubicBezTo>
                <a:close/>
                <a:moveTo>
                  <a:pt x="13974" y="1800"/>
                </a:moveTo>
                <a:lnTo>
                  <a:pt x="16345" y="1800"/>
                </a:lnTo>
                <a:lnTo>
                  <a:pt x="15052" y="3238"/>
                </a:lnTo>
                <a:cubicBezTo>
                  <a:pt x="15052" y="3238"/>
                  <a:pt x="13974" y="1800"/>
                  <a:pt x="13974" y="1800"/>
                </a:cubicBezTo>
                <a:close/>
                <a:moveTo>
                  <a:pt x="13349" y="6302"/>
                </a:moveTo>
                <a:lnTo>
                  <a:pt x="15011" y="4456"/>
                </a:lnTo>
                <a:lnTo>
                  <a:pt x="16394" y="6302"/>
                </a:lnTo>
                <a:cubicBezTo>
                  <a:pt x="16394" y="6302"/>
                  <a:pt x="13349" y="6302"/>
                  <a:pt x="13349" y="6302"/>
                </a:cubicBezTo>
                <a:close/>
                <a:moveTo>
                  <a:pt x="13166" y="7202"/>
                </a:moveTo>
                <a:lnTo>
                  <a:pt x="16478" y="7202"/>
                </a:lnTo>
                <a:lnTo>
                  <a:pt x="11511" y="18249"/>
                </a:lnTo>
                <a:cubicBezTo>
                  <a:pt x="11511" y="18249"/>
                  <a:pt x="13166" y="7202"/>
                  <a:pt x="13166" y="7202"/>
                </a:cubicBezTo>
                <a:close/>
                <a:moveTo>
                  <a:pt x="12478" y="7202"/>
                </a:moveTo>
                <a:lnTo>
                  <a:pt x="10797" y="18414"/>
                </a:lnTo>
                <a:lnTo>
                  <a:pt x="9117" y="7202"/>
                </a:lnTo>
                <a:cubicBezTo>
                  <a:pt x="9117" y="7202"/>
                  <a:pt x="12478" y="7202"/>
                  <a:pt x="12478" y="7202"/>
                </a:cubicBezTo>
                <a:close/>
                <a:moveTo>
                  <a:pt x="8773" y="5716"/>
                </a:moveTo>
                <a:lnTo>
                  <a:pt x="7064" y="3817"/>
                </a:lnTo>
                <a:lnTo>
                  <a:pt x="8426" y="2000"/>
                </a:lnTo>
                <a:lnTo>
                  <a:pt x="10270" y="4051"/>
                </a:lnTo>
                <a:cubicBezTo>
                  <a:pt x="10270" y="4051"/>
                  <a:pt x="8773" y="5716"/>
                  <a:pt x="8773" y="5716"/>
                </a:cubicBezTo>
                <a:close/>
                <a:moveTo>
                  <a:pt x="11325" y="4051"/>
                </a:moveTo>
                <a:lnTo>
                  <a:pt x="13169" y="2000"/>
                </a:lnTo>
                <a:lnTo>
                  <a:pt x="14531" y="3817"/>
                </a:lnTo>
                <a:lnTo>
                  <a:pt x="12822" y="5716"/>
                </a:lnTo>
                <a:cubicBezTo>
                  <a:pt x="12822" y="5716"/>
                  <a:pt x="11325" y="4051"/>
                  <a:pt x="11325" y="4051"/>
                </a:cubicBezTo>
                <a:close/>
                <a:moveTo>
                  <a:pt x="12296" y="6302"/>
                </a:moveTo>
                <a:lnTo>
                  <a:pt x="9299" y="6302"/>
                </a:lnTo>
                <a:lnTo>
                  <a:pt x="10797" y="4638"/>
                </a:lnTo>
                <a:cubicBezTo>
                  <a:pt x="10797" y="4638"/>
                  <a:pt x="12296" y="6302"/>
                  <a:pt x="12296" y="6302"/>
                </a:cubicBezTo>
                <a:close/>
                <a:moveTo>
                  <a:pt x="21200" y="5102"/>
                </a:moveTo>
                <a:lnTo>
                  <a:pt x="17771" y="527"/>
                </a:lnTo>
                <a:cubicBezTo>
                  <a:pt x="17518" y="189"/>
                  <a:pt x="17176" y="0"/>
                  <a:pt x="16817" y="0"/>
                </a:cubicBezTo>
                <a:lnTo>
                  <a:pt x="4779" y="0"/>
                </a:lnTo>
                <a:cubicBezTo>
                  <a:pt x="4420" y="0"/>
                  <a:pt x="4077" y="189"/>
                  <a:pt x="3824" y="527"/>
                </a:cubicBezTo>
                <a:lnTo>
                  <a:pt x="395" y="5102"/>
                </a:lnTo>
                <a:cubicBezTo>
                  <a:pt x="131" y="5455"/>
                  <a:pt x="-1" y="5921"/>
                  <a:pt x="-1" y="6387"/>
                </a:cubicBezTo>
                <a:cubicBezTo>
                  <a:pt x="1" y="6810"/>
                  <a:pt x="114" y="7233"/>
                  <a:pt x="341" y="7573"/>
                </a:cubicBezTo>
                <a:lnTo>
                  <a:pt x="9788" y="20995"/>
                </a:lnTo>
                <a:cubicBezTo>
                  <a:pt x="10045" y="21379"/>
                  <a:pt x="10412" y="21599"/>
                  <a:pt x="10797" y="21599"/>
                </a:cubicBezTo>
                <a:cubicBezTo>
                  <a:pt x="11183" y="21599"/>
                  <a:pt x="11550" y="21379"/>
                  <a:pt x="11807" y="20995"/>
                </a:cubicBezTo>
                <a:lnTo>
                  <a:pt x="21255" y="7573"/>
                </a:lnTo>
                <a:cubicBezTo>
                  <a:pt x="21485" y="7226"/>
                  <a:pt x="21598" y="6791"/>
                  <a:pt x="21595" y="6359"/>
                </a:cubicBezTo>
                <a:cubicBezTo>
                  <a:pt x="21593" y="5902"/>
                  <a:pt x="21459" y="5449"/>
                  <a:pt x="21200" y="5102"/>
                </a:cubicBezTo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lIns="11906" tIns="11906" rIns="11906" bIns="11906" anchor="ctr"/>
          <a:lstStyle/>
          <a:p>
            <a:pPr algn="ctr" defTabSz="142875" fontAlgn="base" hangingPunct="0">
              <a:spcBef>
                <a:spcPct val="0"/>
              </a:spcBef>
              <a:spcAft>
                <a:spcPct val="0"/>
              </a:spcAft>
            </a:pPr>
            <a:endParaRPr lang="en-US" sz="94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sym typeface="Gill Sans" charset="0"/>
            </a:endParaRPr>
          </a:p>
        </p:txBody>
      </p:sp>
      <p:sp>
        <p:nvSpPr>
          <p:cNvPr id="82" name="Rectangle 27"/>
          <p:cNvSpPr/>
          <p:nvPr>
            <p:custDataLst>
              <p:tags r:id="rId21"/>
            </p:custDataLst>
          </p:nvPr>
        </p:nvSpPr>
        <p:spPr>
          <a:xfrm>
            <a:off x="4896485" y="1937385"/>
            <a:ext cx="2724785" cy="2161540"/>
          </a:xfrm>
          <a:prstGeom prst="rect">
            <a:avLst/>
          </a:prstGeom>
          <a:noFill/>
          <a:ln>
            <a:noFill/>
          </a:ln>
        </p:spPr>
        <p:txBody>
          <a:bodyPr wrap="square" tIns="46800" bIns="46800"/>
          <a:lstStyle/>
          <a:p>
            <a:pPr defTabSz="571500">
              <a:lnSpc>
                <a:spcPct val="120000"/>
              </a:lnSpc>
              <a:spcAft>
                <a:spcPts val="625"/>
              </a:spcAft>
              <a:defRPr/>
            </a:pP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灌装品类：果汁饮料，植物饮料，蛋白饮料，功能饮料等。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571500">
              <a:lnSpc>
                <a:spcPct val="120000"/>
              </a:lnSpc>
              <a:spcAft>
                <a:spcPts val="625"/>
              </a:spcAft>
              <a:defRPr/>
            </a:pPr>
            <a:endParaRPr lang="zh-CN" altLang="en-US" sz="2400" spc="1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3" name="Rectangle 28"/>
          <p:cNvSpPr/>
          <p:nvPr>
            <p:custDataLst>
              <p:tags r:id="rId22"/>
            </p:custDataLst>
          </p:nvPr>
        </p:nvSpPr>
        <p:spPr>
          <a:xfrm>
            <a:off x="5418455" y="1192530"/>
            <a:ext cx="1657985" cy="578485"/>
          </a:xfrm>
          <a:prstGeom prst="rect">
            <a:avLst/>
          </a:prstGeom>
          <a:noFill/>
          <a:ln>
            <a:noFill/>
          </a:ln>
        </p:spPr>
        <p:txBody>
          <a:bodyPr wrap="square" tIns="46800" bIns="4680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rPr>
              <a:t>四川华冠</a:t>
            </a:r>
            <a:endParaRPr lang="zh-CN" altLang="en-US" sz="2400" b="1" spc="30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4" name="Rectangular Callout 3"/>
          <p:cNvSpPr/>
          <p:nvPr>
            <p:custDataLst>
              <p:tags r:id="rId23"/>
            </p:custDataLst>
          </p:nvPr>
        </p:nvSpPr>
        <p:spPr>
          <a:xfrm>
            <a:off x="1048385" y="1114425"/>
            <a:ext cx="3410585" cy="3158490"/>
          </a:xfrm>
          <a:prstGeom prst="wedgeRectCallout">
            <a:avLst>
              <a:gd name="adj1" fmla="val 62951"/>
              <a:gd name="adj2" fmla="val -20608"/>
            </a:avLst>
          </a:prstGeom>
          <a:ln>
            <a:noFill/>
          </a:ln>
          <a:effectLst/>
        </p:spPr>
        <p:style>
          <a:lnRef idx="2">
            <a:srgbClr val="4472C4">
              <a:shade val="50000"/>
            </a:srgbClr>
          </a:lnRef>
          <a:fillRef idx="1">
            <a:srgbClr val="4472C4"/>
          </a:fillRef>
          <a:effectRef idx="0">
            <a:srgbClr val="4472C4"/>
          </a:effectRef>
          <a:fontRef idx="minor">
            <a:sysClr val="window" lastClr="FFFFFF"/>
          </a:fontRef>
        </p:style>
        <p:txBody>
          <a:bodyPr lIns="202500" tIns="157500" rIns="202500" bIns="202500" rtlCol="0" anchor="ctr"/>
          <a:lstStyle/>
          <a:p>
            <a:pPr lvl="0" algn="just">
              <a:lnSpc>
                <a:spcPct val="120000"/>
              </a:lnSpc>
            </a:pPr>
            <a:endParaRPr lang="en-IN" sz="875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5" name="Rectangle 11"/>
          <p:cNvSpPr/>
          <p:nvPr>
            <p:custDataLst>
              <p:tags r:id="rId24"/>
            </p:custDataLst>
          </p:nvPr>
        </p:nvSpPr>
        <p:spPr>
          <a:xfrm>
            <a:off x="1396365" y="1937385"/>
            <a:ext cx="2724785" cy="2161540"/>
          </a:xfrm>
          <a:prstGeom prst="rect">
            <a:avLst/>
          </a:prstGeom>
          <a:grpFill/>
        </p:spPr>
        <p:txBody>
          <a:bodyPr wrap="square" tIns="46800" bIns="46800"/>
          <a:lstStyle/>
          <a:p>
            <a:pPr defTabSz="571500">
              <a:lnSpc>
                <a:spcPct val="120000"/>
              </a:lnSpc>
              <a:spcAft>
                <a:spcPts val="625"/>
              </a:spcAft>
            </a:pP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灌装品类：果汁饮料，植物饮料，蛋白饮料，功能饮料等。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571500">
              <a:lnSpc>
                <a:spcPct val="120000"/>
              </a:lnSpc>
              <a:spcAft>
                <a:spcPts val="625"/>
              </a:spcAft>
            </a:pPr>
            <a:endParaRPr lang="zh-CN" altLang="en-US" sz="2400" spc="1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6" name="Rectangle 12"/>
          <p:cNvSpPr/>
          <p:nvPr>
            <p:custDataLst>
              <p:tags r:id="rId25"/>
            </p:custDataLst>
          </p:nvPr>
        </p:nvSpPr>
        <p:spPr>
          <a:xfrm>
            <a:off x="1990725" y="1208405"/>
            <a:ext cx="1662430" cy="412115"/>
          </a:xfrm>
          <a:prstGeom prst="rect">
            <a:avLst/>
          </a:prstGeom>
          <a:ln>
            <a:noFill/>
          </a:ln>
          <a:effectLst>
            <a:outerShdw dist="12700" sx="1000" sy="1000" algn="ctr">
              <a:srgbClr val="000000"/>
            </a:outerShdw>
          </a:effectLst>
        </p:spPr>
        <p:txBody>
          <a:bodyPr wrap="square" tIns="46800" bIns="4680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Segoe UI" panose="020B0502040204020203" pitchFamily="34" charset="0"/>
              </a:rPr>
              <a:t>河南华冠</a:t>
            </a:r>
            <a:endParaRPr lang="zh-CN" altLang="en-US" sz="2400" b="1" spc="30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1" name="组合 10"/>
          <p:cNvGrpSpPr/>
          <p:nvPr>
            <p:custDataLst>
              <p:tags r:id="rId26"/>
            </p:custDataLst>
          </p:nvPr>
        </p:nvGrpSpPr>
        <p:grpSpPr>
          <a:xfrm>
            <a:off x="1496060" y="1368425"/>
            <a:ext cx="374650" cy="255270"/>
            <a:chOff x="2476787" y="1761433"/>
            <a:chExt cx="290215" cy="217785"/>
          </a:xfrm>
          <a:solidFill>
            <a:sysClr val="window" lastClr="FFFFFF"/>
          </a:solidFill>
        </p:grpSpPr>
        <p:sp>
          <p:nvSpPr>
            <p:cNvPr id="89" name="AutoShape 118"/>
            <p:cNvSpPr/>
            <p:nvPr>
              <p:custDataLst>
                <p:tags r:id="rId27"/>
              </p:custDataLst>
            </p:nvPr>
          </p:nvSpPr>
          <p:spPr bwMode="auto">
            <a:xfrm>
              <a:off x="2476787" y="1761433"/>
              <a:ext cx="290215" cy="217785"/>
            </a:xfrm>
            <a:custGeom>
              <a:avLst/>
              <a:gdLst>
                <a:gd name="T0" fmla="*/ 10732 w 21464"/>
                <a:gd name="T1" fmla="*/ 10800 h 21600"/>
                <a:gd name="T2" fmla="*/ 10732 w 21464"/>
                <a:gd name="T3" fmla="*/ 10800 h 21600"/>
                <a:gd name="T4" fmla="*/ 10732 w 21464"/>
                <a:gd name="T5" fmla="*/ 10800 h 21600"/>
                <a:gd name="T6" fmla="*/ 10732 w 21464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64" h="21600">
                  <a:moveTo>
                    <a:pt x="19918" y="11754"/>
                  </a:moveTo>
                  <a:lnTo>
                    <a:pt x="16564" y="18954"/>
                  </a:lnTo>
                  <a:cubicBezTo>
                    <a:pt x="16317" y="19484"/>
                    <a:pt x="15892" y="19800"/>
                    <a:pt x="15427" y="19800"/>
                  </a:cubicBezTo>
                  <a:lnTo>
                    <a:pt x="2683" y="19800"/>
                  </a:lnTo>
                  <a:cubicBezTo>
                    <a:pt x="1943" y="19800"/>
                    <a:pt x="1341" y="18992"/>
                    <a:pt x="1341" y="18000"/>
                  </a:cubicBezTo>
                  <a:lnTo>
                    <a:pt x="1341" y="3600"/>
                  </a:lnTo>
                  <a:cubicBezTo>
                    <a:pt x="1341" y="2608"/>
                    <a:pt x="1943" y="1800"/>
                    <a:pt x="2683" y="1800"/>
                  </a:cubicBezTo>
                  <a:lnTo>
                    <a:pt x="15427" y="1800"/>
                  </a:lnTo>
                  <a:cubicBezTo>
                    <a:pt x="15892" y="1800"/>
                    <a:pt x="16317" y="2116"/>
                    <a:pt x="16564" y="2645"/>
                  </a:cubicBezTo>
                  <a:lnTo>
                    <a:pt x="19917" y="9845"/>
                  </a:lnTo>
                  <a:cubicBezTo>
                    <a:pt x="20188" y="10425"/>
                    <a:pt x="20188" y="11174"/>
                    <a:pt x="19918" y="11754"/>
                  </a:cubicBezTo>
                  <a:moveTo>
                    <a:pt x="21055" y="8891"/>
                  </a:moveTo>
                  <a:lnTo>
                    <a:pt x="17701" y="1691"/>
                  </a:lnTo>
                  <a:cubicBezTo>
                    <a:pt x="17211" y="639"/>
                    <a:pt x="16352" y="0"/>
                    <a:pt x="15427" y="0"/>
                  </a:cubicBezTo>
                  <a:lnTo>
                    <a:pt x="2683" y="0"/>
                  </a:lnTo>
                  <a:cubicBezTo>
                    <a:pt x="1201" y="0"/>
                    <a:pt x="0" y="1611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1201" y="21599"/>
                    <a:pt x="2683" y="21599"/>
                  </a:cubicBezTo>
                  <a:lnTo>
                    <a:pt x="15427" y="21599"/>
                  </a:lnTo>
                  <a:cubicBezTo>
                    <a:pt x="16352" y="21599"/>
                    <a:pt x="17211" y="20960"/>
                    <a:pt x="17701" y="19908"/>
                  </a:cubicBezTo>
                  <a:lnTo>
                    <a:pt x="21055" y="12708"/>
                  </a:lnTo>
                  <a:cubicBezTo>
                    <a:pt x="21600" y="11541"/>
                    <a:pt x="21600" y="10059"/>
                    <a:pt x="21055" y="8891"/>
                  </a:cubicBezTo>
                </a:path>
              </a:pathLst>
            </a:custGeom>
            <a:grp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lIns="11906" tIns="11906" rIns="11906" bIns="11906" anchor="ctr"/>
            <a:lstStyle/>
            <a:p>
              <a:pPr algn="ctr" defTabSz="142875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4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Gill Sans" charset="0"/>
              </a:endParaRPr>
            </a:p>
          </p:txBody>
        </p:sp>
        <p:sp>
          <p:nvSpPr>
            <p:cNvPr id="90" name="AutoShape 119"/>
            <p:cNvSpPr/>
            <p:nvPr>
              <p:custDataLst>
                <p:tags r:id="rId28"/>
              </p:custDataLst>
            </p:nvPr>
          </p:nvSpPr>
          <p:spPr bwMode="auto">
            <a:xfrm>
              <a:off x="2657861" y="1842792"/>
              <a:ext cx="54571" cy="5457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18000"/>
                  </a:moveTo>
                  <a:cubicBezTo>
                    <a:pt x="6825" y="18000"/>
                    <a:pt x="3600" y="14774"/>
                    <a:pt x="3600" y="10800"/>
                  </a:cubicBezTo>
                  <a:cubicBezTo>
                    <a:pt x="3600" y="6825"/>
                    <a:pt x="6825" y="3600"/>
                    <a:pt x="10800" y="3600"/>
                  </a:cubicBezTo>
                  <a:cubicBezTo>
                    <a:pt x="14774" y="3600"/>
                    <a:pt x="17999" y="6825"/>
                    <a:pt x="17999" y="10800"/>
                  </a:cubicBezTo>
                  <a:cubicBezTo>
                    <a:pt x="17999" y="14774"/>
                    <a:pt x="14774" y="18000"/>
                    <a:pt x="10800" y="18000"/>
                  </a:cubicBezTo>
                  <a:moveTo>
                    <a:pt x="10800" y="0"/>
                  </a:moveTo>
                  <a:cubicBezTo>
                    <a:pt x="4833" y="0"/>
                    <a:pt x="0" y="4833"/>
                    <a:pt x="0" y="10800"/>
                  </a:cubicBezTo>
                  <a:cubicBezTo>
                    <a:pt x="0" y="16766"/>
                    <a:pt x="4833" y="21599"/>
                    <a:pt x="10800" y="21599"/>
                  </a:cubicBezTo>
                  <a:cubicBezTo>
                    <a:pt x="16766" y="21599"/>
                    <a:pt x="21600" y="16766"/>
                    <a:pt x="21600" y="10800"/>
                  </a:cubicBezTo>
                  <a:cubicBezTo>
                    <a:pt x="21600" y="4833"/>
                    <a:pt x="16766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lIns="11906" tIns="11906" rIns="11906" bIns="11906" anchor="ctr"/>
            <a:lstStyle/>
            <a:p>
              <a:pPr algn="ctr" defTabSz="142875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4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Gill Sans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82511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研发中心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33755" y="940435"/>
            <a:ext cx="3376295" cy="763270"/>
          </a:xfrm>
        </p:spPr>
        <p:txBody>
          <a:bodyPr>
            <a:noAutofit/>
          </a:bodyPr>
          <a:lstStyle/>
          <a:p>
            <a:r>
              <a:rPr lang="zh-CN" altLang="en-US" sz="4400" dirty="0">
                <a:solidFill>
                  <a:srgbClr val="365FA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研发实验室</a:t>
            </a:r>
            <a:endParaRPr lang="zh-CN" altLang="en-US" sz="4400" dirty="0">
              <a:solidFill>
                <a:srgbClr val="365FAA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12" name="图片 11" descr="女人躺在床上&#10;&#10;描述已自动生成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t="8027" b="8027"/>
          <a:stretch>
            <a:fillRect/>
          </a:stretch>
        </p:blipFill>
        <p:spPr>
          <a:xfrm>
            <a:off x="7368994" y="3816351"/>
            <a:ext cx="4209142" cy="2693239"/>
          </a:xfrm>
          <a:custGeom>
            <a:avLst/>
            <a:gdLst>
              <a:gd name="connsiteX0" fmla="*/ 0 w 4209142"/>
              <a:gd name="connsiteY0" fmla="*/ 0 h 2693239"/>
              <a:gd name="connsiteX1" fmla="*/ 4209142 w 4209142"/>
              <a:gd name="connsiteY1" fmla="*/ 0 h 2693239"/>
              <a:gd name="connsiteX2" fmla="*/ 4209142 w 4209142"/>
              <a:gd name="connsiteY2" fmla="*/ 2693239 h 2693239"/>
              <a:gd name="connsiteX3" fmla="*/ 0 w 4209142"/>
              <a:gd name="connsiteY3" fmla="*/ 2693239 h 2693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9142" h="2693239">
                <a:moveTo>
                  <a:pt x="0" y="0"/>
                </a:moveTo>
                <a:lnTo>
                  <a:pt x="4209142" y="0"/>
                </a:lnTo>
                <a:lnTo>
                  <a:pt x="4209142" y="2693239"/>
                </a:lnTo>
                <a:lnTo>
                  <a:pt x="0" y="2693239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6350">
            <a:solidFill>
              <a:schemeClr val="tx1">
                <a:lumMod val="40000"/>
                <a:lumOff val="60000"/>
                <a:alpha val="20000"/>
              </a:schemeClr>
            </a:solidFill>
          </a:ln>
        </p:spPr>
      </p:pic>
      <p:pic>
        <p:nvPicPr>
          <p:cNvPr id="11" name="图片 10" descr="电脑前的人&#10;&#10;描述已自动生成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t="7406" b="7406"/>
          <a:stretch>
            <a:fillRect/>
          </a:stretch>
        </p:blipFill>
        <p:spPr>
          <a:xfrm>
            <a:off x="7368994" y="940322"/>
            <a:ext cx="4209142" cy="2693239"/>
          </a:xfrm>
          <a:custGeom>
            <a:avLst/>
            <a:gdLst>
              <a:gd name="connsiteX0" fmla="*/ 0 w 4209142"/>
              <a:gd name="connsiteY0" fmla="*/ 0 h 2693239"/>
              <a:gd name="connsiteX1" fmla="*/ 4209142 w 4209142"/>
              <a:gd name="connsiteY1" fmla="*/ 0 h 2693239"/>
              <a:gd name="connsiteX2" fmla="*/ 4209142 w 4209142"/>
              <a:gd name="connsiteY2" fmla="*/ 2693239 h 2693239"/>
              <a:gd name="connsiteX3" fmla="*/ 0 w 4209142"/>
              <a:gd name="connsiteY3" fmla="*/ 2693239 h 2693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9142" h="2693239">
                <a:moveTo>
                  <a:pt x="0" y="0"/>
                </a:moveTo>
                <a:lnTo>
                  <a:pt x="4209142" y="0"/>
                </a:lnTo>
                <a:lnTo>
                  <a:pt x="4209142" y="2693239"/>
                </a:lnTo>
                <a:lnTo>
                  <a:pt x="0" y="2693239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6350">
            <a:solidFill>
              <a:schemeClr val="tx1">
                <a:lumMod val="40000"/>
                <a:lumOff val="60000"/>
                <a:alpha val="20000"/>
              </a:schemeClr>
            </a:solidFill>
          </a:ln>
        </p:spPr>
      </p:pic>
      <p:sp>
        <p:nvSpPr>
          <p:cNvPr id="5" name="边界"/>
          <p:cNvSpPr/>
          <p:nvPr>
            <p:custDataLst>
              <p:tags r:id="rId8"/>
            </p:custDataLst>
          </p:nvPr>
        </p:nvSpPr>
        <p:spPr>
          <a:xfrm>
            <a:off x="616268" y="1985010"/>
            <a:ext cx="5187823" cy="4577715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olidFill>
                <a:schemeClr val="lt1"/>
              </a:solidFill>
              <a:sym typeface="+mn-ea"/>
            </a:endParaRPr>
          </a:p>
        </p:txBody>
      </p:sp>
      <p:sp>
        <p:nvSpPr>
          <p:cNvPr id="88" name="文本框 30"/>
          <p:cNvSpPr txBox="1"/>
          <p:nvPr>
            <p:custDataLst>
              <p:tags r:id="rId9"/>
            </p:custDataLst>
          </p:nvPr>
        </p:nvSpPr>
        <p:spPr>
          <a:xfrm>
            <a:off x="1052195" y="1987550"/>
            <a:ext cx="5865495" cy="116776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以嘉美为支点搭建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“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产业协同平台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”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：贯通原料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—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包材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—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灌装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—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渠道，提升全链效率与韧性。</a:t>
            </a:r>
            <a:endParaRPr lang="zh-CN" altLang="en-US" sz="1600" kern="0" spc="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ea typeface="+mn-ea"/>
              <a:sym typeface="+mn-ea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600" kern="0" spc="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73" name="椭圆 72"/>
          <p:cNvSpPr/>
          <p:nvPr>
            <p:custDataLst>
              <p:tags r:id="rId10"/>
            </p:custDataLst>
          </p:nvPr>
        </p:nvSpPr>
        <p:spPr>
          <a:xfrm>
            <a:off x="616585" y="2108938"/>
            <a:ext cx="282175" cy="282175"/>
          </a:xfrm>
          <a:prstGeom prst="ellipse">
            <a:avLst/>
          </a:prstGeom>
          <a:solidFill>
            <a:srgbClr val="0369BF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74" name="任意多边形: 形状 3"/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681409" y="2182660"/>
            <a:ext cx="152527" cy="135368"/>
          </a:xfrm>
          <a:custGeom>
            <a:avLst/>
            <a:gdLst>
              <a:gd name="connsiteX0" fmla="*/ 179183 w 200697"/>
              <a:gd name="connsiteY0" fmla="*/ 190 h 177028"/>
              <a:gd name="connsiteX1" fmla="*/ 193188 w 200697"/>
              <a:gd name="connsiteY1" fmla="*/ 3768 h 177028"/>
              <a:gd name="connsiteX2" fmla="*/ 196909 w 200697"/>
              <a:gd name="connsiteY2" fmla="*/ 30225 h 177028"/>
              <a:gd name="connsiteX3" fmla="*/ 92218 w 200697"/>
              <a:gd name="connsiteY3" fmla="*/ 169514 h 177028"/>
              <a:gd name="connsiteX4" fmla="*/ 78543 w 200697"/>
              <a:gd name="connsiteY4" fmla="*/ 176980 h 177028"/>
              <a:gd name="connsiteX5" fmla="*/ 77142 w 200697"/>
              <a:gd name="connsiteY5" fmla="*/ 177028 h 177028"/>
              <a:gd name="connsiteX6" fmla="*/ 63902 w 200697"/>
              <a:gd name="connsiteY6" fmla="*/ 171616 h 177028"/>
              <a:gd name="connsiteX7" fmla="*/ 5649 w 200697"/>
              <a:gd name="connsiteY7" fmla="*/ 114402 h 177028"/>
              <a:gd name="connsiteX8" fmla="*/ 5407 w 200697"/>
              <a:gd name="connsiteY8" fmla="*/ 87728 h 177028"/>
              <a:gd name="connsiteX9" fmla="*/ 32105 w 200697"/>
              <a:gd name="connsiteY9" fmla="*/ 87487 h 177028"/>
              <a:gd name="connsiteX10" fmla="*/ 74992 w 200697"/>
              <a:gd name="connsiteY10" fmla="*/ 129600 h 177028"/>
              <a:gd name="connsiteX11" fmla="*/ 166756 w 200697"/>
              <a:gd name="connsiteY11" fmla="*/ 7537 h 177028"/>
              <a:gd name="connsiteX12" fmla="*/ 179183 w 200697"/>
              <a:gd name="connsiteY12" fmla="*/ 190 h 17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0697" h="177028">
                <a:moveTo>
                  <a:pt x="179183" y="190"/>
                </a:moveTo>
                <a:cubicBezTo>
                  <a:pt x="183964" y="-490"/>
                  <a:pt x="189008" y="652"/>
                  <a:pt x="193188" y="3768"/>
                </a:cubicBezTo>
                <a:cubicBezTo>
                  <a:pt x="201499" y="10074"/>
                  <a:pt x="203167" y="21889"/>
                  <a:pt x="196909" y="30225"/>
                </a:cubicBezTo>
                <a:lnTo>
                  <a:pt x="92218" y="169514"/>
                </a:lnTo>
                <a:cubicBezTo>
                  <a:pt x="88957" y="173863"/>
                  <a:pt x="83955" y="176593"/>
                  <a:pt x="78543" y="176980"/>
                </a:cubicBezTo>
                <a:cubicBezTo>
                  <a:pt x="78060" y="177028"/>
                  <a:pt x="77601" y="177028"/>
                  <a:pt x="77142" y="177028"/>
                </a:cubicBezTo>
                <a:cubicBezTo>
                  <a:pt x="72213" y="177028"/>
                  <a:pt x="67453" y="175119"/>
                  <a:pt x="63902" y="171616"/>
                </a:cubicBezTo>
                <a:lnTo>
                  <a:pt x="5649" y="114402"/>
                </a:lnTo>
                <a:cubicBezTo>
                  <a:pt x="-1793" y="107106"/>
                  <a:pt x="-1889" y="95170"/>
                  <a:pt x="5407" y="87728"/>
                </a:cubicBezTo>
                <a:cubicBezTo>
                  <a:pt x="12728" y="80287"/>
                  <a:pt x="24664" y="80190"/>
                  <a:pt x="32105" y="87487"/>
                </a:cubicBezTo>
                <a:lnTo>
                  <a:pt x="74992" y="129600"/>
                </a:lnTo>
                <a:lnTo>
                  <a:pt x="166756" y="7537"/>
                </a:lnTo>
                <a:cubicBezTo>
                  <a:pt x="169885" y="3370"/>
                  <a:pt x="174403" y="869"/>
                  <a:pt x="179183" y="1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6" name="文本框 30"/>
          <p:cNvSpPr txBox="1"/>
          <p:nvPr>
            <p:custDataLst>
              <p:tags r:id="rId12"/>
            </p:custDataLst>
          </p:nvPr>
        </p:nvSpPr>
        <p:spPr>
          <a:xfrm>
            <a:off x="1052195" y="3328035"/>
            <a:ext cx="5865495" cy="15335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打造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“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实验室＋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”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开放创新体系：联合高校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/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科研机构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/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头部客户共建联合实验室与中试平台，以应用验证与场景共创缩短从配方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/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材料到量产的周期，形成可复制的行业解决方案。</a:t>
            </a:r>
            <a:endParaRPr lang="zh-CN" altLang="en-US" sz="1600" kern="0" spc="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86" name="椭圆 85"/>
          <p:cNvSpPr/>
          <p:nvPr>
            <p:custDataLst>
              <p:tags r:id="rId13"/>
            </p:custDataLst>
          </p:nvPr>
        </p:nvSpPr>
        <p:spPr>
          <a:xfrm>
            <a:off x="616585" y="3449534"/>
            <a:ext cx="282175" cy="282175"/>
          </a:xfrm>
          <a:prstGeom prst="ellipse">
            <a:avLst/>
          </a:prstGeom>
          <a:solidFill>
            <a:srgbClr val="0369BF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87" name="任意多边形: 形状 3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681409" y="3523255"/>
            <a:ext cx="152527" cy="135368"/>
          </a:xfrm>
          <a:custGeom>
            <a:avLst/>
            <a:gdLst>
              <a:gd name="connsiteX0" fmla="*/ 179183 w 200697"/>
              <a:gd name="connsiteY0" fmla="*/ 190 h 177028"/>
              <a:gd name="connsiteX1" fmla="*/ 193188 w 200697"/>
              <a:gd name="connsiteY1" fmla="*/ 3768 h 177028"/>
              <a:gd name="connsiteX2" fmla="*/ 196909 w 200697"/>
              <a:gd name="connsiteY2" fmla="*/ 30225 h 177028"/>
              <a:gd name="connsiteX3" fmla="*/ 92218 w 200697"/>
              <a:gd name="connsiteY3" fmla="*/ 169514 h 177028"/>
              <a:gd name="connsiteX4" fmla="*/ 78543 w 200697"/>
              <a:gd name="connsiteY4" fmla="*/ 176980 h 177028"/>
              <a:gd name="connsiteX5" fmla="*/ 77142 w 200697"/>
              <a:gd name="connsiteY5" fmla="*/ 177028 h 177028"/>
              <a:gd name="connsiteX6" fmla="*/ 63902 w 200697"/>
              <a:gd name="connsiteY6" fmla="*/ 171616 h 177028"/>
              <a:gd name="connsiteX7" fmla="*/ 5649 w 200697"/>
              <a:gd name="connsiteY7" fmla="*/ 114402 h 177028"/>
              <a:gd name="connsiteX8" fmla="*/ 5407 w 200697"/>
              <a:gd name="connsiteY8" fmla="*/ 87728 h 177028"/>
              <a:gd name="connsiteX9" fmla="*/ 32105 w 200697"/>
              <a:gd name="connsiteY9" fmla="*/ 87487 h 177028"/>
              <a:gd name="connsiteX10" fmla="*/ 74992 w 200697"/>
              <a:gd name="connsiteY10" fmla="*/ 129600 h 177028"/>
              <a:gd name="connsiteX11" fmla="*/ 166756 w 200697"/>
              <a:gd name="connsiteY11" fmla="*/ 7537 h 177028"/>
              <a:gd name="connsiteX12" fmla="*/ 179183 w 200697"/>
              <a:gd name="connsiteY12" fmla="*/ 190 h 17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0697" h="177028">
                <a:moveTo>
                  <a:pt x="179183" y="190"/>
                </a:moveTo>
                <a:cubicBezTo>
                  <a:pt x="183964" y="-490"/>
                  <a:pt x="189008" y="652"/>
                  <a:pt x="193188" y="3768"/>
                </a:cubicBezTo>
                <a:cubicBezTo>
                  <a:pt x="201499" y="10074"/>
                  <a:pt x="203167" y="21889"/>
                  <a:pt x="196909" y="30225"/>
                </a:cubicBezTo>
                <a:lnTo>
                  <a:pt x="92218" y="169514"/>
                </a:lnTo>
                <a:cubicBezTo>
                  <a:pt x="88957" y="173863"/>
                  <a:pt x="83955" y="176593"/>
                  <a:pt x="78543" y="176980"/>
                </a:cubicBezTo>
                <a:cubicBezTo>
                  <a:pt x="78060" y="177028"/>
                  <a:pt x="77601" y="177028"/>
                  <a:pt x="77142" y="177028"/>
                </a:cubicBezTo>
                <a:cubicBezTo>
                  <a:pt x="72213" y="177028"/>
                  <a:pt x="67453" y="175119"/>
                  <a:pt x="63902" y="171616"/>
                </a:cubicBezTo>
                <a:lnTo>
                  <a:pt x="5649" y="114402"/>
                </a:lnTo>
                <a:cubicBezTo>
                  <a:pt x="-1793" y="107106"/>
                  <a:pt x="-1889" y="95170"/>
                  <a:pt x="5407" y="87728"/>
                </a:cubicBezTo>
                <a:cubicBezTo>
                  <a:pt x="12728" y="80287"/>
                  <a:pt x="24664" y="80190"/>
                  <a:pt x="32105" y="87487"/>
                </a:cubicBezTo>
                <a:lnTo>
                  <a:pt x="74992" y="129600"/>
                </a:lnTo>
                <a:lnTo>
                  <a:pt x="166756" y="7537"/>
                </a:lnTo>
                <a:cubicBezTo>
                  <a:pt x="169885" y="3370"/>
                  <a:pt x="174403" y="869"/>
                  <a:pt x="179183" y="1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0" name="文本框 30"/>
          <p:cNvSpPr txBox="1"/>
          <p:nvPr>
            <p:custDataLst>
              <p:tags r:id="rId15"/>
            </p:custDataLst>
          </p:nvPr>
        </p:nvSpPr>
        <p:spPr>
          <a:xfrm>
            <a:off x="1052195" y="4829175"/>
            <a:ext cx="5865495" cy="116776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与核心供应商、头部客户形成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“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共投、共研、共担、共享</a:t>
            </a:r>
            <a:r>
              <a:rPr lang="en-US" altLang="zh-CN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”</a:t>
            </a:r>
            <a:r>
              <a:rPr lang="zh-CN" altLang="en-US" sz="1600" kern="0" spc="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sym typeface="+mn-ea"/>
              </a:rPr>
              <a:t>机制，提升议价与协同能力，带动上下游共同升级</a:t>
            </a:r>
            <a:endParaRPr lang="zh-CN" altLang="en-US" sz="1600" kern="0" spc="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92" name="椭圆 91"/>
          <p:cNvSpPr/>
          <p:nvPr>
            <p:custDataLst>
              <p:tags r:id="rId16"/>
            </p:custDataLst>
          </p:nvPr>
        </p:nvSpPr>
        <p:spPr>
          <a:xfrm>
            <a:off x="616585" y="4950824"/>
            <a:ext cx="282175" cy="282175"/>
          </a:xfrm>
          <a:prstGeom prst="ellipse">
            <a:avLst/>
          </a:prstGeom>
          <a:solidFill>
            <a:srgbClr val="0369BF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93" name="任意多边形: 形状 3"/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681409" y="5024545"/>
            <a:ext cx="152527" cy="135368"/>
          </a:xfrm>
          <a:custGeom>
            <a:avLst/>
            <a:gdLst>
              <a:gd name="connsiteX0" fmla="*/ 179183 w 200697"/>
              <a:gd name="connsiteY0" fmla="*/ 190 h 177028"/>
              <a:gd name="connsiteX1" fmla="*/ 193188 w 200697"/>
              <a:gd name="connsiteY1" fmla="*/ 3768 h 177028"/>
              <a:gd name="connsiteX2" fmla="*/ 196909 w 200697"/>
              <a:gd name="connsiteY2" fmla="*/ 30225 h 177028"/>
              <a:gd name="connsiteX3" fmla="*/ 92218 w 200697"/>
              <a:gd name="connsiteY3" fmla="*/ 169514 h 177028"/>
              <a:gd name="connsiteX4" fmla="*/ 78543 w 200697"/>
              <a:gd name="connsiteY4" fmla="*/ 176980 h 177028"/>
              <a:gd name="connsiteX5" fmla="*/ 77142 w 200697"/>
              <a:gd name="connsiteY5" fmla="*/ 177028 h 177028"/>
              <a:gd name="connsiteX6" fmla="*/ 63902 w 200697"/>
              <a:gd name="connsiteY6" fmla="*/ 171616 h 177028"/>
              <a:gd name="connsiteX7" fmla="*/ 5649 w 200697"/>
              <a:gd name="connsiteY7" fmla="*/ 114402 h 177028"/>
              <a:gd name="connsiteX8" fmla="*/ 5407 w 200697"/>
              <a:gd name="connsiteY8" fmla="*/ 87728 h 177028"/>
              <a:gd name="connsiteX9" fmla="*/ 32105 w 200697"/>
              <a:gd name="connsiteY9" fmla="*/ 87487 h 177028"/>
              <a:gd name="connsiteX10" fmla="*/ 74992 w 200697"/>
              <a:gd name="connsiteY10" fmla="*/ 129600 h 177028"/>
              <a:gd name="connsiteX11" fmla="*/ 166756 w 200697"/>
              <a:gd name="connsiteY11" fmla="*/ 7537 h 177028"/>
              <a:gd name="connsiteX12" fmla="*/ 179183 w 200697"/>
              <a:gd name="connsiteY12" fmla="*/ 190 h 17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0697" h="177028">
                <a:moveTo>
                  <a:pt x="179183" y="190"/>
                </a:moveTo>
                <a:cubicBezTo>
                  <a:pt x="183964" y="-490"/>
                  <a:pt x="189008" y="652"/>
                  <a:pt x="193188" y="3768"/>
                </a:cubicBezTo>
                <a:cubicBezTo>
                  <a:pt x="201499" y="10074"/>
                  <a:pt x="203167" y="21889"/>
                  <a:pt x="196909" y="30225"/>
                </a:cubicBezTo>
                <a:lnTo>
                  <a:pt x="92218" y="169514"/>
                </a:lnTo>
                <a:cubicBezTo>
                  <a:pt x="88957" y="173863"/>
                  <a:pt x="83955" y="176593"/>
                  <a:pt x="78543" y="176980"/>
                </a:cubicBezTo>
                <a:cubicBezTo>
                  <a:pt x="78060" y="177028"/>
                  <a:pt x="77601" y="177028"/>
                  <a:pt x="77142" y="177028"/>
                </a:cubicBezTo>
                <a:cubicBezTo>
                  <a:pt x="72213" y="177028"/>
                  <a:pt x="67453" y="175119"/>
                  <a:pt x="63902" y="171616"/>
                </a:cubicBezTo>
                <a:lnTo>
                  <a:pt x="5649" y="114402"/>
                </a:lnTo>
                <a:cubicBezTo>
                  <a:pt x="-1793" y="107106"/>
                  <a:pt x="-1889" y="95170"/>
                  <a:pt x="5407" y="87728"/>
                </a:cubicBezTo>
                <a:cubicBezTo>
                  <a:pt x="12728" y="80287"/>
                  <a:pt x="24664" y="80190"/>
                  <a:pt x="32105" y="87487"/>
                </a:cubicBezTo>
                <a:lnTo>
                  <a:pt x="74992" y="129600"/>
                </a:lnTo>
                <a:lnTo>
                  <a:pt x="166756" y="7537"/>
                </a:lnTo>
                <a:cubicBezTo>
                  <a:pt x="169885" y="3370"/>
                  <a:pt x="174403" y="869"/>
                  <a:pt x="179183" y="1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82511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研发中心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4" name="组合 3"/>
          <p:cNvGrpSpPr/>
          <p:nvPr>
            <p:custDataLst>
              <p:tags r:id="rId3"/>
            </p:custDataLst>
          </p:nvPr>
        </p:nvGrpSpPr>
        <p:grpSpPr>
          <a:xfrm>
            <a:off x="1619157" y="4048614"/>
            <a:ext cx="8983097" cy="1230828"/>
            <a:chOff x="1619157" y="3985749"/>
            <a:chExt cx="8983097" cy="1230828"/>
          </a:xfrm>
        </p:grpSpPr>
        <p:sp>
          <p:nvSpPr>
            <p:cNvPr id="5" name="矩形 4"/>
            <p:cNvSpPr/>
            <p:nvPr>
              <p:custDataLst>
                <p:tags r:id="rId4"/>
              </p:custDataLst>
            </p:nvPr>
          </p:nvSpPr>
          <p:spPr>
            <a:xfrm flipV="1">
              <a:off x="5514922" y="3985749"/>
              <a:ext cx="1204760" cy="1230828"/>
            </a:xfrm>
            <a:prstGeom prst="rect">
              <a:avLst/>
            </a:prstGeom>
            <a:solidFill>
              <a:srgbClr val="2B4D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>
              <p:custDataLst>
                <p:tags r:id="rId5"/>
              </p:custDataLst>
            </p:nvPr>
          </p:nvSpPr>
          <p:spPr>
            <a:xfrm flipV="1">
              <a:off x="7456208" y="3985749"/>
              <a:ext cx="1204760" cy="123082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>
              <p:custDataLst>
                <p:tags r:id="rId6"/>
              </p:custDataLst>
            </p:nvPr>
          </p:nvSpPr>
          <p:spPr>
            <a:xfrm flipV="1">
              <a:off x="9397494" y="3985749"/>
              <a:ext cx="1204760" cy="1230828"/>
            </a:xfrm>
            <a:prstGeom prst="rect">
              <a:avLst/>
            </a:prstGeom>
            <a:solidFill>
              <a:srgbClr val="2B4D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>
              <p:custDataLst>
                <p:tags r:id="rId7"/>
              </p:custDataLst>
            </p:nvPr>
          </p:nvSpPr>
          <p:spPr>
            <a:xfrm flipV="1">
              <a:off x="3567040" y="3985749"/>
              <a:ext cx="1204760" cy="123082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>
              <p:custDataLst>
                <p:tags r:id="rId8"/>
              </p:custDataLst>
            </p:nvPr>
          </p:nvSpPr>
          <p:spPr>
            <a:xfrm flipV="1">
              <a:off x="1619157" y="3985749"/>
              <a:ext cx="1204760" cy="1230828"/>
            </a:xfrm>
            <a:prstGeom prst="rect">
              <a:avLst/>
            </a:prstGeom>
            <a:solidFill>
              <a:srgbClr val="2B4D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593854" y="2708431"/>
            <a:ext cx="9011151" cy="1340183"/>
            <a:chOff x="1593854" y="2645566"/>
            <a:chExt cx="9011151" cy="1340183"/>
          </a:xfrm>
        </p:grpSpPr>
        <p:sp>
          <p:nvSpPr>
            <p:cNvPr id="13" name="任意多边形 12"/>
            <p:cNvSpPr/>
            <p:nvPr/>
          </p:nvSpPr>
          <p:spPr>
            <a:xfrm flipV="1">
              <a:off x="5508325" y="2645566"/>
              <a:ext cx="1217728" cy="1340182"/>
            </a:xfrm>
            <a:custGeom>
              <a:avLst/>
              <a:gdLst>
                <a:gd name="connsiteX0" fmla="*/ 523748 w 1051979"/>
                <a:gd name="connsiteY0" fmla="*/ 1190449 h 1190449"/>
                <a:gd name="connsiteX1" fmla="*/ 1051979 w 1051979"/>
                <a:gd name="connsiteY1" fmla="*/ 0 h 1190449"/>
                <a:gd name="connsiteX2" fmla="*/ 0 w 1051979"/>
                <a:gd name="connsiteY2" fmla="*/ 0 h 1190449"/>
                <a:gd name="connsiteX3" fmla="*/ 0 w 1051979"/>
                <a:gd name="connsiteY3" fmla="*/ 10102 h 119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979" h="1190449">
                  <a:moveTo>
                    <a:pt x="523748" y="1190449"/>
                  </a:moveTo>
                  <a:lnTo>
                    <a:pt x="1051979" y="0"/>
                  </a:lnTo>
                  <a:lnTo>
                    <a:pt x="0" y="0"/>
                  </a:lnTo>
                  <a:lnTo>
                    <a:pt x="0" y="10102"/>
                  </a:lnTo>
                  <a:close/>
                </a:path>
              </a:pathLst>
            </a:custGeom>
            <a:solidFill>
              <a:srgbClr val="365F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矩形 53"/>
            <p:cNvSpPr/>
            <p:nvPr/>
          </p:nvSpPr>
          <p:spPr>
            <a:xfrm flipV="1">
              <a:off x="6458470" y="2946875"/>
              <a:ext cx="2202498" cy="1038874"/>
            </a:xfrm>
            <a:custGeom>
              <a:avLst/>
              <a:gdLst>
                <a:gd name="connsiteX0" fmla="*/ 0 w 1070157"/>
                <a:gd name="connsiteY0" fmla="*/ 0 h 1232294"/>
                <a:gd name="connsiteX1" fmla="*/ 1070157 w 1070157"/>
                <a:gd name="connsiteY1" fmla="*/ 0 h 1232294"/>
                <a:gd name="connsiteX2" fmla="*/ 1070157 w 1070157"/>
                <a:gd name="connsiteY2" fmla="*/ 1232294 h 1232294"/>
                <a:gd name="connsiteX3" fmla="*/ 0 w 1070157"/>
                <a:gd name="connsiteY3" fmla="*/ 1232294 h 1232294"/>
                <a:gd name="connsiteX4" fmla="*/ 0 w 1070157"/>
                <a:gd name="connsiteY4" fmla="*/ 0 h 1232294"/>
                <a:gd name="connsiteX0-1" fmla="*/ 759656 w 1829813"/>
                <a:gd name="connsiteY0-2" fmla="*/ 0 h 1232294"/>
                <a:gd name="connsiteX1-3" fmla="*/ 1829813 w 1829813"/>
                <a:gd name="connsiteY1-4" fmla="*/ 0 h 1232294"/>
                <a:gd name="connsiteX2-5" fmla="*/ 1829813 w 1829813"/>
                <a:gd name="connsiteY2-6" fmla="*/ 1232294 h 1232294"/>
                <a:gd name="connsiteX3-7" fmla="*/ 0 w 1829813"/>
                <a:gd name="connsiteY3-8" fmla="*/ 725857 h 1232294"/>
                <a:gd name="connsiteX4-9" fmla="*/ 759656 w 1829813"/>
                <a:gd name="connsiteY4-10" fmla="*/ 0 h 1232294"/>
                <a:gd name="connsiteX0-11" fmla="*/ 886265 w 1956422"/>
                <a:gd name="connsiteY0-12" fmla="*/ 0 h 1232294"/>
                <a:gd name="connsiteX1-13" fmla="*/ 1956422 w 1956422"/>
                <a:gd name="connsiteY1-14" fmla="*/ 0 h 1232294"/>
                <a:gd name="connsiteX2-15" fmla="*/ 1956422 w 1956422"/>
                <a:gd name="connsiteY2-16" fmla="*/ 1232294 h 1232294"/>
                <a:gd name="connsiteX3-17" fmla="*/ 0 w 1956422"/>
                <a:gd name="connsiteY3-18" fmla="*/ 894669 h 1232294"/>
                <a:gd name="connsiteX4-19" fmla="*/ 886265 w 1956422"/>
                <a:gd name="connsiteY4-20" fmla="*/ 0 h 1232294"/>
                <a:gd name="connsiteX0-21" fmla="*/ 886265 w 1956422"/>
                <a:gd name="connsiteY0-22" fmla="*/ 0 h 922805"/>
                <a:gd name="connsiteX1-23" fmla="*/ 1956422 w 1956422"/>
                <a:gd name="connsiteY1-24" fmla="*/ 0 h 922805"/>
                <a:gd name="connsiteX2-25" fmla="*/ 113554 w 1956422"/>
                <a:gd name="connsiteY2-26" fmla="*/ 922805 h 922805"/>
                <a:gd name="connsiteX3-27" fmla="*/ 0 w 1956422"/>
                <a:gd name="connsiteY3-28" fmla="*/ 894669 h 922805"/>
                <a:gd name="connsiteX4-29" fmla="*/ 886265 w 1956422"/>
                <a:gd name="connsiteY4-30" fmla="*/ 0 h 9228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956422" h="922805">
                  <a:moveTo>
                    <a:pt x="886265" y="0"/>
                  </a:moveTo>
                  <a:lnTo>
                    <a:pt x="1956422" y="0"/>
                  </a:lnTo>
                  <a:lnTo>
                    <a:pt x="113554" y="922805"/>
                  </a:lnTo>
                  <a:lnTo>
                    <a:pt x="0" y="894669"/>
                  </a:lnTo>
                  <a:lnTo>
                    <a:pt x="886265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54"/>
            <p:cNvSpPr/>
            <p:nvPr/>
          </p:nvSpPr>
          <p:spPr>
            <a:xfrm flipV="1">
              <a:off x="6503194" y="2804341"/>
              <a:ext cx="4101811" cy="1181408"/>
            </a:xfrm>
            <a:custGeom>
              <a:avLst/>
              <a:gdLst>
                <a:gd name="connsiteX0" fmla="*/ 0 w 1070157"/>
                <a:gd name="connsiteY0" fmla="*/ 0 h 1232294"/>
                <a:gd name="connsiteX1" fmla="*/ 1070157 w 1070157"/>
                <a:gd name="connsiteY1" fmla="*/ 0 h 1232294"/>
                <a:gd name="connsiteX2" fmla="*/ 1070157 w 1070157"/>
                <a:gd name="connsiteY2" fmla="*/ 1232294 h 1232294"/>
                <a:gd name="connsiteX3" fmla="*/ 0 w 1070157"/>
                <a:gd name="connsiteY3" fmla="*/ 1232294 h 1232294"/>
                <a:gd name="connsiteX4" fmla="*/ 0 w 1070157"/>
                <a:gd name="connsiteY4" fmla="*/ 0 h 1232294"/>
                <a:gd name="connsiteX0-1" fmla="*/ 2391508 w 3461665"/>
                <a:gd name="connsiteY0-2" fmla="*/ 0 h 1232294"/>
                <a:gd name="connsiteX1-3" fmla="*/ 3461665 w 3461665"/>
                <a:gd name="connsiteY1-4" fmla="*/ 0 h 1232294"/>
                <a:gd name="connsiteX2-5" fmla="*/ 3461665 w 3461665"/>
                <a:gd name="connsiteY2-6" fmla="*/ 1232294 h 1232294"/>
                <a:gd name="connsiteX3-7" fmla="*/ 0 w 3461665"/>
                <a:gd name="connsiteY3-8" fmla="*/ 936872 h 1232294"/>
                <a:gd name="connsiteX4-9" fmla="*/ 2391508 w 3461665"/>
                <a:gd name="connsiteY4-10" fmla="*/ 0 h 1232294"/>
                <a:gd name="connsiteX0-11" fmla="*/ 2573376 w 3643533"/>
                <a:gd name="connsiteY0-12" fmla="*/ 0 h 1049414"/>
                <a:gd name="connsiteX1-13" fmla="*/ 3643533 w 3643533"/>
                <a:gd name="connsiteY1-14" fmla="*/ 0 h 1049414"/>
                <a:gd name="connsiteX2-15" fmla="*/ 0 w 3643533"/>
                <a:gd name="connsiteY2-16" fmla="*/ 1049414 h 1049414"/>
                <a:gd name="connsiteX3-17" fmla="*/ 181868 w 3643533"/>
                <a:gd name="connsiteY3-18" fmla="*/ 936872 h 1049414"/>
                <a:gd name="connsiteX4-19" fmla="*/ 2573376 w 3643533"/>
                <a:gd name="connsiteY4-20" fmla="*/ 0 h 10494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643533" h="1049414">
                  <a:moveTo>
                    <a:pt x="2573376" y="0"/>
                  </a:moveTo>
                  <a:lnTo>
                    <a:pt x="3643533" y="0"/>
                  </a:lnTo>
                  <a:lnTo>
                    <a:pt x="0" y="1049414"/>
                  </a:lnTo>
                  <a:lnTo>
                    <a:pt x="181868" y="936872"/>
                  </a:lnTo>
                  <a:lnTo>
                    <a:pt x="2573376" y="0"/>
                  </a:lnTo>
                  <a:close/>
                </a:path>
              </a:pathLst>
            </a:custGeom>
            <a:solidFill>
              <a:srgbClr val="365F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53"/>
            <p:cNvSpPr/>
            <p:nvPr/>
          </p:nvSpPr>
          <p:spPr>
            <a:xfrm flipH="1" flipV="1">
              <a:off x="3564170" y="2946874"/>
              <a:ext cx="2202498" cy="1038874"/>
            </a:xfrm>
            <a:custGeom>
              <a:avLst/>
              <a:gdLst>
                <a:gd name="connsiteX0" fmla="*/ 0 w 1070157"/>
                <a:gd name="connsiteY0" fmla="*/ 0 h 1232294"/>
                <a:gd name="connsiteX1" fmla="*/ 1070157 w 1070157"/>
                <a:gd name="connsiteY1" fmla="*/ 0 h 1232294"/>
                <a:gd name="connsiteX2" fmla="*/ 1070157 w 1070157"/>
                <a:gd name="connsiteY2" fmla="*/ 1232294 h 1232294"/>
                <a:gd name="connsiteX3" fmla="*/ 0 w 1070157"/>
                <a:gd name="connsiteY3" fmla="*/ 1232294 h 1232294"/>
                <a:gd name="connsiteX4" fmla="*/ 0 w 1070157"/>
                <a:gd name="connsiteY4" fmla="*/ 0 h 1232294"/>
                <a:gd name="connsiteX0-1" fmla="*/ 759656 w 1829813"/>
                <a:gd name="connsiteY0-2" fmla="*/ 0 h 1232294"/>
                <a:gd name="connsiteX1-3" fmla="*/ 1829813 w 1829813"/>
                <a:gd name="connsiteY1-4" fmla="*/ 0 h 1232294"/>
                <a:gd name="connsiteX2-5" fmla="*/ 1829813 w 1829813"/>
                <a:gd name="connsiteY2-6" fmla="*/ 1232294 h 1232294"/>
                <a:gd name="connsiteX3-7" fmla="*/ 0 w 1829813"/>
                <a:gd name="connsiteY3-8" fmla="*/ 725857 h 1232294"/>
                <a:gd name="connsiteX4-9" fmla="*/ 759656 w 1829813"/>
                <a:gd name="connsiteY4-10" fmla="*/ 0 h 1232294"/>
                <a:gd name="connsiteX0-11" fmla="*/ 886265 w 1956422"/>
                <a:gd name="connsiteY0-12" fmla="*/ 0 h 1232294"/>
                <a:gd name="connsiteX1-13" fmla="*/ 1956422 w 1956422"/>
                <a:gd name="connsiteY1-14" fmla="*/ 0 h 1232294"/>
                <a:gd name="connsiteX2-15" fmla="*/ 1956422 w 1956422"/>
                <a:gd name="connsiteY2-16" fmla="*/ 1232294 h 1232294"/>
                <a:gd name="connsiteX3-17" fmla="*/ 0 w 1956422"/>
                <a:gd name="connsiteY3-18" fmla="*/ 894669 h 1232294"/>
                <a:gd name="connsiteX4-19" fmla="*/ 886265 w 1956422"/>
                <a:gd name="connsiteY4-20" fmla="*/ 0 h 1232294"/>
                <a:gd name="connsiteX0-21" fmla="*/ 886265 w 1956422"/>
                <a:gd name="connsiteY0-22" fmla="*/ 0 h 922805"/>
                <a:gd name="connsiteX1-23" fmla="*/ 1956422 w 1956422"/>
                <a:gd name="connsiteY1-24" fmla="*/ 0 h 922805"/>
                <a:gd name="connsiteX2-25" fmla="*/ 113554 w 1956422"/>
                <a:gd name="connsiteY2-26" fmla="*/ 922805 h 922805"/>
                <a:gd name="connsiteX3-27" fmla="*/ 0 w 1956422"/>
                <a:gd name="connsiteY3-28" fmla="*/ 894669 h 922805"/>
                <a:gd name="connsiteX4-29" fmla="*/ 886265 w 1956422"/>
                <a:gd name="connsiteY4-30" fmla="*/ 0 h 9228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956422" h="922805">
                  <a:moveTo>
                    <a:pt x="886265" y="0"/>
                  </a:moveTo>
                  <a:lnTo>
                    <a:pt x="1956422" y="0"/>
                  </a:lnTo>
                  <a:lnTo>
                    <a:pt x="113554" y="922805"/>
                  </a:lnTo>
                  <a:lnTo>
                    <a:pt x="0" y="894669"/>
                  </a:lnTo>
                  <a:lnTo>
                    <a:pt x="886265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54"/>
            <p:cNvSpPr/>
            <p:nvPr/>
          </p:nvSpPr>
          <p:spPr>
            <a:xfrm flipH="1" flipV="1">
              <a:off x="1593854" y="2804340"/>
              <a:ext cx="4101811" cy="1181408"/>
            </a:xfrm>
            <a:custGeom>
              <a:avLst/>
              <a:gdLst>
                <a:gd name="connsiteX0" fmla="*/ 0 w 1070157"/>
                <a:gd name="connsiteY0" fmla="*/ 0 h 1232294"/>
                <a:gd name="connsiteX1" fmla="*/ 1070157 w 1070157"/>
                <a:gd name="connsiteY1" fmla="*/ 0 h 1232294"/>
                <a:gd name="connsiteX2" fmla="*/ 1070157 w 1070157"/>
                <a:gd name="connsiteY2" fmla="*/ 1232294 h 1232294"/>
                <a:gd name="connsiteX3" fmla="*/ 0 w 1070157"/>
                <a:gd name="connsiteY3" fmla="*/ 1232294 h 1232294"/>
                <a:gd name="connsiteX4" fmla="*/ 0 w 1070157"/>
                <a:gd name="connsiteY4" fmla="*/ 0 h 1232294"/>
                <a:gd name="connsiteX0-1" fmla="*/ 2391508 w 3461665"/>
                <a:gd name="connsiteY0-2" fmla="*/ 0 h 1232294"/>
                <a:gd name="connsiteX1-3" fmla="*/ 3461665 w 3461665"/>
                <a:gd name="connsiteY1-4" fmla="*/ 0 h 1232294"/>
                <a:gd name="connsiteX2-5" fmla="*/ 3461665 w 3461665"/>
                <a:gd name="connsiteY2-6" fmla="*/ 1232294 h 1232294"/>
                <a:gd name="connsiteX3-7" fmla="*/ 0 w 3461665"/>
                <a:gd name="connsiteY3-8" fmla="*/ 936872 h 1232294"/>
                <a:gd name="connsiteX4-9" fmla="*/ 2391508 w 3461665"/>
                <a:gd name="connsiteY4-10" fmla="*/ 0 h 1232294"/>
                <a:gd name="connsiteX0-11" fmla="*/ 2573376 w 3643533"/>
                <a:gd name="connsiteY0-12" fmla="*/ 0 h 1049414"/>
                <a:gd name="connsiteX1-13" fmla="*/ 3643533 w 3643533"/>
                <a:gd name="connsiteY1-14" fmla="*/ 0 h 1049414"/>
                <a:gd name="connsiteX2-15" fmla="*/ 0 w 3643533"/>
                <a:gd name="connsiteY2-16" fmla="*/ 1049414 h 1049414"/>
                <a:gd name="connsiteX3-17" fmla="*/ 181868 w 3643533"/>
                <a:gd name="connsiteY3-18" fmla="*/ 936872 h 1049414"/>
                <a:gd name="connsiteX4-19" fmla="*/ 2573376 w 3643533"/>
                <a:gd name="connsiteY4-20" fmla="*/ 0 h 10494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643533" h="1049414">
                  <a:moveTo>
                    <a:pt x="2573376" y="0"/>
                  </a:moveTo>
                  <a:lnTo>
                    <a:pt x="3643533" y="0"/>
                  </a:lnTo>
                  <a:lnTo>
                    <a:pt x="0" y="1049414"/>
                  </a:lnTo>
                  <a:lnTo>
                    <a:pt x="181868" y="936872"/>
                  </a:lnTo>
                  <a:lnTo>
                    <a:pt x="2573376" y="0"/>
                  </a:lnTo>
                  <a:close/>
                </a:path>
              </a:pathLst>
            </a:custGeom>
            <a:solidFill>
              <a:srgbClr val="365F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8" name="椭圆 17"/>
          <p:cNvSpPr/>
          <p:nvPr/>
        </p:nvSpPr>
        <p:spPr>
          <a:xfrm>
            <a:off x="5098688" y="1396990"/>
            <a:ext cx="1992590" cy="1992590"/>
          </a:xfrm>
          <a:prstGeom prst="ellipse">
            <a:avLst/>
          </a:prstGeo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08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>
            <p:custDataLst>
              <p:tags r:id="rId10"/>
            </p:custDataLst>
          </p:nvPr>
        </p:nvSpPr>
        <p:spPr>
          <a:xfrm>
            <a:off x="1883191" y="4634048"/>
            <a:ext cx="720000" cy="432000"/>
          </a:xfrm>
          <a:prstGeom prst="rect">
            <a:avLst/>
          </a:prstGeom>
        </p:spPr>
        <p:txBody>
          <a:bodyPr wrap="square" lIns="121893" tIns="60946" rIns="121893" bIns="60946">
            <a:no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>
            <p:custDataLst>
              <p:tags r:id="rId11"/>
            </p:custDataLst>
          </p:nvPr>
        </p:nvSpPr>
        <p:spPr>
          <a:xfrm>
            <a:off x="3830950" y="4634047"/>
            <a:ext cx="720000" cy="432000"/>
          </a:xfrm>
          <a:prstGeom prst="rect">
            <a:avLst/>
          </a:prstGeom>
        </p:spPr>
        <p:txBody>
          <a:bodyPr wrap="square" lIns="121893" tIns="60946" rIns="121893" bIns="60946">
            <a:no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en-US" altLang="zh-CN" sz="2800" b="1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>
            <p:custDataLst>
              <p:tags r:id="rId12"/>
            </p:custDataLst>
          </p:nvPr>
        </p:nvSpPr>
        <p:spPr>
          <a:xfrm>
            <a:off x="5781702" y="4668223"/>
            <a:ext cx="720000" cy="432000"/>
          </a:xfrm>
          <a:prstGeom prst="rect">
            <a:avLst/>
          </a:prstGeom>
        </p:spPr>
        <p:txBody>
          <a:bodyPr wrap="square" lIns="121893" tIns="60946" rIns="121893" bIns="60946">
            <a:no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>
            <p:custDataLst>
              <p:tags r:id="rId13"/>
            </p:custDataLst>
          </p:nvPr>
        </p:nvSpPr>
        <p:spPr>
          <a:xfrm>
            <a:off x="7729461" y="4668222"/>
            <a:ext cx="720000" cy="432000"/>
          </a:xfrm>
          <a:prstGeom prst="rect">
            <a:avLst/>
          </a:prstGeom>
        </p:spPr>
        <p:txBody>
          <a:bodyPr wrap="square" lIns="121893" tIns="60946" rIns="121893" bIns="60946">
            <a:no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</a:t>
            </a:r>
            <a:endParaRPr lang="en-US" altLang="zh-CN" sz="2800" b="1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>
            <p:custDataLst>
              <p:tags r:id="rId14"/>
            </p:custDataLst>
          </p:nvPr>
        </p:nvSpPr>
        <p:spPr>
          <a:xfrm>
            <a:off x="9685034" y="4668222"/>
            <a:ext cx="720000" cy="432000"/>
          </a:xfrm>
          <a:prstGeom prst="rect">
            <a:avLst/>
          </a:prstGeom>
        </p:spPr>
        <p:txBody>
          <a:bodyPr wrap="square" lIns="121893" tIns="60946" rIns="121893" bIns="60946">
            <a:no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extBox 29"/>
          <p:cNvSpPr txBox="1"/>
          <p:nvPr>
            <p:custDataLst>
              <p:tags r:id="rId15"/>
            </p:custDataLst>
          </p:nvPr>
        </p:nvSpPr>
        <p:spPr>
          <a:xfrm>
            <a:off x="1341120" y="5518785"/>
            <a:ext cx="1584000" cy="756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indent="0" algn="ctr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驱动增长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29"/>
          <p:cNvSpPr txBox="1"/>
          <p:nvPr>
            <p:custDataLst>
              <p:tags r:id="rId16"/>
            </p:custDataLst>
          </p:nvPr>
        </p:nvSpPr>
        <p:spPr>
          <a:xfrm>
            <a:off x="3303847" y="5518828"/>
            <a:ext cx="1584000" cy="75600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indent="0" algn="l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陆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港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ctr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深团队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Box 29"/>
          <p:cNvSpPr txBox="1"/>
          <p:nvPr>
            <p:custDataLst>
              <p:tags r:id="rId17"/>
            </p:custDataLst>
          </p:nvPr>
        </p:nvSpPr>
        <p:spPr>
          <a:xfrm>
            <a:off x="5266690" y="5518785"/>
            <a:ext cx="1584000" cy="756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indent="0" algn="ctr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材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方一体化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TextBox 29"/>
          <p:cNvSpPr txBox="1"/>
          <p:nvPr>
            <p:custDataLst>
              <p:tags r:id="rId18"/>
            </p:custDataLst>
          </p:nvPr>
        </p:nvSpPr>
        <p:spPr>
          <a:xfrm>
            <a:off x="7196455" y="5518785"/>
            <a:ext cx="1584000" cy="756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indent="0" algn="ctr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局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入双轮加速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TextBox 29"/>
          <p:cNvSpPr txBox="1"/>
          <p:nvPr>
            <p:custDataLst>
              <p:tags r:id="rId19"/>
            </p:custDataLst>
          </p:nvPr>
        </p:nvSpPr>
        <p:spPr>
          <a:xfrm>
            <a:off x="9153525" y="5518785"/>
            <a:ext cx="1584000" cy="756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indent="0" algn="ctr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续交付高效、满意的增值服务。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18"/>
          <p:cNvSpPr>
            <a:spLocks noChangeArrowheads="1"/>
          </p:cNvSpPr>
          <p:nvPr/>
        </p:nvSpPr>
        <p:spPr bwMode="auto">
          <a:xfrm>
            <a:off x="4947798" y="574971"/>
            <a:ext cx="241808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4400" dirty="0">
                <a:solidFill>
                  <a:srgbClr val="365FA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团队介绍</a:t>
            </a:r>
            <a:endParaRPr lang="en-US" altLang="en-US" sz="4400" dirty="0">
              <a:solidFill>
                <a:srgbClr val="365FAA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" name="组合 18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8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262890" y="144695"/>
              <a:ext cx="2825115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研发中心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32" name="泪滴形 31"/>
          <p:cNvSpPr/>
          <p:nvPr>
            <p:custDataLst>
              <p:tags r:id="rId3"/>
            </p:custDataLst>
          </p:nvPr>
        </p:nvSpPr>
        <p:spPr>
          <a:xfrm>
            <a:off x="8424329" y="1809002"/>
            <a:ext cx="2497444" cy="2448239"/>
          </a:xfrm>
          <a:prstGeom prst="teardrop">
            <a:avLst/>
          </a:prstGeom>
          <a:solidFill>
            <a:srgbClr val="365FAA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泪滴形 30"/>
          <p:cNvSpPr/>
          <p:nvPr>
            <p:custDataLst>
              <p:tags r:id="rId4"/>
            </p:custDataLst>
          </p:nvPr>
        </p:nvSpPr>
        <p:spPr>
          <a:xfrm>
            <a:off x="4810294" y="1809002"/>
            <a:ext cx="2497444" cy="2448239"/>
          </a:xfrm>
          <a:prstGeom prst="teardrop">
            <a:avLst/>
          </a:prstGeom>
          <a:solidFill>
            <a:srgbClr val="FFC000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泪滴形 29"/>
          <p:cNvSpPr/>
          <p:nvPr>
            <p:custDataLst>
              <p:tags r:id="rId5"/>
            </p:custDataLst>
          </p:nvPr>
        </p:nvSpPr>
        <p:spPr>
          <a:xfrm>
            <a:off x="1126606" y="1815660"/>
            <a:ext cx="2497444" cy="2448239"/>
          </a:xfrm>
          <a:prstGeom prst="teardrop">
            <a:avLst/>
          </a:prstGeom>
          <a:solidFill>
            <a:srgbClr val="365FAA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泪滴形 20"/>
          <p:cNvSpPr/>
          <p:nvPr>
            <p:custDataLst>
              <p:tags r:id="rId6"/>
            </p:custDataLst>
          </p:nvPr>
        </p:nvSpPr>
        <p:spPr>
          <a:xfrm>
            <a:off x="1285404" y="1954746"/>
            <a:ext cx="2200100" cy="2156753"/>
          </a:xfrm>
          <a:prstGeom prst="teardrop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泪滴形 21"/>
          <p:cNvSpPr/>
          <p:nvPr>
            <p:custDataLst>
              <p:tags r:id="rId8"/>
            </p:custDataLst>
          </p:nvPr>
        </p:nvSpPr>
        <p:spPr>
          <a:xfrm>
            <a:off x="4972821" y="1954746"/>
            <a:ext cx="2200100" cy="2156753"/>
          </a:xfrm>
          <a:prstGeom prst="teardrop">
            <a:avLst/>
          </a:prstGeom>
          <a:blipFill dpi="0" rotWithShape="1">
            <a:blip r:embed="rId9"/>
            <a:srcRect/>
            <a:stretch>
              <a:fillRect/>
            </a:stretch>
          </a:blipFill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3" name="泪滴形 22"/>
          <p:cNvSpPr/>
          <p:nvPr>
            <p:custDataLst>
              <p:tags r:id="rId10"/>
            </p:custDataLst>
          </p:nvPr>
        </p:nvSpPr>
        <p:spPr>
          <a:xfrm>
            <a:off x="8580781" y="1954746"/>
            <a:ext cx="2200100" cy="2156753"/>
          </a:xfrm>
          <a:prstGeom prst="teardrop">
            <a:avLst/>
          </a:prstGeom>
          <a:blipFill dpi="0" rotWithShape="1">
            <a:blip r:embed="rId11"/>
            <a:srcRect/>
            <a:stretch>
              <a:fillRect/>
            </a:stretch>
          </a:blipFill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>
            <p:custDataLst>
              <p:tags r:id="rId12"/>
            </p:custDataLst>
          </p:nvPr>
        </p:nvGrpSpPr>
        <p:grpSpPr>
          <a:xfrm>
            <a:off x="1498373" y="4445189"/>
            <a:ext cx="1841732" cy="724154"/>
            <a:chOff x="1577113" y="4694109"/>
            <a:chExt cx="1841732" cy="724154"/>
          </a:xfrm>
        </p:grpSpPr>
        <p:sp>
          <p:nvSpPr>
            <p:cNvPr id="33" name="圆角矩形 32"/>
            <p:cNvSpPr/>
            <p:nvPr>
              <p:custDataLst>
                <p:tags r:id="rId13"/>
              </p:custDataLst>
            </p:nvPr>
          </p:nvSpPr>
          <p:spPr>
            <a:xfrm>
              <a:off x="1577113" y="4694109"/>
              <a:ext cx="1841732" cy="432713"/>
            </a:xfrm>
            <a:prstGeom prst="roundRect">
              <a:avLst>
                <a:gd name="adj" fmla="val 50000"/>
              </a:avLst>
            </a:prstGeom>
            <a:solidFill>
              <a:srgbClr val="DFD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TextBox 11"/>
            <p:cNvSpPr txBox="1"/>
            <p:nvPr>
              <p:custDataLst>
                <p:tags r:id="rId14"/>
              </p:custDataLst>
            </p:nvPr>
          </p:nvSpPr>
          <p:spPr>
            <a:xfrm>
              <a:off x="1892685" y="4711508"/>
              <a:ext cx="1198880" cy="7067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港式奶茶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5" name="TextBox 12"/>
          <p:cNvSpPr txBox="1"/>
          <p:nvPr>
            <p:custDataLst>
              <p:tags r:id="rId15"/>
            </p:custDataLst>
          </p:nvPr>
        </p:nvSpPr>
        <p:spPr>
          <a:xfrm>
            <a:off x="1424982" y="5093665"/>
            <a:ext cx="2018224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秉承客户需求，精心打磨配方，在茶餐厅港式风味上，做到预包装商品流通</a:t>
            </a:r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>
            <p:custDataLst>
              <p:tags r:id="rId16"/>
            </p:custDataLst>
          </p:nvPr>
        </p:nvGrpSpPr>
        <p:grpSpPr>
          <a:xfrm>
            <a:off x="5106070" y="4458405"/>
            <a:ext cx="1841732" cy="432713"/>
            <a:chOff x="5303555" y="4707325"/>
            <a:chExt cx="1841732" cy="432713"/>
          </a:xfrm>
        </p:grpSpPr>
        <p:sp>
          <p:nvSpPr>
            <p:cNvPr id="34" name="圆角矩形 33"/>
            <p:cNvSpPr/>
            <p:nvPr>
              <p:custDataLst>
                <p:tags r:id="rId17"/>
              </p:custDataLst>
            </p:nvPr>
          </p:nvSpPr>
          <p:spPr>
            <a:xfrm>
              <a:off x="5303555" y="4707325"/>
              <a:ext cx="1841732" cy="432713"/>
            </a:xfrm>
            <a:prstGeom prst="roundRect">
              <a:avLst>
                <a:gd name="adj" fmla="val 50000"/>
              </a:avLst>
            </a:prstGeom>
            <a:solidFill>
              <a:srgbClr val="DFD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TextBox 13"/>
            <p:cNvSpPr txBox="1"/>
            <p:nvPr>
              <p:custDataLst>
                <p:tags r:id="rId18"/>
              </p:custDataLst>
            </p:nvPr>
          </p:nvSpPr>
          <p:spPr>
            <a:xfrm>
              <a:off x="5445987" y="4718353"/>
              <a:ext cx="1452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红袍纯茶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7" name="TextBox 14"/>
          <p:cNvSpPr txBox="1"/>
          <p:nvPr>
            <p:custDataLst>
              <p:tags r:id="rId19"/>
            </p:custDataLst>
          </p:nvPr>
        </p:nvSpPr>
        <p:spPr>
          <a:xfrm>
            <a:off x="5032679" y="5093665"/>
            <a:ext cx="2018224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好的将客户地标性原料，通过设计配方和加工工艺，呈现出最好的本来味道</a:t>
            </a:r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>
            <p:custDataLst>
              <p:tags r:id="rId20"/>
            </p:custDataLst>
          </p:nvPr>
        </p:nvGrpSpPr>
        <p:grpSpPr>
          <a:xfrm>
            <a:off x="8737847" y="4481509"/>
            <a:ext cx="1938020" cy="432713"/>
            <a:chOff x="8888977" y="4730429"/>
            <a:chExt cx="1938020" cy="432713"/>
          </a:xfrm>
        </p:grpSpPr>
        <p:sp>
          <p:nvSpPr>
            <p:cNvPr id="35" name="圆角矩形 34"/>
            <p:cNvSpPr/>
            <p:nvPr>
              <p:custDataLst>
                <p:tags r:id="rId21"/>
              </p:custDataLst>
            </p:nvPr>
          </p:nvSpPr>
          <p:spPr>
            <a:xfrm>
              <a:off x="8944880" y="4730429"/>
              <a:ext cx="1841732" cy="432713"/>
            </a:xfrm>
            <a:prstGeom prst="roundRect">
              <a:avLst>
                <a:gd name="adj" fmla="val 50000"/>
              </a:avLst>
            </a:prstGeom>
            <a:solidFill>
              <a:srgbClr val="DFD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TextBox 15"/>
            <p:cNvSpPr txBox="1"/>
            <p:nvPr>
              <p:custDataLst>
                <p:tags r:id="rId22"/>
              </p:custDataLst>
            </p:nvPr>
          </p:nvSpPr>
          <p:spPr>
            <a:xfrm>
              <a:off x="8888977" y="4730429"/>
              <a:ext cx="193802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拿铁</a:t>
              </a:r>
              <a:r>
                <a:rPr lang="en-US" altLang="zh-CN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&amp;</a:t>
              </a:r>
              <a:r>
                <a:rPr lang="zh-CN" altLang="en-US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摩卡</a:t>
              </a:r>
              <a:endPara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9" name="TextBox 16"/>
          <p:cNvSpPr txBox="1"/>
          <p:nvPr>
            <p:custDataLst>
              <p:tags r:id="rId23"/>
            </p:custDataLst>
          </p:nvPr>
        </p:nvSpPr>
        <p:spPr>
          <a:xfrm>
            <a:off x="8720359" y="5120726"/>
            <a:ext cx="2018224" cy="106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咖啡品类中，还原出最好的口感搭配，服务客户持续订单需求。</a:t>
            </a:r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18"/>
          <p:cNvSpPr>
            <a:spLocks noChangeArrowheads="1"/>
          </p:cNvSpPr>
          <p:nvPr/>
        </p:nvSpPr>
        <p:spPr bwMode="auto">
          <a:xfrm>
            <a:off x="4947798" y="574971"/>
            <a:ext cx="241808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4400" dirty="0">
                <a:solidFill>
                  <a:srgbClr val="365FA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经典案例</a:t>
            </a:r>
            <a:endParaRPr lang="en-US" altLang="en-US" sz="4400" dirty="0">
              <a:solidFill>
                <a:srgbClr val="365FAA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5213684" y="1620253"/>
            <a:ext cx="5746307" cy="3513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2389377" y="1941438"/>
            <a:ext cx="1287273" cy="10936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图片 2" descr="C:/Users/张箐/Desktop/微信图片_20251203152440_1815_54.jpg微信图片_20251203152440_1815_54"/>
          <p:cNvPicPr>
            <a:picLocks noChangeAspect="1"/>
          </p:cNvPicPr>
          <p:nvPr/>
        </p:nvPicPr>
        <p:blipFill>
          <a:blip r:embed="rId1"/>
          <a:srcRect t="1548"/>
          <a:stretch>
            <a:fillRect/>
          </a:stretch>
        </p:blipFill>
        <p:spPr>
          <a:xfrm>
            <a:off x="5376965" y="1871276"/>
            <a:ext cx="5419184" cy="3145325"/>
          </a:xfrm>
          <a:prstGeom prst="rect">
            <a:avLst/>
          </a:prstGeom>
        </p:spPr>
      </p:pic>
      <p:sp>
        <p:nvSpPr>
          <p:cNvPr id="7" name="任意多边形: 形状 6"/>
          <p:cNvSpPr/>
          <p:nvPr/>
        </p:nvSpPr>
        <p:spPr>
          <a:xfrm>
            <a:off x="5376964" y="1776850"/>
            <a:ext cx="5419185" cy="3198317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5376964" y="2488267"/>
            <a:ext cx="5419184" cy="2785886"/>
          </a:xfrm>
          <a:custGeom>
            <a:avLst/>
            <a:gdLst>
              <a:gd name="connsiteX0" fmla="*/ 0 w 12192001"/>
              <a:gd name="connsiteY0" fmla="*/ 5395165 h 5395166"/>
              <a:gd name="connsiteX1" fmla="*/ 12192001 w 12192001"/>
              <a:gd name="connsiteY1" fmla="*/ 5395165 h 5395166"/>
              <a:gd name="connsiteX2" fmla="*/ 12192001 w 12192001"/>
              <a:gd name="connsiteY2" fmla="*/ 5395166 h 5395166"/>
              <a:gd name="connsiteX3" fmla="*/ 0 w 12192001"/>
              <a:gd name="connsiteY3" fmla="*/ 5395166 h 5395166"/>
              <a:gd name="connsiteX4" fmla="*/ 2310973 w 12192001"/>
              <a:gd name="connsiteY4" fmla="*/ 0 h 5395166"/>
              <a:gd name="connsiteX5" fmla="*/ 5961015 w 12192001"/>
              <a:gd name="connsiteY5" fmla="*/ 1626427 h 5395166"/>
              <a:gd name="connsiteX6" fmla="*/ 12192001 w 12192001"/>
              <a:gd name="connsiteY6" fmla="*/ 4777628 h 5395166"/>
              <a:gd name="connsiteX7" fmla="*/ 12192001 w 12192001"/>
              <a:gd name="connsiteY7" fmla="*/ 4823393 h 5395166"/>
              <a:gd name="connsiteX8" fmla="*/ 5961015 w 12192001"/>
              <a:gd name="connsiteY8" fmla="*/ 1905726 h 5395166"/>
              <a:gd name="connsiteX9" fmla="*/ 2310973 w 12192001"/>
              <a:gd name="connsiteY9" fmla="*/ 399832 h 5395166"/>
              <a:gd name="connsiteX10" fmla="*/ 0 w 12192001"/>
              <a:gd name="connsiteY10" fmla="*/ 1129250 h 5395166"/>
              <a:gd name="connsiteX11" fmla="*/ 0 w 12192001"/>
              <a:gd name="connsiteY11" fmla="*/ 787801 h 5395166"/>
              <a:gd name="connsiteX12" fmla="*/ 2310973 w 12192001"/>
              <a:gd name="connsiteY12" fmla="*/ 0 h 539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1" h="5395166">
                <a:moveTo>
                  <a:pt x="0" y="5395165"/>
                </a:moveTo>
                <a:lnTo>
                  <a:pt x="12192001" y="5395165"/>
                </a:lnTo>
                <a:lnTo>
                  <a:pt x="12192001" y="5395166"/>
                </a:lnTo>
                <a:lnTo>
                  <a:pt x="0" y="5395166"/>
                </a:lnTo>
                <a:close/>
                <a:moveTo>
                  <a:pt x="2310973" y="0"/>
                </a:moveTo>
                <a:cubicBezTo>
                  <a:pt x="3293676" y="0"/>
                  <a:pt x="4546353" y="355781"/>
                  <a:pt x="5961015" y="1626427"/>
                </a:cubicBezTo>
                <a:cubicBezTo>
                  <a:pt x="9438272" y="4752215"/>
                  <a:pt x="12192001" y="4777628"/>
                  <a:pt x="12192001" y="4777628"/>
                </a:cubicBezTo>
                <a:lnTo>
                  <a:pt x="12192001" y="4823393"/>
                </a:lnTo>
                <a:cubicBezTo>
                  <a:pt x="12192001" y="4823393"/>
                  <a:pt x="9438272" y="4799863"/>
                  <a:pt x="5961015" y="1905726"/>
                </a:cubicBezTo>
                <a:cubicBezTo>
                  <a:pt x="4546353" y="729246"/>
                  <a:pt x="3293676" y="399832"/>
                  <a:pt x="2310973" y="399832"/>
                </a:cubicBezTo>
                <a:cubicBezTo>
                  <a:pt x="874714" y="399832"/>
                  <a:pt x="0" y="1129250"/>
                  <a:pt x="0" y="1129250"/>
                </a:cubicBezTo>
                <a:lnTo>
                  <a:pt x="0" y="787801"/>
                </a:lnTo>
                <a:cubicBezTo>
                  <a:pt x="0" y="787801"/>
                  <a:pt x="874714" y="0"/>
                  <a:pt x="2310973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5955643" y="4644564"/>
            <a:ext cx="4387343" cy="744073"/>
            <a:chOff x="318007" y="4755835"/>
            <a:chExt cx="6275053" cy="489254"/>
          </a:xfrm>
        </p:grpSpPr>
        <p:grpSp>
          <p:nvGrpSpPr>
            <p:cNvPr id="13" name="组合 12"/>
            <p:cNvGrpSpPr/>
            <p:nvPr/>
          </p:nvGrpSpPr>
          <p:grpSpPr>
            <a:xfrm>
              <a:off x="318007" y="4755835"/>
              <a:ext cx="6275053" cy="474436"/>
              <a:chOff x="2958474" y="4627033"/>
              <a:chExt cx="6275053" cy="474436"/>
            </a:xfrm>
          </p:grpSpPr>
          <p:sp>
            <p:nvSpPr>
              <p:cNvPr id="15" name="直角三角形 14"/>
              <p:cNvSpPr/>
              <p:nvPr/>
            </p:nvSpPr>
            <p:spPr>
              <a:xfrm flipH="1" flipV="1">
                <a:off x="2958474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6" name="直角三角形 15"/>
              <p:cNvSpPr/>
              <p:nvPr/>
            </p:nvSpPr>
            <p:spPr>
              <a:xfrm flipV="1">
                <a:off x="9013372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3178629" y="4627033"/>
                <a:ext cx="5834743" cy="474436"/>
              </a:xfrm>
              <a:prstGeom prst="rect">
                <a:avLst/>
              </a:prstGeom>
              <a:solidFill>
                <a:srgbClr val="24222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530644" y="4755835"/>
              <a:ext cx="5834742" cy="48925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Original Garamond Std Roman" panose="02010600010101010101" charset="-122"/>
              </a:endParaRPr>
            </a:p>
          </p:txBody>
        </p:sp>
      </p:grpSp>
      <p:sp>
        <p:nvSpPr>
          <p:cNvPr id="24" name="任意多边形: 形状 23"/>
          <p:cNvSpPr/>
          <p:nvPr/>
        </p:nvSpPr>
        <p:spPr>
          <a:xfrm>
            <a:off x="0" y="-44535"/>
            <a:ext cx="12192000" cy="387879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6104255" y="4727575"/>
            <a:ext cx="407924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000" b="1" dirty="0">
                <a:solidFill>
                  <a:schemeClr val="bg1"/>
                </a:solidFill>
                <a:latin typeface="Garamond" panose="02020404030301010803" charset="0"/>
                <a:ea typeface="微软雅黑" panose="020B0503020204020204" pitchFamily="34" charset="-122"/>
                <a:cs typeface="Garamond" panose="02020404030301010803" charset="0"/>
              </a:rPr>
              <a:t>打造全产业链的中国饮料服务平台</a:t>
            </a:r>
            <a:endParaRPr lang="zh-CN" altLang="en-US" sz="2000" b="1" dirty="0">
              <a:solidFill>
                <a:schemeClr val="bg1"/>
              </a:solidFill>
              <a:latin typeface="Garamond" panose="02020404030301010803" charset="0"/>
              <a:ea typeface="微软雅黑" panose="020B0503020204020204" pitchFamily="34" charset="-122"/>
              <a:cs typeface="Garamond" panose="02020404030301010803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 idx="4294967295"/>
          </p:nvPr>
        </p:nvSpPr>
        <p:spPr>
          <a:xfrm>
            <a:off x="1597660" y="3185795"/>
            <a:ext cx="3139440" cy="966470"/>
          </a:xfrm>
        </p:spPr>
        <p:txBody>
          <a:bodyPr>
            <a:noAutofit/>
          </a:bodyPr>
          <a:lstStyle/>
          <a:p>
            <a:r>
              <a:rPr lang="zh-CN" altLang="en-US" sz="5500" dirty="0"/>
              <a:t>竞争优势</a:t>
            </a:r>
            <a:endParaRPr lang="zh-CN" altLang="en-US" sz="55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ïŝļîdê"/>
          <p:cNvSpPr/>
          <p:nvPr/>
        </p:nvSpPr>
        <p:spPr>
          <a:xfrm>
            <a:off x="0" y="1017423"/>
            <a:ext cx="12192000" cy="51909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18" name="ïṧḷíḓê"/>
          <p:cNvSpPr/>
          <p:nvPr/>
        </p:nvSpPr>
        <p:spPr>
          <a:xfrm>
            <a:off x="430632" y="1468336"/>
            <a:ext cx="11330736" cy="4269338"/>
          </a:xfrm>
          <a:prstGeom prst="roundRect">
            <a:avLst>
              <a:gd name="adj" fmla="val 3005"/>
            </a:avLst>
          </a:prstGeom>
          <a:solidFill>
            <a:schemeClr val="bg1"/>
          </a:solidFill>
          <a:ln>
            <a:noFill/>
          </a:ln>
          <a:effectLst>
            <a:outerShdw blurRad="63500" sx="97000" sy="9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850198" y="2481685"/>
            <a:ext cx="5925730" cy="2656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嘉美食品包装（滁州）股份有限公司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简称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嘉美包装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（股票代码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002969.SZ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，是一家全产业链服务于饮料品牌的平台企业。专业为客户提供全品类饮料包装容器的研发、设计、生产、销售；全品类的饮料配方研发、灌装生产及饮料渠道营销的各项服务。旗下拥有企业十八家，集团业务涵盖印铁、三片罐、两片罐、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ABC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罐、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BC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罐、无菌纸包、各包材配套的饮料灌装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EM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等多项业务板块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zh-CN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11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262681" y="144987"/>
              <a:ext cx="26996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公司简介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9" name="图片 8" descr="C:/Users/张箐/Desktop/封面.jpg封面"/>
          <p:cNvPicPr>
            <a:picLocks noChangeAspect="1"/>
          </p:cNvPicPr>
          <p:nvPr/>
        </p:nvPicPr>
        <p:blipFill rotWithShape="1">
          <a:blip r:embed="rId1">
            <a:lum bright="24000"/>
          </a:blip>
          <a:srcRect r="46523"/>
          <a:stretch>
            <a:fillRect/>
          </a:stretch>
        </p:blipFill>
        <p:spPr>
          <a:xfrm>
            <a:off x="7380093" y="1571937"/>
            <a:ext cx="3845295" cy="4063406"/>
          </a:xfrm>
          <a:prstGeom prst="rect">
            <a:avLst/>
          </a:prstGeom>
        </p:spPr>
      </p:pic>
      <p:sp>
        <p:nvSpPr>
          <p:cNvPr id="39" name="箭头: 五边形 38"/>
          <p:cNvSpPr/>
          <p:nvPr/>
        </p:nvSpPr>
        <p:spPr>
          <a:xfrm>
            <a:off x="511810" y="5894070"/>
            <a:ext cx="2199640" cy="720090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  <p:sp>
        <p:nvSpPr>
          <p:cNvPr id="40" name="MH_SubTitle_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68065" y="6026150"/>
            <a:ext cx="2306955" cy="617220"/>
          </a:xfrm>
          <a:prstGeom prst="parallelogram">
            <a:avLst/>
          </a:prstGeom>
          <a:noFill/>
          <a:ln w="9525">
            <a:noFill/>
            <a:miter lim="800000"/>
          </a:ln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2400" noProof="1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</a:t>
            </a:r>
            <a:endParaRPr lang="zh-CN" altLang="en-US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箭头: 五边形 41"/>
          <p:cNvSpPr/>
          <p:nvPr/>
        </p:nvSpPr>
        <p:spPr>
          <a:xfrm>
            <a:off x="6437630" y="5902960"/>
            <a:ext cx="2199640" cy="720090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43" name="MH_SubTitle_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32270" y="5945505"/>
            <a:ext cx="1755775" cy="611505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</a:ln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en-US" altLang="zh-CN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2400" noProof="1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灌装生产</a:t>
            </a:r>
            <a:endParaRPr lang="zh-CN" altLang="en-US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箭头: 五边形 44"/>
          <p:cNvSpPr/>
          <p:nvPr/>
        </p:nvSpPr>
        <p:spPr>
          <a:xfrm>
            <a:off x="9515475" y="5902960"/>
            <a:ext cx="2002790" cy="720090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46" name="MH_SubTitle_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687560" y="6026150"/>
            <a:ext cx="2027555" cy="486410"/>
          </a:xfrm>
          <a:prstGeom prst="parallelogram">
            <a:avLst/>
          </a:prstGeom>
          <a:noFill/>
          <a:ln w="9525">
            <a:noFill/>
            <a:miter lim="800000"/>
          </a:ln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2400" noProof="1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渠道营销</a:t>
            </a:r>
            <a:endParaRPr lang="zh-CN" altLang="en-US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 descr="无底色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6" name="箭头: 五边形 38"/>
          <p:cNvSpPr/>
          <p:nvPr/>
        </p:nvSpPr>
        <p:spPr>
          <a:xfrm>
            <a:off x="3532505" y="5902960"/>
            <a:ext cx="2083435" cy="720090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  <p:sp>
        <p:nvSpPr>
          <p:cNvPr id="7" name="MH_SubTitle_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4680" y="5939790"/>
            <a:ext cx="2185670" cy="617220"/>
          </a:xfrm>
          <a:prstGeom prst="parallelogram">
            <a:avLst/>
          </a:prstGeom>
          <a:noFill/>
          <a:ln w="9525">
            <a:noFill/>
            <a:miter lim="800000"/>
          </a:ln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2400" noProof="1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材生产</a:t>
            </a:r>
            <a:endParaRPr lang="zh-CN" altLang="en-US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MH_SubTitle_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89655" y="5945505"/>
            <a:ext cx="2185670" cy="617220"/>
          </a:xfrm>
          <a:prstGeom prst="parallelogram">
            <a:avLst/>
          </a:prstGeom>
          <a:noFill/>
          <a:ln w="9525">
            <a:noFill/>
            <a:miter lim="800000"/>
          </a:ln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zh-CN" altLang="en-US" sz="2400" noProof="1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方研发</a:t>
            </a:r>
            <a:endParaRPr lang="zh-CN" altLang="en-US" sz="2400" noProof="1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$ľiḑe"/>
          <p:cNvSpPr/>
          <p:nvPr>
            <p:custDataLst>
              <p:tags r:id="rId1"/>
            </p:custDataLst>
          </p:nvPr>
        </p:nvSpPr>
        <p:spPr bwMode="auto">
          <a:xfrm>
            <a:off x="4372996" y="1642051"/>
            <a:ext cx="3421979" cy="3421977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1600" dirty="0"/>
          </a:p>
        </p:txBody>
      </p:sp>
      <p:sp>
        <p:nvSpPr>
          <p:cNvPr id="17" name="íšľíḍè"/>
          <p:cNvSpPr/>
          <p:nvPr>
            <p:custDataLst>
              <p:tags r:id="rId3"/>
            </p:custDataLst>
          </p:nvPr>
        </p:nvSpPr>
        <p:spPr>
          <a:xfrm>
            <a:off x="4295333" y="1439595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19472472"/>
              <a:gd name="adj4" fmla="val 16200251"/>
              <a:gd name="adj5" fmla="val 5932"/>
            </a:avLst>
          </a:prstGeom>
          <a:solidFill>
            <a:srgbClr val="0060B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>
            <a:noAutofit/>
          </a:bodyPr>
          <a:lstStyle/>
          <a:p>
            <a:endParaRPr lang="zh-CN" altLang="en-US"/>
          </a:p>
        </p:txBody>
      </p:sp>
      <p:sp>
        <p:nvSpPr>
          <p:cNvPr id="18" name="ïṩļïḑè"/>
          <p:cNvSpPr/>
          <p:nvPr>
            <p:custDataLst>
              <p:tags r:id="rId4"/>
            </p:custDataLst>
          </p:nvPr>
        </p:nvSpPr>
        <p:spPr>
          <a:xfrm>
            <a:off x="4334413" y="1507262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1472472"/>
              <a:gd name="adj4" fmla="val 19800000"/>
              <a:gd name="adj5" fmla="val 5932"/>
            </a:avLst>
          </a:pr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24" name="îSlîḓe"/>
          <p:cNvSpPr/>
          <p:nvPr>
            <p:custDataLst>
              <p:tags r:id="rId5"/>
            </p:custDataLst>
          </p:nvPr>
        </p:nvSpPr>
        <p:spPr>
          <a:xfrm>
            <a:off x="4295333" y="1574930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5072221"/>
              <a:gd name="adj4" fmla="val 1800000"/>
              <a:gd name="adj5" fmla="val 5932"/>
            </a:avLst>
          </a:prstGeom>
          <a:solidFill>
            <a:srgbClr val="0060B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>
            <a:noAutofit/>
          </a:bodyPr>
          <a:lstStyle/>
          <a:p>
            <a:endParaRPr lang="zh-CN" altLang="en-US"/>
          </a:p>
        </p:txBody>
      </p:sp>
      <p:sp>
        <p:nvSpPr>
          <p:cNvPr id="25" name="ïṡļîḑê"/>
          <p:cNvSpPr/>
          <p:nvPr>
            <p:custDataLst>
              <p:tags r:id="rId6"/>
            </p:custDataLst>
          </p:nvPr>
        </p:nvSpPr>
        <p:spPr>
          <a:xfrm>
            <a:off x="4217414" y="1574930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8672472"/>
              <a:gd name="adj4" fmla="val 5400251"/>
              <a:gd name="adj5" fmla="val 5932"/>
            </a:avLst>
          </a:pr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26" name="íṣļïďê"/>
          <p:cNvSpPr/>
          <p:nvPr>
            <p:custDataLst>
              <p:tags r:id="rId7"/>
            </p:custDataLst>
          </p:nvPr>
        </p:nvSpPr>
        <p:spPr>
          <a:xfrm>
            <a:off x="4178335" y="1507262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12272472"/>
              <a:gd name="adj4" fmla="val 9000000"/>
              <a:gd name="adj5" fmla="val 5932"/>
            </a:avLst>
          </a:prstGeom>
          <a:solidFill>
            <a:srgbClr val="0060B0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>
            <a:noAutofit/>
          </a:bodyPr>
          <a:lstStyle/>
          <a:p>
            <a:endParaRPr lang="zh-CN" altLang="en-US"/>
          </a:p>
        </p:txBody>
      </p:sp>
      <p:sp>
        <p:nvSpPr>
          <p:cNvPr id="27" name="iṣḻiḑe"/>
          <p:cNvSpPr/>
          <p:nvPr>
            <p:custDataLst>
              <p:tags r:id="rId8"/>
            </p:custDataLst>
          </p:nvPr>
        </p:nvSpPr>
        <p:spPr>
          <a:xfrm>
            <a:off x="4217414" y="1439595"/>
            <a:ext cx="3689091" cy="3692372"/>
          </a:xfrm>
          <a:prstGeom prst="circularArrow">
            <a:avLst>
              <a:gd name="adj1" fmla="val 5085"/>
              <a:gd name="adj2" fmla="val 327528"/>
              <a:gd name="adj3" fmla="val 15872221"/>
              <a:gd name="adj4" fmla="val 12600000"/>
              <a:gd name="adj5" fmla="val 5932"/>
            </a:avLst>
          </a:pr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 dirty="0"/>
          </a:p>
        </p:txBody>
      </p:sp>
      <p:grpSp>
        <p:nvGrpSpPr>
          <p:cNvPr id="19" name="组合 18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0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行业优势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" name="组合 6"/>
          <p:cNvGrpSpPr/>
          <p:nvPr>
            <p:custDataLst>
              <p:tags r:id="rId9"/>
            </p:custDataLst>
          </p:nvPr>
        </p:nvGrpSpPr>
        <p:grpSpPr>
          <a:xfrm>
            <a:off x="1188685" y="914794"/>
            <a:ext cx="3137514" cy="2075603"/>
            <a:chOff x="1348941" y="1514902"/>
            <a:chExt cx="3137514" cy="2075603"/>
          </a:xfrm>
        </p:grpSpPr>
        <p:grpSp>
          <p:nvGrpSpPr>
            <p:cNvPr id="6" name="组合 5"/>
            <p:cNvGrpSpPr/>
            <p:nvPr/>
          </p:nvGrpSpPr>
          <p:grpSpPr>
            <a:xfrm>
              <a:off x="1377204" y="1514902"/>
              <a:ext cx="2425348" cy="1285145"/>
              <a:chOff x="1377204" y="1514902"/>
              <a:chExt cx="2425348" cy="1285145"/>
            </a:xfrm>
          </p:grpSpPr>
          <p:sp>
            <p:nvSpPr>
              <p:cNvPr id="14" name="矩形 13"/>
              <p:cNvSpPr/>
              <p:nvPr>
                <p:custDataLst>
                  <p:tags r:id="rId10"/>
                </p:custDataLst>
              </p:nvPr>
            </p:nvSpPr>
            <p:spPr>
              <a:xfrm>
                <a:off x="1377204" y="1514902"/>
                <a:ext cx="2425348" cy="1285145"/>
              </a:xfrm>
              <a:prstGeom prst="rect">
                <a:avLst/>
              </a:prstGeom>
              <a:noFill/>
              <a:ln w="28575">
                <a:noFill/>
                <a:prstDash val="sysDot"/>
              </a:ln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90500" tIns="752325" rIns="192485" bIns="752324" numCol="1" spcCol="1270" anchor="ctr" anchorCtr="0">
                <a:noAutofit/>
              </a:bodyPr>
              <a:lstStyle/>
              <a:p>
                <a:pPr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200" b="1" dirty="0">
                    <a:solidFill>
                      <a:srgbClr val="0060B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新包材</a:t>
                </a:r>
                <a:endPara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" name="箭头: 五边形 2"/>
              <p:cNvSpPr/>
              <p:nvPr>
                <p:custDataLst>
                  <p:tags r:id="rId11"/>
                </p:custDataLst>
              </p:nvPr>
            </p:nvSpPr>
            <p:spPr>
              <a:xfrm>
                <a:off x="1440003" y="1957396"/>
                <a:ext cx="481090" cy="360000"/>
              </a:xfrm>
              <a:prstGeom prst="homePlate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lnSpcReduction="10000"/>
              </a:bodyPr>
              <a:lstStyle/>
              <a:p>
                <a:pPr algn="ctr"/>
                <a:r>
                  <a:rPr lang="en-US" altLang="zh-CN" dirty="0"/>
                  <a:t>1</a:t>
                </a:r>
                <a:endParaRPr lang="zh-CN" altLang="en-US" dirty="0"/>
              </a:p>
            </p:txBody>
          </p:sp>
        </p:grpSp>
        <p:sp>
          <p:nvSpPr>
            <p:cNvPr id="33" name="TextBox 8"/>
            <p:cNvSpPr txBox="1"/>
            <p:nvPr>
              <p:custDataLst>
                <p:tags r:id="rId12"/>
              </p:custDataLst>
            </p:nvPr>
          </p:nvSpPr>
          <p:spPr>
            <a:xfrm>
              <a:off x="1348941" y="2380830"/>
              <a:ext cx="3137514" cy="120967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嘉美以用户需求为核心，以包材即服务为理念，以包材解决方案为载体，专注创新，不断研发安全的、环保的、健康的新型包装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>
            <p:custDataLst>
              <p:tags r:id="rId13"/>
            </p:custDataLst>
          </p:nvPr>
        </p:nvGrpSpPr>
        <p:grpSpPr>
          <a:xfrm>
            <a:off x="1188685" y="2697824"/>
            <a:ext cx="3137514" cy="1746540"/>
            <a:chOff x="1305928" y="3115385"/>
            <a:chExt cx="3137514" cy="1746540"/>
          </a:xfrm>
        </p:grpSpPr>
        <p:sp>
          <p:nvSpPr>
            <p:cNvPr id="13" name="矩形 12"/>
            <p:cNvSpPr/>
            <p:nvPr>
              <p:custDataLst>
                <p:tags r:id="rId14"/>
              </p:custDataLst>
            </p:nvPr>
          </p:nvSpPr>
          <p:spPr>
            <a:xfrm>
              <a:off x="1624854" y="3115385"/>
              <a:ext cx="2425348" cy="1285145"/>
            </a:xfrm>
            <a:prstGeom prst="rect">
              <a:avLst/>
            </a:prstGeom>
            <a:noFill/>
            <a:ln w="28575">
              <a:noFill/>
              <a:prstDash val="sysDot"/>
            </a:ln>
          </p:spPr>
          <p:style>
            <a:ln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0" tIns="752325" rIns="192485" bIns="752324" numCol="1" spcCol="1270" anchor="ctr" anchorCtr="0">
              <a:noAutofit/>
            </a:bodyPr>
            <a:lstStyle/>
            <a:p>
              <a:pPr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流的生产线</a:t>
              </a:r>
              <a:endParaRPr lang="en-US" altLang="zh-CN" sz="2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箭头: 五边形 30"/>
            <p:cNvSpPr/>
            <p:nvPr>
              <p:custDataLst>
                <p:tags r:id="rId15"/>
              </p:custDataLst>
            </p:nvPr>
          </p:nvSpPr>
          <p:spPr>
            <a:xfrm>
              <a:off x="1395759" y="3538742"/>
              <a:ext cx="481090" cy="360000"/>
            </a:xfrm>
            <a:prstGeom prst="homePlat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34" name="TextBox 8"/>
            <p:cNvSpPr txBox="1"/>
            <p:nvPr>
              <p:custDataLst>
                <p:tags r:id="rId16"/>
              </p:custDataLst>
            </p:nvPr>
          </p:nvSpPr>
          <p:spPr>
            <a:xfrm>
              <a:off x="1305928" y="3932285"/>
              <a:ext cx="3137514" cy="92964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采用国内外一流的生产设备（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KBA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舒勒、苏德罗尼克等），打造国内领先的包装生产线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" name="组合 38"/>
          <p:cNvGrpSpPr/>
          <p:nvPr>
            <p:custDataLst>
              <p:tags r:id="rId17"/>
            </p:custDataLst>
          </p:nvPr>
        </p:nvGrpSpPr>
        <p:grpSpPr>
          <a:xfrm>
            <a:off x="1188685" y="4428839"/>
            <a:ext cx="3137514" cy="2025393"/>
            <a:chOff x="1290340" y="4743164"/>
            <a:chExt cx="3137514" cy="2025393"/>
          </a:xfrm>
        </p:grpSpPr>
        <p:sp>
          <p:nvSpPr>
            <p:cNvPr id="10" name="矩形 9"/>
            <p:cNvSpPr/>
            <p:nvPr>
              <p:custDataLst>
                <p:tags r:id="rId18"/>
              </p:custDataLst>
            </p:nvPr>
          </p:nvSpPr>
          <p:spPr>
            <a:xfrm>
              <a:off x="1777254" y="4743164"/>
              <a:ext cx="2425348" cy="1285145"/>
            </a:xfrm>
            <a:prstGeom prst="rect">
              <a:avLst/>
            </a:prstGeom>
            <a:noFill/>
            <a:ln w="28575">
              <a:noFill/>
              <a:prstDash val="sysDot"/>
            </a:ln>
          </p:spPr>
          <p:style>
            <a:ln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0" tIns="752325" rIns="192485" bIns="752324" numCol="1" spcCol="1270" anchor="ctr" anchorCtr="0">
              <a:noAutofit/>
            </a:bodyPr>
            <a:lstStyle/>
            <a:p>
              <a:pPr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家型技术团队</a:t>
              </a:r>
              <a:endParaRPr lang="zh-CN" altLang="en-US" sz="2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箭头: 五边形 29"/>
            <p:cNvSpPr/>
            <p:nvPr>
              <p:custDataLst>
                <p:tags r:id="rId19"/>
              </p:custDataLst>
            </p:nvPr>
          </p:nvSpPr>
          <p:spPr>
            <a:xfrm>
              <a:off x="1395759" y="5159404"/>
              <a:ext cx="481090" cy="360000"/>
            </a:xfrm>
            <a:prstGeom prst="homePlat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altLang="zh-CN" dirty="0"/>
                <a:t>3</a:t>
              </a:r>
              <a:endParaRPr lang="zh-CN" altLang="en-US" dirty="0"/>
            </a:p>
          </p:txBody>
        </p:sp>
        <p:sp>
          <p:nvSpPr>
            <p:cNvPr id="35" name="TextBox 8"/>
            <p:cNvSpPr txBox="1"/>
            <p:nvPr>
              <p:custDataLst>
                <p:tags r:id="rId20"/>
              </p:custDataLst>
            </p:nvPr>
          </p:nvSpPr>
          <p:spPr>
            <a:xfrm>
              <a:off x="1290340" y="5558882"/>
              <a:ext cx="3137514" cy="120967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来自大陆、港台的研发、技术、饮料灌装服务等资深技术与管理人才，全力打造一支技术领先、服务精湛的专家型技术团队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0" name="组合 39"/>
          <p:cNvGrpSpPr/>
          <p:nvPr>
            <p:custDataLst>
              <p:tags r:id="rId21"/>
            </p:custDataLst>
          </p:nvPr>
        </p:nvGrpSpPr>
        <p:grpSpPr>
          <a:xfrm>
            <a:off x="8351561" y="914794"/>
            <a:ext cx="3068607" cy="1712052"/>
            <a:chOff x="8215721" y="1514902"/>
            <a:chExt cx="3068607" cy="1712052"/>
          </a:xfrm>
        </p:grpSpPr>
        <p:sp>
          <p:nvSpPr>
            <p:cNvPr id="11" name="矩形 10"/>
            <p:cNvSpPr/>
            <p:nvPr>
              <p:custDataLst>
                <p:tags r:id="rId22"/>
              </p:custDataLst>
            </p:nvPr>
          </p:nvSpPr>
          <p:spPr>
            <a:xfrm>
              <a:off x="8355508" y="1514902"/>
              <a:ext cx="2425348" cy="1285145"/>
            </a:xfrm>
            <a:prstGeom prst="rect">
              <a:avLst/>
            </a:prstGeom>
            <a:noFill/>
            <a:ln w="28575">
              <a:noFill/>
              <a:prstDash val="sysDot"/>
            </a:ln>
          </p:spPr>
          <p:style>
            <a:ln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0" tIns="752325" rIns="192485" bIns="752324" numCol="1" spcCol="1270" anchor="ctr" anchorCtr="0">
              <a:noAutofit/>
            </a:bodyPr>
            <a:lstStyle/>
            <a:p>
              <a:pPr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贴近式服务</a:t>
              </a:r>
              <a:endParaRPr lang="zh-CN" altLang="en-US" sz="2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箭头: 五边形 31"/>
            <p:cNvSpPr/>
            <p:nvPr>
              <p:custDataLst>
                <p:tags r:id="rId23"/>
              </p:custDataLst>
            </p:nvPr>
          </p:nvSpPr>
          <p:spPr>
            <a:xfrm>
              <a:off x="8268803" y="1926294"/>
              <a:ext cx="481090" cy="360000"/>
            </a:xfrm>
            <a:prstGeom prst="homePlat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altLang="zh-CN" dirty="0"/>
                <a:t>4</a:t>
              </a:r>
              <a:endParaRPr lang="zh-CN" altLang="en-US" dirty="0"/>
            </a:p>
          </p:txBody>
        </p:sp>
        <p:sp>
          <p:nvSpPr>
            <p:cNvPr id="36" name="TextBox 8"/>
            <p:cNvSpPr txBox="1"/>
            <p:nvPr>
              <p:custDataLst>
                <p:tags r:id="rId24"/>
              </p:custDataLst>
            </p:nvPr>
          </p:nvSpPr>
          <p:spPr>
            <a:xfrm>
              <a:off x="8215721" y="2297314"/>
              <a:ext cx="3068607" cy="92964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布局贴近客户，生产灵活度高；占有领先的市场份额，有利于发挥规模、成本优势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/>
          <p:cNvGrpSpPr/>
          <p:nvPr>
            <p:custDataLst>
              <p:tags r:id="rId25"/>
            </p:custDataLst>
          </p:nvPr>
        </p:nvGrpSpPr>
        <p:grpSpPr>
          <a:xfrm>
            <a:off x="8351561" y="2697824"/>
            <a:ext cx="3202940" cy="1420926"/>
            <a:chOff x="8215721" y="3115385"/>
            <a:chExt cx="3202940" cy="1420926"/>
          </a:xfrm>
        </p:grpSpPr>
        <p:sp>
          <p:nvSpPr>
            <p:cNvPr id="9" name="矩形 8"/>
            <p:cNvSpPr/>
            <p:nvPr>
              <p:custDataLst>
                <p:tags r:id="rId26"/>
              </p:custDataLst>
            </p:nvPr>
          </p:nvSpPr>
          <p:spPr>
            <a:xfrm>
              <a:off x="8584021" y="3115385"/>
              <a:ext cx="2834640" cy="1285240"/>
            </a:xfrm>
            <a:prstGeom prst="rect">
              <a:avLst/>
            </a:prstGeom>
            <a:noFill/>
            <a:ln w="28575">
              <a:noFill/>
              <a:prstDash val="sysDot"/>
            </a:ln>
          </p:spPr>
          <p:style>
            <a:ln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0" tIns="752325" rIns="192485" bIns="752324" numCol="1" spcCol="1270" anchor="ctr" anchorCtr="0">
              <a:noAutofit/>
            </a:bodyPr>
            <a:lstStyle/>
            <a:p>
              <a:pPr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恪守客户利益核心</a:t>
              </a:r>
              <a:endParaRPr lang="zh-CN" altLang="en-US" sz="2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箭头: 五边形 28"/>
            <p:cNvSpPr/>
            <p:nvPr>
              <p:custDataLst>
                <p:tags r:id="rId27"/>
              </p:custDataLst>
            </p:nvPr>
          </p:nvSpPr>
          <p:spPr>
            <a:xfrm>
              <a:off x="8268803" y="3514943"/>
              <a:ext cx="481090" cy="360000"/>
            </a:xfrm>
            <a:prstGeom prst="homePlat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altLang="zh-CN" dirty="0"/>
                <a:t>5</a:t>
              </a:r>
              <a:endParaRPr lang="zh-CN" altLang="en-US" dirty="0"/>
            </a:p>
          </p:txBody>
        </p:sp>
        <p:sp>
          <p:nvSpPr>
            <p:cNvPr id="37" name="TextBox 8"/>
            <p:cNvSpPr txBox="1"/>
            <p:nvPr>
              <p:custDataLst>
                <p:tags r:id="rId28"/>
              </p:custDataLst>
            </p:nvPr>
          </p:nvSpPr>
          <p:spPr>
            <a:xfrm>
              <a:off x="8215721" y="3886071"/>
              <a:ext cx="3201342" cy="65024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共生式服务理念，以客户利益做为决策出发点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>
            <p:custDataLst>
              <p:tags r:id="rId29"/>
            </p:custDataLst>
          </p:nvPr>
        </p:nvGrpSpPr>
        <p:grpSpPr>
          <a:xfrm>
            <a:off x="8351561" y="4419314"/>
            <a:ext cx="3068607" cy="1423774"/>
            <a:chOff x="8199161" y="4733639"/>
            <a:chExt cx="3068607" cy="1423774"/>
          </a:xfrm>
        </p:grpSpPr>
        <p:sp>
          <p:nvSpPr>
            <p:cNvPr id="12" name="矩形 11"/>
            <p:cNvSpPr/>
            <p:nvPr>
              <p:custDataLst>
                <p:tags r:id="rId30"/>
              </p:custDataLst>
            </p:nvPr>
          </p:nvSpPr>
          <p:spPr>
            <a:xfrm>
              <a:off x="8517433" y="4733639"/>
              <a:ext cx="2425348" cy="1285145"/>
            </a:xfrm>
            <a:prstGeom prst="rect">
              <a:avLst/>
            </a:prstGeom>
            <a:noFill/>
            <a:ln w="28575">
              <a:noFill/>
              <a:prstDash val="sysDot"/>
            </a:ln>
          </p:spPr>
          <p:style>
            <a:ln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0" tIns="752325" rIns="192485" bIns="752324" numCol="1" spcCol="1270" anchor="ctr" anchorCtr="0">
              <a:noAutofit/>
            </a:bodyPr>
            <a:lstStyle/>
            <a:p>
              <a:pPr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服务理念</a:t>
              </a:r>
              <a:endParaRPr lang="zh-CN" altLang="en-US" sz="2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箭头: 五边形 27"/>
            <p:cNvSpPr/>
            <p:nvPr>
              <p:custDataLst>
                <p:tags r:id="rId31"/>
              </p:custDataLst>
            </p:nvPr>
          </p:nvSpPr>
          <p:spPr>
            <a:xfrm>
              <a:off x="8268803" y="5147173"/>
              <a:ext cx="481090" cy="360000"/>
            </a:xfrm>
            <a:prstGeom prst="homePlat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altLang="zh-CN" dirty="0"/>
                <a:t>6</a:t>
              </a:r>
              <a:endParaRPr lang="zh-CN" altLang="en-US" dirty="0"/>
            </a:p>
          </p:txBody>
        </p:sp>
        <p:sp>
          <p:nvSpPr>
            <p:cNvPr id="38" name="TextBox 8"/>
            <p:cNvSpPr txBox="1"/>
            <p:nvPr>
              <p:custDataLst>
                <p:tags r:id="rId32"/>
              </p:custDataLst>
            </p:nvPr>
          </p:nvSpPr>
          <p:spPr>
            <a:xfrm>
              <a:off x="8199161" y="5507173"/>
              <a:ext cx="3068607" cy="65024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13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站式、全覆盖的平台理念服务于客户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34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ís1iḍè"/>
          <p:cNvSpPr txBox="1"/>
          <p:nvPr/>
        </p:nvSpPr>
        <p:spPr>
          <a:xfrm>
            <a:off x="1358900" y="738505"/>
            <a:ext cx="3037840" cy="1987550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5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明专利</a:t>
            </a:r>
            <a:endParaRPr lang="zh-CN" altLang="en-US" sz="15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BC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510109365.2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BC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510109364.8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5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专利创新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îś1iḍê"/>
          <p:cNvSpPr/>
          <p:nvPr/>
        </p:nvSpPr>
        <p:spPr>
          <a:xfrm>
            <a:off x="517526" y="3118212"/>
            <a:ext cx="11160000" cy="1239520"/>
          </a:xfrm>
          <a:prstGeom prst="rightArrow">
            <a:avLst/>
          </a:prstGeom>
          <a:solidFill>
            <a:srgbClr val="0060B0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3" name="ïṥḷídè"/>
          <p:cNvSpPr/>
          <p:nvPr/>
        </p:nvSpPr>
        <p:spPr>
          <a:xfrm>
            <a:off x="1944370" y="3296285"/>
            <a:ext cx="883920" cy="88392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ïṥḷídè"/>
          <p:cNvSpPr/>
          <p:nvPr/>
        </p:nvSpPr>
        <p:spPr>
          <a:xfrm>
            <a:off x="8776970" y="3308985"/>
            <a:ext cx="883920" cy="88392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2027555" y="3365903"/>
            <a:ext cx="755650" cy="697462"/>
            <a:chOff x="684763" y="2065741"/>
            <a:chExt cx="1060688" cy="977951"/>
          </a:xfrm>
        </p:grpSpPr>
        <p:pic>
          <p:nvPicPr>
            <p:cNvPr id="38" name="图片 37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4"/>
            <a:stretch>
              <a:fillRect/>
            </a:stretch>
          </p:blipFill>
          <p:spPr>
            <a:xfrm>
              <a:off x="684763" y="2149761"/>
              <a:ext cx="1060688" cy="893931"/>
            </a:xfrm>
            <a:prstGeom prst="rect">
              <a:avLst/>
            </a:prstGeom>
          </p:spPr>
        </p:pic>
        <p:sp>
          <p:nvSpPr>
            <p:cNvPr id="8" name="TextBox 192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315268" y="2065741"/>
              <a:ext cx="215707" cy="856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zh-CN" sz="3375" dirty="0">
                  <a:solidFill>
                    <a:schemeClr val="accent2"/>
                  </a:solidFill>
                  <a:latin typeface="Kata Bold" charset="0"/>
                </a:rPr>
                <a:t>1</a:t>
              </a:r>
              <a:endParaRPr lang="id-ID" altLang="zh-CN" sz="3375" dirty="0">
                <a:solidFill>
                  <a:schemeClr val="accent2"/>
                </a:solidFill>
                <a:latin typeface="Kata Bold" charset="0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8875395" y="3365903"/>
            <a:ext cx="755650" cy="697462"/>
            <a:chOff x="684763" y="2065741"/>
            <a:chExt cx="1060688" cy="977951"/>
          </a:xfrm>
        </p:grpSpPr>
        <p:pic>
          <p:nvPicPr>
            <p:cNvPr id="13" name="图片 12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4"/>
            <a:stretch>
              <a:fillRect/>
            </a:stretch>
          </p:blipFill>
          <p:spPr>
            <a:xfrm>
              <a:off x="684763" y="2149761"/>
              <a:ext cx="1060688" cy="893931"/>
            </a:xfrm>
            <a:prstGeom prst="rect">
              <a:avLst/>
            </a:prstGeom>
          </p:spPr>
        </p:pic>
        <p:sp>
          <p:nvSpPr>
            <p:cNvPr id="14" name="TextBox 192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315268" y="2065741"/>
              <a:ext cx="215707" cy="856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zh-CN" sz="3375" dirty="0">
                  <a:solidFill>
                    <a:schemeClr val="accent2"/>
                  </a:solidFill>
                  <a:latin typeface="Kata Bold" charset="0"/>
                </a:rPr>
                <a:t>3</a:t>
              </a:r>
              <a:endParaRPr lang="id-ID" altLang="zh-CN" sz="3375" dirty="0">
                <a:solidFill>
                  <a:schemeClr val="accent2"/>
                </a:solidFill>
                <a:latin typeface="Kata Bold" charset="0"/>
              </a:endParaRPr>
            </a:p>
          </p:txBody>
        </p:sp>
      </p:grpSp>
      <p:sp>
        <p:nvSpPr>
          <p:cNvPr id="22" name="ís1iḍè"/>
          <p:cNvSpPr txBox="1"/>
          <p:nvPr/>
        </p:nvSpPr>
        <p:spPr>
          <a:xfrm>
            <a:off x="4735830" y="920750"/>
            <a:ext cx="3663315" cy="1987550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/>
          <a:p>
            <a:pPr lvl="0">
              <a:lnSpc>
                <a:spcPct val="130000"/>
              </a:lnSpc>
            </a:pPr>
            <a:endParaRPr lang="en-US" altLang="zh-CN" sz="15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lnSpc>
                <a:spcPct val="130000"/>
              </a:lnSpc>
            </a:pPr>
            <a:r>
              <a:rPr lang="zh-CN" altLang="en-US" sz="15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用新型专利</a:t>
            </a:r>
            <a:endParaRPr lang="zh-CN" altLang="en-US" sz="15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BC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520477281.X/ZL201520141508.3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带有螺纹的容器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620047555.6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片罐焊缝补涂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620741883.6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缩径滚筋空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420040568.1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种焊接金属瓶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920787987.4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ís1iḍè"/>
          <p:cNvSpPr txBox="1"/>
          <p:nvPr/>
        </p:nvSpPr>
        <p:spPr>
          <a:xfrm>
            <a:off x="8556625" y="733425"/>
            <a:ext cx="3037840" cy="1987550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5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观专利</a:t>
            </a:r>
            <a:endParaRPr lang="zh-CN" altLang="en-US" sz="15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BC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730167402.5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锥形罐（</a:t>
            </a:r>
            <a:r>
              <a:rPr lang="en-US" altLang="zh-CN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ZL201730551752.1</a:t>
            </a:r>
            <a:r>
              <a:rPr lang="zh-CN" altLang="en-US" sz="1200" dirty="0">
                <a:solidFill>
                  <a:srgbClr val="0C09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C09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" name="图片 29" descr="证书 001_副本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931160" y="4371340"/>
            <a:ext cx="6292215" cy="1024890"/>
          </a:xfrm>
          <a:prstGeom prst="rect">
            <a:avLst/>
          </a:prstGeom>
        </p:spPr>
      </p:pic>
      <p:pic>
        <p:nvPicPr>
          <p:cNvPr id="31" name="图片 30" descr="证书 009_副本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913890" y="5574665"/>
            <a:ext cx="8270240" cy="1197610"/>
          </a:xfrm>
          <a:prstGeom prst="rect">
            <a:avLst/>
          </a:prstGeom>
        </p:spPr>
      </p:pic>
      <p:sp>
        <p:nvSpPr>
          <p:cNvPr id="41" name="ïṥḷídè"/>
          <p:cNvSpPr/>
          <p:nvPr/>
        </p:nvSpPr>
        <p:spPr>
          <a:xfrm>
            <a:off x="5360670" y="3308985"/>
            <a:ext cx="883920" cy="883920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grpSp>
        <p:nvGrpSpPr>
          <p:cNvPr id="42" name="组合 41"/>
          <p:cNvGrpSpPr/>
          <p:nvPr/>
        </p:nvGrpSpPr>
        <p:grpSpPr>
          <a:xfrm>
            <a:off x="5402580" y="3365903"/>
            <a:ext cx="755650" cy="697462"/>
            <a:chOff x="684763" y="2065741"/>
            <a:chExt cx="1060688" cy="977951"/>
          </a:xfrm>
        </p:grpSpPr>
        <p:pic>
          <p:nvPicPr>
            <p:cNvPr id="43" name="图片 42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4"/>
            <a:stretch>
              <a:fillRect/>
            </a:stretch>
          </p:blipFill>
          <p:spPr>
            <a:xfrm>
              <a:off x="684763" y="2149761"/>
              <a:ext cx="1060688" cy="893931"/>
            </a:xfrm>
            <a:prstGeom prst="rect">
              <a:avLst/>
            </a:prstGeom>
          </p:spPr>
        </p:pic>
        <p:sp>
          <p:nvSpPr>
            <p:cNvPr id="44" name="TextBox 192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315268" y="2065741"/>
              <a:ext cx="215707" cy="856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zh-CN" sz="3375" dirty="0">
                  <a:solidFill>
                    <a:schemeClr val="accent2"/>
                  </a:solidFill>
                  <a:latin typeface="Kata Bold" charset="0"/>
                </a:rPr>
                <a:t>2</a:t>
              </a:r>
              <a:endParaRPr lang="id-ID" altLang="zh-CN" sz="3375" dirty="0">
                <a:solidFill>
                  <a:schemeClr val="accent2"/>
                </a:solidFill>
                <a:latin typeface="Kata Bold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27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9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荣耀时刻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任意多边形: 形状 37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14" name="矩形 13"/>
          <p:cNvSpPr/>
          <p:nvPr userDrawn="1">
            <p:custDataLst>
              <p:tags r:id="rId3"/>
            </p:custDataLst>
          </p:nvPr>
        </p:nvSpPr>
        <p:spPr>
          <a:xfrm>
            <a:off x="0" y="4267200"/>
            <a:ext cx="12192000" cy="25908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5" name="矩形 14"/>
          <p:cNvSpPr/>
          <p:nvPr>
            <p:custDataLst>
              <p:tags r:id="rId4"/>
            </p:custDataLst>
          </p:nvPr>
        </p:nvSpPr>
        <p:spPr>
          <a:xfrm>
            <a:off x="914400" y="914400"/>
            <a:ext cx="10363283" cy="5029240"/>
          </a:xfrm>
          <a:prstGeom prst="rect">
            <a:avLst/>
          </a:prstGeom>
          <a:solidFill>
            <a:schemeClr val="lt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 descr="placingpictureplaceholder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rcRect/>
          <a:stretch>
            <a:fillRect/>
          </a:stretch>
        </p:blipFill>
        <p:spPr>
          <a:xfrm>
            <a:off x="1857909" y="609486"/>
            <a:ext cx="2530370" cy="1669144"/>
          </a:xfrm>
          <a:prstGeom prst="rect">
            <a:avLst/>
          </a:prstGeom>
        </p:spPr>
      </p:pic>
      <p:pic>
        <p:nvPicPr>
          <p:cNvPr id="17" name="图片 16" descr="placingpictureplaceholder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/>
          <a:srcRect/>
          <a:stretch>
            <a:fillRect/>
          </a:stretch>
        </p:blipFill>
        <p:spPr>
          <a:xfrm>
            <a:off x="1857909" y="2373880"/>
            <a:ext cx="2530370" cy="3874636"/>
          </a:xfrm>
          <a:prstGeom prst="rect">
            <a:avLst/>
          </a:prstGeom>
        </p:spPr>
      </p:pic>
      <p:pic>
        <p:nvPicPr>
          <p:cNvPr id="18" name="图片 17" descr="placingpictureplaceholder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/>
          <a:srcRect/>
          <a:stretch>
            <a:fillRect/>
          </a:stretch>
        </p:blipFill>
        <p:spPr>
          <a:xfrm>
            <a:off x="4483529" y="609486"/>
            <a:ext cx="3697312" cy="5639029"/>
          </a:xfrm>
          <a:prstGeom prst="rect">
            <a:avLst/>
          </a:prstGeom>
        </p:spPr>
      </p:pic>
      <p:pic>
        <p:nvPicPr>
          <p:cNvPr id="19" name="图片 18" descr="placingpictureplaceholder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/>
          <a:srcRect/>
          <a:stretch>
            <a:fillRect/>
          </a:stretch>
        </p:blipFill>
        <p:spPr>
          <a:xfrm>
            <a:off x="8276091" y="609486"/>
            <a:ext cx="2038066" cy="1338320"/>
          </a:xfrm>
          <a:prstGeom prst="rect">
            <a:avLst/>
          </a:prstGeom>
        </p:spPr>
      </p:pic>
      <p:pic>
        <p:nvPicPr>
          <p:cNvPr id="20" name="图片 19" descr="placingpictureplaceholder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4"/>
          <a:srcRect/>
          <a:stretch>
            <a:fillRect/>
          </a:stretch>
        </p:blipFill>
        <p:spPr>
          <a:xfrm>
            <a:off x="8276091" y="2043056"/>
            <a:ext cx="2038066" cy="1338320"/>
          </a:xfrm>
          <a:prstGeom prst="rect">
            <a:avLst/>
          </a:prstGeom>
        </p:spPr>
      </p:pic>
      <p:pic>
        <p:nvPicPr>
          <p:cNvPr id="21" name="图片 20" descr="placingpictureplaceholder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6"/>
          <a:srcRect/>
          <a:stretch>
            <a:fillRect/>
          </a:stretch>
        </p:blipFill>
        <p:spPr>
          <a:xfrm>
            <a:off x="8276091" y="4910195"/>
            <a:ext cx="2038066" cy="1338320"/>
          </a:xfrm>
          <a:prstGeom prst="rect">
            <a:avLst/>
          </a:prstGeom>
        </p:spPr>
      </p:pic>
      <p:pic>
        <p:nvPicPr>
          <p:cNvPr id="26" name="图片 25" descr="placingpictureplaceholder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18"/>
          <a:srcRect/>
          <a:stretch>
            <a:fillRect/>
          </a:stretch>
        </p:blipFill>
        <p:spPr>
          <a:xfrm>
            <a:off x="8276091" y="3476626"/>
            <a:ext cx="2038066" cy="13383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5385134" y="1620253"/>
            <a:ext cx="5746307" cy="3513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2179999" y="1831763"/>
            <a:ext cx="1287273" cy="10936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图片 2" descr="C:/Users/张箐/Desktop/微信图片_20251203152440_1815_54.jpg微信图片_20251203152440_1815_54"/>
          <p:cNvPicPr>
            <a:picLocks noChangeAspect="1"/>
          </p:cNvPicPr>
          <p:nvPr/>
        </p:nvPicPr>
        <p:blipFill>
          <a:blip r:embed="rId1"/>
          <a:srcRect t="1548"/>
          <a:stretch>
            <a:fillRect/>
          </a:stretch>
        </p:blipFill>
        <p:spPr>
          <a:xfrm>
            <a:off x="5548415" y="1871276"/>
            <a:ext cx="5419184" cy="3145325"/>
          </a:xfrm>
          <a:prstGeom prst="rect">
            <a:avLst/>
          </a:prstGeom>
        </p:spPr>
      </p:pic>
      <p:sp>
        <p:nvSpPr>
          <p:cNvPr id="7" name="任意多边形: 形状 6"/>
          <p:cNvSpPr/>
          <p:nvPr/>
        </p:nvSpPr>
        <p:spPr>
          <a:xfrm>
            <a:off x="5548414" y="1776850"/>
            <a:ext cx="5419185" cy="3198317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5548414" y="2488267"/>
            <a:ext cx="5419184" cy="2785886"/>
          </a:xfrm>
          <a:custGeom>
            <a:avLst/>
            <a:gdLst>
              <a:gd name="connsiteX0" fmla="*/ 0 w 12192001"/>
              <a:gd name="connsiteY0" fmla="*/ 5395165 h 5395166"/>
              <a:gd name="connsiteX1" fmla="*/ 12192001 w 12192001"/>
              <a:gd name="connsiteY1" fmla="*/ 5395165 h 5395166"/>
              <a:gd name="connsiteX2" fmla="*/ 12192001 w 12192001"/>
              <a:gd name="connsiteY2" fmla="*/ 5395166 h 5395166"/>
              <a:gd name="connsiteX3" fmla="*/ 0 w 12192001"/>
              <a:gd name="connsiteY3" fmla="*/ 5395166 h 5395166"/>
              <a:gd name="connsiteX4" fmla="*/ 2310973 w 12192001"/>
              <a:gd name="connsiteY4" fmla="*/ 0 h 5395166"/>
              <a:gd name="connsiteX5" fmla="*/ 5961015 w 12192001"/>
              <a:gd name="connsiteY5" fmla="*/ 1626427 h 5395166"/>
              <a:gd name="connsiteX6" fmla="*/ 12192001 w 12192001"/>
              <a:gd name="connsiteY6" fmla="*/ 4777628 h 5395166"/>
              <a:gd name="connsiteX7" fmla="*/ 12192001 w 12192001"/>
              <a:gd name="connsiteY7" fmla="*/ 4823393 h 5395166"/>
              <a:gd name="connsiteX8" fmla="*/ 5961015 w 12192001"/>
              <a:gd name="connsiteY8" fmla="*/ 1905726 h 5395166"/>
              <a:gd name="connsiteX9" fmla="*/ 2310973 w 12192001"/>
              <a:gd name="connsiteY9" fmla="*/ 399832 h 5395166"/>
              <a:gd name="connsiteX10" fmla="*/ 0 w 12192001"/>
              <a:gd name="connsiteY10" fmla="*/ 1129250 h 5395166"/>
              <a:gd name="connsiteX11" fmla="*/ 0 w 12192001"/>
              <a:gd name="connsiteY11" fmla="*/ 787801 h 5395166"/>
              <a:gd name="connsiteX12" fmla="*/ 2310973 w 12192001"/>
              <a:gd name="connsiteY12" fmla="*/ 0 h 539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1" h="5395166">
                <a:moveTo>
                  <a:pt x="0" y="5395165"/>
                </a:moveTo>
                <a:lnTo>
                  <a:pt x="12192001" y="5395165"/>
                </a:lnTo>
                <a:lnTo>
                  <a:pt x="12192001" y="5395166"/>
                </a:lnTo>
                <a:lnTo>
                  <a:pt x="0" y="5395166"/>
                </a:lnTo>
                <a:close/>
                <a:moveTo>
                  <a:pt x="2310973" y="0"/>
                </a:moveTo>
                <a:cubicBezTo>
                  <a:pt x="3293676" y="0"/>
                  <a:pt x="4546353" y="355781"/>
                  <a:pt x="5961015" y="1626427"/>
                </a:cubicBezTo>
                <a:cubicBezTo>
                  <a:pt x="9438272" y="4752215"/>
                  <a:pt x="12192001" y="4777628"/>
                  <a:pt x="12192001" y="4777628"/>
                </a:cubicBezTo>
                <a:lnTo>
                  <a:pt x="12192001" y="4823393"/>
                </a:lnTo>
                <a:cubicBezTo>
                  <a:pt x="12192001" y="4823393"/>
                  <a:pt x="9438272" y="4799863"/>
                  <a:pt x="5961015" y="1905726"/>
                </a:cubicBezTo>
                <a:cubicBezTo>
                  <a:pt x="4546353" y="729246"/>
                  <a:pt x="3293676" y="399832"/>
                  <a:pt x="2310973" y="399832"/>
                </a:cubicBezTo>
                <a:cubicBezTo>
                  <a:pt x="874714" y="399832"/>
                  <a:pt x="0" y="1129250"/>
                  <a:pt x="0" y="1129250"/>
                </a:cubicBezTo>
                <a:lnTo>
                  <a:pt x="0" y="787801"/>
                </a:lnTo>
                <a:cubicBezTo>
                  <a:pt x="0" y="787801"/>
                  <a:pt x="874714" y="0"/>
                  <a:pt x="2310973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6127093" y="4644564"/>
            <a:ext cx="4387343" cy="744073"/>
            <a:chOff x="318007" y="4755835"/>
            <a:chExt cx="6275053" cy="489254"/>
          </a:xfrm>
        </p:grpSpPr>
        <p:grpSp>
          <p:nvGrpSpPr>
            <p:cNvPr id="13" name="组合 12"/>
            <p:cNvGrpSpPr/>
            <p:nvPr/>
          </p:nvGrpSpPr>
          <p:grpSpPr>
            <a:xfrm>
              <a:off x="318007" y="4755835"/>
              <a:ext cx="6275053" cy="474436"/>
              <a:chOff x="2958474" y="4627033"/>
              <a:chExt cx="6275053" cy="474436"/>
            </a:xfrm>
          </p:grpSpPr>
          <p:sp>
            <p:nvSpPr>
              <p:cNvPr id="15" name="直角三角形 14"/>
              <p:cNvSpPr/>
              <p:nvPr/>
            </p:nvSpPr>
            <p:spPr>
              <a:xfrm flipH="1" flipV="1">
                <a:off x="2958474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6" name="直角三角形 15"/>
              <p:cNvSpPr/>
              <p:nvPr/>
            </p:nvSpPr>
            <p:spPr>
              <a:xfrm flipV="1">
                <a:off x="9013372" y="4871055"/>
                <a:ext cx="220155" cy="230414"/>
              </a:xfrm>
              <a:prstGeom prst="rtTriangle">
                <a:avLst/>
              </a:prstGeom>
              <a:solidFill>
                <a:srgbClr val="2422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3178629" y="4627033"/>
                <a:ext cx="5834743" cy="474436"/>
              </a:xfrm>
              <a:prstGeom prst="rect">
                <a:avLst/>
              </a:prstGeom>
              <a:solidFill>
                <a:srgbClr val="24222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Original Garamond Std Roman" panose="02010600010101010101" charset="-122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530644" y="4755835"/>
              <a:ext cx="5834742" cy="48925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Original Garamond Std Roman" panose="02010600010101010101" charset="-122"/>
              </a:endParaRPr>
            </a:p>
          </p:txBody>
        </p:sp>
      </p:grpSp>
      <p:sp>
        <p:nvSpPr>
          <p:cNvPr id="24" name="任意多边形: 形状 23"/>
          <p:cNvSpPr/>
          <p:nvPr/>
        </p:nvSpPr>
        <p:spPr>
          <a:xfrm>
            <a:off x="0" y="-44535"/>
            <a:ext cx="12192000" cy="387879"/>
          </a:xfrm>
          <a:custGeom>
            <a:avLst/>
            <a:gdLst>
              <a:gd name="connsiteX0" fmla="*/ 0 w 12192000"/>
              <a:gd name="connsiteY0" fmla="*/ 0 h 6240462"/>
              <a:gd name="connsiteX1" fmla="*/ 12192000 w 12192000"/>
              <a:gd name="connsiteY1" fmla="*/ 0 h 6240462"/>
              <a:gd name="connsiteX2" fmla="*/ 12192000 w 12192000"/>
              <a:gd name="connsiteY2" fmla="*/ 6240462 h 6240462"/>
              <a:gd name="connsiteX3" fmla="*/ 5961014 w 12192000"/>
              <a:gd name="connsiteY3" fmla="*/ 3089261 h 6240462"/>
              <a:gd name="connsiteX4" fmla="*/ 2310972 w 12192000"/>
              <a:gd name="connsiteY4" fmla="*/ 1462834 h 6240462"/>
              <a:gd name="connsiteX5" fmla="*/ 10173 w 12192000"/>
              <a:gd name="connsiteY5" fmla="*/ 2241788 h 6240462"/>
              <a:gd name="connsiteX6" fmla="*/ 0 w 12192000"/>
              <a:gd name="connsiteY6" fmla="*/ 2250634 h 624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240462">
                <a:moveTo>
                  <a:pt x="0" y="0"/>
                </a:moveTo>
                <a:lnTo>
                  <a:pt x="12192000" y="0"/>
                </a:lnTo>
                <a:lnTo>
                  <a:pt x="12192000" y="6240462"/>
                </a:lnTo>
                <a:cubicBezTo>
                  <a:pt x="12192000" y="6240462"/>
                  <a:pt x="9438271" y="6215049"/>
                  <a:pt x="5961014" y="3089261"/>
                </a:cubicBezTo>
                <a:cubicBezTo>
                  <a:pt x="4546352" y="1818615"/>
                  <a:pt x="3293675" y="1462834"/>
                  <a:pt x="2310972" y="1462834"/>
                </a:cubicBezTo>
                <a:cubicBezTo>
                  <a:pt x="964479" y="1462834"/>
                  <a:pt x="111532" y="2155237"/>
                  <a:pt x="10173" y="2241788"/>
                </a:cubicBezTo>
                <a:lnTo>
                  <a:pt x="0" y="2250634"/>
                </a:lnTo>
                <a:close/>
              </a:path>
            </a:pathLst>
          </a:custGeom>
          <a:solidFill>
            <a:srgbClr val="036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1597660" y="3185795"/>
            <a:ext cx="3139440" cy="966470"/>
          </a:xfrm>
        </p:spPr>
        <p:txBody>
          <a:bodyPr>
            <a:noAutofit/>
          </a:bodyPr>
          <a:lstStyle/>
          <a:p>
            <a:r>
              <a:rPr lang="zh-CN" altLang="en-US" sz="5500" dirty="0">
                <a:sym typeface="+mn-ea"/>
              </a:rPr>
              <a:t>战略规划</a:t>
            </a:r>
            <a:endParaRPr lang="zh-CN" altLang="en-US" sz="5500" dirty="0"/>
          </a:p>
        </p:txBody>
      </p:sp>
      <p:sp>
        <p:nvSpPr>
          <p:cNvPr id="4" name="文本框 3"/>
          <p:cNvSpPr txBox="1"/>
          <p:nvPr/>
        </p:nvSpPr>
        <p:spPr>
          <a:xfrm>
            <a:off x="6275705" y="4727575"/>
            <a:ext cx="407924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000" b="1" dirty="0">
                <a:solidFill>
                  <a:schemeClr val="bg1"/>
                </a:solidFill>
                <a:latin typeface="Garamond" panose="02020404030301010803" charset="0"/>
                <a:ea typeface="微软雅黑" panose="020B0503020204020204" pitchFamily="34" charset="-122"/>
                <a:cs typeface="Garamond" panose="02020404030301010803" charset="0"/>
              </a:rPr>
              <a:t>打造全产业链的中国饮料服务平台</a:t>
            </a:r>
            <a:endParaRPr lang="zh-CN" altLang="en-US" sz="2000" b="1" dirty="0">
              <a:solidFill>
                <a:schemeClr val="bg1"/>
              </a:solidFill>
              <a:latin typeface="Garamond" panose="02020404030301010803" charset="0"/>
              <a:ea typeface="微软雅黑" panose="020B0503020204020204" pitchFamily="34" charset="-122"/>
              <a:cs typeface="Garamond" panose="02020404030301010803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9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市场前景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6" name="图片 5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pic>
        <p:nvPicPr>
          <p:cNvPr id="7" name="Image 0" descr="preencode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76090" y="1685290"/>
            <a:ext cx="1555750" cy="1556385"/>
          </a:xfrm>
          <a:prstGeom prst="rect">
            <a:avLst/>
          </a:prstGeom>
        </p:spPr>
      </p:pic>
      <p:pic>
        <p:nvPicPr>
          <p:cNvPr id="8" name="Image 1" descr="preencoded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6291580" y="1685290"/>
            <a:ext cx="1556385" cy="1555750"/>
          </a:xfrm>
          <a:prstGeom prst="rect">
            <a:avLst/>
          </a:prstGeom>
        </p:spPr>
      </p:pic>
      <p:pic>
        <p:nvPicPr>
          <p:cNvPr id="9" name="Image 2" descr="preencoded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4276090" y="3573145"/>
            <a:ext cx="1556385" cy="1555750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6291580" y="3573145"/>
            <a:ext cx="1555750" cy="1556385"/>
          </a:xfrm>
          <a:prstGeom prst="rect">
            <a:avLst/>
          </a:prstGeom>
        </p:spPr>
      </p:pic>
      <p:pic>
        <p:nvPicPr>
          <p:cNvPr id="11" name="Image 4" descr="preencoded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34255" y="2244090"/>
            <a:ext cx="439420" cy="439420"/>
          </a:xfrm>
          <a:prstGeom prst="rect">
            <a:avLst/>
          </a:prstGeom>
        </p:spPr>
      </p:pic>
      <p:pic>
        <p:nvPicPr>
          <p:cNvPr id="12" name="Image 5" descr="preencoded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30695" y="2225040"/>
            <a:ext cx="476885" cy="476885"/>
          </a:xfrm>
          <a:prstGeom prst="rect">
            <a:avLst/>
          </a:prstGeom>
        </p:spPr>
      </p:pic>
      <p:pic>
        <p:nvPicPr>
          <p:cNvPr id="13" name="Image 6" descr="preencoded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840605" y="4107180"/>
            <a:ext cx="426720" cy="426720"/>
          </a:xfrm>
          <a:prstGeom prst="rect">
            <a:avLst/>
          </a:prstGeom>
        </p:spPr>
      </p:pic>
      <p:pic>
        <p:nvPicPr>
          <p:cNvPr id="15" name="Image 7" descr="preencoded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925310" y="4107180"/>
            <a:ext cx="489585" cy="489585"/>
          </a:xfrm>
          <a:prstGeom prst="rect">
            <a:avLst/>
          </a:prstGeom>
        </p:spPr>
      </p:pic>
      <p:sp>
        <p:nvSpPr>
          <p:cNvPr id="16" name="Text 5"/>
          <p:cNvSpPr txBox="1"/>
          <p:nvPr>
            <p:custDataLst>
              <p:tags r:id="rId23"/>
            </p:custDataLst>
          </p:nvPr>
        </p:nvSpPr>
        <p:spPr>
          <a:xfrm>
            <a:off x="645795" y="1444625"/>
            <a:ext cx="3771900" cy="27686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buNone/>
            </a:pPr>
            <a:r>
              <a:rPr lang="zh-CN" altLang="en-US" b="1" noProof="1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国内外食品饮料包装呈稳定增长态势</a:t>
            </a:r>
            <a:endParaRPr lang="zh-CN" altLang="en-US" b="1" noProof="1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17" name="Text 6"/>
          <p:cNvSpPr txBox="1"/>
          <p:nvPr>
            <p:custDataLst>
              <p:tags r:id="rId24"/>
            </p:custDataLst>
          </p:nvPr>
        </p:nvSpPr>
        <p:spPr>
          <a:xfrm>
            <a:off x="600710" y="2051685"/>
            <a:ext cx="3294380" cy="10769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buNone/>
            </a:pP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随着国民经济的发展和人民生活水平的日益提高，我国饮料工业发展迅猛，特别是饮料品种，已经由上个世纪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70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年代以前单一的玻璃瓶装汽水，发展到今天碳酸饮料、能量饮料、天然饮料百花争艳的局面。</a:t>
            </a:r>
            <a:endParaRPr lang="zh-CN" altLang="en-US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18" name="Text 7"/>
          <p:cNvSpPr txBox="1"/>
          <p:nvPr>
            <p:custDataLst>
              <p:tags r:id="rId25"/>
            </p:custDataLst>
          </p:nvPr>
        </p:nvSpPr>
        <p:spPr>
          <a:xfrm>
            <a:off x="616585" y="4126548"/>
            <a:ext cx="3278505" cy="27686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buNone/>
            </a:pPr>
            <a:r>
              <a:rPr lang="zh-CN" altLang="en-US" b="1" noProof="1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产业链整合，全球化布局</a:t>
            </a:r>
            <a:endParaRPr lang="zh-CN" altLang="en-US" b="1" noProof="1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19" name="Text 8"/>
          <p:cNvSpPr txBox="1"/>
          <p:nvPr>
            <p:custDataLst>
              <p:tags r:id="rId26"/>
            </p:custDataLst>
          </p:nvPr>
        </p:nvSpPr>
        <p:spPr>
          <a:xfrm>
            <a:off x="640080" y="4783455"/>
            <a:ext cx="3255645" cy="8616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buNone/>
            </a:pP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饮料灌装机生产及消费主要集中在东部沿海经济发达地区，如广东、浙江、江苏等地，这些地区饮料生产企业集中，对灌装业务需求增大。</a:t>
            </a:r>
            <a:endParaRPr lang="zh-CN" altLang="en-US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20" name="Text 9"/>
          <p:cNvSpPr txBox="1"/>
          <p:nvPr>
            <p:custDataLst>
              <p:tags r:id="rId27"/>
            </p:custDataLst>
          </p:nvPr>
        </p:nvSpPr>
        <p:spPr>
          <a:xfrm>
            <a:off x="8359775" y="1444308"/>
            <a:ext cx="3247390" cy="27686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buNone/>
            </a:pPr>
            <a:r>
              <a:rPr lang="zh-CN" altLang="en-US" b="1" noProof="1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包装是产品开拓市场的利刃</a:t>
            </a:r>
            <a:endParaRPr lang="zh-CN" altLang="en-US" b="1" noProof="1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33" name="Text 10"/>
          <p:cNvSpPr txBox="1"/>
          <p:nvPr>
            <p:custDataLst>
              <p:tags r:id="rId28"/>
            </p:custDataLst>
          </p:nvPr>
        </p:nvSpPr>
        <p:spPr>
          <a:xfrm>
            <a:off x="8359775" y="2051685"/>
            <a:ext cx="3294380" cy="10769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buNone/>
            </a:pP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我国饮料包装按使用材料分，主要有聚酯瓶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(PET)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、金属易拉罐、纸塑复合材料包装、玻璃瓶等包装形式，成为我国目前饮料包装市场上的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“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四大家族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”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，同时加速全球化布局，抢占中东、东南亚市场。</a:t>
            </a:r>
            <a:endParaRPr lang="zh-CN" altLang="en-US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45" name="Text 11"/>
          <p:cNvSpPr txBox="1"/>
          <p:nvPr>
            <p:custDataLst>
              <p:tags r:id="rId29"/>
            </p:custDataLst>
          </p:nvPr>
        </p:nvSpPr>
        <p:spPr>
          <a:xfrm>
            <a:off x="8359775" y="4126865"/>
            <a:ext cx="3446780" cy="27686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buNone/>
            </a:pPr>
            <a:r>
              <a:rPr lang="zh-CN" altLang="en-US" b="1" noProof="1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大型企业具有全品类灌装规模优势</a:t>
            </a:r>
            <a:endParaRPr lang="zh-CN" altLang="en-US" b="1" noProof="1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48" name="Text 12"/>
          <p:cNvSpPr txBox="1"/>
          <p:nvPr>
            <p:custDataLst>
              <p:tags r:id="rId30"/>
            </p:custDataLst>
          </p:nvPr>
        </p:nvSpPr>
        <p:spPr>
          <a:xfrm>
            <a:off x="8367395" y="4783455"/>
            <a:ext cx="3255645" cy="12922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buNone/>
            </a:pP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随着消费者对于饮料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“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自然、健康</a:t>
            </a:r>
            <a:r>
              <a:rPr lang="en-US" altLang="zh-CN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”</a:t>
            </a:r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需求的愈发强烈，碳酸饮料、高糖果汁茶饮等品类在市场上已经面临衰退，而各种减糖、无糖、无酒精饮料等新饮料品类则备受消费者欢迎，且增长势头强劲。我司拥有国内第一饮料灌装产能产线，品类全覆盖。</a:t>
            </a:r>
            <a:endParaRPr lang="zh-CN" altLang="en-US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>
            <p:custDataLst>
              <p:tags r:id="rId1"/>
            </p:custDataLst>
          </p:nvPr>
        </p:nvSpPr>
        <p:spPr>
          <a:xfrm>
            <a:off x="2231178" y="6188555"/>
            <a:ext cx="8934503" cy="391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全国布局的生产线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;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齐备的产品线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;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完善的包装设计服务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;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配套的灌装生产线。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54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43159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行业竞争力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8" name="íṣlïḋê"/>
          <p:cNvGrpSpPr/>
          <p:nvPr>
            <p:custDataLst>
              <p:tags r:id="rId2"/>
            </p:custDataLst>
          </p:nvPr>
        </p:nvGrpSpPr>
        <p:grpSpPr>
          <a:xfrm>
            <a:off x="19050" y="920115"/>
            <a:ext cx="2823845" cy="4283710"/>
            <a:chOff x="2202632" y="1099878"/>
            <a:chExt cx="2237966" cy="3394970"/>
          </a:xfrm>
          <a:solidFill>
            <a:schemeClr val="bg1">
              <a:lumMod val="75000"/>
            </a:schemeClr>
          </a:solidFill>
        </p:grpSpPr>
        <p:sp>
          <p:nvSpPr>
            <p:cNvPr id="97" name="î$ľïḍe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2897976" y="2815254"/>
              <a:ext cx="26616" cy="24939"/>
            </a:xfrm>
            <a:custGeom>
              <a:avLst/>
              <a:gdLst>
                <a:gd name="T0" fmla="*/ 12 w 12"/>
                <a:gd name="T1" fmla="*/ 7 h 12"/>
                <a:gd name="T2" fmla="*/ 11 w 12"/>
                <a:gd name="T3" fmla="*/ 6 h 12"/>
                <a:gd name="T4" fmla="*/ 11 w 12"/>
                <a:gd name="T5" fmla="*/ 5 h 12"/>
                <a:gd name="T6" fmla="*/ 12 w 12"/>
                <a:gd name="T7" fmla="*/ 5 h 12"/>
                <a:gd name="T8" fmla="*/ 12 w 12"/>
                <a:gd name="T9" fmla="*/ 4 h 12"/>
                <a:gd name="T10" fmla="*/ 12 w 12"/>
                <a:gd name="T11" fmla="*/ 3 h 12"/>
                <a:gd name="T12" fmla="*/ 10 w 12"/>
                <a:gd name="T13" fmla="*/ 2 h 12"/>
                <a:gd name="T14" fmla="*/ 10 w 12"/>
                <a:gd name="T15" fmla="*/ 3 h 12"/>
                <a:gd name="T16" fmla="*/ 9 w 12"/>
                <a:gd name="T17" fmla="*/ 2 h 12"/>
                <a:gd name="T18" fmla="*/ 9 w 12"/>
                <a:gd name="T19" fmla="*/ 1 h 12"/>
                <a:gd name="T20" fmla="*/ 9 w 12"/>
                <a:gd name="T21" fmla="*/ 0 h 12"/>
                <a:gd name="T22" fmla="*/ 8 w 12"/>
                <a:gd name="T23" fmla="*/ 0 h 12"/>
                <a:gd name="T24" fmla="*/ 7 w 12"/>
                <a:gd name="T25" fmla="*/ 0 h 12"/>
                <a:gd name="T26" fmla="*/ 6 w 12"/>
                <a:gd name="T27" fmla="*/ 1 h 12"/>
                <a:gd name="T28" fmla="*/ 5 w 12"/>
                <a:gd name="T29" fmla="*/ 1 h 12"/>
                <a:gd name="T30" fmla="*/ 5 w 12"/>
                <a:gd name="T31" fmla="*/ 0 h 12"/>
                <a:gd name="T32" fmla="*/ 4 w 12"/>
                <a:gd name="T33" fmla="*/ 0 h 12"/>
                <a:gd name="T34" fmla="*/ 3 w 12"/>
                <a:gd name="T35" fmla="*/ 0 h 12"/>
                <a:gd name="T36" fmla="*/ 3 w 12"/>
                <a:gd name="T37" fmla="*/ 1 h 12"/>
                <a:gd name="T38" fmla="*/ 3 w 12"/>
                <a:gd name="T39" fmla="*/ 2 h 12"/>
                <a:gd name="T40" fmla="*/ 2 w 12"/>
                <a:gd name="T41" fmla="*/ 3 h 12"/>
                <a:gd name="T42" fmla="*/ 2 w 12"/>
                <a:gd name="T43" fmla="*/ 3 h 12"/>
                <a:gd name="T44" fmla="*/ 0 w 12"/>
                <a:gd name="T45" fmla="*/ 3 h 12"/>
                <a:gd name="T46" fmla="*/ 0 w 12"/>
                <a:gd name="T47" fmla="*/ 4 h 12"/>
                <a:gd name="T48" fmla="*/ 1 w 12"/>
                <a:gd name="T49" fmla="*/ 5 h 12"/>
                <a:gd name="T50" fmla="*/ 1 w 12"/>
                <a:gd name="T51" fmla="*/ 5 h 12"/>
                <a:gd name="T52" fmla="*/ 1 w 12"/>
                <a:gd name="T53" fmla="*/ 6 h 12"/>
                <a:gd name="T54" fmla="*/ 1 w 12"/>
                <a:gd name="T55" fmla="*/ 7 h 12"/>
                <a:gd name="T56" fmla="*/ 0 w 12"/>
                <a:gd name="T57" fmla="*/ 8 h 12"/>
                <a:gd name="T58" fmla="*/ 1 w 12"/>
                <a:gd name="T59" fmla="*/ 9 h 12"/>
                <a:gd name="T60" fmla="*/ 2 w 12"/>
                <a:gd name="T61" fmla="*/ 9 h 12"/>
                <a:gd name="T62" fmla="*/ 2 w 12"/>
                <a:gd name="T63" fmla="*/ 9 h 12"/>
                <a:gd name="T64" fmla="*/ 3 w 12"/>
                <a:gd name="T65" fmla="*/ 10 h 12"/>
                <a:gd name="T66" fmla="*/ 3 w 12"/>
                <a:gd name="T67" fmla="*/ 10 h 12"/>
                <a:gd name="T68" fmla="*/ 3 w 12"/>
                <a:gd name="T69" fmla="*/ 11 h 12"/>
                <a:gd name="T70" fmla="*/ 4 w 12"/>
                <a:gd name="T71" fmla="*/ 12 h 12"/>
                <a:gd name="T72" fmla="*/ 5 w 12"/>
                <a:gd name="T73" fmla="*/ 11 h 12"/>
                <a:gd name="T74" fmla="*/ 6 w 12"/>
                <a:gd name="T75" fmla="*/ 11 h 12"/>
                <a:gd name="T76" fmla="*/ 7 w 12"/>
                <a:gd name="T77" fmla="*/ 11 h 12"/>
                <a:gd name="T78" fmla="*/ 7 w 12"/>
                <a:gd name="T79" fmla="*/ 11 h 12"/>
                <a:gd name="T80" fmla="*/ 8 w 12"/>
                <a:gd name="T81" fmla="*/ 12 h 12"/>
                <a:gd name="T82" fmla="*/ 9 w 12"/>
                <a:gd name="T83" fmla="*/ 11 h 12"/>
                <a:gd name="T84" fmla="*/ 9 w 12"/>
                <a:gd name="T85" fmla="*/ 10 h 12"/>
                <a:gd name="T86" fmla="*/ 9 w 12"/>
                <a:gd name="T87" fmla="*/ 9 h 12"/>
                <a:gd name="T88" fmla="*/ 10 w 12"/>
                <a:gd name="T89" fmla="*/ 9 h 12"/>
                <a:gd name="T90" fmla="*/ 11 w 12"/>
                <a:gd name="T91" fmla="*/ 9 h 12"/>
                <a:gd name="T92" fmla="*/ 12 w 12"/>
                <a:gd name="T93" fmla="*/ 9 h 12"/>
                <a:gd name="T94" fmla="*/ 12 w 12"/>
                <a:gd name="T95" fmla="*/ 8 h 12"/>
                <a:gd name="T96" fmla="*/ 12 w 12"/>
                <a:gd name="T97" fmla="*/ 7 h 12"/>
                <a:gd name="T98" fmla="*/ 7 w 12"/>
                <a:gd name="T99" fmla="*/ 8 h 12"/>
                <a:gd name="T100" fmla="*/ 4 w 12"/>
                <a:gd name="T101" fmla="*/ 7 h 12"/>
                <a:gd name="T102" fmla="*/ 5 w 12"/>
                <a:gd name="T103" fmla="*/ 4 h 12"/>
                <a:gd name="T104" fmla="*/ 8 w 12"/>
                <a:gd name="T105" fmla="*/ 5 h 12"/>
                <a:gd name="T106" fmla="*/ 7 w 12"/>
                <a:gd name="T10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2">
                  <a:moveTo>
                    <a:pt x="12" y="7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10" y="11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2" y="7"/>
                    <a:pt x="12" y="7"/>
                  </a:cubicBezTo>
                  <a:close/>
                  <a:moveTo>
                    <a:pt x="7" y="8"/>
                  </a:moveTo>
                  <a:cubicBezTo>
                    <a:pt x="6" y="9"/>
                    <a:pt x="4" y="8"/>
                    <a:pt x="4" y="7"/>
                  </a:cubicBezTo>
                  <a:cubicBezTo>
                    <a:pt x="3" y="6"/>
                    <a:pt x="4" y="4"/>
                    <a:pt x="5" y="4"/>
                  </a:cubicBezTo>
                  <a:cubicBezTo>
                    <a:pt x="6" y="3"/>
                    <a:pt x="8" y="4"/>
                    <a:pt x="8" y="5"/>
                  </a:cubicBezTo>
                  <a:cubicBezTo>
                    <a:pt x="9" y="6"/>
                    <a:pt x="8" y="8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98" name="îṧlíḑe"/>
            <p:cNvSpPr/>
            <p:nvPr>
              <p:custDataLst>
                <p:tags r:id="rId4"/>
              </p:custDataLst>
            </p:nvPr>
          </p:nvSpPr>
          <p:spPr bwMode="auto">
            <a:xfrm flipH="1">
              <a:off x="2865815" y="2662367"/>
              <a:ext cx="25507" cy="2602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6 h 12"/>
                <a:gd name="T4" fmla="*/ 11 w 12"/>
                <a:gd name="T5" fmla="*/ 5 h 12"/>
                <a:gd name="T6" fmla="*/ 12 w 12"/>
                <a:gd name="T7" fmla="*/ 5 h 12"/>
                <a:gd name="T8" fmla="*/ 12 w 12"/>
                <a:gd name="T9" fmla="*/ 4 h 12"/>
                <a:gd name="T10" fmla="*/ 12 w 12"/>
                <a:gd name="T11" fmla="*/ 3 h 12"/>
                <a:gd name="T12" fmla="*/ 10 w 12"/>
                <a:gd name="T13" fmla="*/ 2 h 12"/>
                <a:gd name="T14" fmla="*/ 10 w 12"/>
                <a:gd name="T15" fmla="*/ 3 h 12"/>
                <a:gd name="T16" fmla="*/ 9 w 12"/>
                <a:gd name="T17" fmla="*/ 2 h 12"/>
                <a:gd name="T18" fmla="*/ 9 w 12"/>
                <a:gd name="T19" fmla="*/ 1 h 12"/>
                <a:gd name="T20" fmla="*/ 9 w 12"/>
                <a:gd name="T21" fmla="*/ 0 h 12"/>
                <a:gd name="T22" fmla="*/ 8 w 12"/>
                <a:gd name="T23" fmla="*/ 0 h 12"/>
                <a:gd name="T24" fmla="*/ 7 w 12"/>
                <a:gd name="T25" fmla="*/ 0 h 12"/>
                <a:gd name="T26" fmla="*/ 6 w 12"/>
                <a:gd name="T27" fmla="*/ 1 h 12"/>
                <a:gd name="T28" fmla="*/ 6 w 12"/>
                <a:gd name="T29" fmla="*/ 1 h 12"/>
                <a:gd name="T30" fmla="*/ 5 w 12"/>
                <a:gd name="T31" fmla="*/ 0 h 12"/>
                <a:gd name="T32" fmla="*/ 4 w 12"/>
                <a:gd name="T33" fmla="*/ 0 h 12"/>
                <a:gd name="T34" fmla="*/ 3 w 12"/>
                <a:gd name="T35" fmla="*/ 0 h 12"/>
                <a:gd name="T36" fmla="*/ 3 w 12"/>
                <a:gd name="T37" fmla="*/ 1 h 12"/>
                <a:gd name="T38" fmla="*/ 3 w 12"/>
                <a:gd name="T39" fmla="*/ 2 h 12"/>
                <a:gd name="T40" fmla="*/ 2 w 12"/>
                <a:gd name="T41" fmla="*/ 3 h 12"/>
                <a:gd name="T42" fmla="*/ 2 w 12"/>
                <a:gd name="T43" fmla="*/ 3 h 12"/>
                <a:gd name="T44" fmla="*/ 0 w 12"/>
                <a:gd name="T45" fmla="*/ 3 h 12"/>
                <a:gd name="T46" fmla="*/ 0 w 12"/>
                <a:gd name="T47" fmla="*/ 4 h 12"/>
                <a:gd name="T48" fmla="*/ 1 w 12"/>
                <a:gd name="T49" fmla="*/ 5 h 12"/>
                <a:gd name="T50" fmla="*/ 1 w 12"/>
                <a:gd name="T51" fmla="*/ 5 h 12"/>
                <a:gd name="T52" fmla="*/ 1 w 12"/>
                <a:gd name="T53" fmla="*/ 6 h 12"/>
                <a:gd name="T54" fmla="*/ 1 w 12"/>
                <a:gd name="T55" fmla="*/ 7 h 12"/>
                <a:gd name="T56" fmla="*/ 0 w 12"/>
                <a:gd name="T57" fmla="*/ 8 h 12"/>
                <a:gd name="T58" fmla="*/ 1 w 12"/>
                <a:gd name="T59" fmla="*/ 9 h 12"/>
                <a:gd name="T60" fmla="*/ 2 w 12"/>
                <a:gd name="T61" fmla="*/ 9 h 12"/>
                <a:gd name="T62" fmla="*/ 2 w 12"/>
                <a:gd name="T63" fmla="*/ 9 h 12"/>
                <a:gd name="T64" fmla="*/ 3 w 12"/>
                <a:gd name="T65" fmla="*/ 10 h 12"/>
                <a:gd name="T66" fmla="*/ 3 w 12"/>
                <a:gd name="T67" fmla="*/ 10 h 12"/>
                <a:gd name="T68" fmla="*/ 3 w 12"/>
                <a:gd name="T69" fmla="*/ 11 h 12"/>
                <a:gd name="T70" fmla="*/ 4 w 12"/>
                <a:gd name="T71" fmla="*/ 12 h 12"/>
                <a:gd name="T72" fmla="*/ 5 w 12"/>
                <a:gd name="T73" fmla="*/ 11 h 12"/>
                <a:gd name="T74" fmla="*/ 6 w 12"/>
                <a:gd name="T75" fmla="*/ 11 h 12"/>
                <a:gd name="T76" fmla="*/ 7 w 12"/>
                <a:gd name="T77" fmla="*/ 11 h 12"/>
                <a:gd name="T78" fmla="*/ 7 w 12"/>
                <a:gd name="T79" fmla="*/ 11 h 12"/>
                <a:gd name="T80" fmla="*/ 8 w 12"/>
                <a:gd name="T81" fmla="*/ 12 h 12"/>
                <a:gd name="T82" fmla="*/ 9 w 12"/>
                <a:gd name="T83" fmla="*/ 11 h 12"/>
                <a:gd name="T84" fmla="*/ 9 w 12"/>
                <a:gd name="T85" fmla="*/ 10 h 12"/>
                <a:gd name="T86" fmla="*/ 9 w 12"/>
                <a:gd name="T87" fmla="*/ 9 h 12"/>
                <a:gd name="T88" fmla="*/ 10 w 12"/>
                <a:gd name="T89" fmla="*/ 9 h 12"/>
                <a:gd name="T90" fmla="*/ 11 w 12"/>
                <a:gd name="T91" fmla="*/ 9 h 12"/>
                <a:gd name="T92" fmla="*/ 12 w 12"/>
                <a:gd name="T93" fmla="*/ 9 h 12"/>
                <a:gd name="T94" fmla="*/ 12 w 12"/>
                <a:gd name="T95" fmla="*/ 8 h 12"/>
                <a:gd name="T96" fmla="*/ 12 w 12"/>
                <a:gd name="T97" fmla="*/ 6 h 12"/>
                <a:gd name="T98" fmla="*/ 7 w 12"/>
                <a:gd name="T99" fmla="*/ 8 h 12"/>
                <a:gd name="T100" fmla="*/ 4 w 12"/>
                <a:gd name="T101" fmla="*/ 7 h 12"/>
                <a:gd name="T102" fmla="*/ 5 w 12"/>
                <a:gd name="T103" fmla="*/ 4 h 12"/>
                <a:gd name="T104" fmla="*/ 8 w 12"/>
                <a:gd name="T105" fmla="*/ 5 h 12"/>
                <a:gd name="T106" fmla="*/ 7 w 12"/>
                <a:gd name="T10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10" y="11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2" y="7"/>
                    <a:pt x="12" y="6"/>
                  </a:cubicBezTo>
                  <a:close/>
                  <a:moveTo>
                    <a:pt x="7" y="8"/>
                  </a:moveTo>
                  <a:cubicBezTo>
                    <a:pt x="6" y="9"/>
                    <a:pt x="4" y="8"/>
                    <a:pt x="4" y="7"/>
                  </a:cubicBezTo>
                  <a:cubicBezTo>
                    <a:pt x="3" y="6"/>
                    <a:pt x="4" y="4"/>
                    <a:pt x="5" y="4"/>
                  </a:cubicBezTo>
                  <a:cubicBezTo>
                    <a:pt x="6" y="3"/>
                    <a:pt x="8" y="4"/>
                    <a:pt x="8" y="5"/>
                  </a:cubicBezTo>
                  <a:cubicBezTo>
                    <a:pt x="9" y="6"/>
                    <a:pt x="8" y="7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99" name="íŝḷiḑé"/>
            <p:cNvSpPr/>
            <p:nvPr>
              <p:custDataLst>
                <p:tags r:id="rId5"/>
              </p:custDataLst>
            </p:nvPr>
          </p:nvSpPr>
          <p:spPr bwMode="auto">
            <a:xfrm flipH="1">
              <a:off x="3551178" y="1479386"/>
              <a:ext cx="15526" cy="23855"/>
            </a:xfrm>
            <a:custGeom>
              <a:avLst/>
              <a:gdLst>
                <a:gd name="T0" fmla="*/ 0 w 7"/>
                <a:gd name="T1" fmla="*/ 4 h 11"/>
                <a:gd name="T2" fmla="*/ 1 w 7"/>
                <a:gd name="T3" fmla="*/ 5 h 11"/>
                <a:gd name="T4" fmla="*/ 0 w 7"/>
                <a:gd name="T5" fmla="*/ 7 h 11"/>
                <a:gd name="T6" fmla="*/ 5 w 7"/>
                <a:gd name="T7" fmla="*/ 11 h 11"/>
                <a:gd name="T8" fmla="*/ 7 w 7"/>
                <a:gd name="T9" fmla="*/ 5 h 11"/>
                <a:gd name="T10" fmla="*/ 5 w 7"/>
                <a:gd name="T11" fmla="*/ 0 h 11"/>
                <a:gd name="T12" fmla="*/ 0 w 7"/>
                <a:gd name="T13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0" y="4"/>
                  </a:moveTo>
                  <a:cubicBezTo>
                    <a:pt x="0" y="5"/>
                    <a:pt x="1" y="5"/>
                    <a:pt x="1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0"/>
                    <a:pt x="7" y="8"/>
                    <a:pt x="7" y="5"/>
                  </a:cubicBezTo>
                  <a:cubicBezTo>
                    <a:pt x="7" y="3"/>
                    <a:pt x="6" y="1"/>
                    <a:pt x="5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0" name="iṥļide"/>
            <p:cNvSpPr/>
            <p:nvPr>
              <p:custDataLst>
                <p:tags r:id="rId6"/>
              </p:custDataLst>
            </p:nvPr>
          </p:nvSpPr>
          <p:spPr bwMode="auto">
            <a:xfrm flipH="1">
              <a:off x="3560050" y="1470712"/>
              <a:ext cx="23289" cy="15180"/>
            </a:xfrm>
            <a:custGeom>
              <a:avLst/>
              <a:gdLst>
                <a:gd name="T0" fmla="*/ 5 w 11"/>
                <a:gd name="T1" fmla="*/ 6 h 7"/>
                <a:gd name="T2" fmla="*/ 7 w 11"/>
                <a:gd name="T3" fmla="*/ 7 h 7"/>
                <a:gd name="T4" fmla="*/ 11 w 11"/>
                <a:gd name="T5" fmla="*/ 2 h 7"/>
                <a:gd name="T6" fmla="*/ 5 w 11"/>
                <a:gd name="T7" fmla="*/ 0 h 7"/>
                <a:gd name="T8" fmla="*/ 0 w 11"/>
                <a:gd name="T9" fmla="*/ 2 h 7"/>
                <a:gd name="T10" fmla="*/ 4 w 11"/>
                <a:gd name="T11" fmla="*/ 7 h 7"/>
                <a:gd name="T12" fmla="*/ 5 w 11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">
                  <a:moveTo>
                    <a:pt x="5" y="6"/>
                  </a:moveTo>
                  <a:cubicBezTo>
                    <a:pt x="6" y="6"/>
                    <a:pt x="6" y="6"/>
                    <a:pt x="7" y="7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5" y="6"/>
                    <a:pt x="5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1" name="iŝḷiḑé"/>
            <p:cNvSpPr/>
            <p:nvPr>
              <p:custDataLst>
                <p:tags r:id="rId7"/>
              </p:custDataLst>
            </p:nvPr>
          </p:nvSpPr>
          <p:spPr bwMode="auto">
            <a:xfrm flipH="1">
              <a:off x="3576685" y="1479386"/>
              <a:ext cx="15526" cy="23855"/>
            </a:xfrm>
            <a:custGeom>
              <a:avLst/>
              <a:gdLst>
                <a:gd name="T0" fmla="*/ 6 w 7"/>
                <a:gd name="T1" fmla="*/ 6 h 11"/>
                <a:gd name="T2" fmla="*/ 7 w 7"/>
                <a:gd name="T3" fmla="*/ 4 h 11"/>
                <a:gd name="T4" fmla="*/ 2 w 7"/>
                <a:gd name="T5" fmla="*/ 0 h 11"/>
                <a:gd name="T6" fmla="*/ 0 w 7"/>
                <a:gd name="T7" fmla="*/ 6 h 11"/>
                <a:gd name="T8" fmla="*/ 2 w 7"/>
                <a:gd name="T9" fmla="*/ 11 h 11"/>
                <a:gd name="T10" fmla="*/ 7 w 7"/>
                <a:gd name="T11" fmla="*/ 7 h 11"/>
                <a:gd name="T12" fmla="*/ 6 w 7"/>
                <a:gd name="T13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6" y="6"/>
                  </a:moveTo>
                  <a:cubicBezTo>
                    <a:pt x="6" y="5"/>
                    <a:pt x="6" y="5"/>
                    <a:pt x="7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0" y="3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6"/>
                    <a:pt x="6" y="6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2" name="íş1ïḍé"/>
            <p:cNvSpPr/>
            <p:nvPr>
              <p:custDataLst>
                <p:tags r:id="rId8"/>
              </p:custDataLst>
            </p:nvPr>
          </p:nvSpPr>
          <p:spPr bwMode="auto">
            <a:xfrm flipH="1">
              <a:off x="3560050" y="1496735"/>
              <a:ext cx="23289" cy="14096"/>
            </a:xfrm>
            <a:custGeom>
              <a:avLst/>
              <a:gdLst>
                <a:gd name="T0" fmla="*/ 5 w 11"/>
                <a:gd name="T1" fmla="*/ 1 h 7"/>
                <a:gd name="T2" fmla="*/ 4 w 11"/>
                <a:gd name="T3" fmla="*/ 0 h 7"/>
                <a:gd name="T4" fmla="*/ 0 w 11"/>
                <a:gd name="T5" fmla="*/ 5 h 7"/>
                <a:gd name="T6" fmla="*/ 5 w 11"/>
                <a:gd name="T7" fmla="*/ 7 h 7"/>
                <a:gd name="T8" fmla="*/ 11 w 11"/>
                <a:gd name="T9" fmla="*/ 5 h 7"/>
                <a:gd name="T10" fmla="*/ 7 w 11"/>
                <a:gd name="T11" fmla="*/ 0 h 7"/>
                <a:gd name="T12" fmla="*/ 5 w 11"/>
                <a:gd name="T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">
                  <a:moveTo>
                    <a:pt x="5" y="1"/>
                  </a:moveTo>
                  <a:cubicBezTo>
                    <a:pt x="5" y="1"/>
                    <a:pt x="5" y="1"/>
                    <a:pt x="4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3" y="7"/>
                    <a:pt x="5" y="7"/>
                  </a:cubicBezTo>
                  <a:cubicBezTo>
                    <a:pt x="8" y="7"/>
                    <a:pt x="10" y="6"/>
                    <a:pt x="11" y="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3" name="íṥḻiďê"/>
            <p:cNvSpPr/>
            <p:nvPr>
              <p:custDataLst>
                <p:tags r:id="rId9"/>
              </p:custDataLst>
            </p:nvPr>
          </p:nvSpPr>
          <p:spPr bwMode="auto">
            <a:xfrm flipH="1">
              <a:off x="3516799" y="1443604"/>
              <a:ext cx="93156" cy="101925"/>
            </a:xfrm>
            <a:custGeom>
              <a:avLst/>
              <a:gdLst>
                <a:gd name="T0" fmla="*/ 43 w 43"/>
                <a:gd name="T1" fmla="*/ 34 h 48"/>
                <a:gd name="T2" fmla="*/ 43 w 43"/>
                <a:gd name="T3" fmla="*/ 32 h 48"/>
                <a:gd name="T4" fmla="*/ 42 w 43"/>
                <a:gd name="T5" fmla="*/ 8 h 48"/>
                <a:gd name="T6" fmla="*/ 34 w 43"/>
                <a:gd name="T7" fmla="*/ 0 h 48"/>
                <a:gd name="T8" fmla="*/ 8 w 43"/>
                <a:gd name="T9" fmla="*/ 0 h 48"/>
                <a:gd name="T10" fmla="*/ 0 w 43"/>
                <a:gd name="T11" fmla="*/ 9 h 48"/>
                <a:gd name="T12" fmla="*/ 0 w 43"/>
                <a:gd name="T13" fmla="*/ 31 h 48"/>
                <a:gd name="T14" fmla="*/ 0 w 43"/>
                <a:gd name="T15" fmla="*/ 35 h 48"/>
                <a:gd name="T16" fmla="*/ 0 w 43"/>
                <a:gd name="T17" fmla="*/ 46 h 48"/>
                <a:gd name="T18" fmla="*/ 2 w 43"/>
                <a:gd name="T19" fmla="*/ 48 h 48"/>
                <a:gd name="T20" fmla="*/ 9 w 43"/>
                <a:gd name="T21" fmla="*/ 48 h 48"/>
                <a:gd name="T22" fmla="*/ 11 w 43"/>
                <a:gd name="T23" fmla="*/ 46 h 48"/>
                <a:gd name="T24" fmla="*/ 11 w 43"/>
                <a:gd name="T25" fmla="*/ 45 h 48"/>
                <a:gd name="T26" fmla="*/ 32 w 43"/>
                <a:gd name="T27" fmla="*/ 44 h 48"/>
                <a:gd name="T28" fmla="*/ 32 w 43"/>
                <a:gd name="T29" fmla="*/ 46 h 48"/>
                <a:gd name="T30" fmla="*/ 34 w 43"/>
                <a:gd name="T31" fmla="*/ 48 h 48"/>
                <a:gd name="T32" fmla="*/ 41 w 43"/>
                <a:gd name="T33" fmla="*/ 48 h 48"/>
                <a:gd name="T34" fmla="*/ 43 w 43"/>
                <a:gd name="T35" fmla="*/ 46 h 48"/>
                <a:gd name="T36" fmla="*/ 43 w 43"/>
                <a:gd name="T37" fmla="*/ 34 h 48"/>
                <a:gd name="T38" fmla="*/ 17 w 43"/>
                <a:gd name="T39" fmla="*/ 35 h 48"/>
                <a:gd name="T40" fmla="*/ 5 w 43"/>
                <a:gd name="T41" fmla="*/ 23 h 48"/>
                <a:gd name="T42" fmla="*/ 17 w 43"/>
                <a:gd name="T43" fmla="*/ 10 h 48"/>
                <a:gd name="T44" fmla="*/ 30 w 43"/>
                <a:gd name="T45" fmla="*/ 22 h 48"/>
                <a:gd name="T46" fmla="*/ 17 w 43"/>
                <a:gd name="T47" fmla="*/ 35 h 48"/>
                <a:gd name="T48" fmla="*/ 37 w 43"/>
                <a:gd name="T49" fmla="*/ 20 h 48"/>
                <a:gd name="T50" fmla="*/ 37 w 43"/>
                <a:gd name="T51" fmla="*/ 28 h 48"/>
                <a:gd name="T52" fmla="*/ 36 w 43"/>
                <a:gd name="T53" fmla="*/ 29 h 48"/>
                <a:gd name="T54" fmla="*/ 35 w 43"/>
                <a:gd name="T55" fmla="*/ 28 h 48"/>
                <a:gd name="T56" fmla="*/ 35 w 43"/>
                <a:gd name="T57" fmla="*/ 20 h 48"/>
                <a:gd name="T58" fmla="*/ 34 w 43"/>
                <a:gd name="T59" fmla="*/ 18 h 48"/>
                <a:gd name="T60" fmla="*/ 34 w 43"/>
                <a:gd name="T61" fmla="*/ 18 h 48"/>
                <a:gd name="T62" fmla="*/ 36 w 43"/>
                <a:gd name="T63" fmla="*/ 16 h 48"/>
                <a:gd name="T64" fmla="*/ 38 w 43"/>
                <a:gd name="T65" fmla="*/ 18 h 48"/>
                <a:gd name="T66" fmla="*/ 38 w 43"/>
                <a:gd name="T67" fmla="*/ 18 h 48"/>
                <a:gd name="T68" fmla="*/ 37 w 43"/>
                <a:gd name="T69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" h="48">
                  <a:moveTo>
                    <a:pt x="43" y="34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1"/>
                    <a:pt x="39" y="0"/>
                    <a:pt x="3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2"/>
                    <a:pt x="0" y="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10" y="48"/>
                    <a:pt x="11" y="47"/>
                    <a:pt x="11" y="46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7"/>
                    <a:pt x="33" y="48"/>
                    <a:pt x="34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8"/>
                    <a:pt x="43" y="47"/>
                    <a:pt x="43" y="46"/>
                  </a:cubicBezTo>
                  <a:lnTo>
                    <a:pt x="43" y="34"/>
                  </a:lnTo>
                  <a:close/>
                  <a:moveTo>
                    <a:pt x="17" y="35"/>
                  </a:moveTo>
                  <a:cubicBezTo>
                    <a:pt x="11" y="35"/>
                    <a:pt x="5" y="30"/>
                    <a:pt x="5" y="23"/>
                  </a:cubicBezTo>
                  <a:cubicBezTo>
                    <a:pt x="5" y="16"/>
                    <a:pt x="10" y="10"/>
                    <a:pt x="17" y="10"/>
                  </a:cubicBezTo>
                  <a:cubicBezTo>
                    <a:pt x="24" y="10"/>
                    <a:pt x="30" y="16"/>
                    <a:pt x="30" y="22"/>
                  </a:cubicBezTo>
                  <a:cubicBezTo>
                    <a:pt x="30" y="29"/>
                    <a:pt x="24" y="35"/>
                    <a:pt x="17" y="35"/>
                  </a:cubicBezTo>
                  <a:close/>
                  <a:moveTo>
                    <a:pt x="37" y="20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5" y="29"/>
                    <a:pt x="35" y="29"/>
                    <a:pt x="35" y="28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4" y="20"/>
                    <a:pt x="34" y="19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6"/>
                    <a:pt x="35" y="16"/>
                    <a:pt x="36" y="16"/>
                  </a:cubicBezTo>
                  <a:cubicBezTo>
                    <a:pt x="37" y="15"/>
                    <a:pt x="38" y="16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9"/>
                    <a:pt x="38" y="20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4" name="ïṩḻiḑe"/>
            <p:cNvSpPr/>
            <p:nvPr>
              <p:custDataLst>
                <p:tags r:id="rId10"/>
              </p:custDataLst>
            </p:nvPr>
          </p:nvSpPr>
          <p:spPr bwMode="auto">
            <a:xfrm flipH="1">
              <a:off x="2850289" y="2770797"/>
              <a:ext cx="56559" cy="46625"/>
            </a:xfrm>
            <a:custGeom>
              <a:avLst/>
              <a:gdLst>
                <a:gd name="T0" fmla="*/ 22 w 26"/>
                <a:gd name="T1" fmla="*/ 4 h 22"/>
                <a:gd name="T2" fmla="*/ 22 w 26"/>
                <a:gd name="T3" fmla="*/ 3 h 22"/>
                <a:gd name="T4" fmla="*/ 22 w 26"/>
                <a:gd name="T5" fmla="*/ 3 h 22"/>
                <a:gd name="T6" fmla="*/ 19 w 26"/>
                <a:gd name="T7" fmla="*/ 3 h 22"/>
                <a:gd name="T8" fmla="*/ 19 w 26"/>
                <a:gd name="T9" fmla="*/ 4 h 22"/>
                <a:gd name="T10" fmla="*/ 18 w 26"/>
                <a:gd name="T11" fmla="*/ 4 h 22"/>
                <a:gd name="T12" fmla="*/ 17 w 26"/>
                <a:gd name="T13" fmla="*/ 2 h 22"/>
                <a:gd name="T14" fmla="*/ 14 w 26"/>
                <a:gd name="T15" fmla="*/ 0 h 22"/>
                <a:gd name="T16" fmla="*/ 12 w 26"/>
                <a:gd name="T17" fmla="*/ 0 h 22"/>
                <a:gd name="T18" fmla="*/ 9 w 26"/>
                <a:gd name="T19" fmla="*/ 2 h 22"/>
                <a:gd name="T20" fmla="*/ 9 w 26"/>
                <a:gd name="T21" fmla="*/ 4 h 22"/>
                <a:gd name="T22" fmla="*/ 8 w 26"/>
                <a:gd name="T23" fmla="*/ 4 h 22"/>
                <a:gd name="T24" fmla="*/ 7 w 26"/>
                <a:gd name="T25" fmla="*/ 3 h 22"/>
                <a:gd name="T26" fmla="*/ 5 w 26"/>
                <a:gd name="T27" fmla="*/ 3 h 22"/>
                <a:gd name="T28" fmla="*/ 4 w 26"/>
                <a:gd name="T29" fmla="*/ 4 h 22"/>
                <a:gd name="T30" fmla="*/ 4 w 26"/>
                <a:gd name="T31" fmla="*/ 4 h 22"/>
                <a:gd name="T32" fmla="*/ 0 w 26"/>
                <a:gd name="T33" fmla="*/ 8 h 22"/>
                <a:gd name="T34" fmla="*/ 1 w 26"/>
                <a:gd name="T35" fmla="*/ 17 h 22"/>
                <a:gd name="T36" fmla="*/ 5 w 26"/>
                <a:gd name="T37" fmla="*/ 22 h 22"/>
                <a:gd name="T38" fmla="*/ 22 w 26"/>
                <a:gd name="T39" fmla="*/ 21 h 22"/>
                <a:gd name="T40" fmla="*/ 26 w 26"/>
                <a:gd name="T41" fmla="*/ 17 h 22"/>
                <a:gd name="T42" fmla="*/ 26 w 26"/>
                <a:gd name="T43" fmla="*/ 8 h 22"/>
                <a:gd name="T44" fmla="*/ 22 w 26"/>
                <a:gd name="T45" fmla="*/ 4 h 22"/>
                <a:gd name="T46" fmla="*/ 10 w 26"/>
                <a:gd name="T47" fmla="*/ 2 h 22"/>
                <a:gd name="T48" fmla="*/ 12 w 26"/>
                <a:gd name="T49" fmla="*/ 1 h 22"/>
                <a:gd name="T50" fmla="*/ 14 w 26"/>
                <a:gd name="T51" fmla="*/ 1 h 22"/>
                <a:gd name="T52" fmla="*/ 16 w 26"/>
                <a:gd name="T53" fmla="*/ 2 h 22"/>
                <a:gd name="T54" fmla="*/ 16 w 26"/>
                <a:gd name="T55" fmla="*/ 4 h 22"/>
                <a:gd name="T56" fmla="*/ 10 w 26"/>
                <a:gd name="T57" fmla="*/ 4 h 22"/>
                <a:gd name="T58" fmla="*/ 10 w 26"/>
                <a:gd name="T5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22">
                  <a:moveTo>
                    <a:pt x="22" y="4"/>
                  </a:moveTo>
                  <a:cubicBezTo>
                    <a:pt x="22" y="4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0"/>
                    <a:pt x="16" y="0"/>
                    <a:pt x="1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0" y="6"/>
                    <a:pt x="0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20"/>
                    <a:pt x="3" y="22"/>
                    <a:pt x="5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4" y="21"/>
                    <a:pt x="26" y="19"/>
                    <a:pt x="26" y="1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6"/>
                    <a:pt x="24" y="4"/>
                    <a:pt x="22" y="4"/>
                  </a:cubicBezTo>
                  <a:close/>
                  <a:moveTo>
                    <a:pt x="10" y="2"/>
                  </a:moveTo>
                  <a:cubicBezTo>
                    <a:pt x="10" y="2"/>
                    <a:pt x="10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1"/>
                    <a:pt x="16" y="2"/>
                    <a:pt x="16" y="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5" name="išḷíḋè"/>
            <p:cNvSpPr/>
            <p:nvPr>
              <p:custDataLst>
                <p:tags r:id="rId11"/>
              </p:custDataLst>
            </p:nvPr>
          </p:nvSpPr>
          <p:spPr bwMode="auto">
            <a:xfrm flipH="1">
              <a:off x="3063217" y="1858894"/>
              <a:ext cx="65431" cy="91082"/>
            </a:xfrm>
            <a:custGeom>
              <a:avLst/>
              <a:gdLst>
                <a:gd name="T0" fmla="*/ 29 w 30"/>
                <a:gd name="T1" fmla="*/ 8 h 43"/>
                <a:gd name="T2" fmla="*/ 22 w 30"/>
                <a:gd name="T3" fmla="*/ 0 h 43"/>
                <a:gd name="T4" fmla="*/ 7 w 30"/>
                <a:gd name="T5" fmla="*/ 1 h 43"/>
                <a:gd name="T6" fmla="*/ 0 w 30"/>
                <a:gd name="T7" fmla="*/ 8 h 43"/>
                <a:gd name="T8" fmla="*/ 1 w 30"/>
                <a:gd name="T9" fmla="*/ 36 h 43"/>
                <a:gd name="T10" fmla="*/ 8 w 30"/>
                <a:gd name="T11" fmla="*/ 43 h 43"/>
                <a:gd name="T12" fmla="*/ 23 w 30"/>
                <a:gd name="T13" fmla="*/ 43 h 43"/>
                <a:gd name="T14" fmla="*/ 30 w 30"/>
                <a:gd name="T15" fmla="*/ 35 h 43"/>
                <a:gd name="T16" fmla="*/ 29 w 30"/>
                <a:gd name="T17" fmla="*/ 8 h 43"/>
                <a:gd name="T18" fmla="*/ 17 w 30"/>
                <a:gd name="T19" fmla="*/ 40 h 43"/>
                <a:gd name="T20" fmla="*/ 14 w 30"/>
                <a:gd name="T21" fmla="*/ 40 h 43"/>
                <a:gd name="T22" fmla="*/ 13 w 30"/>
                <a:gd name="T23" fmla="*/ 40 h 43"/>
                <a:gd name="T24" fmla="*/ 13 w 30"/>
                <a:gd name="T25" fmla="*/ 38 h 43"/>
                <a:gd name="T26" fmla="*/ 14 w 30"/>
                <a:gd name="T27" fmla="*/ 37 h 43"/>
                <a:gd name="T28" fmla="*/ 17 w 30"/>
                <a:gd name="T29" fmla="*/ 37 h 43"/>
                <a:gd name="T30" fmla="*/ 18 w 30"/>
                <a:gd name="T31" fmla="*/ 38 h 43"/>
                <a:gd name="T32" fmla="*/ 18 w 30"/>
                <a:gd name="T33" fmla="*/ 40 h 43"/>
                <a:gd name="T34" fmla="*/ 17 w 30"/>
                <a:gd name="T35" fmla="*/ 40 h 43"/>
                <a:gd name="T36" fmla="*/ 22 w 30"/>
                <a:gd name="T37" fmla="*/ 33 h 43"/>
                <a:gd name="T38" fmla="*/ 9 w 30"/>
                <a:gd name="T39" fmla="*/ 34 h 43"/>
                <a:gd name="T40" fmla="*/ 4 w 30"/>
                <a:gd name="T41" fmla="*/ 29 h 43"/>
                <a:gd name="T42" fmla="*/ 4 w 30"/>
                <a:gd name="T43" fmla="*/ 9 h 43"/>
                <a:gd name="T44" fmla="*/ 8 w 30"/>
                <a:gd name="T45" fmla="*/ 4 h 43"/>
                <a:gd name="T46" fmla="*/ 21 w 30"/>
                <a:gd name="T47" fmla="*/ 4 h 43"/>
                <a:gd name="T48" fmla="*/ 26 w 30"/>
                <a:gd name="T49" fmla="*/ 9 h 43"/>
                <a:gd name="T50" fmla="*/ 26 w 30"/>
                <a:gd name="T51" fmla="*/ 29 h 43"/>
                <a:gd name="T52" fmla="*/ 22 w 30"/>
                <a:gd name="T53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43">
                  <a:moveTo>
                    <a:pt x="29" y="8"/>
                  </a:moveTo>
                  <a:cubicBezTo>
                    <a:pt x="29" y="4"/>
                    <a:pt x="26" y="0"/>
                    <a:pt x="22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3" y="1"/>
                    <a:pt x="0" y="4"/>
                    <a:pt x="0" y="8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40"/>
                    <a:pt x="4" y="43"/>
                    <a:pt x="8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7" y="43"/>
                    <a:pt x="30" y="39"/>
                    <a:pt x="30" y="35"/>
                  </a:cubicBezTo>
                  <a:lnTo>
                    <a:pt x="29" y="8"/>
                  </a:lnTo>
                  <a:close/>
                  <a:moveTo>
                    <a:pt x="17" y="40"/>
                  </a:move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7"/>
                    <a:pt x="13" y="37"/>
                    <a:pt x="14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8" y="37"/>
                    <a:pt x="18" y="38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7" y="40"/>
                    <a:pt x="17" y="40"/>
                  </a:cubicBezTo>
                  <a:close/>
                  <a:moveTo>
                    <a:pt x="22" y="33"/>
                  </a:move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4" y="32"/>
                    <a:pt x="4" y="2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7"/>
                    <a:pt x="5" y="5"/>
                    <a:pt x="8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4" y="4"/>
                    <a:pt x="26" y="6"/>
                    <a:pt x="26" y="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31"/>
                    <a:pt x="24" y="33"/>
                    <a:pt x="22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6" name="ïṩ1iďé"/>
            <p:cNvSpPr/>
            <p:nvPr>
              <p:custDataLst>
                <p:tags r:id="rId12"/>
              </p:custDataLst>
            </p:nvPr>
          </p:nvSpPr>
          <p:spPr bwMode="auto">
            <a:xfrm flipH="1">
              <a:off x="3049909" y="1865400"/>
              <a:ext cx="8872" cy="82407"/>
            </a:xfrm>
            <a:custGeom>
              <a:avLst/>
              <a:gdLst>
                <a:gd name="T0" fmla="*/ 2 w 4"/>
                <a:gd name="T1" fmla="*/ 0 h 39"/>
                <a:gd name="T2" fmla="*/ 0 w 4"/>
                <a:gd name="T3" fmla="*/ 1 h 39"/>
                <a:gd name="T4" fmla="*/ 1 w 4"/>
                <a:gd name="T5" fmla="*/ 37 h 39"/>
                <a:gd name="T6" fmla="*/ 3 w 4"/>
                <a:gd name="T7" fmla="*/ 39 h 39"/>
                <a:gd name="T8" fmla="*/ 4 w 4"/>
                <a:gd name="T9" fmla="*/ 37 h 39"/>
                <a:gd name="T10" fmla="*/ 4 w 4"/>
                <a:gd name="T11" fmla="*/ 1 h 39"/>
                <a:gd name="T12" fmla="*/ 2 w 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1" y="39"/>
                    <a:pt x="3" y="39"/>
                  </a:cubicBezTo>
                  <a:cubicBezTo>
                    <a:pt x="4" y="39"/>
                    <a:pt x="4" y="38"/>
                    <a:pt x="4" y="37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7" name="íṩlîďé"/>
            <p:cNvSpPr/>
            <p:nvPr>
              <p:custDataLst>
                <p:tags r:id="rId13"/>
              </p:custDataLst>
            </p:nvPr>
          </p:nvSpPr>
          <p:spPr bwMode="auto">
            <a:xfrm flipH="1">
              <a:off x="3045473" y="1867568"/>
              <a:ext cx="4436" cy="29276"/>
            </a:xfrm>
            <a:custGeom>
              <a:avLst/>
              <a:gdLst>
                <a:gd name="T0" fmla="*/ 1 w 2"/>
                <a:gd name="T1" fmla="*/ 0 h 14"/>
                <a:gd name="T2" fmla="*/ 0 w 2"/>
                <a:gd name="T3" fmla="*/ 1 h 14"/>
                <a:gd name="T4" fmla="*/ 0 w 2"/>
                <a:gd name="T5" fmla="*/ 13 h 14"/>
                <a:gd name="T6" fmla="*/ 1 w 2"/>
                <a:gd name="T7" fmla="*/ 14 h 14"/>
                <a:gd name="T8" fmla="*/ 2 w 2"/>
                <a:gd name="T9" fmla="*/ 13 h 14"/>
                <a:gd name="T10" fmla="*/ 1 w 2"/>
                <a:gd name="T11" fmla="*/ 1 h 14"/>
                <a:gd name="T12" fmla="*/ 1 w 2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4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1" y="14"/>
                    <a:pt x="1" y="14"/>
                  </a:cubicBezTo>
                  <a:cubicBezTo>
                    <a:pt x="1" y="14"/>
                    <a:pt x="2" y="14"/>
                    <a:pt x="2" y="1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8" name="iṩliďe"/>
            <p:cNvSpPr/>
            <p:nvPr>
              <p:custDataLst>
                <p:tags r:id="rId14"/>
              </p:custDataLst>
            </p:nvPr>
          </p:nvSpPr>
          <p:spPr bwMode="auto">
            <a:xfrm flipH="1">
              <a:off x="3076525" y="1880580"/>
              <a:ext cx="41033" cy="5422"/>
            </a:xfrm>
            <a:custGeom>
              <a:avLst/>
              <a:gdLst>
                <a:gd name="T0" fmla="*/ 19 w 19"/>
                <a:gd name="T1" fmla="*/ 1 h 3"/>
                <a:gd name="T2" fmla="*/ 18 w 19"/>
                <a:gd name="T3" fmla="*/ 3 h 3"/>
                <a:gd name="T4" fmla="*/ 2 w 19"/>
                <a:gd name="T5" fmla="*/ 3 h 3"/>
                <a:gd name="T6" fmla="*/ 0 w 19"/>
                <a:gd name="T7" fmla="*/ 2 h 3"/>
                <a:gd name="T8" fmla="*/ 0 w 19"/>
                <a:gd name="T9" fmla="*/ 2 h 3"/>
                <a:gd name="T10" fmla="*/ 2 w 19"/>
                <a:gd name="T11" fmla="*/ 0 h 3"/>
                <a:gd name="T12" fmla="*/ 18 w 19"/>
                <a:gd name="T13" fmla="*/ 0 h 3"/>
                <a:gd name="T14" fmla="*/ 19 w 19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3">
                  <a:moveTo>
                    <a:pt x="19" y="1"/>
                  </a:moveTo>
                  <a:cubicBezTo>
                    <a:pt x="19" y="2"/>
                    <a:pt x="18" y="3"/>
                    <a:pt x="18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9" y="1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09" name="ïšļîḍé"/>
            <p:cNvSpPr/>
            <p:nvPr>
              <p:custDataLst>
                <p:tags r:id="rId15"/>
              </p:custDataLst>
            </p:nvPr>
          </p:nvSpPr>
          <p:spPr bwMode="auto">
            <a:xfrm flipH="1">
              <a:off x="3076525" y="1890339"/>
              <a:ext cx="41033" cy="6506"/>
            </a:xfrm>
            <a:custGeom>
              <a:avLst/>
              <a:gdLst>
                <a:gd name="T0" fmla="*/ 19 w 19"/>
                <a:gd name="T1" fmla="*/ 1 h 3"/>
                <a:gd name="T2" fmla="*/ 18 w 19"/>
                <a:gd name="T3" fmla="*/ 2 h 3"/>
                <a:gd name="T4" fmla="*/ 2 w 19"/>
                <a:gd name="T5" fmla="*/ 3 h 3"/>
                <a:gd name="T6" fmla="*/ 0 w 19"/>
                <a:gd name="T7" fmla="*/ 2 h 3"/>
                <a:gd name="T8" fmla="*/ 0 w 19"/>
                <a:gd name="T9" fmla="*/ 2 h 3"/>
                <a:gd name="T10" fmla="*/ 2 w 19"/>
                <a:gd name="T11" fmla="*/ 0 h 3"/>
                <a:gd name="T12" fmla="*/ 18 w 19"/>
                <a:gd name="T13" fmla="*/ 0 h 3"/>
                <a:gd name="T14" fmla="*/ 19 w 19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3">
                  <a:moveTo>
                    <a:pt x="19" y="1"/>
                  </a:moveTo>
                  <a:cubicBezTo>
                    <a:pt x="19" y="2"/>
                    <a:pt x="18" y="2"/>
                    <a:pt x="18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9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0" name="íšlîdé"/>
            <p:cNvSpPr/>
            <p:nvPr>
              <p:custDataLst>
                <p:tags r:id="rId16"/>
              </p:custDataLst>
            </p:nvPr>
          </p:nvSpPr>
          <p:spPr bwMode="auto">
            <a:xfrm flipH="1">
              <a:off x="3076525" y="1901182"/>
              <a:ext cx="41033" cy="6506"/>
            </a:xfrm>
            <a:custGeom>
              <a:avLst/>
              <a:gdLst>
                <a:gd name="T0" fmla="*/ 19 w 19"/>
                <a:gd name="T1" fmla="*/ 1 h 3"/>
                <a:gd name="T2" fmla="*/ 18 w 19"/>
                <a:gd name="T3" fmla="*/ 2 h 3"/>
                <a:gd name="T4" fmla="*/ 2 w 19"/>
                <a:gd name="T5" fmla="*/ 3 h 3"/>
                <a:gd name="T6" fmla="*/ 0 w 19"/>
                <a:gd name="T7" fmla="*/ 1 h 3"/>
                <a:gd name="T8" fmla="*/ 0 w 19"/>
                <a:gd name="T9" fmla="*/ 1 h 3"/>
                <a:gd name="T10" fmla="*/ 2 w 19"/>
                <a:gd name="T11" fmla="*/ 0 h 3"/>
                <a:gd name="T12" fmla="*/ 18 w 19"/>
                <a:gd name="T13" fmla="*/ 0 h 3"/>
                <a:gd name="T14" fmla="*/ 19 w 19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3">
                  <a:moveTo>
                    <a:pt x="19" y="1"/>
                  </a:moveTo>
                  <a:cubicBezTo>
                    <a:pt x="19" y="2"/>
                    <a:pt x="19" y="2"/>
                    <a:pt x="18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1" name="ïSļîďe"/>
            <p:cNvSpPr/>
            <p:nvPr>
              <p:custDataLst>
                <p:tags r:id="rId17"/>
              </p:custDataLst>
            </p:nvPr>
          </p:nvSpPr>
          <p:spPr bwMode="auto">
            <a:xfrm flipH="1">
              <a:off x="3076525" y="1909856"/>
              <a:ext cx="23289" cy="6506"/>
            </a:xfrm>
            <a:custGeom>
              <a:avLst/>
              <a:gdLst>
                <a:gd name="T0" fmla="*/ 11 w 11"/>
                <a:gd name="T1" fmla="*/ 2 h 3"/>
                <a:gd name="T2" fmla="*/ 10 w 11"/>
                <a:gd name="T3" fmla="*/ 3 h 3"/>
                <a:gd name="T4" fmla="*/ 2 w 11"/>
                <a:gd name="T5" fmla="*/ 3 h 3"/>
                <a:gd name="T6" fmla="*/ 0 w 11"/>
                <a:gd name="T7" fmla="*/ 2 h 3"/>
                <a:gd name="T8" fmla="*/ 0 w 11"/>
                <a:gd name="T9" fmla="*/ 2 h 3"/>
                <a:gd name="T10" fmla="*/ 1 w 11"/>
                <a:gd name="T11" fmla="*/ 0 h 3"/>
                <a:gd name="T12" fmla="*/ 10 w 11"/>
                <a:gd name="T13" fmla="*/ 0 h 3"/>
                <a:gd name="T14" fmla="*/ 11 w 11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11" y="2"/>
                  </a:moveTo>
                  <a:cubicBezTo>
                    <a:pt x="11" y="2"/>
                    <a:pt x="11" y="3"/>
                    <a:pt x="10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2" name="îSḷiďè"/>
            <p:cNvSpPr/>
            <p:nvPr>
              <p:custDataLst>
                <p:tags r:id="rId18"/>
              </p:custDataLst>
            </p:nvPr>
          </p:nvSpPr>
          <p:spPr bwMode="auto">
            <a:xfrm flipH="1">
              <a:off x="3570031" y="1415412"/>
              <a:ext cx="85393" cy="10843"/>
            </a:xfrm>
            <a:custGeom>
              <a:avLst/>
              <a:gdLst>
                <a:gd name="T0" fmla="*/ 0 w 39"/>
                <a:gd name="T1" fmla="*/ 3 h 5"/>
                <a:gd name="T2" fmla="*/ 2 w 39"/>
                <a:gd name="T3" fmla="*/ 5 h 5"/>
                <a:gd name="T4" fmla="*/ 37 w 39"/>
                <a:gd name="T5" fmla="*/ 4 h 5"/>
                <a:gd name="T6" fmla="*/ 39 w 39"/>
                <a:gd name="T7" fmla="*/ 2 h 5"/>
                <a:gd name="T8" fmla="*/ 37 w 39"/>
                <a:gd name="T9" fmla="*/ 0 h 5"/>
                <a:gd name="T10" fmla="*/ 2 w 39"/>
                <a:gd name="T11" fmla="*/ 1 h 5"/>
                <a:gd name="T12" fmla="*/ 0 w 39"/>
                <a:gd name="T1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5">
                  <a:moveTo>
                    <a:pt x="0" y="3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9" y="3"/>
                    <a:pt x="39" y="2"/>
                  </a:cubicBezTo>
                  <a:cubicBezTo>
                    <a:pt x="39" y="1"/>
                    <a:pt x="38" y="0"/>
                    <a:pt x="37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3" name="îsļiḋe"/>
            <p:cNvSpPr/>
            <p:nvPr>
              <p:custDataLst>
                <p:tags r:id="rId19"/>
              </p:custDataLst>
            </p:nvPr>
          </p:nvSpPr>
          <p:spPr bwMode="auto">
            <a:xfrm flipH="1">
              <a:off x="3622154" y="1413243"/>
              <a:ext cx="28834" cy="4337"/>
            </a:xfrm>
            <a:custGeom>
              <a:avLst/>
              <a:gdLst>
                <a:gd name="T0" fmla="*/ 0 w 13"/>
                <a:gd name="T1" fmla="*/ 1 h 2"/>
                <a:gd name="T2" fmla="*/ 0 w 13"/>
                <a:gd name="T3" fmla="*/ 2 h 2"/>
                <a:gd name="T4" fmla="*/ 13 w 13"/>
                <a:gd name="T5" fmla="*/ 1 h 2"/>
                <a:gd name="T6" fmla="*/ 13 w 13"/>
                <a:gd name="T7" fmla="*/ 1 h 2"/>
                <a:gd name="T8" fmla="*/ 13 w 13"/>
                <a:gd name="T9" fmla="*/ 0 h 2"/>
                <a:gd name="T10" fmla="*/ 0 w 13"/>
                <a:gd name="T11" fmla="*/ 0 h 2"/>
                <a:gd name="T12" fmla="*/ 0 w 1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4" name="ïşḻîḍè"/>
            <p:cNvSpPr/>
            <p:nvPr>
              <p:custDataLst>
                <p:tags r:id="rId20"/>
              </p:custDataLst>
            </p:nvPr>
          </p:nvSpPr>
          <p:spPr bwMode="auto">
            <a:xfrm flipH="1">
              <a:off x="3408117" y="2406470"/>
              <a:ext cx="11090" cy="82407"/>
            </a:xfrm>
            <a:custGeom>
              <a:avLst/>
              <a:gdLst>
                <a:gd name="T0" fmla="*/ 2 w 5"/>
                <a:gd name="T1" fmla="*/ 0 h 39"/>
                <a:gd name="T2" fmla="*/ 0 w 5"/>
                <a:gd name="T3" fmla="*/ 2 h 39"/>
                <a:gd name="T4" fmla="*/ 1 w 5"/>
                <a:gd name="T5" fmla="*/ 37 h 39"/>
                <a:gd name="T6" fmla="*/ 3 w 5"/>
                <a:gd name="T7" fmla="*/ 39 h 39"/>
                <a:gd name="T8" fmla="*/ 5 w 5"/>
                <a:gd name="T9" fmla="*/ 37 h 39"/>
                <a:gd name="T10" fmla="*/ 4 w 5"/>
                <a:gd name="T11" fmla="*/ 2 h 39"/>
                <a:gd name="T12" fmla="*/ 2 w 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9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2" y="39"/>
                    <a:pt x="3" y="39"/>
                  </a:cubicBezTo>
                  <a:cubicBezTo>
                    <a:pt x="4" y="39"/>
                    <a:pt x="5" y="38"/>
                    <a:pt x="5" y="37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5" name="ï$1íďê"/>
            <p:cNvSpPr/>
            <p:nvPr>
              <p:custDataLst>
                <p:tags r:id="rId21"/>
              </p:custDataLst>
            </p:nvPr>
          </p:nvSpPr>
          <p:spPr bwMode="auto">
            <a:xfrm flipH="1">
              <a:off x="3405899" y="2409723"/>
              <a:ext cx="4436" cy="28192"/>
            </a:xfrm>
            <a:custGeom>
              <a:avLst/>
              <a:gdLst>
                <a:gd name="T0" fmla="*/ 1 w 2"/>
                <a:gd name="T1" fmla="*/ 0 h 13"/>
                <a:gd name="T2" fmla="*/ 0 w 2"/>
                <a:gd name="T3" fmla="*/ 0 h 13"/>
                <a:gd name="T4" fmla="*/ 1 w 2"/>
                <a:gd name="T5" fmla="*/ 12 h 13"/>
                <a:gd name="T6" fmla="*/ 1 w 2"/>
                <a:gd name="T7" fmla="*/ 13 h 13"/>
                <a:gd name="T8" fmla="*/ 2 w 2"/>
                <a:gd name="T9" fmla="*/ 12 h 13"/>
                <a:gd name="T10" fmla="*/ 2 w 2"/>
                <a:gd name="T11" fmla="*/ 0 h 13"/>
                <a:gd name="T12" fmla="*/ 1 w 2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3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3"/>
                    <a:pt x="2" y="13"/>
                    <a:pt x="2" y="1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6" name="îŝľîďê"/>
            <p:cNvSpPr/>
            <p:nvPr>
              <p:custDataLst>
                <p:tags r:id="rId22"/>
              </p:custDataLst>
            </p:nvPr>
          </p:nvSpPr>
          <p:spPr bwMode="auto">
            <a:xfrm flipH="1">
              <a:off x="2963407" y="2414060"/>
              <a:ext cx="84284" cy="99756"/>
            </a:xfrm>
            <a:custGeom>
              <a:avLst/>
              <a:gdLst>
                <a:gd name="T0" fmla="*/ 25 w 39"/>
                <a:gd name="T1" fmla="*/ 0 h 47"/>
                <a:gd name="T2" fmla="*/ 1 w 39"/>
                <a:gd name="T3" fmla="*/ 13 h 47"/>
                <a:gd name="T4" fmla="*/ 14 w 39"/>
                <a:gd name="T5" fmla="*/ 46 h 47"/>
                <a:gd name="T6" fmla="*/ 39 w 39"/>
                <a:gd name="T7" fmla="*/ 34 h 47"/>
                <a:gd name="T8" fmla="*/ 4 w 39"/>
                <a:gd name="T9" fmla="*/ 12 h 47"/>
                <a:gd name="T10" fmla="*/ 26 w 39"/>
                <a:gd name="T11" fmla="*/ 4 h 47"/>
                <a:gd name="T12" fmla="*/ 32 w 39"/>
                <a:gd name="T13" fmla="*/ 11 h 47"/>
                <a:gd name="T14" fmla="*/ 11 w 39"/>
                <a:gd name="T15" fmla="*/ 19 h 47"/>
                <a:gd name="T16" fmla="*/ 4 w 39"/>
                <a:gd name="T17" fmla="*/ 12 h 47"/>
                <a:gd name="T18" fmla="*/ 6 w 39"/>
                <a:gd name="T19" fmla="*/ 22 h 47"/>
                <a:gd name="T20" fmla="*/ 11 w 39"/>
                <a:gd name="T21" fmla="*/ 23 h 47"/>
                <a:gd name="T22" fmla="*/ 11 w 39"/>
                <a:gd name="T23" fmla="*/ 26 h 47"/>
                <a:gd name="T24" fmla="*/ 6 w 39"/>
                <a:gd name="T25" fmla="*/ 26 h 47"/>
                <a:gd name="T26" fmla="*/ 7 w 39"/>
                <a:gd name="T27" fmla="*/ 30 h 47"/>
                <a:gd name="T28" fmla="*/ 11 w 39"/>
                <a:gd name="T29" fmla="*/ 29 h 47"/>
                <a:gd name="T30" fmla="*/ 13 w 39"/>
                <a:gd name="T31" fmla="*/ 32 h 47"/>
                <a:gd name="T32" fmla="*/ 8 w 39"/>
                <a:gd name="T33" fmla="*/ 34 h 47"/>
                <a:gd name="T34" fmla="*/ 7 w 39"/>
                <a:gd name="T35" fmla="*/ 30 h 47"/>
                <a:gd name="T36" fmla="*/ 9 w 39"/>
                <a:gd name="T37" fmla="*/ 41 h 47"/>
                <a:gd name="T38" fmla="*/ 8 w 39"/>
                <a:gd name="T39" fmla="*/ 38 h 47"/>
                <a:gd name="T40" fmla="*/ 12 w 39"/>
                <a:gd name="T41" fmla="*/ 36 h 47"/>
                <a:gd name="T42" fmla="*/ 14 w 39"/>
                <a:gd name="T43" fmla="*/ 39 h 47"/>
                <a:gd name="T44" fmla="*/ 13 w 39"/>
                <a:gd name="T45" fmla="*/ 22 h 47"/>
                <a:gd name="T46" fmla="*/ 18 w 39"/>
                <a:gd name="T47" fmla="*/ 21 h 47"/>
                <a:gd name="T48" fmla="*/ 19 w 39"/>
                <a:gd name="T49" fmla="*/ 24 h 47"/>
                <a:gd name="T50" fmla="*/ 14 w 39"/>
                <a:gd name="T51" fmla="*/ 26 h 47"/>
                <a:gd name="T52" fmla="*/ 13 w 39"/>
                <a:gd name="T53" fmla="*/ 22 h 47"/>
                <a:gd name="T54" fmla="*/ 15 w 39"/>
                <a:gd name="T55" fmla="*/ 29 h 47"/>
                <a:gd name="T56" fmla="*/ 20 w 39"/>
                <a:gd name="T57" fmla="*/ 29 h 47"/>
                <a:gd name="T58" fmla="*/ 19 w 39"/>
                <a:gd name="T59" fmla="*/ 32 h 47"/>
                <a:gd name="T60" fmla="*/ 14 w 39"/>
                <a:gd name="T61" fmla="*/ 32 h 47"/>
                <a:gd name="T62" fmla="*/ 20 w 39"/>
                <a:gd name="T63" fmla="*/ 40 h 47"/>
                <a:gd name="T64" fmla="*/ 15 w 39"/>
                <a:gd name="T65" fmla="*/ 39 h 47"/>
                <a:gd name="T66" fmla="*/ 16 w 39"/>
                <a:gd name="T67" fmla="*/ 36 h 47"/>
                <a:gd name="T68" fmla="*/ 21 w 39"/>
                <a:gd name="T69" fmla="*/ 36 h 47"/>
                <a:gd name="T70" fmla="*/ 20 w 39"/>
                <a:gd name="T71" fmla="*/ 40 h 47"/>
                <a:gd name="T72" fmla="*/ 21 w 39"/>
                <a:gd name="T73" fmla="*/ 20 h 47"/>
                <a:gd name="T74" fmla="*/ 26 w 39"/>
                <a:gd name="T75" fmla="*/ 21 h 47"/>
                <a:gd name="T76" fmla="*/ 26 w 39"/>
                <a:gd name="T77" fmla="*/ 24 h 47"/>
                <a:gd name="T78" fmla="*/ 21 w 39"/>
                <a:gd name="T79" fmla="*/ 24 h 47"/>
                <a:gd name="T80" fmla="*/ 21 w 39"/>
                <a:gd name="T81" fmla="*/ 29 h 47"/>
                <a:gd name="T82" fmla="*/ 26 w 39"/>
                <a:gd name="T83" fmla="*/ 27 h 47"/>
                <a:gd name="T84" fmla="*/ 27 w 39"/>
                <a:gd name="T85" fmla="*/ 30 h 47"/>
                <a:gd name="T86" fmla="*/ 23 w 39"/>
                <a:gd name="T87" fmla="*/ 32 h 47"/>
                <a:gd name="T88" fmla="*/ 21 w 39"/>
                <a:gd name="T89" fmla="*/ 29 h 47"/>
                <a:gd name="T90" fmla="*/ 23 w 39"/>
                <a:gd name="T91" fmla="*/ 39 h 47"/>
                <a:gd name="T92" fmla="*/ 22 w 39"/>
                <a:gd name="T93" fmla="*/ 36 h 47"/>
                <a:gd name="T94" fmla="*/ 27 w 39"/>
                <a:gd name="T95" fmla="*/ 34 h 47"/>
                <a:gd name="T96" fmla="*/ 28 w 39"/>
                <a:gd name="T97" fmla="*/ 38 h 47"/>
                <a:gd name="T98" fmla="*/ 28 w 39"/>
                <a:gd name="T99" fmla="*/ 20 h 47"/>
                <a:gd name="T100" fmla="*/ 32 w 39"/>
                <a:gd name="T101" fmla="*/ 19 h 47"/>
                <a:gd name="T102" fmla="*/ 34 w 39"/>
                <a:gd name="T103" fmla="*/ 22 h 47"/>
                <a:gd name="T104" fmla="*/ 29 w 39"/>
                <a:gd name="T105" fmla="*/ 24 h 47"/>
                <a:gd name="T106" fmla="*/ 28 w 39"/>
                <a:gd name="T107" fmla="*/ 20 h 47"/>
                <a:gd name="T108" fmla="*/ 29 w 39"/>
                <a:gd name="T109" fmla="*/ 27 h 47"/>
                <a:gd name="T110" fmla="*/ 34 w 39"/>
                <a:gd name="T111" fmla="*/ 27 h 47"/>
                <a:gd name="T112" fmla="*/ 34 w 39"/>
                <a:gd name="T113" fmla="*/ 30 h 47"/>
                <a:gd name="T114" fmla="*/ 29 w 39"/>
                <a:gd name="T115" fmla="*/ 30 h 47"/>
                <a:gd name="T116" fmla="*/ 35 w 39"/>
                <a:gd name="T117" fmla="*/ 38 h 47"/>
                <a:gd name="T118" fmla="*/ 30 w 39"/>
                <a:gd name="T119" fmla="*/ 37 h 47"/>
                <a:gd name="T120" fmla="*/ 30 w 39"/>
                <a:gd name="T121" fmla="*/ 34 h 47"/>
                <a:gd name="T122" fmla="*/ 35 w 39"/>
                <a:gd name="T123" fmla="*/ 34 h 47"/>
                <a:gd name="T124" fmla="*/ 35 w 39"/>
                <a:gd name="T125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" h="47">
                  <a:moveTo>
                    <a:pt x="35" y="8"/>
                  </a:moveTo>
                  <a:cubicBezTo>
                    <a:pt x="35" y="3"/>
                    <a:pt x="30" y="0"/>
                    <a:pt x="25" y="0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4" y="3"/>
                    <a:pt x="0" y="8"/>
                    <a:pt x="1" y="1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5" y="43"/>
                    <a:pt x="9" y="47"/>
                    <a:pt x="14" y="46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6" y="43"/>
                    <a:pt x="39" y="39"/>
                    <a:pt x="39" y="34"/>
                  </a:cubicBezTo>
                  <a:lnTo>
                    <a:pt x="35" y="8"/>
                  </a:lnTo>
                  <a:close/>
                  <a:moveTo>
                    <a:pt x="4" y="12"/>
                  </a:moveTo>
                  <a:cubicBezTo>
                    <a:pt x="4" y="9"/>
                    <a:pt x="6" y="6"/>
                    <a:pt x="9" y="6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9" y="3"/>
                    <a:pt x="31" y="5"/>
                    <a:pt x="32" y="8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4"/>
                    <a:pt x="30" y="17"/>
                    <a:pt x="27" y="17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20"/>
                    <a:pt x="5" y="17"/>
                    <a:pt x="5" y="14"/>
                  </a:cubicBezTo>
                  <a:lnTo>
                    <a:pt x="4" y="12"/>
                  </a:lnTo>
                  <a:close/>
                  <a:moveTo>
                    <a:pt x="6" y="23"/>
                  </a:moveTo>
                  <a:cubicBezTo>
                    <a:pt x="6" y="23"/>
                    <a:pt x="6" y="22"/>
                    <a:pt x="6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3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1" y="26"/>
                    <a:pt x="11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lnTo>
                    <a:pt x="6" y="23"/>
                  </a:lnTo>
                  <a:close/>
                  <a:moveTo>
                    <a:pt x="7" y="30"/>
                  </a:moveTo>
                  <a:cubicBezTo>
                    <a:pt x="7" y="30"/>
                    <a:pt x="7" y="30"/>
                    <a:pt x="7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2" y="29"/>
                    <a:pt x="12" y="30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3"/>
                    <a:pt x="12" y="33"/>
                    <a:pt x="12" y="3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7" y="34"/>
                    <a:pt x="7" y="34"/>
                    <a:pt x="7" y="33"/>
                  </a:cubicBezTo>
                  <a:lnTo>
                    <a:pt x="7" y="30"/>
                  </a:lnTo>
                  <a:close/>
                  <a:moveTo>
                    <a:pt x="13" y="40"/>
                  </a:moveTo>
                  <a:cubicBezTo>
                    <a:pt x="9" y="41"/>
                    <a:pt x="9" y="41"/>
                    <a:pt x="9" y="41"/>
                  </a:cubicBezTo>
                  <a:cubicBezTo>
                    <a:pt x="8" y="41"/>
                    <a:pt x="8" y="41"/>
                    <a:pt x="8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7" y="37"/>
                    <a:pt x="8" y="37"/>
                    <a:pt x="8" y="37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6"/>
                    <a:pt x="13" y="36"/>
                    <a:pt x="13" y="37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40"/>
                    <a:pt x="13" y="40"/>
                    <a:pt x="13" y="40"/>
                  </a:cubicBezTo>
                  <a:close/>
                  <a:moveTo>
                    <a:pt x="13" y="22"/>
                  </a:moveTo>
                  <a:cubicBezTo>
                    <a:pt x="13" y="22"/>
                    <a:pt x="13" y="21"/>
                    <a:pt x="14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9" y="21"/>
                    <a:pt x="19" y="22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3" y="25"/>
                    <a:pt x="13" y="25"/>
                  </a:cubicBezTo>
                  <a:lnTo>
                    <a:pt x="13" y="22"/>
                  </a:lnTo>
                  <a:close/>
                  <a:moveTo>
                    <a:pt x="14" y="30"/>
                  </a:moveTo>
                  <a:cubicBezTo>
                    <a:pt x="14" y="29"/>
                    <a:pt x="14" y="29"/>
                    <a:pt x="15" y="29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20" y="28"/>
                    <a:pt x="20" y="29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2"/>
                    <a:pt x="20" y="32"/>
                    <a:pt x="19" y="32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4" y="33"/>
                    <a:pt x="14" y="32"/>
                  </a:cubicBezTo>
                  <a:lnTo>
                    <a:pt x="14" y="30"/>
                  </a:lnTo>
                  <a:close/>
                  <a:moveTo>
                    <a:pt x="20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39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1" y="36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0" y="40"/>
                  </a:cubicBezTo>
                  <a:close/>
                  <a:moveTo>
                    <a:pt x="20" y="21"/>
                  </a:moveTo>
                  <a:cubicBezTo>
                    <a:pt x="20" y="21"/>
                    <a:pt x="21" y="21"/>
                    <a:pt x="21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6" y="20"/>
                    <a:pt x="26" y="2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1" y="25"/>
                    <a:pt x="21" y="24"/>
                    <a:pt x="21" y="24"/>
                  </a:cubicBezTo>
                  <a:lnTo>
                    <a:pt x="20" y="21"/>
                  </a:lnTo>
                  <a:close/>
                  <a:moveTo>
                    <a:pt x="21" y="29"/>
                  </a:moveTo>
                  <a:cubicBezTo>
                    <a:pt x="21" y="28"/>
                    <a:pt x="22" y="28"/>
                    <a:pt x="22" y="28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7" y="27"/>
                    <a:pt x="27" y="28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1"/>
                    <a:pt x="27" y="31"/>
                    <a:pt x="26" y="31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2" y="32"/>
                    <a:pt x="22" y="32"/>
                    <a:pt x="22" y="31"/>
                  </a:cubicBezTo>
                  <a:lnTo>
                    <a:pt x="21" y="29"/>
                  </a:lnTo>
                  <a:close/>
                  <a:moveTo>
                    <a:pt x="27" y="39"/>
                  </a:move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9"/>
                    <a:pt x="22" y="38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5"/>
                    <a:pt x="22" y="35"/>
                    <a:pt x="23" y="35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8" y="35"/>
                    <a:pt x="28" y="35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7" y="39"/>
                  </a:cubicBezTo>
                  <a:close/>
                  <a:moveTo>
                    <a:pt x="28" y="20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3" y="23"/>
                    <a:pt x="33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3"/>
                  </a:cubicBezTo>
                  <a:lnTo>
                    <a:pt x="28" y="20"/>
                  </a:lnTo>
                  <a:close/>
                  <a:moveTo>
                    <a:pt x="29" y="28"/>
                  </a:moveTo>
                  <a:cubicBezTo>
                    <a:pt x="28" y="27"/>
                    <a:pt x="29" y="27"/>
                    <a:pt x="29" y="27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4" y="26"/>
                    <a:pt x="34" y="26"/>
                    <a:pt x="34" y="27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30"/>
                    <a:pt x="34" y="30"/>
                    <a:pt x="34" y="30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1"/>
                    <a:pt x="29" y="31"/>
                    <a:pt x="29" y="30"/>
                  </a:cubicBezTo>
                  <a:lnTo>
                    <a:pt x="29" y="28"/>
                  </a:lnTo>
                  <a:close/>
                  <a:moveTo>
                    <a:pt x="35" y="38"/>
                  </a:moveTo>
                  <a:cubicBezTo>
                    <a:pt x="31" y="38"/>
                    <a:pt x="31" y="38"/>
                    <a:pt x="31" y="38"/>
                  </a:cubicBezTo>
                  <a:cubicBezTo>
                    <a:pt x="30" y="38"/>
                    <a:pt x="30" y="38"/>
                    <a:pt x="30" y="37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4"/>
                    <a:pt x="30" y="34"/>
                    <a:pt x="30" y="34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4"/>
                    <a:pt x="35" y="34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6" y="37"/>
                    <a:pt x="35" y="38"/>
                    <a:pt x="35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7" name="iṡľiḍê"/>
            <p:cNvSpPr/>
            <p:nvPr>
              <p:custDataLst>
                <p:tags r:id="rId23"/>
              </p:custDataLst>
            </p:nvPr>
          </p:nvSpPr>
          <p:spPr bwMode="auto">
            <a:xfrm flipH="1">
              <a:off x="3011094" y="2429240"/>
              <a:ext cx="23289" cy="23855"/>
            </a:xfrm>
            <a:custGeom>
              <a:avLst/>
              <a:gdLst>
                <a:gd name="T0" fmla="*/ 9 w 11"/>
                <a:gd name="T1" fmla="*/ 3 h 11"/>
                <a:gd name="T2" fmla="*/ 7 w 11"/>
                <a:gd name="T3" fmla="*/ 4 h 11"/>
                <a:gd name="T4" fmla="*/ 7 w 11"/>
                <a:gd name="T5" fmla="*/ 1 h 11"/>
                <a:gd name="T6" fmla="*/ 5 w 11"/>
                <a:gd name="T7" fmla="*/ 0 h 11"/>
                <a:gd name="T8" fmla="*/ 4 w 11"/>
                <a:gd name="T9" fmla="*/ 2 h 11"/>
                <a:gd name="T10" fmla="*/ 4 w 11"/>
                <a:gd name="T11" fmla="*/ 4 h 11"/>
                <a:gd name="T12" fmla="*/ 2 w 11"/>
                <a:gd name="T13" fmla="*/ 4 h 11"/>
                <a:gd name="T14" fmla="*/ 1 w 11"/>
                <a:gd name="T15" fmla="*/ 6 h 11"/>
                <a:gd name="T16" fmla="*/ 2 w 11"/>
                <a:gd name="T17" fmla="*/ 7 h 11"/>
                <a:gd name="T18" fmla="*/ 5 w 11"/>
                <a:gd name="T19" fmla="*/ 7 h 11"/>
                <a:gd name="T20" fmla="*/ 5 w 11"/>
                <a:gd name="T21" fmla="*/ 9 h 11"/>
                <a:gd name="T22" fmla="*/ 7 w 11"/>
                <a:gd name="T23" fmla="*/ 11 h 11"/>
                <a:gd name="T24" fmla="*/ 8 w 11"/>
                <a:gd name="T25" fmla="*/ 9 h 11"/>
                <a:gd name="T26" fmla="*/ 8 w 11"/>
                <a:gd name="T27" fmla="*/ 7 h 11"/>
                <a:gd name="T28" fmla="*/ 10 w 11"/>
                <a:gd name="T29" fmla="*/ 6 h 11"/>
                <a:gd name="T30" fmla="*/ 11 w 11"/>
                <a:gd name="T31" fmla="*/ 5 h 11"/>
                <a:gd name="T32" fmla="*/ 9 w 11"/>
                <a:gd name="T3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1">
                  <a:moveTo>
                    <a:pt x="9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6" y="11"/>
                    <a:pt x="7" y="11"/>
                  </a:cubicBezTo>
                  <a:cubicBezTo>
                    <a:pt x="7" y="11"/>
                    <a:pt x="8" y="10"/>
                    <a:pt x="8" y="9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4"/>
                    <a:pt x="10" y="3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8" name="íŝḻidè"/>
            <p:cNvSpPr/>
            <p:nvPr>
              <p:custDataLst>
                <p:tags r:id="rId24"/>
              </p:custDataLst>
            </p:nvPr>
          </p:nvSpPr>
          <p:spPr bwMode="auto">
            <a:xfrm flipH="1">
              <a:off x="2983369" y="2433577"/>
              <a:ext cx="23289" cy="8674"/>
            </a:xfrm>
            <a:custGeom>
              <a:avLst/>
              <a:gdLst>
                <a:gd name="T0" fmla="*/ 9 w 11"/>
                <a:gd name="T1" fmla="*/ 0 h 4"/>
                <a:gd name="T2" fmla="*/ 1 w 11"/>
                <a:gd name="T3" fmla="*/ 1 h 4"/>
                <a:gd name="T4" fmla="*/ 0 w 11"/>
                <a:gd name="T5" fmla="*/ 2 h 4"/>
                <a:gd name="T6" fmla="*/ 2 w 11"/>
                <a:gd name="T7" fmla="*/ 4 h 4"/>
                <a:gd name="T8" fmla="*/ 9 w 11"/>
                <a:gd name="T9" fmla="*/ 3 h 4"/>
                <a:gd name="T10" fmla="*/ 11 w 11"/>
                <a:gd name="T11" fmla="*/ 1 h 4"/>
                <a:gd name="T12" fmla="*/ 9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9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1" y="2"/>
                    <a:pt x="11" y="1"/>
                  </a:cubicBezTo>
                  <a:cubicBezTo>
                    <a:pt x="11" y="0"/>
                    <a:pt x="10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19" name="isḷiḓe"/>
            <p:cNvSpPr/>
            <p:nvPr>
              <p:custDataLst>
                <p:tags r:id="rId25"/>
              </p:custDataLst>
            </p:nvPr>
          </p:nvSpPr>
          <p:spPr bwMode="auto">
            <a:xfrm flipH="1">
              <a:off x="3421425" y="2036721"/>
              <a:ext cx="43251" cy="66143"/>
            </a:xfrm>
            <a:custGeom>
              <a:avLst/>
              <a:gdLst>
                <a:gd name="T0" fmla="*/ 15 w 20"/>
                <a:gd name="T1" fmla="*/ 0 h 31"/>
                <a:gd name="T2" fmla="*/ 5 w 20"/>
                <a:gd name="T3" fmla="*/ 0 h 31"/>
                <a:gd name="T4" fmla="*/ 0 w 20"/>
                <a:gd name="T5" fmla="*/ 5 h 31"/>
                <a:gd name="T6" fmla="*/ 0 w 20"/>
                <a:gd name="T7" fmla="*/ 26 h 31"/>
                <a:gd name="T8" fmla="*/ 5 w 20"/>
                <a:gd name="T9" fmla="*/ 31 h 31"/>
                <a:gd name="T10" fmla="*/ 15 w 20"/>
                <a:gd name="T11" fmla="*/ 30 h 31"/>
                <a:gd name="T12" fmla="*/ 20 w 20"/>
                <a:gd name="T13" fmla="*/ 26 h 31"/>
                <a:gd name="T14" fmla="*/ 19 w 20"/>
                <a:gd name="T15" fmla="*/ 5 h 31"/>
                <a:gd name="T16" fmla="*/ 15 w 20"/>
                <a:gd name="T17" fmla="*/ 0 h 31"/>
                <a:gd name="T18" fmla="*/ 18 w 20"/>
                <a:gd name="T19" fmla="*/ 26 h 31"/>
                <a:gd name="T20" fmla="*/ 15 w 20"/>
                <a:gd name="T21" fmla="*/ 28 h 31"/>
                <a:gd name="T22" fmla="*/ 5 w 20"/>
                <a:gd name="T23" fmla="*/ 29 h 31"/>
                <a:gd name="T24" fmla="*/ 3 w 20"/>
                <a:gd name="T25" fmla="*/ 26 h 31"/>
                <a:gd name="T26" fmla="*/ 2 w 20"/>
                <a:gd name="T27" fmla="*/ 5 h 31"/>
                <a:gd name="T28" fmla="*/ 5 w 20"/>
                <a:gd name="T29" fmla="*/ 2 h 31"/>
                <a:gd name="T30" fmla="*/ 15 w 20"/>
                <a:gd name="T31" fmla="*/ 2 h 31"/>
                <a:gd name="T32" fmla="*/ 17 w 20"/>
                <a:gd name="T33" fmla="*/ 5 h 31"/>
                <a:gd name="T34" fmla="*/ 18 w 20"/>
                <a:gd name="T3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31">
                  <a:moveTo>
                    <a:pt x="1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30"/>
                    <a:pt x="20" y="28"/>
                    <a:pt x="20" y="2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2"/>
                    <a:pt x="17" y="0"/>
                    <a:pt x="15" y="0"/>
                  </a:cubicBezTo>
                  <a:close/>
                  <a:moveTo>
                    <a:pt x="18" y="26"/>
                  </a:moveTo>
                  <a:cubicBezTo>
                    <a:pt x="18" y="27"/>
                    <a:pt x="17" y="28"/>
                    <a:pt x="1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29"/>
                    <a:pt x="3" y="28"/>
                    <a:pt x="3" y="2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3" y="2"/>
                    <a:pt x="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7" y="3"/>
                    <a:pt x="17" y="5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2" name="îśļiḓé"/>
            <p:cNvSpPr/>
            <p:nvPr>
              <p:custDataLst>
                <p:tags r:id="rId26"/>
              </p:custDataLst>
            </p:nvPr>
          </p:nvSpPr>
          <p:spPr bwMode="auto">
            <a:xfrm flipH="1">
              <a:off x="3438060" y="2085514"/>
              <a:ext cx="8872" cy="8674"/>
            </a:xfrm>
            <a:custGeom>
              <a:avLst/>
              <a:gdLst>
                <a:gd name="T0" fmla="*/ 3 w 4"/>
                <a:gd name="T1" fmla="*/ 0 h 4"/>
                <a:gd name="T2" fmla="*/ 1 w 4"/>
                <a:gd name="T3" fmla="*/ 0 h 4"/>
                <a:gd name="T4" fmla="*/ 0 w 4"/>
                <a:gd name="T5" fmla="*/ 1 h 4"/>
                <a:gd name="T6" fmla="*/ 0 w 4"/>
                <a:gd name="T7" fmla="*/ 3 h 4"/>
                <a:gd name="T8" fmla="*/ 1 w 4"/>
                <a:gd name="T9" fmla="*/ 4 h 4"/>
                <a:gd name="T10" fmla="*/ 3 w 4"/>
                <a:gd name="T11" fmla="*/ 4 h 4"/>
                <a:gd name="T12" fmla="*/ 4 w 4"/>
                <a:gd name="T13" fmla="*/ 3 h 4"/>
                <a:gd name="T14" fmla="*/ 4 w 4"/>
                <a:gd name="T15" fmla="*/ 1 h 4"/>
                <a:gd name="T16" fmla="*/ 3 w 4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3" name="ïś1îḑe"/>
            <p:cNvSpPr/>
            <p:nvPr>
              <p:custDataLst>
                <p:tags r:id="rId27"/>
              </p:custDataLst>
            </p:nvPr>
          </p:nvSpPr>
          <p:spPr bwMode="auto">
            <a:xfrm flipH="1">
              <a:off x="3426970" y="2045395"/>
              <a:ext cx="31052" cy="37951"/>
            </a:xfrm>
            <a:custGeom>
              <a:avLst/>
              <a:gdLst>
                <a:gd name="T0" fmla="*/ 12 w 14"/>
                <a:gd name="T1" fmla="*/ 0 h 18"/>
                <a:gd name="T2" fmla="*/ 1 w 14"/>
                <a:gd name="T3" fmla="*/ 0 h 18"/>
                <a:gd name="T4" fmla="*/ 0 w 14"/>
                <a:gd name="T5" fmla="*/ 1 h 18"/>
                <a:gd name="T6" fmla="*/ 1 w 14"/>
                <a:gd name="T7" fmla="*/ 17 h 18"/>
                <a:gd name="T8" fmla="*/ 1 w 14"/>
                <a:gd name="T9" fmla="*/ 18 h 18"/>
                <a:gd name="T10" fmla="*/ 13 w 14"/>
                <a:gd name="T11" fmla="*/ 18 h 18"/>
                <a:gd name="T12" fmla="*/ 14 w 14"/>
                <a:gd name="T13" fmla="*/ 17 h 18"/>
                <a:gd name="T14" fmla="*/ 13 w 14"/>
                <a:gd name="T15" fmla="*/ 1 h 18"/>
                <a:gd name="T16" fmla="*/ 12 w 1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8">
                  <a:moveTo>
                    <a:pt x="1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4" y="17"/>
                    <a:pt x="14" y="1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4" name="ïslîdê"/>
            <p:cNvSpPr/>
            <p:nvPr>
              <p:custDataLst>
                <p:tags r:id="rId28"/>
              </p:custDataLst>
            </p:nvPr>
          </p:nvSpPr>
          <p:spPr bwMode="auto">
            <a:xfrm flipH="1">
              <a:off x="3503491" y="1655044"/>
              <a:ext cx="60995" cy="72649"/>
            </a:xfrm>
            <a:custGeom>
              <a:avLst/>
              <a:gdLst>
                <a:gd name="T0" fmla="*/ 24 w 28"/>
                <a:gd name="T1" fmla="*/ 5 h 34"/>
                <a:gd name="T2" fmla="*/ 15 w 28"/>
                <a:gd name="T3" fmla="*/ 1 h 34"/>
                <a:gd name="T4" fmla="*/ 9 w 28"/>
                <a:gd name="T5" fmla="*/ 4 h 34"/>
                <a:gd name="T6" fmla="*/ 1 w 28"/>
                <a:gd name="T7" fmla="*/ 23 h 34"/>
                <a:gd name="T8" fmla="*/ 3 w 28"/>
                <a:gd name="T9" fmla="*/ 29 h 34"/>
                <a:gd name="T10" fmla="*/ 12 w 28"/>
                <a:gd name="T11" fmla="*/ 33 h 34"/>
                <a:gd name="T12" fmla="*/ 19 w 28"/>
                <a:gd name="T13" fmla="*/ 31 h 34"/>
                <a:gd name="T14" fmla="*/ 27 w 28"/>
                <a:gd name="T15" fmla="*/ 11 h 34"/>
                <a:gd name="T16" fmla="*/ 24 w 28"/>
                <a:gd name="T17" fmla="*/ 5 h 34"/>
                <a:gd name="T18" fmla="*/ 17 w 28"/>
                <a:gd name="T19" fmla="*/ 30 h 34"/>
                <a:gd name="T20" fmla="*/ 13 w 28"/>
                <a:gd name="T21" fmla="*/ 31 h 34"/>
                <a:gd name="T22" fmla="*/ 4 w 28"/>
                <a:gd name="T23" fmla="*/ 27 h 34"/>
                <a:gd name="T24" fmla="*/ 3 w 28"/>
                <a:gd name="T25" fmla="*/ 24 h 34"/>
                <a:gd name="T26" fmla="*/ 11 w 28"/>
                <a:gd name="T27" fmla="*/ 5 h 34"/>
                <a:gd name="T28" fmla="*/ 14 w 28"/>
                <a:gd name="T29" fmla="*/ 3 h 34"/>
                <a:gd name="T30" fmla="*/ 24 w 28"/>
                <a:gd name="T31" fmla="*/ 7 h 34"/>
                <a:gd name="T32" fmla="*/ 25 w 28"/>
                <a:gd name="T33" fmla="*/ 11 h 34"/>
                <a:gd name="T34" fmla="*/ 17 w 28"/>
                <a:gd name="T35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34">
                  <a:moveTo>
                    <a:pt x="24" y="5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3" y="0"/>
                    <a:pt x="10" y="1"/>
                    <a:pt x="9" y="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1" y="28"/>
                    <a:pt x="3" y="29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5" y="34"/>
                    <a:pt x="18" y="33"/>
                    <a:pt x="19" y="3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9"/>
                    <a:pt x="27" y="6"/>
                    <a:pt x="24" y="5"/>
                  </a:cubicBezTo>
                  <a:close/>
                  <a:moveTo>
                    <a:pt x="17" y="30"/>
                  </a:moveTo>
                  <a:cubicBezTo>
                    <a:pt x="16" y="31"/>
                    <a:pt x="15" y="32"/>
                    <a:pt x="13" y="31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5"/>
                    <a:pt x="3" y="2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3"/>
                    <a:pt x="13" y="3"/>
                    <a:pt x="14" y="3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8"/>
                    <a:pt x="26" y="9"/>
                    <a:pt x="25" y="11"/>
                  </a:cubicBezTo>
                  <a:lnTo>
                    <a:pt x="17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5" name="îṣľiḋê"/>
            <p:cNvSpPr/>
            <p:nvPr>
              <p:custDataLst>
                <p:tags r:id="rId29"/>
              </p:custDataLst>
            </p:nvPr>
          </p:nvSpPr>
          <p:spPr bwMode="auto">
            <a:xfrm flipH="1">
              <a:off x="3537870" y="1706006"/>
              <a:ext cx="8872" cy="8674"/>
            </a:xfrm>
            <a:custGeom>
              <a:avLst/>
              <a:gdLst>
                <a:gd name="T0" fmla="*/ 4 w 4"/>
                <a:gd name="T1" fmla="*/ 1 h 4"/>
                <a:gd name="T2" fmla="*/ 2 w 4"/>
                <a:gd name="T3" fmla="*/ 0 h 4"/>
                <a:gd name="T4" fmla="*/ 1 w 4"/>
                <a:gd name="T5" fmla="*/ 1 h 4"/>
                <a:gd name="T6" fmla="*/ 0 w 4"/>
                <a:gd name="T7" fmla="*/ 2 h 4"/>
                <a:gd name="T8" fmla="*/ 0 w 4"/>
                <a:gd name="T9" fmla="*/ 3 h 4"/>
                <a:gd name="T10" fmla="*/ 2 w 4"/>
                <a:gd name="T11" fmla="*/ 4 h 4"/>
                <a:gd name="T12" fmla="*/ 3 w 4"/>
                <a:gd name="T13" fmla="*/ 4 h 4"/>
                <a:gd name="T14" fmla="*/ 4 w 4"/>
                <a:gd name="T15" fmla="*/ 2 h 4"/>
                <a:gd name="T16" fmla="*/ 4 w 4"/>
                <a:gd name="T1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6" name="îṧlïḋé"/>
            <p:cNvSpPr/>
            <p:nvPr>
              <p:custDataLst>
                <p:tags r:id="rId30"/>
              </p:custDataLst>
            </p:nvPr>
          </p:nvSpPr>
          <p:spPr bwMode="auto">
            <a:xfrm flipH="1">
              <a:off x="3512363" y="1665887"/>
              <a:ext cx="41033" cy="44457"/>
            </a:xfrm>
            <a:custGeom>
              <a:avLst/>
              <a:gdLst>
                <a:gd name="T0" fmla="*/ 18 w 19"/>
                <a:gd name="T1" fmla="*/ 4 h 21"/>
                <a:gd name="T2" fmla="*/ 8 w 19"/>
                <a:gd name="T3" fmla="*/ 0 h 21"/>
                <a:gd name="T4" fmla="*/ 7 w 19"/>
                <a:gd name="T5" fmla="*/ 0 h 21"/>
                <a:gd name="T6" fmla="*/ 1 w 19"/>
                <a:gd name="T7" fmla="*/ 15 h 21"/>
                <a:gd name="T8" fmla="*/ 1 w 19"/>
                <a:gd name="T9" fmla="*/ 16 h 21"/>
                <a:gd name="T10" fmla="*/ 11 w 19"/>
                <a:gd name="T11" fmla="*/ 20 h 21"/>
                <a:gd name="T12" fmla="*/ 12 w 19"/>
                <a:gd name="T13" fmla="*/ 20 h 21"/>
                <a:gd name="T14" fmla="*/ 19 w 19"/>
                <a:gd name="T15" fmla="*/ 5 h 21"/>
                <a:gd name="T16" fmla="*/ 18 w 19"/>
                <a:gd name="T17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1">
                  <a:moveTo>
                    <a:pt x="18" y="4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1"/>
                    <a:pt x="12" y="20"/>
                    <a:pt x="12" y="2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7" name="íṩḻíďé"/>
            <p:cNvSpPr/>
            <p:nvPr>
              <p:custDataLst>
                <p:tags r:id="rId31"/>
              </p:custDataLst>
            </p:nvPr>
          </p:nvSpPr>
          <p:spPr bwMode="auto">
            <a:xfrm flipH="1">
              <a:off x="4173328" y="3642581"/>
              <a:ext cx="104246" cy="137707"/>
            </a:xfrm>
            <a:custGeom>
              <a:avLst/>
              <a:gdLst>
                <a:gd name="T0" fmla="*/ 34 w 48"/>
                <a:gd name="T1" fmla="*/ 20 h 65"/>
                <a:gd name="T2" fmla="*/ 41 w 48"/>
                <a:gd name="T3" fmla="*/ 11 h 65"/>
                <a:gd name="T4" fmla="*/ 32 w 48"/>
                <a:gd name="T5" fmla="*/ 0 h 65"/>
                <a:gd name="T6" fmla="*/ 16 w 48"/>
                <a:gd name="T7" fmla="*/ 0 h 65"/>
                <a:gd name="T8" fmla="*/ 7 w 48"/>
                <a:gd name="T9" fmla="*/ 11 h 65"/>
                <a:gd name="T10" fmla="*/ 14 w 48"/>
                <a:gd name="T11" fmla="*/ 19 h 65"/>
                <a:gd name="T12" fmla="*/ 0 w 48"/>
                <a:gd name="T13" fmla="*/ 42 h 65"/>
                <a:gd name="T14" fmla="*/ 24 w 48"/>
                <a:gd name="T15" fmla="*/ 65 h 65"/>
                <a:gd name="T16" fmla="*/ 48 w 48"/>
                <a:gd name="T17" fmla="*/ 41 h 65"/>
                <a:gd name="T18" fmla="*/ 34 w 48"/>
                <a:gd name="T19" fmla="*/ 20 h 65"/>
                <a:gd name="T20" fmla="*/ 29 w 48"/>
                <a:gd name="T21" fmla="*/ 3 h 65"/>
                <a:gd name="T22" fmla="*/ 34 w 48"/>
                <a:gd name="T23" fmla="*/ 11 h 65"/>
                <a:gd name="T24" fmla="*/ 29 w 48"/>
                <a:gd name="T25" fmla="*/ 11 h 65"/>
                <a:gd name="T26" fmla="*/ 29 w 48"/>
                <a:gd name="T27" fmla="*/ 3 h 65"/>
                <a:gd name="T28" fmla="*/ 12 w 48"/>
                <a:gd name="T29" fmla="*/ 11 h 65"/>
                <a:gd name="T30" fmla="*/ 17 w 48"/>
                <a:gd name="T31" fmla="*/ 10 h 65"/>
                <a:gd name="T32" fmla="*/ 18 w 48"/>
                <a:gd name="T33" fmla="*/ 18 h 65"/>
                <a:gd name="T34" fmla="*/ 12 w 48"/>
                <a:gd name="T35" fmla="*/ 11 h 65"/>
                <a:gd name="T36" fmla="*/ 24 w 48"/>
                <a:gd name="T37" fmla="*/ 59 h 65"/>
                <a:gd name="T38" fmla="*/ 6 w 48"/>
                <a:gd name="T39" fmla="*/ 41 h 65"/>
                <a:gd name="T40" fmla="*/ 23 w 48"/>
                <a:gd name="T41" fmla="*/ 24 h 65"/>
                <a:gd name="T42" fmla="*/ 41 w 48"/>
                <a:gd name="T43" fmla="*/ 41 h 65"/>
                <a:gd name="T44" fmla="*/ 24 w 48"/>
                <a:gd name="T4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65">
                  <a:moveTo>
                    <a:pt x="34" y="20"/>
                  </a:moveTo>
                  <a:cubicBezTo>
                    <a:pt x="41" y="11"/>
                    <a:pt x="41" y="11"/>
                    <a:pt x="41" y="1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6" y="23"/>
                    <a:pt x="0" y="32"/>
                    <a:pt x="0" y="42"/>
                  </a:cubicBezTo>
                  <a:cubicBezTo>
                    <a:pt x="0" y="55"/>
                    <a:pt x="11" y="65"/>
                    <a:pt x="24" y="65"/>
                  </a:cubicBezTo>
                  <a:cubicBezTo>
                    <a:pt x="37" y="65"/>
                    <a:pt x="48" y="54"/>
                    <a:pt x="48" y="41"/>
                  </a:cubicBezTo>
                  <a:cubicBezTo>
                    <a:pt x="48" y="31"/>
                    <a:pt x="42" y="23"/>
                    <a:pt x="34" y="20"/>
                  </a:cubicBezTo>
                  <a:close/>
                  <a:moveTo>
                    <a:pt x="29" y="3"/>
                  </a:moveTo>
                  <a:cubicBezTo>
                    <a:pt x="34" y="11"/>
                    <a:pt x="34" y="11"/>
                    <a:pt x="34" y="11"/>
                  </a:cubicBezTo>
                  <a:cubicBezTo>
                    <a:pt x="29" y="11"/>
                    <a:pt x="29" y="11"/>
                    <a:pt x="29" y="11"/>
                  </a:cubicBezTo>
                  <a:lnTo>
                    <a:pt x="29" y="3"/>
                  </a:lnTo>
                  <a:close/>
                  <a:moveTo>
                    <a:pt x="12" y="11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2" y="11"/>
                  </a:lnTo>
                  <a:close/>
                  <a:moveTo>
                    <a:pt x="24" y="59"/>
                  </a:moveTo>
                  <a:cubicBezTo>
                    <a:pt x="14" y="59"/>
                    <a:pt x="6" y="51"/>
                    <a:pt x="6" y="41"/>
                  </a:cubicBezTo>
                  <a:cubicBezTo>
                    <a:pt x="6" y="32"/>
                    <a:pt x="14" y="24"/>
                    <a:pt x="23" y="24"/>
                  </a:cubicBezTo>
                  <a:cubicBezTo>
                    <a:pt x="33" y="24"/>
                    <a:pt x="41" y="31"/>
                    <a:pt x="41" y="41"/>
                  </a:cubicBezTo>
                  <a:cubicBezTo>
                    <a:pt x="41" y="51"/>
                    <a:pt x="34" y="59"/>
                    <a:pt x="24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38" name="íšļïḋe"/>
            <p:cNvSpPr/>
            <p:nvPr>
              <p:custDataLst>
                <p:tags r:id="rId32"/>
              </p:custDataLst>
            </p:nvPr>
          </p:nvSpPr>
          <p:spPr bwMode="auto">
            <a:xfrm flipH="1">
              <a:off x="3151938" y="1517337"/>
              <a:ext cx="113118" cy="233126"/>
            </a:xfrm>
            <a:custGeom>
              <a:avLst/>
              <a:gdLst>
                <a:gd name="T0" fmla="*/ 0 w 52"/>
                <a:gd name="T1" fmla="*/ 0 h 110"/>
                <a:gd name="T2" fmla="*/ 2 w 52"/>
                <a:gd name="T3" fmla="*/ 110 h 110"/>
                <a:gd name="T4" fmla="*/ 51 w 52"/>
                <a:gd name="T5" fmla="*/ 54 h 110"/>
                <a:gd name="T6" fmla="*/ 0 w 52"/>
                <a:gd name="T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110">
                  <a:moveTo>
                    <a:pt x="0" y="0"/>
                  </a:moveTo>
                  <a:cubicBezTo>
                    <a:pt x="2" y="110"/>
                    <a:pt x="2" y="110"/>
                    <a:pt x="2" y="110"/>
                  </a:cubicBezTo>
                  <a:cubicBezTo>
                    <a:pt x="30" y="107"/>
                    <a:pt x="52" y="83"/>
                    <a:pt x="51" y="54"/>
                  </a:cubicBezTo>
                  <a:cubicBezTo>
                    <a:pt x="51" y="25"/>
                    <a:pt x="28" y="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</a:p>
          </p:txBody>
        </p:sp>
        <p:sp>
          <p:nvSpPr>
            <p:cNvPr id="139" name="îṣ1îdê"/>
            <p:cNvSpPr/>
            <p:nvPr>
              <p:custDataLst>
                <p:tags r:id="rId33"/>
              </p:custDataLst>
            </p:nvPr>
          </p:nvSpPr>
          <p:spPr bwMode="auto">
            <a:xfrm flipH="1">
              <a:off x="3281691" y="1517337"/>
              <a:ext cx="110900" cy="114937"/>
            </a:xfrm>
            <a:custGeom>
              <a:avLst/>
              <a:gdLst>
                <a:gd name="T0" fmla="*/ 51 w 51"/>
                <a:gd name="T1" fmla="*/ 53 h 54"/>
                <a:gd name="T2" fmla="*/ 49 w 51"/>
                <a:gd name="T3" fmla="*/ 0 h 54"/>
                <a:gd name="T4" fmla="*/ 0 w 51"/>
                <a:gd name="T5" fmla="*/ 54 h 54"/>
                <a:gd name="T6" fmla="*/ 51 w 51"/>
                <a:gd name="T7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4">
                  <a:moveTo>
                    <a:pt x="51" y="53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22" y="3"/>
                    <a:pt x="1" y="26"/>
                    <a:pt x="0" y="54"/>
                  </a:cubicBezTo>
                  <a:lnTo>
                    <a:pt x="5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0" name="iṩ1ïḑe"/>
            <p:cNvSpPr/>
            <p:nvPr>
              <p:custDataLst>
                <p:tags r:id="rId34"/>
              </p:custDataLst>
            </p:nvPr>
          </p:nvSpPr>
          <p:spPr bwMode="auto">
            <a:xfrm flipH="1">
              <a:off x="3279473" y="1648538"/>
              <a:ext cx="110900" cy="101925"/>
            </a:xfrm>
            <a:custGeom>
              <a:avLst/>
              <a:gdLst>
                <a:gd name="T0" fmla="*/ 0 w 51"/>
                <a:gd name="T1" fmla="*/ 1 h 48"/>
                <a:gd name="T2" fmla="*/ 51 w 51"/>
                <a:gd name="T3" fmla="*/ 48 h 48"/>
                <a:gd name="T4" fmla="*/ 50 w 51"/>
                <a:gd name="T5" fmla="*/ 0 h 48"/>
                <a:gd name="T6" fmla="*/ 0 w 51"/>
                <a:gd name="T7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8">
                  <a:moveTo>
                    <a:pt x="0" y="1"/>
                  </a:moveTo>
                  <a:cubicBezTo>
                    <a:pt x="4" y="27"/>
                    <a:pt x="25" y="46"/>
                    <a:pt x="51" y="48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1" name="îṥ1îḑê"/>
            <p:cNvSpPr/>
            <p:nvPr>
              <p:custDataLst>
                <p:tags r:id="rId35"/>
              </p:custDataLst>
            </p:nvPr>
          </p:nvSpPr>
          <p:spPr bwMode="auto">
            <a:xfrm flipH="1">
              <a:off x="3444714" y="2766460"/>
              <a:ext cx="41033" cy="93251"/>
            </a:xfrm>
            <a:custGeom>
              <a:avLst/>
              <a:gdLst>
                <a:gd name="T0" fmla="*/ 19 w 19"/>
                <a:gd name="T1" fmla="*/ 38 h 44"/>
                <a:gd name="T2" fmla="*/ 13 w 19"/>
                <a:gd name="T3" fmla="*/ 44 h 44"/>
                <a:gd name="T4" fmla="*/ 7 w 19"/>
                <a:gd name="T5" fmla="*/ 44 h 44"/>
                <a:gd name="T6" fmla="*/ 1 w 19"/>
                <a:gd name="T7" fmla="*/ 38 h 44"/>
                <a:gd name="T8" fmla="*/ 0 w 19"/>
                <a:gd name="T9" fmla="*/ 7 h 44"/>
                <a:gd name="T10" fmla="*/ 6 w 19"/>
                <a:gd name="T11" fmla="*/ 1 h 44"/>
                <a:gd name="T12" fmla="*/ 12 w 19"/>
                <a:gd name="T13" fmla="*/ 1 h 44"/>
                <a:gd name="T14" fmla="*/ 19 w 19"/>
                <a:gd name="T15" fmla="*/ 7 h 44"/>
                <a:gd name="T16" fmla="*/ 19 w 19"/>
                <a:gd name="T17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44">
                  <a:moveTo>
                    <a:pt x="19" y="38"/>
                  </a:moveTo>
                  <a:cubicBezTo>
                    <a:pt x="19" y="41"/>
                    <a:pt x="17" y="44"/>
                    <a:pt x="1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4" y="44"/>
                    <a:pt x="1" y="42"/>
                    <a:pt x="1" y="3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3" y="1"/>
                    <a:pt x="6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6" y="0"/>
                    <a:pt x="19" y="3"/>
                    <a:pt x="19" y="7"/>
                  </a:cubicBezTo>
                  <a:lnTo>
                    <a:pt x="19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2" name="îs1íḍe"/>
            <p:cNvSpPr/>
            <p:nvPr>
              <p:custDataLst>
                <p:tags r:id="rId36"/>
              </p:custDataLst>
            </p:nvPr>
          </p:nvSpPr>
          <p:spPr bwMode="auto">
            <a:xfrm flipH="1">
              <a:off x="3385937" y="2740437"/>
              <a:ext cx="43251" cy="119274"/>
            </a:xfrm>
            <a:custGeom>
              <a:avLst/>
              <a:gdLst>
                <a:gd name="T0" fmla="*/ 20 w 20"/>
                <a:gd name="T1" fmla="*/ 49 h 56"/>
                <a:gd name="T2" fmla="*/ 14 w 20"/>
                <a:gd name="T3" fmla="*/ 55 h 56"/>
                <a:gd name="T4" fmla="*/ 7 w 20"/>
                <a:gd name="T5" fmla="*/ 56 h 56"/>
                <a:gd name="T6" fmla="*/ 1 w 20"/>
                <a:gd name="T7" fmla="*/ 50 h 56"/>
                <a:gd name="T8" fmla="*/ 0 w 20"/>
                <a:gd name="T9" fmla="*/ 6 h 56"/>
                <a:gd name="T10" fmla="*/ 6 w 20"/>
                <a:gd name="T11" fmla="*/ 0 h 56"/>
                <a:gd name="T12" fmla="*/ 13 w 20"/>
                <a:gd name="T13" fmla="*/ 0 h 56"/>
                <a:gd name="T14" fmla="*/ 19 w 20"/>
                <a:gd name="T15" fmla="*/ 6 h 56"/>
                <a:gd name="T16" fmla="*/ 20 w 20"/>
                <a:gd name="T17" fmla="*/ 4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56">
                  <a:moveTo>
                    <a:pt x="20" y="49"/>
                  </a:moveTo>
                  <a:cubicBezTo>
                    <a:pt x="20" y="53"/>
                    <a:pt x="17" y="55"/>
                    <a:pt x="14" y="55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4" y="56"/>
                    <a:pt x="1" y="53"/>
                    <a:pt x="1" y="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lnTo>
                    <a:pt x="20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3" name="íṥlîḍè"/>
            <p:cNvSpPr/>
            <p:nvPr>
              <p:custDataLst>
                <p:tags r:id="rId37"/>
              </p:custDataLst>
            </p:nvPr>
          </p:nvSpPr>
          <p:spPr bwMode="auto">
            <a:xfrm flipH="1">
              <a:off x="3327160" y="2706823"/>
              <a:ext cx="44360" cy="150719"/>
            </a:xfrm>
            <a:custGeom>
              <a:avLst/>
              <a:gdLst>
                <a:gd name="T0" fmla="*/ 20 w 20"/>
                <a:gd name="T1" fmla="*/ 65 h 71"/>
                <a:gd name="T2" fmla="*/ 14 w 20"/>
                <a:gd name="T3" fmla="*/ 71 h 71"/>
                <a:gd name="T4" fmla="*/ 7 w 20"/>
                <a:gd name="T5" fmla="*/ 71 h 71"/>
                <a:gd name="T6" fmla="*/ 1 w 20"/>
                <a:gd name="T7" fmla="*/ 65 h 71"/>
                <a:gd name="T8" fmla="*/ 0 w 20"/>
                <a:gd name="T9" fmla="*/ 6 h 71"/>
                <a:gd name="T10" fmla="*/ 6 w 20"/>
                <a:gd name="T11" fmla="*/ 0 h 71"/>
                <a:gd name="T12" fmla="*/ 12 w 20"/>
                <a:gd name="T13" fmla="*/ 0 h 71"/>
                <a:gd name="T14" fmla="*/ 18 w 20"/>
                <a:gd name="T15" fmla="*/ 6 h 71"/>
                <a:gd name="T16" fmla="*/ 20 w 20"/>
                <a:gd name="T17" fmla="*/ 6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71">
                  <a:moveTo>
                    <a:pt x="20" y="65"/>
                  </a:moveTo>
                  <a:cubicBezTo>
                    <a:pt x="20" y="68"/>
                    <a:pt x="17" y="71"/>
                    <a:pt x="14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4" y="71"/>
                    <a:pt x="1" y="68"/>
                    <a:pt x="1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5" y="0"/>
                    <a:pt x="18" y="2"/>
                    <a:pt x="18" y="6"/>
                  </a:cubicBezTo>
                  <a:lnTo>
                    <a:pt x="20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4" name="íṧľíḍé"/>
            <p:cNvSpPr/>
            <p:nvPr>
              <p:custDataLst>
                <p:tags r:id="rId38"/>
              </p:custDataLst>
            </p:nvPr>
          </p:nvSpPr>
          <p:spPr bwMode="auto">
            <a:xfrm flipH="1">
              <a:off x="3262838" y="2872722"/>
              <a:ext cx="231781" cy="40119"/>
            </a:xfrm>
            <a:custGeom>
              <a:avLst/>
              <a:gdLst>
                <a:gd name="T0" fmla="*/ 7 w 107"/>
                <a:gd name="T1" fmla="*/ 19 h 19"/>
                <a:gd name="T2" fmla="*/ 1 w 107"/>
                <a:gd name="T3" fmla="*/ 13 h 19"/>
                <a:gd name="T4" fmla="*/ 0 w 107"/>
                <a:gd name="T5" fmla="*/ 8 h 19"/>
                <a:gd name="T6" fmla="*/ 6 w 107"/>
                <a:gd name="T7" fmla="*/ 2 h 19"/>
                <a:gd name="T8" fmla="*/ 100 w 107"/>
                <a:gd name="T9" fmla="*/ 0 h 19"/>
                <a:gd name="T10" fmla="*/ 106 w 107"/>
                <a:gd name="T11" fmla="*/ 6 h 19"/>
                <a:gd name="T12" fmla="*/ 107 w 107"/>
                <a:gd name="T13" fmla="*/ 11 h 19"/>
                <a:gd name="T14" fmla="*/ 101 w 107"/>
                <a:gd name="T15" fmla="*/ 17 h 19"/>
                <a:gd name="T16" fmla="*/ 7 w 107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19">
                  <a:moveTo>
                    <a:pt x="7" y="19"/>
                  </a:moveTo>
                  <a:cubicBezTo>
                    <a:pt x="3" y="19"/>
                    <a:pt x="1" y="16"/>
                    <a:pt x="1" y="1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2"/>
                    <a:pt x="6" y="2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4" y="0"/>
                    <a:pt x="106" y="2"/>
                    <a:pt x="106" y="6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14"/>
                    <a:pt x="104" y="17"/>
                    <a:pt x="101" y="17"/>
                  </a:cubicBezTo>
                  <a:lnTo>
                    <a:pt x="7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5" name="îṧļíḓê"/>
            <p:cNvSpPr/>
            <p:nvPr>
              <p:custDataLst>
                <p:tags r:id="rId39"/>
              </p:custDataLst>
            </p:nvPr>
          </p:nvSpPr>
          <p:spPr bwMode="auto">
            <a:xfrm flipH="1">
              <a:off x="3273928" y="2739352"/>
              <a:ext cx="43251" cy="118190"/>
            </a:xfrm>
            <a:custGeom>
              <a:avLst/>
              <a:gdLst>
                <a:gd name="T0" fmla="*/ 20 w 20"/>
                <a:gd name="T1" fmla="*/ 49 h 56"/>
                <a:gd name="T2" fmla="*/ 14 w 20"/>
                <a:gd name="T3" fmla="*/ 55 h 56"/>
                <a:gd name="T4" fmla="*/ 7 w 20"/>
                <a:gd name="T5" fmla="*/ 55 h 56"/>
                <a:gd name="T6" fmla="*/ 1 w 20"/>
                <a:gd name="T7" fmla="*/ 50 h 56"/>
                <a:gd name="T8" fmla="*/ 0 w 20"/>
                <a:gd name="T9" fmla="*/ 6 h 56"/>
                <a:gd name="T10" fmla="*/ 6 w 20"/>
                <a:gd name="T11" fmla="*/ 0 h 56"/>
                <a:gd name="T12" fmla="*/ 12 w 20"/>
                <a:gd name="T13" fmla="*/ 0 h 56"/>
                <a:gd name="T14" fmla="*/ 19 w 20"/>
                <a:gd name="T15" fmla="*/ 6 h 56"/>
                <a:gd name="T16" fmla="*/ 20 w 20"/>
                <a:gd name="T17" fmla="*/ 4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56">
                  <a:moveTo>
                    <a:pt x="20" y="49"/>
                  </a:moveTo>
                  <a:cubicBezTo>
                    <a:pt x="20" y="52"/>
                    <a:pt x="17" y="55"/>
                    <a:pt x="14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4" y="56"/>
                    <a:pt x="1" y="53"/>
                    <a:pt x="1" y="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9" y="2"/>
                    <a:pt x="19" y="6"/>
                  </a:cubicBezTo>
                  <a:lnTo>
                    <a:pt x="20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6" name="îṡḻïďè"/>
            <p:cNvSpPr/>
            <p:nvPr>
              <p:custDataLst>
                <p:tags r:id="rId40"/>
              </p:custDataLst>
            </p:nvPr>
          </p:nvSpPr>
          <p:spPr bwMode="auto">
            <a:xfrm flipH="1">
              <a:off x="3993670" y="3241387"/>
              <a:ext cx="23289" cy="53131"/>
            </a:xfrm>
            <a:custGeom>
              <a:avLst/>
              <a:gdLst>
                <a:gd name="T0" fmla="*/ 11 w 11"/>
                <a:gd name="T1" fmla="*/ 22 h 25"/>
                <a:gd name="T2" fmla="*/ 8 w 11"/>
                <a:gd name="T3" fmla="*/ 25 h 25"/>
                <a:gd name="T4" fmla="*/ 4 w 11"/>
                <a:gd name="T5" fmla="*/ 25 h 25"/>
                <a:gd name="T6" fmla="*/ 0 w 11"/>
                <a:gd name="T7" fmla="*/ 22 h 25"/>
                <a:gd name="T8" fmla="*/ 0 w 11"/>
                <a:gd name="T9" fmla="*/ 4 h 25"/>
                <a:gd name="T10" fmla="*/ 3 w 11"/>
                <a:gd name="T11" fmla="*/ 0 h 25"/>
                <a:gd name="T12" fmla="*/ 7 w 11"/>
                <a:gd name="T13" fmla="*/ 0 h 25"/>
                <a:gd name="T14" fmla="*/ 11 w 11"/>
                <a:gd name="T15" fmla="*/ 3 h 25"/>
                <a:gd name="T16" fmla="*/ 11 w 11"/>
                <a:gd name="T17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5">
                  <a:moveTo>
                    <a:pt x="11" y="22"/>
                  </a:moveTo>
                  <a:cubicBezTo>
                    <a:pt x="11" y="24"/>
                    <a:pt x="9" y="25"/>
                    <a:pt x="8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lnTo>
                    <a:pt x="11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7" name="îṥlîḋe"/>
            <p:cNvSpPr/>
            <p:nvPr>
              <p:custDataLst>
                <p:tags r:id="rId41"/>
              </p:custDataLst>
            </p:nvPr>
          </p:nvSpPr>
          <p:spPr bwMode="auto">
            <a:xfrm flipH="1">
              <a:off x="3960400" y="3224038"/>
              <a:ext cx="24398" cy="70480"/>
            </a:xfrm>
            <a:custGeom>
              <a:avLst/>
              <a:gdLst>
                <a:gd name="T0" fmla="*/ 11 w 11"/>
                <a:gd name="T1" fmla="*/ 29 h 33"/>
                <a:gd name="T2" fmla="*/ 8 w 11"/>
                <a:gd name="T3" fmla="*/ 33 h 33"/>
                <a:gd name="T4" fmla="*/ 4 w 11"/>
                <a:gd name="T5" fmla="*/ 33 h 33"/>
                <a:gd name="T6" fmla="*/ 0 w 11"/>
                <a:gd name="T7" fmla="*/ 29 h 33"/>
                <a:gd name="T8" fmla="*/ 0 w 11"/>
                <a:gd name="T9" fmla="*/ 4 h 33"/>
                <a:gd name="T10" fmla="*/ 3 w 11"/>
                <a:gd name="T11" fmla="*/ 0 h 33"/>
                <a:gd name="T12" fmla="*/ 7 w 11"/>
                <a:gd name="T13" fmla="*/ 0 h 33"/>
                <a:gd name="T14" fmla="*/ 11 w 11"/>
                <a:gd name="T15" fmla="*/ 4 h 33"/>
                <a:gd name="T16" fmla="*/ 11 w 11"/>
                <a:gd name="T17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3">
                  <a:moveTo>
                    <a:pt x="11" y="29"/>
                  </a:moveTo>
                  <a:cubicBezTo>
                    <a:pt x="11" y="31"/>
                    <a:pt x="10" y="33"/>
                    <a:pt x="8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2" y="33"/>
                    <a:pt x="0" y="31"/>
                    <a:pt x="0" y="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2"/>
                    <a:pt x="11" y="4"/>
                  </a:cubicBez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8" name="i$lïḍé"/>
            <p:cNvSpPr/>
            <p:nvPr>
              <p:custDataLst>
                <p:tags r:id="rId42"/>
              </p:custDataLst>
            </p:nvPr>
          </p:nvSpPr>
          <p:spPr bwMode="auto">
            <a:xfrm flipH="1">
              <a:off x="3926021" y="3205605"/>
              <a:ext cx="26616" cy="88913"/>
            </a:xfrm>
            <a:custGeom>
              <a:avLst/>
              <a:gdLst>
                <a:gd name="T0" fmla="*/ 12 w 12"/>
                <a:gd name="T1" fmla="*/ 38 h 42"/>
                <a:gd name="T2" fmla="*/ 9 w 12"/>
                <a:gd name="T3" fmla="*/ 42 h 42"/>
                <a:gd name="T4" fmla="*/ 5 w 12"/>
                <a:gd name="T5" fmla="*/ 42 h 42"/>
                <a:gd name="T6" fmla="*/ 1 w 12"/>
                <a:gd name="T7" fmla="*/ 38 h 42"/>
                <a:gd name="T8" fmla="*/ 0 w 12"/>
                <a:gd name="T9" fmla="*/ 4 h 42"/>
                <a:gd name="T10" fmla="*/ 4 w 12"/>
                <a:gd name="T11" fmla="*/ 0 h 42"/>
                <a:gd name="T12" fmla="*/ 8 w 12"/>
                <a:gd name="T13" fmla="*/ 0 h 42"/>
                <a:gd name="T14" fmla="*/ 11 w 12"/>
                <a:gd name="T15" fmla="*/ 3 h 42"/>
                <a:gd name="T16" fmla="*/ 12 w 12"/>
                <a:gd name="T17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2">
                  <a:moveTo>
                    <a:pt x="12" y="38"/>
                  </a:moveTo>
                  <a:cubicBezTo>
                    <a:pt x="12" y="40"/>
                    <a:pt x="11" y="41"/>
                    <a:pt x="9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3" y="42"/>
                    <a:pt x="1" y="40"/>
                    <a:pt x="1" y="3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1"/>
                    <a:pt x="11" y="3"/>
                  </a:cubicBez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49" name="îṩ1îḑé"/>
            <p:cNvSpPr/>
            <p:nvPr>
              <p:custDataLst>
                <p:tags r:id="rId43"/>
              </p:custDataLst>
            </p:nvPr>
          </p:nvSpPr>
          <p:spPr bwMode="auto">
            <a:xfrm flipH="1">
              <a:off x="3887206" y="3301024"/>
              <a:ext cx="134189" cy="24939"/>
            </a:xfrm>
            <a:custGeom>
              <a:avLst/>
              <a:gdLst>
                <a:gd name="T0" fmla="*/ 3 w 62"/>
                <a:gd name="T1" fmla="*/ 12 h 12"/>
                <a:gd name="T2" fmla="*/ 0 w 62"/>
                <a:gd name="T3" fmla="*/ 8 h 12"/>
                <a:gd name="T4" fmla="*/ 0 w 62"/>
                <a:gd name="T5" fmla="*/ 5 h 12"/>
                <a:gd name="T6" fmla="*/ 3 w 62"/>
                <a:gd name="T7" fmla="*/ 2 h 12"/>
                <a:gd name="T8" fmla="*/ 58 w 62"/>
                <a:gd name="T9" fmla="*/ 0 h 12"/>
                <a:gd name="T10" fmla="*/ 61 w 62"/>
                <a:gd name="T11" fmla="*/ 4 h 12"/>
                <a:gd name="T12" fmla="*/ 62 w 62"/>
                <a:gd name="T13" fmla="*/ 7 h 12"/>
                <a:gd name="T14" fmla="*/ 58 w 62"/>
                <a:gd name="T15" fmla="*/ 11 h 12"/>
                <a:gd name="T16" fmla="*/ 3 w 62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2"/>
                    <a:pt x="61" y="4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9"/>
                    <a:pt x="60" y="11"/>
                    <a:pt x="58" y="11"/>
                  </a:cubicBezTo>
                  <a:lnTo>
                    <a:pt x="3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0" name="î$1îďê"/>
            <p:cNvSpPr/>
            <p:nvPr>
              <p:custDataLst>
                <p:tags r:id="rId44"/>
              </p:custDataLst>
            </p:nvPr>
          </p:nvSpPr>
          <p:spPr bwMode="auto">
            <a:xfrm flipH="1">
              <a:off x="3893860" y="3224038"/>
              <a:ext cx="25507" cy="68311"/>
            </a:xfrm>
            <a:custGeom>
              <a:avLst/>
              <a:gdLst>
                <a:gd name="T0" fmla="*/ 12 w 12"/>
                <a:gd name="T1" fmla="*/ 29 h 32"/>
                <a:gd name="T2" fmla="*/ 8 w 12"/>
                <a:gd name="T3" fmla="*/ 32 h 32"/>
                <a:gd name="T4" fmla="*/ 4 w 12"/>
                <a:gd name="T5" fmla="*/ 32 h 32"/>
                <a:gd name="T6" fmla="*/ 1 w 12"/>
                <a:gd name="T7" fmla="*/ 29 h 32"/>
                <a:gd name="T8" fmla="*/ 0 w 12"/>
                <a:gd name="T9" fmla="*/ 3 h 32"/>
                <a:gd name="T10" fmla="*/ 4 w 12"/>
                <a:gd name="T11" fmla="*/ 0 h 32"/>
                <a:gd name="T12" fmla="*/ 7 w 12"/>
                <a:gd name="T13" fmla="*/ 0 h 32"/>
                <a:gd name="T14" fmla="*/ 11 w 12"/>
                <a:gd name="T15" fmla="*/ 3 h 32"/>
                <a:gd name="T16" fmla="*/ 12 w 12"/>
                <a:gd name="T17" fmla="*/ 2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2">
                  <a:moveTo>
                    <a:pt x="12" y="29"/>
                  </a:moveTo>
                  <a:cubicBezTo>
                    <a:pt x="12" y="31"/>
                    <a:pt x="10" y="32"/>
                    <a:pt x="8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1" y="31"/>
                    <a:pt x="1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lnTo>
                    <a:pt x="12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1" name="í$ľíḓe"/>
            <p:cNvSpPr/>
            <p:nvPr>
              <p:custDataLst>
                <p:tags r:id="rId45"/>
              </p:custDataLst>
            </p:nvPr>
          </p:nvSpPr>
          <p:spPr bwMode="auto">
            <a:xfrm flipH="1">
              <a:off x="3662078" y="2064913"/>
              <a:ext cx="23289" cy="44457"/>
            </a:xfrm>
            <a:custGeom>
              <a:avLst/>
              <a:gdLst>
                <a:gd name="T0" fmla="*/ 10 w 11"/>
                <a:gd name="T1" fmla="*/ 19 h 21"/>
                <a:gd name="T2" fmla="*/ 6 w 11"/>
                <a:gd name="T3" fmla="*/ 21 h 21"/>
                <a:gd name="T4" fmla="*/ 3 w 11"/>
                <a:gd name="T5" fmla="*/ 21 h 21"/>
                <a:gd name="T6" fmla="*/ 0 w 11"/>
                <a:gd name="T7" fmla="*/ 18 h 21"/>
                <a:gd name="T8" fmla="*/ 1 w 11"/>
                <a:gd name="T9" fmla="*/ 3 h 21"/>
                <a:gd name="T10" fmla="*/ 5 w 11"/>
                <a:gd name="T11" fmla="*/ 0 h 21"/>
                <a:gd name="T12" fmla="*/ 8 w 11"/>
                <a:gd name="T13" fmla="*/ 0 h 21"/>
                <a:gd name="T14" fmla="*/ 11 w 11"/>
                <a:gd name="T15" fmla="*/ 3 h 21"/>
                <a:gd name="T16" fmla="*/ 10 w 11"/>
                <a:gd name="T1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1">
                  <a:moveTo>
                    <a:pt x="10" y="19"/>
                  </a:moveTo>
                  <a:cubicBezTo>
                    <a:pt x="9" y="20"/>
                    <a:pt x="8" y="21"/>
                    <a:pt x="6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0" y="20"/>
                    <a:pt x="0" y="18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1" y="2"/>
                    <a:pt x="11" y="3"/>
                  </a:cubicBezTo>
                  <a:lnTo>
                    <a:pt x="10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2" name="íṥḷïdê"/>
            <p:cNvSpPr/>
            <p:nvPr>
              <p:custDataLst>
                <p:tags r:id="rId46"/>
              </p:custDataLst>
            </p:nvPr>
          </p:nvSpPr>
          <p:spPr bwMode="auto">
            <a:xfrm flipH="1">
              <a:off x="3633244" y="2054070"/>
              <a:ext cx="24398" cy="57468"/>
            </a:xfrm>
            <a:custGeom>
              <a:avLst/>
              <a:gdLst>
                <a:gd name="T0" fmla="*/ 9 w 11"/>
                <a:gd name="T1" fmla="*/ 24 h 27"/>
                <a:gd name="T2" fmla="*/ 6 w 11"/>
                <a:gd name="T3" fmla="*/ 27 h 27"/>
                <a:gd name="T4" fmla="*/ 3 w 11"/>
                <a:gd name="T5" fmla="*/ 27 h 27"/>
                <a:gd name="T6" fmla="*/ 0 w 11"/>
                <a:gd name="T7" fmla="*/ 24 h 27"/>
                <a:gd name="T8" fmla="*/ 2 w 11"/>
                <a:gd name="T9" fmla="*/ 3 h 27"/>
                <a:gd name="T10" fmla="*/ 5 w 11"/>
                <a:gd name="T11" fmla="*/ 0 h 27"/>
                <a:gd name="T12" fmla="*/ 8 w 11"/>
                <a:gd name="T13" fmla="*/ 0 h 27"/>
                <a:gd name="T14" fmla="*/ 11 w 11"/>
                <a:gd name="T15" fmla="*/ 3 h 27"/>
                <a:gd name="T16" fmla="*/ 9 w 11"/>
                <a:gd name="T1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9" y="24"/>
                  </a:moveTo>
                  <a:cubicBezTo>
                    <a:pt x="9" y="26"/>
                    <a:pt x="8" y="27"/>
                    <a:pt x="6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5"/>
                    <a:pt x="0" y="2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2"/>
                    <a:pt x="11" y="3"/>
                  </a:cubicBez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3" name="iŝļíḍè"/>
            <p:cNvSpPr/>
            <p:nvPr>
              <p:custDataLst>
                <p:tags r:id="rId47"/>
              </p:custDataLst>
            </p:nvPr>
          </p:nvSpPr>
          <p:spPr bwMode="auto">
            <a:xfrm flipH="1">
              <a:off x="3605519" y="2038889"/>
              <a:ext cx="23289" cy="74817"/>
            </a:xfrm>
            <a:custGeom>
              <a:avLst/>
              <a:gdLst>
                <a:gd name="T0" fmla="*/ 9 w 11"/>
                <a:gd name="T1" fmla="*/ 32 h 35"/>
                <a:gd name="T2" fmla="*/ 6 w 11"/>
                <a:gd name="T3" fmla="*/ 35 h 35"/>
                <a:gd name="T4" fmla="*/ 3 w 11"/>
                <a:gd name="T5" fmla="*/ 35 h 35"/>
                <a:gd name="T6" fmla="*/ 0 w 11"/>
                <a:gd name="T7" fmla="*/ 32 h 35"/>
                <a:gd name="T8" fmla="*/ 2 w 11"/>
                <a:gd name="T9" fmla="*/ 3 h 35"/>
                <a:gd name="T10" fmla="*/ 5 w 11"/>
                <a:gd name="T11" fmla="*/ 0 h 35"/>
                <a:gd name="T12" fmla="*/ 8 w 11"/>
                <a:gd name="T13" fmla="*/ 0 h 35"/>
                <a:gd name="T14" fmla="*/ 11 w 11"/>
                <a:gd name="T15" fmla="*/ 3 h 35"/>
                <a:gd name="T16" fmla="*/ 9 w 11"/>
                <a:gd name="T17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5">
                  <a:moveTo>
                    <a:pt x="9" y="32"/>
                  </a:moveTo>
                  <a:cubicBezTo>
                    <a:pt x="9" y="34"/>
                    <a:pt x="8" y="35"/>
                    <a:pt x="6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2"/>
                    <a:pt x="11" y="3"/>
                  </a:cubicBezTo>
                  <a:lnTo>
                    <a:pt x="9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4" name="íšľiḑè"/>
            <p:cNvSpPr/>
            <p:nvPr>
              <p:custDataLst>
                <p:tags r:id="rId48"/>
              </p:custDataLst>
            </p:nvPr>
          </p:nvSpPr>
          <p:spPr bwMode="auto">
            <a:xfrm flipH="1">
              <a:off x="3578903" y="2115875"/>
              <a:ext cx="113118" cy="24939"/>
            </a:xfrm>
            <a:custGeom>
              <a:avLst/>
              <a:gdLst>
                <a:gd name="T0" fmla="*/ 3 w 52"/>
                <a:gd name="T1" fmla="*/ 9 h 12"/>
                <a:gd name="T2" fmla="*/ 0 w 52"/>
                <a:gd name="T3" fmla="*/ 6 h 12"/>
                <a:gd name="T4" fmla="*/ 1 w 52"/>
                <a:gd name="T5" fmla="*/ 3 h 12"/>
                <a:gd name="T6" fmla="*/ 4 w 52"/>
                <a:gd name="T7" fmla="*/ 1 h 12"/>
                <a:gd name="T8" fmla="*/ 49 w 52"/>
                <a:gd name="T9" fmla="*/ 3 h 12"/>
                <a:gd name="T10" fmla="*/ 52 w 52"/>
                <a:gd name="T11" fmla="*/ 7 h 12"/>
                <a:gd name="T12" fmla="*/ 52 w 52"/>
                <a:gd name="T13" fmla="*/ 9 h 12"/>
                <a:gd name="T14" fmla="*/ 49 w 52"/>
                <a:gd name="T15" fmla="*/ 12 h 12"/>
                <a:gd name="T16" fmla="*/ 3 w 52"/>
                <a:gd name="T1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2">
                  <a:moveTo>
                    <a:pt x="3" y="9"/>
                  </a:moveTo>
                  <a:cubicBezTo>
                    <a:pt x="2" y="9"/>
                    <a:pt x="0" y="8"/>
                    <a:pt x="0" y="6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1" y="3"/>
                    <a:pt x="52" y="5"/>
                    <a:pt x="52" y="7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11"/>
                    <a:pt x="50" y="12"/>
                    <a:pt x="49" y="12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5" name="îşḷídé"/>
            <p:cNvSpPr/>
            <p:nvPr>
              <p:custDataLst>
                <p:tags r:id="rId49"/>
              </p:custDataLst>
            </p:nvPr>
          </p:nvSpPr>
          <p:spPr bwMode="auto">
            <a:xfrm flipH="1">
              <a:off x="3578903" y="2056238"/>
              <a:ext cx="24398" cy="59637"/>
            </a:xfrm>
            <a:custGeom>
              <a:avLst/>
              <a:gdLst>
                <a:gd name="T0" fmla="*/ 10 w 11"/>
                <a:gd name="T1" fmla="*/ 25 h 28"/>
                <a:gd name="T2" fmla="*/ 6 w 11"/>
                <a:gd name="T3" fmla="*/ 28 h 28"/>
                <a:gd name="T4" fmla="*/ 3 w 11"/>
                <a:gd name="T5" fmla="*/ 27 h 28"/>
                <a:gd name="T6" fmla="*/ 0 w 11"/>
                <a:gd name="T7" fmla="*/ 24 h 28"/>
                <a:gd name="T8" fmla="*/ 2 w 11"/>
                <a:gd name="T9" fmla="*/ 3 h 28"/>
                <a:gd name="T10" fmla="*/ 5 w 11"/>
                <a:gd name="T11" fmla="*/ 1 h 28"/>
                <a:gd name="T12" fmla="*/ 8 w 11"/>
                <a:gd name="T13" fmla="*/ 1 h 28"/>
                <a:gd name="T14" fmla="*/ 11 w 11"/>
                <a:gd name="T15" fmla="*/ 4 h 28"/>
                <a:gd name="T16" fmla="*/ 10 w 11"/>
                <a:gd name="T17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8">
                  <a:moveTo>
                    <a:pt x="10" y="25"/>
                  </a:moveTo>
                  <a:cubicBezTo>
                    <a:pt x="9" y="27"/>
                    <a:pt x="8" y="28"/>
                    <a:pt x="6" y="28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7"/>
                    <a:pt x="0" y="26"/>
                    <a:pt x="0" y="2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3" y="0"/>
                    <a:pt x="5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1"/>
                    <a:pt x="11" y="2"/>
                    <a:pt x="11" y="4"/>
                  </a:cubicBezTo>
                  <a:lnTo>
                    <a:pt x="10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6" name="íşļíḋê"/>
            <p:cNvSpPr/>
            <p:nvPr>
              <p:custDataLst>
                <p:tags r:id="rId50"/>
              </p:custDataLst>
            </p:nvPr>
          </p:nvSpPr>
          <p:spPr bwMode="auto">
            <a:xfrm flipH="1">
              <a:off x="3861699" y="2528997"/>
              <a:ext cx="55450" cy="33614"/>
            </a:xfrm>
            <a:custGeom>
              <a:avLst/>
              <a:gdLst>
                <a:gd name="T0" fmla="*/ 11 w 26"/>
                <a:gd name="T1" fmla="*/ 16 h 16"/>
                <a:gd name="T2" fmla="*/ 15 w 26"/>
                <a:gd name="T3" fmla="*/ 16 h 16"/>
                <a:gd name="T4" fmla="*/ 23 w 26"/>
                <a:gd name="T5" fmla="*/ 16 h 16"/>
                <a:gd name="T6" fmla="*/ 26 w 26"/>
                <a:gd name="T7" fmla="*/ 2 h 16"/>
                <a:gd name="T8" fmla="*/ 23 w 26"/>
                <a:gd name="T9" fmla="*/ 0 h 16"/>
                <a:gd name="T10" fmla="*/ 15 w 26"/>
                <a:gd name="T11" fmla="*/ 0 h 16"/>
                <a:gd name="T12" fmla="*/ 11 w 26"/>
                <a:gd name="T13" fmla="*/ 0 h 16"/>
                <a:gd name="T14" fmla="*/ 3 w 26"/>
                <a:gd name="T15" fmla="*/ 0 h 16"/>
                <a:gd name="T16" fmla="*/ 0 w 26"/>
                <a:gd name="T17" fmla="*/ 2 h 16"/>
                <a:gd name="T18" fmla="*/ 4 w 26"/>
                <a:gd name="T19" fmla="*/ 16 h 16"/>
                <a:gd name="T20" fmla="*/ 11 w 26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6">
                  <a:moveTo>
                    <a:pt x="11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0"/>
                    <a:pt x="23" y="0"/>
                  </a:cubicBezTo>
                  <a:cubicBezTo>
                    <a:pt x="22" y="0"/>
                    <a:pt x="18" y="0"/>
                    <a:pt x="15" y="0"/>
                  </a:cubicBezTo>
                  <a:cubicBezTo>
                    <a:pt x="13" y="0"/>
                    <a:pt x="11" y="0"/>
                    <a:pt x="11" y="0"/>
                  </a:cubicBezTo>
                  <a:cubicBezTo>
                    <a:pt x="8" y="0"/>
                    <a:pt x="4" y="0"/>
                    <a:pt x="3" y="0"/>
                  </a:cubicBezTo>
                  <a:cubicBezTo>
                    <a:pt x="1" y="0"/>
                    <a:pt x="0" y="2"/>
                    <a:pt x="0" y="2"/>
                  </a:cubicBezTo>
                  <a:cubicBezTo>
                    <a:pt x="4" y="16"/>
                    <a:pt x="4" y="16"/>
                    <a:pt x="4" y="16"/>
                  </a:cubicBezTo>
                  <a:lnTo>
                    <a:pt x="11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7" name="îṣľiḑê"/>
            <p:cNvSpPr/>
            <p:nvPr>
              <p:custDataLst>
                <p:tags r:id="rId51"/>
              </p:custDataLst>
            </p:nvPr>
          </p:nvSpPr>
          <p:spPr bwMode="auto">
            <a:xfrm flipH="1">
              <a:off x="3826211" y="2569116"/>
              <a:ext cx="121990" cy="142044"/>
            </a:xfrm>
            <a:custGeom>
              <a:avLst/>
              <a:gdLst>
                <a:gd name="T0" fmla="*/ 18 w 56"/>
                <a:gd name="T1" fmla="*/ 1 h 67"/>
                <a:gd name="T2" fmla="*/ 0 w 56"/>
                <a:gd name="T3" fmla="*/ 50 h 67"/>
                <a:gd name="T4" fmla="*/ 39 w 56"/>
                <a:gd name="T5" fmla="*/ 67 h 67"/>
                <a:gd name="T6" fmla="*/ 56 w 56"/>
                <a:gd name="T7" fmla="*/ 30 h 67"/>
                <a:gd name="T8" fmla="*/ 35 w 56"/>
                <a:gd name="T9" fmla="*/ 19 h 67"/>
                <a:gd name="T10" fmla="*/ 34 w 56"/>
                <a:gd name="T11" fmla="*/ 21 h 67"/>
                <a:gd name="T12" fmla="*/ 29 w 56"/>
                <a:gd name="T13" fmla="*/ 20 h 67"/>
                <a:gd name="T14" fmla="*/ 24 w 56"/>
                <a:gd name="T15" fmla="*/ 24 h 67"/>
                <a:gd name="T16" fmla="*/ 29 w 56"/>
                <a:gd name="T17" fmla="*/ 28 h 67"/>
                <a:gd name="T18" fmla="*/ 37 w 56"/>
                <a:gd name="T19" fmla="*/ 36 h 67"/>
                <a:gd name="T20" fmla="*/ 35 w 56"/>
                <a:gd name="T21" fmla="*/ 41 h 67"/>
                <a:gd name="T22" fmla="*/ 30 w 56"/>
                <a:gd name="T23" fmla="*/ 44 h 67"/>
                <a:gd name="T24" fmla="*/ 30 w 56"/>
                <a:gd name="T25" fmla="*/ 47 h 67"/>
                <a:gd name="T26" fmla="*/ 27 w 56"/>
                <a:gd name="T27" fmla="*/ 47 h 67"/>
                <a:gd name="T28" fmla="*/ 26 w 56"/>
                <a:gd name="T29" fmla="*/ 46 h 67"/>
                <a:gd name="T30" fmla="*/ 22 w 56"/>
                <a:gd name="T31" fmla="*/ 44 h 67"/>
                <a:gd name="T32" fmla="*/ 19 w 56"/>
                <a:gd name="T33" fmla="*/ 42 h 67"/>
                <a:gd name="T34" fmla="*/ 20 w 56"/>
                <a:gd name="T35" fmla="*/ 40 h 67"/>
                <a:gd name="T36" fmla="*/ 21 w 56"/>
                <a:gd name="T37" fmla="*/ 40 h 67"/>
                <a:gd name="T38" fmla="*/ 24 w 56"/>
                <a:gd name="T39" fmla="*/ 40 h 67"/>
                <a:gd name="T40" fmla="*/ 29 w 56"/>
                <a:gd name="T41" fmla="*/ 40 h 67"/>
                <a:gd name="T42" fmla="*/ 32 w 56"/>
                <a:gd name="T43" fmla="*/ 38 h 67"/>
                <a:gd name="T44" fmla="*/ 32 w 56"/>
                <a:gd name="T45" fmla="*/ 35 h 67"/>
                <a:gd name="T46" fmla="*/ 29 w 56"/>
                <a:gd name="T47" fmla="*/ 33 h 67"/>
                <a:gd name="T48" fmla="*/ 24 w 56"/>
                <a:gd name="T49" fmla="*/ 31 h 67"/>
                <a:gd name="T50" fmla="*/ 20 w 56"/>
                <a:gd name="T51" fmla="*/ 27 h 67"/>
                <a:gd name="T52" fmla="*/ 21 w 56"/>
                <a:gd name="T53" fmla="*/ 20 h 67"/>
                <a:gd name="T54" fmla="*/ 26 w 56"/>
                <a:gd name="T55" fmla="*/ 15 h 67"/>
                <a:gd name="T56" fmla="*/ 27 w 56"/>
                <a:gd name="T57" fmla="*/ 14 h 67"/>
                <a:gd name="T58" fmla="*/ 31 w 56"/>
                <a:gd name="T59" fmla="*/ 14 h 67"/>
                <a:gd name="T60" fmla="*/ 31 w 56"/>
                <a:gd name="T61" fmla="*/ 17 h 67"/>
                <a:gd name="T62" fmla="*/ 34 w 56"/>
                <a:gd name="T63" fmla="*/ 17 h 67"/>
                <a:gd name="T64" fmla="*/ 35 w 56"/>
                <a:gd name="T65" fmla="*/ 18 h 67"/>
                <a:gd name="T66" fmla="*/ 35 w 56"/>
                <a:gd name="T67" fmla="*/ 1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6" h="67">
                  <a:moveTo>
                    <a:pt x="36" y="0"/>
                  </a:moveTo>
                  <a:cubicBezTo>
                    <a:pt x="18" y="1"/>
                    <a:pt x="18" y="1"/>
                    <a:pt x="18" y="1"/>
                  </a:cubicBezTo>
                  <a:cubicBezTo>
                    <a:pt x="9" y="1"/>
                    <a:pt x="0" y="21"/>
                    <a:pt x="0" y="3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0"/>
                    <a:pt x="8" y="67"/>
                    <a:pt x="17" y="6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49" y="67"/>
                    <a:pt x="56" y="59"/>
                    <a:pt x="56" y="49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0"/>
                    <a:pt x="46" y="0"/>
                    <a:pt x="36" y="0"/>
                  </a:cubicBezTo>
                  <a:close/>
                  <a:moveTo>
                    <a:pt x="35" y="19"/>
                  </a:moveTo>
                  <a:cubicBezTo>
                    <a:pt x="35" y="20"/>
                    <a:pt x="35" y="20"/>
                    <a:pt x="35" y="21"/>
                  </a:cubicBezTo>
                  <a:cubicBezTo>
                    <a:pt x="35" y="21"/>
                    <a:pt x="34" y="21"/>
                    <a:pt x="34" y="21"/>
                  </a:cubicBezTo>
                  <a:cubicBezTo>
                    <a:pt x="34" y="21"/>
                    <a:pt x="33" y="21"/>
                    <a:pt x="32" y="20"/>
                  </a:cubicBezTo>
                  <a:cubicBezTo>
                    <a:pt x="31" y="20"/>
                    <a:pt x="30" y="20"/>
                    <a:pt x="29" y="20"/>
                  </a:cubicBezTo>
                  <a:cubicBezTo>
                    <a:pt x="27" y="20"/>
                    <a:pt x="26" y="21"/>
                    <a:pt x="25" y="21"/>
                  </a:cubicBezTo>
                  <a:cubicBezTo>
                    <a:pt x="25" y="22"/>
                    <a:pt x="24" y="23"/>
                    <a:pt x="24" y="24"/>
                  </a:cubicBezTo>
                  <a:cubicBezTo>
                    <a:pt x="24" y="25"/>
                    <a:pt x="25" y="26"/>
                    <a:pt x="25" y="26"/>
                  </a:cubicBezTo>
                  <a:cubicBezTo>
                    <a:pt x="26" y="27"/>
                    <a:pt x="27" y="28"/>
                    <a:pt x="29" y="28"/>
                  </a:cubicBezTo>
                  <a:cubicBezTo>
                    <a:pt x="32" y="29"/>
                    <a:pt x="33" y="30"/>
                    <a:pt x="35" y="32"/>
                  </a:cubicBezTo>
                  <a:cubicBezTo>
                    <a:pt x="36" y="33"/>
                    <a:pt x="37" y="34"/>
                    <a:pt x="37" y="36"/>
                  </a:cubicBezTo>
                  <a:cubicBezTo>
                    <a:pt x="37" y="37"/>
                    <a:pt x="37" y="38"/>
                    <a:pt x="36" y="39"/>
                  </a:cubicBezTo>
                  <a:cubicBezTo>
                    <a:pt x="36" y="40"/>
                    <a:pt x="35" y="41"/>
                    <a:pt x="35" y="41"/>
                  </a:cubicBezTo>
                  <a:cubicBezTo>
                    <a:pt x="34" y="42"/>
                    <a:pt x="34" y="42"/>
                    <a:pt x="33" y="43"/>
                  </a:cubicBezTo>
                  <a:cubicBezTo>
                    <a:pt x="32" y="43"/>
                    <a:pt x="31" y="43"/>
                    <a:pt x="30" y="44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7"/>
                    <a:pt x="26" y="47"/>
                  </a:cubicBezTo>
                  <a:cubicBezTo>
                    <a:pt x="26" y="47"/>
                    <a:pt x="26" y="47"/>
                    <a:pt x="26" y="46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4" y="44"/>
                    <a:pt x="23" y="44"/>
                    <a:pt x="22" y="44"/>
                  </a:cubicBezTo>
                  <a:cubicBezTo>
                    <a:pt x="20" y="43"/>
                    <a:pt x="20" y="43"/>
                    <a:pt x="19" y="43"/>
                  </a:cubicBezTo>
                  <a:cubicBezTo>
                    <a:pt x="19" y="43"/>
                    <a:pt x="19" y="42"/>
                    <a:pt x="19" y="42"/>
                  </a:cubicBezTo>
                  <a:cubicBezTo>
                    <a:pt x="19" y="42"/>
                    <a:pt x="19" y="41"/>
                    <a:pt x="19" y="41"/>
                  </a:cubicBezTo>
                  <a:cubicBezTo>
                    <a:pt x="19" y="40"/>
                    <a:pt x="19" y="40"/>
                    <a:pt x="20" y="40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1" y="40"/>
                  </a:cubicBezTo>
                  <a:cubicBezTo>
                    <a:pt x="21" y="40"/>
                    <a:pt x="22" y="40"/>
                    <a:pt x="22" y="40"/>
                  </a:cubicBezTo>
                  <a:cubicBezTo>
                    <a:pt x="23" y="40"/>
                    <a:pt x="23" y="40"/>
                    <a:pt x="24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7" y="40"/>
                    <a:pt x="28" y="40"/>
                    <a:pt x="29" y="40"/>
                  </a:cubicBezTo>
                  <a:cubicBezTo>
                    <a:pt x="29" y="40"/>
                    <a:pt x="30" y="40"/>
                    <a:pt x="30" y="40"/>
                  </a:cubicBezTo>
                  <a:cubicBezTo>
                    <a:pt x="31" y="39"/>
                    <a:pt x="31" y="39"/>
                    <a:pt x="32" y="38"/>
                  </a:cubicBezTo>
                  <a:cubicBezTo>
                    <a:pt x="32" y="38"/>
                    <a:pt x="32" y="37"/>
                    <a:pt x="32" y="37"/>
                  </a:cubicBezTo>
                  <a:cubicBezTo>
                    <a:pt x="32" y="36"/>
                    <a:pt x="32" y="36"/>
                    <a:pt x="32" y="35"/>
                  </a:cubicBezTo>
                  <a:cubicBezTo>
                    <a:pt x="32" y="35"/>
                    <a:pt x="31" y="34"/>
                    <a:pt x="31" y="34"/>
                  </a:cubicBezTo>
                  <a:cubicBezTo>
                    <a:pt x="31" y="34"/>
                    <a:pt x="30" y="33"/>
                    <a:pt x="29" y="33"/>
                  </a:cubicBezTo>
                  <a:cubicBezTo>
                    <a:pt x="29" y="32"/>
                    <a:pt x="28" y="32"/>
                    <a:pt x="27" y="32"/>
                  </a:cubicBezTo>
                  <a:cubicBezTo>
                    <a:pt x="26" y="31"/>
                    <a:pt x="25" y="31"/>
                    <a:pt x="24" y="31"/>
                  </a:cubicBezTo>
                  <a:cubicBezTo>
                    <a:pt x="23" y="30"/>
                    <a:pt x="23" y="30"/>
                    <a:pt x="22" y="29"/>
                  </a:cubicBezTo>
                  <a:cubicBezTo>
                    <a:pt x="21" y="28"/>
                    <a:pt x="21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2"/>
                    <a:pt x="20" y="21"/>
                    <a:pt x="21" y="20"/>
                  </a:cubicBezTo>
                  <a:cubicBezTo>
                    <a:pt x="22" y="18"/>
                    <a:pt x="24" y="18"/>
                    <a:pt x="26" y="17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4"/>
                    <a:pt x="26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1" y="14"/>
                    <a:pt x="31" y="14"/>
                  </a:cubicBezTo>
                  <a:cubicBezTo>
                    <a:pt x="31" y="14"/>
                    <a:pt x="31" y="14"/>
                    <a:pt x="31" y="15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2" y="17"/>
                    <a:pt x="32" y="17"/>
                  </a:cubicBezTo>
                  <a:cubicBezTo>
                    <a:pt x="33" y="17"/>
                    <a:pt x="33" y="17"/>
                    <a:pt x="34" y="17"/>
                  </a:cubicBezTo>
                  <a:cubicBezTo>
                    <a:pt x="34" y="17"/>
                    <a:pt x="34" y="17"/>
                    <a:pt x="35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9"/>
                    <a:pt x="3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8" name="ïṣľíḑê"/>
            <p:cNvSpPr/>
            <p:nvPr>
              <p:custDataLst>
                <p:tags r:id="rId52"/>
              </p:custDataLst>
            </p:nvPr>
          </p:nvSpPr>
          <p:spPr bwMode="auto">
            <a:xfrm flipH="1">
              <a:off x="3815121" y="2553936"/>
              <a:ext cx="52123" cy="39035"/>
            </a:xfrm>
            <a:custGeom>
              <a:avLst/>
              <a:gdLst>
                <a:gd name="T0" fmla="*/ 24 w 24"/>
                <a:gd name="T1" fmla="*/ 9 h 18"/>
                <a:gd name="T2" fmla="*/ 1 w 24"/>
                <a:gd name="T3" fmla="*/ 4 h 18"/>
                <a:gd name="T4" fmla="*/ 1 w 24"/>
                <a:gd name="T5" fmla="*/ 4 h 18"/>
                <a:gd name="T6" fmla="*/ 1 w 24"/>
                <a:gd name="T7" fmla="*/ 4 h 18"/>
                <a:gd name="T8" fmla="*/ 1 w 24"/>
                <a:gd name="T9" fmla="*/ 4 h 18"/>
                <a:gd name="T10" fmla="*/ 1 w 24"/>
                <a:gd name="T11" fmla="*/ 5 h 18"/>
                <a:gd name="T12" fmla="*/ 1 w 24"/>
                <a:gd name="T13" fmla="*/ 5 h 18"/>
                <a:gd name="T14" fmla="*/ 19 w 24"/>
                <a:gd name="T15" fmla="*/ 17 h 18"/>
                <a:gd name="T16" fmla="*/ 21 w 24"/>
                <a:gd name="T17" fmla="*/ 16 h 18"/>
                <a:gd name="T18" fmla="*/ 8 w 24"/>
                <a:gd name="T19" fmla="*/ 5 h 18"/>
                <a:gd name="T20" fmla="*/ 22 w 24"/>
                <a:gd name="T21" fmla="*/ 10 h 18"/>
                <a:gd name="T22" fmla="*/ 24 w 24"/>
                <a:gd name="T2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9"/>
                  </a:moveTo>
                  <a:cubicBezTo>
                    <a:pt x="17" y="0"/>
                    <a:pt x="4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1" y="6"/>
                    <a:pt x="1" y="5"/>
                  </a:cubicBezTo>
                  <a:cubicBezTo>
                    <a:pt x="14" y="8"/>
                    <a:pt x="18" y="16"/>
                    <a:pt x="19" y="17"/>
                  </a:cubicBezTo>
                  <a:cubicBezTo>
                    <a:pt x="21" y="18"/>
                    <a:pt x="21" y="16"/>
                    <a:pt x="21" y="16"/>
                  </a:cubicBezTo>
                  <a:cubicBezTo>
                    <a:pt x="19" y="10"/>
                    <a:pt x="13" y="7"/>
                    <a:pt x="8" y="5"/>
                  </a:cubicBezTo>
                  <a:cubicBezTo>
                    <a:pt x="16" y="6"/>
                    <a:pt x="21" y="10"/>
                    <a:pt x="22" y="10"/>
                  </a:cubicBezTo>
                  <a:cubicBezTo>
                    <a:pt x="24" y="11"/>
                    <a:pt x="24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59" name="iṡḻïḋe"/>
            <p:cNvSpPr/>
            <p:nvPr>
              <p:custDataLst>
                <p:tags r:id="rId53"/>
              </p:custDataLst>
            </p:nvPr>
          </p:nvSpPr>
          <p:spPr bwMode="auto">
            <a:xfrm flipH="1">
              <a:off x="3240658" y="3945104"/>
              <a:ext cx="221800" cy="182164"/>
            </a:xfrm>
            <a:custGeom>
              <a:avLst/>
              <a:gdLst>
                <a:gd name="T0" fmla="*/ 86 w 102"/>
                <a:gd name="T1" fmla="*/ 15 h 86"/>
                <a:gd name="T2" fmla="*/ 86 w 102"/>
                <a:gd name="T3" fmla="*/ 15 h 86"/>
                <a:gd name="T4" fmla="*/ 84 w 102"/>
                <a:gd name="T5" fmla="*/ 12 h 86"/>
                <a:gd name="T6" fmla="*/ 75 w 102"/>
                <a:gd name="T7" fmla="*/ 12 h 86"/>
                <a:gd name="T8" fmla="*/ 73 w 102"/>
                <a:gd name="T9" fmla="*/ 15 h 86"/>
                <a:gd name="T10" fmla="*/ 68 w 102"/>
                <a:gd name="T11" fmla="*/ 15 h 86"/>
                <a:gd name="T12" fmla="*/ 67 w 102"/>
                <a:gd name="T13" fmla="*/ 8 h 86"/>
                <a:gd name="T14" fmla="*/ 55 w 102"/>
                <a:gd name="T15" fmla="*/ 0 h 86"/>
                <a:gd name="T16" fmla="*/ 46 w 102"/>
                <a:gd name="T17" fmla="*/ 0 h 86"/>
                <a:gd name="T18" fmla="*/ 33 w 102"/>
                <a:gd name="T19" fmla="*/ 9 h 86"/>
                <a:gd name="T20" fmla="*/ 33 w 102"/>
                <a:gd name="T21" fmla="*/ 15 h 86"/>
                <a:gd name="T22" fmla="*/ 28 w 102"/>
                <a:gd name="T23" fmla="*/ 16 h 86"/>
                <a:gd name="T24" fmla="*/ 26 w 102"/>
                <a:gd name="T25" fmla="*/ 13 h 86"/>
                <a:gd name="T26" fmla="*/ 17 w 102"/>
                <a:gd name="T27" fmla="*/ 14 h 86"/>
                <a:gd name="T28" fmla="*/ 15 w 102"/>
                <a:gd name="T29" fmla="*/ 16 h 86"/>
                <a:gd name="T30" fmla="*/ 15 w 102"/>
                <a:gd name="T31" fmla="*/ 16 h 86"/>
                <a:gd name="T32" fmla="*/ 0 w 102"/>
                <a:gd name="T33" fmla="*/ 34 h 86"/>
                <a:gd name="T34" fmla="*/ 0 w 102"/>
                <a:gd name="T35" fmla="*/ 68 h 86"/>
                <a:gd name="T36" fmla="*/ 19 w 102"/>
                <a:gd name="T37" fmla="*/ 86 h 86"/>
                <a:gd name="T38" fmla="*/ 84 w 102"/>
                <a:gd name="T39" fmla="*/ 84 h 86"/>
                <a:gd name="T40" fmla="*/ 102 w 102"/>
                <a:gd name="T41" fmla="*/ 66 h 86"/>
                <a:gd name="T42" fmla="*/ 101 w 102"/>
                <a:gd name="T43" fmla="*/ 32 h 86"/>
                <a:gd name="T44" fmla="*/ 86 w 102"/>
                <a:gd name="T45" fmla="*/ 15 h 86"/>
                <a:gd name="T46" fmla="*/ 39 w 102"/>
                <a:gd name="T47" fmla="*/ 9 h 86"/>
                <a:gd name="T48" fmla="*/ 46 w 102"/>
                <a:gd name="T49" fmla="*/ 6 h 86"/>
                <a:gd name="T50" fmla="*/ 55 w 102"/>
                <a:gd name="T51" fmla="*/ 6 h 86"/>
                <a:gd name="T52" fmla="*/ 61 w 102"/>
                <a:gd name="T53" fmla="*/ 9 h 86"/>
                <a:gd name="T54" fmla="*/ 61 w 102"/>
                <a:gd name="T55" fmla="*/ 15 h 86"/>
                <a:gd name="T56" fmla="*/ 40 w 102"/>
                <a:gd name="T57" fmla="*/ 15 h 86"/>
                <a:gd name="T58" fmla="*/ 39 w 102"/>
                <a:gd name="T59" fmla="*/ 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2" h="86">
                  <a:moveTo>
                    <a:pt x="86" y="15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6" y="13"/>
                    <a:pt x="85" y="12"/>
                    <a:pt x="84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4" y="12"/>
                    <a:pt x="73" y="13"/>
                    <a:pt x="73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1"/>
                    <a:pt x="62" y="0"/>
                    <a:pt x="5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0"/>
                    <a:pt x="33" y="2"/>
                    <a:pt x="33" y="9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7" y="13"/>
                    <a:pt x="26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5" y="15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6" y="17"/>
                    <a:pt x="0" y="25"/>
                    <a:pt x="0" y="3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" y="78"/>
                    <a:pt x="9" y="86"/>
                    <a:pt x="19" y="86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94" y="84"/>
                    <a:pt x="102" y="76"/>
                    <a:pt x="102" y="66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23"/>
                    <a:pt x="94" y="16"/>
                    <a:pt x="86" y="15"/>
                  </a:cubicBezTo>
                  <a:close/>
                  <a:moveTo>
                    <a:pt x="39" y="9"/>
                  </a:moveTo>
                  <a:cubicBezTo>
                    <a:pt x="39" y="8"/>
                    <a:pt x="39" y="6"/>
                    <a:pt x="4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61" y="6"/>
                    <a:pt x="61" y="7"/>
                    <a:pt x="61" y="9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40" y="15"/>
                    <a:pt x="40" y="15"/>
                    <a:pt x="40" y="15"/>
                  </a:cubicBezTo>
                  <a:lnTo>
                    <a:pt x="39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2500" lnSpcReduction="20000"/>
            </a:bodyPr>
            <a:lstStyle/>
            <a:p>
              <a:pPr algn="ctr"/>
            </a:p>
          </p:txBody>
        </p:sp>
        <p:sp>
          <p:nvSpPr>
            <p:cNvPr id="160" name="íṡļiḑé"/>
            <p:cNvSpPr/>
            <p:nvPr>
              <p:custDataLst>
                <p:tags r:id="rId54"/>
              </p:custDataLst>
            </p:nvPr>
          </p:nvSpPr>
          <p:spPr bwMode="auto">
            <a:xfrm flipH="1">
              <a:off x="3943765" y="3989560"/>
              <a:ext cx="164132" cy="135539"/>
            </a:xfrm>
            <a:custGeom>
              <a:avLst/>
              <a:gdLst>
                <a:gd name="T0" fmla="*/ 64 w 76"/>
                <a:gd name="T1" fmla="*/ 11 h 64"/>
                <a:gd name="T2" fmla="*/ 64 w 76"/>
                <a:gd name="T3" fmla="*/ 11 h 64"/>
                <a:gd name="T4" fmla="*/ 62 w 76"/>
                <a:gd name="T5" fmla="*/ 9 h 64"/>
                <a:gd name="T6" fmla="*/ 56 w 76"/>
                <a:gd name="T7" fmla="*/ 10 h 64"/>
                <a:gd name="T8" fmla="*/ 54 w 76"/>
                <a:gd name="T9" fmla="*/ 11 h 64"/>
                <a:gd name="T10" fmla="*/ 50 w 76"/>
                <a:gd name="T11" fmla="*/ 11 h 64"/>
                <a:gd name="T12" fmla="*/ 50 w 76"/>
                <a:gd name="T13" fmla="*/ 7 h 64"/>
                <a:gd name="T14" fmla="*/ 41 w 76"/>
                <a:gd name="T15" fmla="*/ 0 h 64"/>
                <a:gd name="T16" fmla="*/ 34 w 76"/>
                <a:gd name="T17" fmla="*/ 0 h 64"/>
                <a:gd name="T18" fmla="*/ 25 w 76"/>
                <a:gd name="T19" fmla="*/ 7 h 64"/>
                <a:gd name="T20" fmla="*/ 25 w 76"/>
                <a:gd name="T21" fmla="*/ 12 h 64"/>
                <a:gd name="T22" fmla="*/ 21 w 76"/>
                <a:gd name="T23" fmla="*/ 12 h 64"/>
                <a:gd name="T24" fmla="*/ 19 w 76"/>
                <a:gd name="T25" fmla="*/ 10 h 64"/>
                <a:gd name="T26" fmla="*/ 13 w 76"/>
                <a:gd name="T27" fmla="*/ 11 h 64"/>
                <a:gd name="T28" fmla="*/ 11 w 76"/>
                <a:gd name="T29" fmla="*/ 12 h 64"/>
                <a:gd name="T30" fmla="*/ 11 w 76"/>
                <a:gd name="T31" fmla="*/ 12 h 64"/>
                <a:gd name="T32" fmla="*/ 0 w 76"/>
                <a:gd name="T33" fmla="*/ 26 h 64"/>
                <a:gd name="T34" fmla="*/ 1 w 76"/>
                <a:gd name="T35" fmla="*/ 51 h 64"/>
                <a:gd name="T36" fmla="*/ 14 w 76"/>
                <a:gd name="T37" fmla="*/ 64 h 64"/>
                <a:gd name="T38" fmla="*/ 63 w 76"/>
                <a:gd name="T39" fmla="*/ 63 h 64"/>
                <a:gd name="T40" fmla="*/ 76 w 76"/>
                <a:gd name="T41" fmla="*/ 49 h 64"/>
                <a:gd name="T42" fmla="*/ 75 w 76"/>
                <a:gd name="T43" fmla="*/ 24 h 64"/>
                <a:gd name="T44" fmla="*/ 64 w 76"/>
                <a:gd name="T45" fmla="*/ 11 h 64"/>
                <a:gd name="T46" fmla="*/ 30 w 76"/>
                <a:gd name="T47" fmla="*/ 7 h 64"/>
                <a:gd name="T48" fmla="*/ 34 w 76"/>
                <a:gd name="T49" fmla="*/ 5 h 64"/>
                <a:gd name="T50" fmla="*/ 41 w 76"/>
                <a:gd name="T51" fmla="*/ 5 h 64"/>
                <a:gd name="T52" fmla="*/ 46 w 76"/>
                <a:gd name="T53" fmla="*/ 7 h 64"/>
                <a:gd name="T54" fmla="*/ 46 w 76"/>
                <a:gd name="T55" fmla="*/ 11 h 64"/>
                <a:gd name="T56" fmla="*/ 30 w 76"/>
                <a:gd name="T57" fmla="*/ 12 h 64"/>
                <a:gd name="T58" fmla="*/ 30 w 76"/>
                <a:gd name="T59" fmla="*/ 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6" h="64">
                  <a:moveTo>
                    <a:pt x="64" y="11"/>
                  </a:moveTo>
                  <a:cubicBezTo>
                    <a:pt x="64" y="11"/>
                    <a:pt x="64" y="11"/>
                    <a:pt x="64" y="11"/>
                  </a:cubicBezTo>
                  <a:cubicBezTo>
                    <a:pt x="64" y="10"/>
                    <a:pt x="63" y="9"/>
                    <a:pt x="62" y="9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10"/>
                    <a:pt x="54" y="10"/>
                    <a:pt x="54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2"/>
                    <a:pt x="46" y="0"/>
                    <a:pt x="4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9" y="0"/>
                    <a:pt x="25" y="2"/>
                    <a:pt x="25" y="7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0" y="10"/>
                    <a:pt x="19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5" y="13"/>
                    <a:pt x="0" y="19"/>
                    <a:pt x="0" y="26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8"/>
                    <a:pt x="7" y="64"/>
                    <a:pt x="14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70" y="63"/>
                    <a:pt x="76" y="57"/>
                    <a:pt x="76" y="49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18"/>
                    <a:pt x="70" y="12"/>
                    <a:pt x="64" y="11"/>
                  </a:cubicBezTo>
                  <a:close/>
                  <a:moveTo>
                    <a:pt x="30" y="7"/>
                  </a:moveTo>
                  <a:cubicBezTo>
                    <a:pt x="29" y="6"/>
                    <a:pt x="29" y="5"/>
                    <a:pt x="34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6" y="5"/>
                    <a:pt x="46" y="6"/>
                    <a:pt x="46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30" y="12"/>
                    <a:pt x="30" y="12"/>
                    <a:pt x="30" y="12"/>
                  </a:cubicBezTo>
                  <a:lnTo>
                    <a:pt x="3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1" name="íşľiḓe"/>
            <p:cNvSpPr/>
            <p:nvPr>
              <p:custDataLst>
                <p:tags r:id="rId55"/>
              </p:custDataLst>
            </p:nvPr>
          </p:nvSpPr>
          <p:spPr bwMode="auto">
            <a:xfrm flipH="1">
              <a:off x="3521235" y="2686221"/>
              <a:ext cx="286123" cy="235295"/>
            </a:xfrm>
            <a:custGeom>
              <a:avLst/>
              <a:gdLst>
                <a:gd name="T0" fmla="*/ 111 w 132"/>
                <a:gd name="T1" fmla="*/ 19 h 111"/>
                <a:gd name="T2" fmla="*/ 111 w 132"/>
                <a:gd name="T3" fmla="*/ 19 h 111"/>
                <a:gd name="T4" fmla="*/ 108 w 132"/>
                <a:gd name="T5" fmla="*/ 16 h 111"/>
                <a:gd name="T6" fmla="*/ 97 w 132"/>
                <a:gd name="T7" fmla="*/ 16 h 111"/>
                <a:gd name="T8" fmla="*/ 94 w 132"/>
                <a:gd name="T9" fmla="*/ 19 h 111"/>
                <a:gd name="T10" fmla="*/ 87 w 132"/>
                <a:gd name="T11" fmla="*/ 19 h 111"/>
                <a:gd name="T12" fmla="*/ 87 w 132"/>
                <a:gd name="T13" fmla="*/ 11 h 111"/>
                <a:gd name="T14" fmla="*/ 71 w 132"/>
                <a:gd name="T15" fmla="*/ 0 h 111"/>
                <a:gd name="T16" fmla="*/ 59 w 132"/>
                <a:gd name="T17" fmla="*/ 0 h 111"/>
                <a:gd name="T18" fmla="*/ 44 w 132"/>
                <a:gd name="T19" fmla="*/ 12 h 111"/>
                <a:gd name="T20" fmla="*/ 44 w 132"/>
                <a:gd name="T21" fmla="*/ 20 h 111"/>
                <a:gd name="T22" fmla="*/ 37 w 132"/>
                <a:gd name="T23" fmla="*/ 21 h 111"/>
                <a:gd name="T24" fmla="*/ 34 w 132"/>
                <a:gd name="T25" fmla="*/ 18 h 111"/>
                <a:gd name="T26" fmla="*/ 23 w 132"/>
                <a:gd name="T27" fmla="*/ 18 h 111"/>
                <a:gd name="T28" fmla="*/ 20 w 132"/>
                <a:gd name="T29" fmla="*/ 21 h 111"/>
                <a:gd name="T30" fmla="*/ 20 w 132"/>
                <a:gd name="T31" fmla="*/ 21 h 111"/>
                <a:gd name="T32" fmla="*/ 1 w 132"/>
                <a:gd name="T33" fmla="*/ 44 h 111"/>
                <a:gd name="T34" fmla="*/ 2 w 132"/>
                <a:gd name="T35" fmla="*/ 88 h 111"/>
                <a:gd name="T36" fmla="*/ 25 w 132"/>
                <a:gd name="T37" fmla="*/ 111 h 111"/>
                <a:gd name="T38" fmla="*/ 109 w 132"/>
                <a:gd name="T39" fmla="*/ 109 h 111"/>
                <a:gd name="T40" fmla="*/ 131 w 132"/>
                <a:gd name="T41" fmla="*/ 85 h 111"/>
                <a:gd name="T42" fmla="*/ 131 w 132"/>
                <a:gd name="T43" fmla="*/ 42 h 111"/>
                <a:gd name="T44" fmla="*/ 111 w 132"/>
                <a:gd name="T45" fmla="*/ 19 h 111"/>
                <a:gd name="T46" fmla="*/ 51 w 132"/>
                <a:gd name="T47" fmla="*/ 12 h 111"/>
                <a:gd name="T48" fmla="*/ 60 w 132"/>
                <a:gd name="T49" fmla="*/ 8 h 111"/>
                <a:gd name="T50" fmla="*/ 71 w 132"/>
                <a:gd name="T51" fmla="*/ 8 h 111"/>
                <a:gd name="T52" fmla="*/ 79 w 132"/>
                <a:gd name="T53" fmla="*/ 12 h 111"/>
                <a:gd name="T54" fmla="*/ 80 w 132"/>
                <a:gd name="T55" fmla="*/ 20 h 111"/>
                <a:gd name="T56" fmla="*/ 52 w 132"/>
                <a:gd name="T57" fmla="*/ 20 h 111"/>
                <a:gd name="T58" fmla="*/ 51 w 132"/>
                <a:gd name="T59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2" h="111">
                  <a:moveTo>
                    <a:pt x="111" y="19"/>
                  </a:moveTo>
                  <a:cubicBezTo>
                    <a:pt x="111" y="19"/>
                    <a:pt x="111" y="19"/>
                    <a:pt x="111" y="19"/>
                  </a:cubicBezTo>
                  <a:cubicBezTo>
                    <a:pt x="111" y="17"/>
                    <a:pt x="110" y="16"/>
                    <a:pt x="108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5" y="16"/>
                    <a:pt x="94" y="18"/>
                    <a:pt x="94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2"/>
                    <a:pt x="80" y="0"/>
                    <a:pt x="71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1" y="1"/>
                    <a:pt x="43" y="3"/>
                    <a:pt x="44" y="1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19"/>
                    <a:pt x="36" y="18"/>
                    <a:pt x="34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1" y="18"/>
                    <a:pt x="20" y="19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9" y="23"/>
                    <a:pt x="0" y="33"/>
                    <a:pt x="1" y="44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101"/>
                    <a:pt x="12" y="111"/>
                    <a:pt x="25" y="111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22" y="108"/>
                    <a:pt x="132" y="98"/>
                    <a:pt x="131" y="85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0" y="30"/>
                    <a:pt x="122" y="21"/>
                    <a:pt x="111" y="19"/>
                  </a:cubicBezTo>
                  <a:close/>
                  <a:moveTo>
                    <a:pt x="51" y="12"/>
                  </a:moveTo>
                  <a:cubicBezTo>
                    <a:pt x="51" y="11"/>
                    <a:pt x="51" y="9"/>
                    <a:pt x="60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9" y="8"/>
                    <a:pt x="79" y="10"/>
                    <a:pt x="79" y="12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52" y="20"/>
                    <a:pt x="52" y="20"/>
                    <a:pt x="52" y="2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75000" lnSpcReduction="20000"/>
            </a:bodyPr>
            <a:lstStyle/>
            <a:p>
              <a:pPr algn="ctr"/>
            </a:p>
          </p:txBody>
        </p:sp>
        <p:sp>
          <p:nvSpPr>
            <p:cNvPr id="162" name="iŝľîḓé"/>
            <p:cNvSpPr/>
            <p:nvPr>
              <p:custDataLst>
                <p:tags r:id="rId56"/>
              </p:custDataLst>
            </p:nvPr>
          </p:nvSpPr>
          <p:spPr bwMode="auto">
            <a:xfrm flipH="1">
              <a:off x="3336032" y="3207774"/>
              <a:ext cx="240653" cy="241801"/>
            </a:xfrm>
            <a:custGeom>
              <a:avLst/>
              <a:gdLst>
                <a:gd name="T0" fmla="*/ 110 w 111"/>
                <a:gd name="T1" fmla="*/ 65 h 114"/>
                <a:gd name="T2" fmla="*/ 110 w 111"/>
                <a:gd name="T3" fmla="*/ 20 h 114"/>
                <a:gd name="T4" fmla="*/ 89 w 111"/>
                <a:gd name="T5" fmla="*/ 1 h 114"/>
                <a:gd name="T6" fmla="*/ 19 w 111"/>
                <a:gd name="T7" fmla="*/ 2 h 114"/>
                <a:gd name="T8" fmla="*/ 0 w 111"/>
                <a:gd name="T9" fmla="*/ 23 h 114"/>
                <a:gd name="T10" fmla="*/ 1 w 111"/>
                <a:gd name="T11" fmla="*/ 68 h 114"/>
                <a:gd name="T12" fmla="*/ 21 w 111"/>
                <a:gd name="T13" fmla="*/ 87 h 114"/>
                <a:gd name="T14" fmla="*/ 48 w 111"/>
                <a:gd name="T15" fmla="*/ 87 h 114"/>
                <a:gd name="T16" fmla="*/ 48 w 111"/>
                <a:gd name="T17" fmla="*/ 101 h 114"/>
                <a:gd name="T18" fmla="*/ 16 w 111"/>
                <a:gd name="T19" fmla="*/ 102 h 114"/>
                <a:gd name="T20" fmla="*/ 10 w 111"/>
                <a:gd name="T21" fmla="*/ 108 h 114"/>
                <a:gd name="T22" fmla="*/ 17 w 111"/>
                <a:gd name="T23" fmla="*/ 114 h 114"/>
                <a:gd name="T24" fmla="*/ 97 w 111"/>
                <a:gd name="T25" fmla="*/ 113 h 114"/>
                <a:gd name="T26" fmla="*/ 103 w 111"/>
                <a:gd name="T27" fmla="*/ 106 h 114"/>
                <a:gd name="T28" fmla="*/ 96 w 111"/>
                <a:gd name="T29" fmla="*/ 100 h 114"/>
                <a:gd name="T30" fmla="*/ 65 w 111"/>
                <a:gd name="T31" fmla="*/ 101 h 114"/>
                <a:gd name="T32" fmla="*/ 65 w 111"/>
                <a:gd name="T33" fmla="*/ 86 h 114"/>
                <a:gd name="T34" fmla="*/ 91 w 111"/>
                <a:gd name="T35" fmla="*/ 86 h 114"/>
                <a:gd name="T36" fmla="*/ 110 w 111"/>
                <a:gd name="T37" fmla="*/ 65 h 114"/>
                <a:gd name="T38" fmla="*/ 21 w 111"/>
                <a:gd name="T39" fmla="*/ 79 h 114"/>
                <a:gd name="T40" fmla="*/ 8 w 111"/>
                <a:gd name="T41" fmla="*/ 67 h 114"/>
                <a:gd name="T42" fmla="*/ 7 w 111"/>
                <a:gd name="T43" fmla="*/ 22 h 114"/>
                <a:gd name="T44" fmla="*/ 19 w 111"/>
                <a:gd name="T45" fmla="*/ 10 h 114"/>
                <a:gd name="T46" fmla="*/ 89 w 111"/>
                <a:gd name="T47" fmla="*/ 8 h 114"/>
                <a:gd name="T48" fmla="*/ 102 w 111"/>
                <a:gd name="T49" fmla="*/ 20 h 114"/>
                <a:gd name="T50" fmla="*/ 103 w 111"/>
                <a:gd name="T51" fmla="*/ 65 h 114"/>
                <a:gd name="T52" fmla="*/ 91 w 111"/>
                <a:gd name="T53" fmla="*/ 78 h 114"/>
                <a:gd name="T54" fmla="*/ 21 w 111"/>
                <a:gd name="T55" fmla="*/ 7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1" h="114">
                  <a:moveTo>
                    <a:pt x="110" y="65"/>
                  </a:moveTo>
                  <a:cubicBezTo>
                    <a:pt x="110" y="20"/>
                    <a:pt x="110" y="20"/>
                    <a:pt x="110" y="20"/>
                  </a:cubicBezTo>
                  <a:cubicBezTo>
                    <a:pt x="109" y="9"/>
                    <a:pt x="100" y="0"/>
                    <a:pt x="89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8" y="2"/>
                    <a:pt x="0" y="11"/>
                    <a:pt x="0" y="23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1" y="79"/>
                    <a:pt x="10" y="87"/>
                    <a:pt x="21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101"/>
                    <a:pt x="48" y="101"/>
                    <a:pt x="48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3" y="102"/>
                    <a:pt x="10" y="105"/>
                    <a:pt x="10" y="108"/>
                  </a:cubicBezTo>
                  <a:cubicBezTo>
                    <a:pt x="10" y="112"/>
                    <a:pt x="13" y="114"/>
                    <a:pt x="17" y="114"/>
                  </a:cubicBezTo>
                  <a:cubicBezTo>
                    <a:pt x="97" y="113"/>
                    <a:pt x="97" y="113"/>
                    <a:pt x="97" y="113"/>
                  </a:cubicBezTo>
                  <a:cubicBezTo>
                    <a:pt x="100" y="113"/>
                    <a:pt x="103" y="110"/>
                    <a:pt x="103" y="106"/>
                  </a:cubicBezTo>
                  <a:cubicBezTo>
                    <a:pt x="103" y="103"/>
                    <a:pt x="100" y="100"/>
                    <a:pt x="96" y="100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102" y="86"/>
                    <a:pt x="111" y="76"/>
                    <a:pt x="110" y="65"/>
                  </a:cubicBezTo>
                  <a:close/>
                  <a:moveTo>
                    <a:pt x="21" y="79"/>
                  </a:moveTo>
                  <a:cubicBezTo>
                    <a:pt x="14" y="80"/>
                    <a:pt x="8" y="74"/>
                    <a:pt x="8" y="6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5"/>
                    <a:pt x="13" y="10"/>
                    <a:pt x="19" y="10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96" y="8"/>
                    <a:pt x="102" y="13"/>
                    <a:pt x="102" y="20"/>
                  </a:cubicBezTo>
                  <a:cubicBezTo>
                    <a:pt x="103" y="65"/>
                    <a:pt x="103" y="65"/>
                    <a:pt x="103" y="65"/>
                  </a:cubicBezTo>
                  <a:cubicBezTo>
                    <a:pt x="103" y="72"/>
                    <a:pt x="98" y="78"/>
                    <a:pt x="91" y="78"/>
                  </a:cubicBezTo>
                  <a:lnTo>
                    <a:pt x="21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82500" lnSpcReduction="20000"/>
            </a:bodyPr>
            <a:lstStyle/>
            <a:p>
              <a:pPr algn="ctr"/>
            </a:p>
          </p:txBody>
        </p:sp>
        <p:sp>
          <p:nvSpPr>
            <p:cNvPr id="163" name="ï$lîde"/>
            <p:cNvSpPr/>
            <p:nvPr>
              <p:custDataLst>
                <p:tags r:id="rId57"/>
              </p:custDataLst>
            </p:nvPr>
          </p:nvSpPr>
          <p:spPr bwMode="auto">
            <a:xfrm flipH="1">
              <a:off x="3379283" y="3252230"/>
              <a:ext cx="160805" cy="16265"/>
            </a:xfrm>
            <a:custGeom>
              <a:avLst/>
              <a:gdLst>
                <a:gd name="T0" fmla="*/ 74 w 74"/>
                <a:gd name="T1" fmla="*/ 3 h 8"/>
                <a:gd name="T2" fmla="*/ 71 w 74"/>
                <a:gd name="T3" fmla="*/ 7 h 8"/>
                <a:gd name="T4" fmla="*/ 4 w 74"/>
                <a:gd name="T5" fmla="*/ 8 h 8"/>
                <a:gd name="T6" fmla="*/ 0 w 74"/>
                <a:gd name="T7" fmla="*/ 5 h 8"/>
                <a:gd name="T8" fmla="*/ 0 w 74"/>
                <a:gd name="T9" fmla="*/ 5 h 8"/>
                <a:gd name="T10" fmla="*/ 4 w 74"/>
                <a:gd name="T11" fmla="*/ 1 h 8"/>
                <a:gd name="T12" fmla="*/ 71 w 74"/>
                <a:gd name="T13" fmla="*/ 0 h 8"/>
                <a:gd name="T14" fmla="*/ 74 w 7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8">
                  <a:moveTo>
                    <a:pt x="74" y="3"/>
                  </a:moveTo>
                  <a:cubicBezTo>
                    <a:pt x="74" y="5"/>
                    <a:pt x="73" y="7"/>
                    <a:pt x="71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2"/>
                    <a:pt x="4" y="1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4" name="ïṡľïḋê"/>
            <p:cNvSpPr/>
            <p:nvPr>
              <p:custDataLst>
                <p:tags r:id="rId58"/>
              </p:custDataLst>
            </p:nvPr>
          </p:nvSpPr>
          <p:spPr bwMode="auto">
            <a:xfrm flipH="1">
              <a:off x="3379283" y="3277170"/>
              <a:ext cx="160805" cy="19518"/>
            </a:xfrm>
            <a:custGeom>
              <a:avLst/>
              <a:gdLst>
                <a:gd name="T0" fmla="*/ 74 w 74"/>
                <a:gd name="T1" fmla="*/ 4 h 9"/>
                <a:gd name="T2" fmla="*/ 71 w 74"/>
                <a:gd name="T3" fmla="*/ 7 h 9"/>
                <a:gd name="T4" fmla="*/ 4 w 74"/>
                <a:gd name="T5" fmla="*/ 9 h 9"/>
                <a:gd name="T6" fmla="*/ 0 w 74"/>
                <a:gd name="T7" fmla="*/ 5 h 9"/>
                <a:gd name="T8" fmla="*/ 0 w 74"/>
                <a:gd name="T9" fmla="*/ 5 h 9"/>
                <a:gd name="T10" fmla="*/ 4 w 74"/>
                <a:gd name="T11" fmla="*/ 2 h 9"/>
                <a:gd name="T12" fmla="*/ 71 w 74"/>
                <a:gd name="T13" fmla="*/ 0 h 9"/>
                <a:gd name="T14" fmla="*/ 74 w 74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9">
                  <a:moveTo>
                    <a:pt x="74" y="4"/>
                  </a:moveTo>
                  <a:cubicBezTo>
                    <a:pt x="74" y="6"/>
                    <a:pt x="73" y="7"/>
                    <a:pt x="71" y="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1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2" y="2"/>
                    <a:pt x="4" y="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4" y="2"/>
                    <a:pt x="74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5" name="ïṩḷíďê"/>
            <p:cNvSpPr/>
            <p:nvPr>
              <p:custDataLst>
                <p:tags r:id="rId59"/>
              </p:custDataLst>
            </p:nvPr>
          </p:nvSpPr>
          <p:spPr bwMode="auto">
            <a:xfrm flipH="1">
              <a:off x="3377065" y="3305362"/>
              <a:ext cx="160805" cy="16265"/>
            </a:xfrm>
            <a:custGeom>
              <a:avLst/>
              <a:gdLst>
                <a:gd name="T0" fmla="*/ 74 w 74"/>
                <a:gd name="T1" fmla="*/ 3 h 8"/>
                <a:gd name="T2" fmla="*/ 70 w 74"/>
                <a:gd name="T3" fmla="*/ 7 h 8"/>
                <a:gd name="T4" fmla="*/ 3 w 74"/>
                <a:gd name="T5" fmla="*/ 8 h 8"/>
                <a:gd name="T6" fmla="*/ 0 w 74"/>
                <a:gd name="T7" fmla="*/ 5 h 8"/>
                <a:gd name="T8" fmla="*/ 0 w 74"/>
                <a:gd name="T9" fmla="*/ 5 h 8"/>
                <a:gd name="T10" fmla="*/ 3 w 74"/>
                <a:gd name="T11" fmla="*/ 1 h 8"/>
                <a:gd name="T12" fmla="*/ 70 w 74"/>
                <a:gd name="T13" fmla="*/ 0 h 8"/>
                <a:gd name="T14" fmla="*/ 74 w 7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8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6" name="íṥ1ïḓé"/>
            <p:cNvSpPr/>
            <p:nvPr>
              <p:custDataLst>
                <p:tags r:id="rId60"/>
              </p:custDataLst>
            </p:nvPr>
          </p:nvSpPr>
          <p:spPr bwMode="auto">
            <a:xfrm flipH="1">
              <a:off x="3377065" y="3330301"/>
              <a:ext cx="117554" cy="17349"/>
            </a:xfrm>
            <a:custGeom>
              <a:avLst/>
              <a:gdLst>
                <a:gd name="T0" fmla="*/ 54 w 54"/>
                <a:gd name="T1" fmla="*/ 4 h 8"/>
                <a:gd name="T2" fmla="*/ 51 w 54"/>
                <a:gd name="T3" fmla="*/ 7 h 8"/>
                <a:gd name="T4" fmla="*/ 4 w 54"/>
                <a:gd name="T5" fmla="*/ 8 h 8"/>
                <a:gd name="T6" fmla="*/ 0 w 54"/>
                <a:gd name="T7" fmla="*/ 5 h 8"/>
                <a:gd name="T8" fmla="*/ 0 w 54"/>
                <a:gd name="T9" fmla="*/ 5 h 8"/>
                <a:gd name="T10" fmla="*/ 3 w 54"/>
                <a:gd name="T11" fmla="*/ 1 h 8"/>
                <a:gd name="T12" fmla="*/ 50 w 54"/>
                <a:gd name="T13" fmla="*/ 0 h 8"/>
                <a:gd name="T14" fmla="*/ 54 w 54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8">
                  <a:moveTo>
                    <a:pt x="54" y="4"/>
                  </a:moveTo>
                  <a:cubicBezTo>
                    <a:pt x="54" y="6"/>
                    <a:pt x="52" y="7"/>
                    <a:pt x="51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1"/>
                    <a:pt x="3" y="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4" y="2"/>
                    <a:pt x="54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7" name="íṧḻídê"/>
            <p:cNvSpPr/>
            <p:nvPr>
              <p:custDataLst>
                <p:tags r:id="rId61"/>
              </p:custDataLst>
            </p:nvPr>
          </p:nvSpPr>
          <p:spPr bwMode="auto">
            <a:xfrm flipH="1">
              <a:off x="3033274" y="2698149"/>
              <a:ext cx="205165" cy="206019"/>
            </a:xfrm>
            <a:custGeom>
              <a:avLst/>
              <a:gdLst>
                <a:gd name="T0" fmla="*/ 94 w 95"/>
                <a:gd name="T1" fmla="*/ 55 h 97"/>
                <a:gd name="T2" fmla="*/ 94 w 95"/>
                <a:gd name="T3" fmla="*/ 17 h 97"/>
                <a:gd name="T4" fmla="*/ 76 w 95"/>
                <a:gd name="T5" fmla="*/ 1 h 97"/>
                <a:gd name="T6" fmla="*/ 17 w 95"/>
                <a:gd name="T7" fmla="*/ 2 h 97"/>
                <a:gd name="T8" fmla="*/ 1 w 95"/>
                <a:gd name="T9" fmla="*/ 19 h 97"/>
                <a:gd name="T10" fmla="*/ 1 w 95"/>
                <a:gd name="T11" fmla="*/ 57 h 97"/>
                <a:gd name="T12" fmla="*/ 19 w 95"/>
                <a:gd name="T13" fmla="*/ 74 h 97"/>
                <a:gd name="T14" fmla="*/ 41 w 95"/>
                <a:gd name="T15" fmla="*/ 73 h 97"/>
                <a:gd name="T16" fmla="*/ 41 w 95"/>
                <a:gd name="T17" fmla="*/ 85 h 97"/>
                <a:gd name="T18" fmla="*/ 15 w 95"/>
                <a:gd name="T19" fmla="*/ 86 h 97"/>
                <a:gd name="T20" fmla="*/ 9 w 95"/>
                <a:gd name="T21" fmla="*/ 92 h 97"/>
                <a:gd name="T22" fmla="*/ 15 w 95"/>
                <a:gd name="T23" fmla="*/ 97 h 97"/>
                <a:gd name="T24" fmla="*/ 83 w 95"/>
                <a:gd name="T25" fmla="*/ 95 h 97"/>
                <a:gd name="T26" fmla="*/ 88 w 95"/>
                <a:gd name="T27" fmla="*/ 90 h 97"/>
                <a:gd name="T28" fmla="*/ 82 w 95"/>
                <a:gd name="T29" fmla="*/ 85 h 97"/>
                <a:gd name="T30" fmla="*/ 56 w 95"/>
                <a:gd name="T31" fmla="*/ 85 h 97"/>
                <a:gd name="T32" fmla="*/ 55 w 95"/>
                <a:gd name="T33" fmla="*/ 73 h 97"/>
                <a:gd name="T34" fmla="*/ 78 w 95"/>
                <a:gd name="T35" fmla="*/ 73 h 97"/>
                <a:gd name="T36" fmla="*/ 94 w 95"/>
                <a:gd name="T37" fmla="*/ 55 h 97"/>
                <a:gd name="T38" fmla="*/ 19 w 95"/>
                <a:gd name="T39" fmla="*/ 67 h 97"/>
                <a:gd name="T40" fmla="*/ 8 w 95"/>
                <a:gd name="T41" fmla="*/ 57 h 97"/>
                <a:gd name="T42" fmla="*/ 7 w 95"/>
                <a:gd name="T43" fmla="*/ 19 h 97"/>
                <a:gd name="T44" fmla="*/ 17 w 95"/>
                <a:gd name="T45" fmla="*/ 8 h 97"/>
                <a:gd name="T46" fmla="*/ 76 w 95"/>
                <a:gd name="T47" fmla="*/ 7 h 97"/>
                <a:gd name="T48" fmla="*/ 87 w 95"/>
                <a:gd name="T49" fmla="*/ 17 h 97"/>
                <a:gd name="T50" fmla="*/ 88 w 95"/>
                <a:gd name="T51" fmla="*/ 55 h 97"/>
                <a:gd name="T52" fmla="*/ 78 w 95"/>
                <a:gd name="T53" fmla="*/ 66 h 97"/>
                <a:gd name="T54" fmla="*/ 19 w 95"/>
                <a:gd name="T55" fmla="*/ 6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97">
                  <a:moveTo>
                    <a:pt x="94" y="55"/>
                  </a:moveTo>
                  <a:cubicBezTo>
                    <a:pt x="94" y="17"/>
                    <a:pt x="94" y="17"/>
                    <a:pt x="94" y="17"/>
                  </a:cubicBezTo>
                  <a:cubicBezTo>
                    <a:pt x="93" y="8"/>
                    <a:pt x="86" y="0"/>
                    <a:pt x="76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8" y="2"/>
                    <a:pt x="0" y="10"/>
                    <a:pt x="1" y="1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67"/>
                    <a:pt x="9" y="74"/>
                    <a:pt x="19" y="74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2" y="86"/>
                    <a:pt x="9" y="89"/>
                    <a:pt x="9" y="92"/>
                  </a:cubicBezTo>
                  <a:cubicBezTo>
                    <a:pt x="10" y="94"/>
                    <a:pt x="12" y="97"/>
                    <a:pt x="15" y="97"/>
                  </a:cubicBezTo>
                  <a:cubicBezTo>
                    <a:pt x="83" y="95"/>
                    <a:pt x="83" y="95"/>
                    <a:pt x="83" y="95"/>
                  </a:cubicBezTo>
                  <a:cubicBezTo>
                    <a:pt x="86" y="95"/>
                    <a:pt x="88" y="93"/>
                    <a:pt x="88" y="90"/>
                  </a:cubicBezTo>
                  <a:cubicBezTo>
                    <a:pt x="88" y="87"/>
                    <a:pt x="85" y="84"/>
                    <a:pt x="82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7" y="72"/>
                    <a:pt x="95" y="65"/>
                    <a:pt x="94" y="55"/>
                  </a:cubicBezTo>
                  <a:close/>
                  <a:moveTo>
                    <a:pt x="19" y="67"/>
                  </a:moveTo>
                  <a:cubicBezTo>
                    <a:pt x="13" y="67"/>
                    <a:pt x="8" y="63"/>
                    <a:pt x="8" y="57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3"/>
                    <a:pt x="12" y="8"/>
                    <a:pt x="17" y="8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82" y="7"/>
                    <a:pt x="87" y="11"/>
                    <a:pt x="87" y="17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61"/>
                    <a:pt x="83" y="66"/>
                    <a:pt x="78" y="66"/>
                  </a:cubicBezTo>
                  <a:lnTo>
                    <a:pt x="19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60000" lnSpcReduction="20000"/>
            </a:bodyPr>
            <a:lstStyle/>
            <a:p>
              <a:pPr algn="ctr"/>
            </a:p>
          </p:txBody>
        </p:sp>
        <p:sp>
          <p:nvSpPr>
            <p:cNvPr id="168" name="íṡḷiďe"/>
            <p:cNvSpPr/>
            <p:nvPr>
              <p:custDataLst>
                <p:tags r:id="rId62"/>
              </p:custDataLst>
            </p:nvPr>
          </p:nvSpPr>
          <p:spPr bwMode="auto">
            <a:xfrm flipH="1">
              <a:off x="3069871" y="2737184"/>
              <a:ext cx="136407" cy="14096"/>
            </a:xfrm>
            <a:custGeom>
              <a:avLst/>
              <a:gdLst>
                <a:gd name="T0" fmla="*/ 63 w 63"/>
                <a:gd name="T1" fmla="*/ 3 h 7"/>
                <a:gd name="T2" fmla="*/ 60 w 63"/>
                <a:gd name="T3" fmla="*/ 6 h 7"/>
                <a:gd name="T4" fmla="*/ 3 w 63"/>
                <a:gd name="T5" fmla="*/ 7 h 7"/>
                <a:gd name="T6" fmla="*/ 0 w 63"/>
                <a:gd name="T7" fmla="*/ 4 h 7"/>
                <a:gd name="T8" fmla="*/ 0 w 63"/>
                <a:gd name="T9" fmla="*/ 4 h 7"/>
                <a:gd name="T10" fmla="*/ 3 w 63"/>
                <a:gd name="T11" fmla="*/ 1 h 7"/>
                <a:gd name="T12" fmla="*/ 60 w 63"/>
                <a:gd name="T13" fmla="*/ 0 h 7"/>
                <a:gd name="T14" fmla="*/ 63 w 63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7">
                  <a:moveTo>
                    <a:pt x="63" y="3"/>
                  </a:moveTo>
                  <a:cubicBezTo>
                    <a:pt x="63" y="4"/>
                    <a:pt x="62" y="6"/>
                    <a:pt x="60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1"/>
                    <a:pt x="3" y="1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3" y="1"/>
                    <a:pt x="63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69" name="ïšlîḋè"/>
            <p:cNvSpPr/>
            <p:nvPr>
              <p:custDataLst>
                <p:tags r:id="rId63"/>
              </p:custDataLst>
            </p:nvPr>
          </p:nvSpPr>
          <p:spPr bwMode="auto">
            <a:xfrm flipH="1">
              <a:off x="3069871" y="2757786"/>
              <a:ext cx="134189" cy="15180"/>
            </a:xfrm>
            <a:custGeom>
              <a:avLst/>
              <a:gdLst>
                <a:gd name="T0" fmla="*/ 62 w 62"/>
                <a:gd name="T1" fmla="*/ 3 h 7"/>
                <a:gd name="T2" fmla="*/ 59 w 62"/>
                <a:gd name="T3" fmla="*/ 6 h 7"/>
                <a:gd name="T4" fmla="*/ 3 w 62"/>
                <a:gd name="T5" fmla="*/ 7 h 7"/>
                <a:gd name="T6" fmla="*/ 0 w 62"/>
                <a:gd name="T7" fmla="*/ 5 h 7"/>
                <a:gd name="T8" fmla="*/ 0 w 62"/>
                <a:gd name="T9" fmla="*/ 5 h 7"/>
                <a:gd name="T10" fmla="*/ 3 w 62"/>
                <a:gd name="T11" fmla="*/ 2 h 7"/>
                <a:gd name="T12" fmla="*/ 59 w 62"/>
                <a:gd name="T13" fmla="*/ 0 h 7"/>
                <a:gd name="T14" fmla="*/ 62 w 62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7">
                  <a:moveTo>
                    <a:pt x="62" y="3"/>
                  </a:moveTo>
                  <a:cubicBezTo>
                    <a:pt x="62" y="5"/>
                    <a:pt x="61" y="6"/>
                    <a:pt x="59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1" y="0"/>
                    <a:pt x="62" y="2"/>
                    <a:pt x="6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0" name="íṩḷîḋe"/>
            <p:cNvSpPr/>
            <p:nvPr>
              <p:custDataLst>
                <p:tags r:id="rId64"/>
              </p:custDataLst>
            </p:nvPr>
          </p:nvSpPr>
          <p:spPr bwMode="auto">
            <a:xfrm flipH="1">
              <a:off x="3069871" y="2781641"/>
              <a:ext cx="134189" cy="14096"/>
            </a:xfrm>
            <a:custGeom>
              <a:avLst/>
              <a:gdLst>
                <a:gd name="T0" fmla="*/ 62 w 62"/>
                <a:gd name="T1" fmla="*/ 3 h 7"/>
                <a:gd name="T2" fmla="*/ 60 w 62"/>
                <a:gd name="T3" fmla="*/ 6 h 7"/>
                <a:gd name="T4" fmla="*/ 3 w 62"/>
                <a:gd name="T5" fmla="*/ 7 h 7"/>
                <a:gd name="T6" fmla="*/ 0 w 62"/>
                <a:gd name="T7" fmla="*/ 4 h 7"/>
                <a:gd name="T8" fmla="*/ 0 w 62"/>
                <a:gd name="T9" fmla="*/ 4 h 7"/>
                <a:gd name="T10" fmla="*/ 3 w 62"/>
                <a:gd name="T11" fmla="*/ 1 h 7"/>
                <a:gd name="T12" fmla="*/ 59 w 62"/>
                <a:gd name="T13" fmla="*/ 0 h 7"/>
                <a:gd name="T14" fmla="*/ 62 w 62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7">
                  <a:moveTo>
                    <a:pt x="62" y="3"/>
                  </a:moveTo>
                  <a:cubicBezTo>
                    <a:pt x="62" y="4"/>
                    <a:pt x="61" y="6"/>
                    <a:pt x="60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1" y="0"/>
                    <a:pt x="62" y="1"/>
                    <a:pt x="6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1" name="íŝḷîḋe"/>
            <p:cNvSpPr/>
            <p:nvPr>
              <p:custDataLst>
                <p:tags r:id="rId65"/>
              </p:custDataLst>
            </p:nvPr>
          </p:nvSpPr>
          <p:spPr bwMode="auto">
            <a:xfrm flipH="1">
              <a:off x="3067653" y="2802242"/>
              <a:ext cx="99810" cy="15180"/>
            </a:xfrm>
            <a:custGeom>
              <a:avLst/>
              <a:gdLst>
                <a:gd name="T0" fmla="*/ 46 w 46"/>
                <a:gd name="T1" fmla="*/ 3 h 7"/>
                <a:gd name="T2" fmla="*/ 43 w 46"/>
                <a:gd name="T3" fmla="*/ 6 h 7"/>
                <a:gd name="T4" fmla="*/ 3 w 46"/>
                <a:gd name="T5" fmla="*/ 7 h 7"/>
                <a:gd name="T6" fmla="*/ 0 w 46"/>
                <a:gd name="T7" fmla="*/ 4 h 7"/>
                <a:gd name="T8" fmla="*/ 0 w 46"/>
                <a:gd name="T9" fmla="*/ 4 h 7"/>
                <a:gd name="T10" fmla="*/ 3 w 46"/>
                <a:gd name="T11" fmla="*/ 1 h 7"/>
                <a:gd name="T12" fmla="*/ 43 w 46"/>
                <a:gd name="T13" fmla="*/ 0 h 7"/>
                <a:gd name="T14" fmla="*/ 46 w 46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7">
                  <a:moveTo>
                    <a:pt x="46" y="3"/>
                  </a:moveTo>
                  <a:cubicBezTo>
                    <a:pt x="46" y="5"/>
                    <a:pt x="44" y="6"/>
                    <a:pt x="4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6" y="2"/>
                    <a:pt x="4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2" name="îSľîdè"/>
            <p:cNvSpPr/>
            <p:nvPr>
              <p:custDataLst>
                <p:tags r:id="rId66"/>
              </p:custDataLst>
            </p:nvPr>
          </p:nvSpPr>
          <p:spPr bwMode="auto">
            <a:xfrm flipH="1">
              <a:off x="3130867" y="3769446"/>
              <a:ext cx="177440" cy="177827"/>
            </a:xfrm>
            <a:custGeom>
              <a:avLst/>
              <a:gdLst>
                <a:gd name="T0" fmla="*/ 82 w 82"/>
                <a:gd name="T1" fmla="*/ 48 h 84"/>
                <a:gd name="T2" fmla="*/ 82 w 82"/>
                <a:gd name="T3" fmla="*/ 15 h 84"/>
                <a:gd name="T4" fmla="*/ 66 w 82"/>
                <a:gd name="T5" fmla="*/ 0 h 84"/>
                <a:gd name="T6" fmla="*/ 15 w 82"/>
                <a:gd name="T7" fmla="*/ 1 h 84"/>
                <a:gd name="T8" fmla="*/ 0 w 82"/>
                <a:gd name="T9" fmla="*/ 16 h 84"/>
                <a:gd name="T10" fmla="*/ 1 w 82"/>
                <a:gd name="T11" fmla="*/ 50 h 84"/>
                <a:gd name="T12" fmla="*/ 16 w 82"/>
                <a:gd name="T13" fmla="*/ 64 h 84"/>
                <a:gd name="T14" fmla="*/ 36 w 82"/>
                <a:gd name="T15" fmla="*/ 64 h 84"/>
                <a:gd name="T16" fmla="*/ 36 w 82"/>
                <a:gd name="T17" fmla="*/ 74 h 84"/>
                <a:gd name="T18" fmla="*/ 13 w 82"/>
                <a:gd name="T19" fmla="*/ 75 h 84"/>
                <a:gd name="T20" fmla="*/ 8 w 82"/>
                <a:gd name="T21" fmla="*/ 80 h 84"/>
                <a:gd name="T22" fmla="*/ 13 w 82"/>
                <a:gd name="T23" fmla="*/ 84 h 84"/>
                <a:gd name="T24" fmla="*/ 72 w 82"/>
                <a:gd name="T25" fmla="*/ 83 h 84"/>
                <a:gd name="T26" fmla="*/ 77 w 82"/>
                <a:gd name="T27" fmla="*/ 78 h 84"/>
                <a:gd name="T28" fmla="*/ 72 w 82"/>
                <a:gd name="T29" fmla="*/ 74 h 84"/>
                <a:gd name="T30" fmla="*/ 49 w 82"/>
                <a:gd name="T31" fmla="*/ 74 h 84"/>
                <a:gd name="T32" fmla="*/ 48 w 82"/>
                <a:gd name="T33" fmla="*/ 64 h 84"/>
                <a:gd name="T34" fmla="*/ 68 w 82"/>
                <a:gd name="T35" fmla="*/ 63 h 84"/>
                <a:gd name="T36" fmla="*/ 82 w 82"/>
                <a:gd name="T37" fmla="*/ 48 h 84"/>
                <a:gd name="T38" fmla="*/ 16 w 82"/>
                <a:gd name="T39" fmla="*/ 58 h 84"/>
                <a:gd name="T40" fmla="*/ 7 w 82"/>
                <a:gd name="T41" fmla="*/ 49 h 84"/>
                <a:gd name="T42" fmla="*/ 6 w 82"/>
                <a:gd name="T43" fmla="*/ 16 h 84"/>
                <a:gd name="T44" fmla="*/ 15 w 82"/>
                <a:gd name="T45" fmla="*/ 7 h 84"/>
                <a:gd name="T46" fmla="*/ 67 w 82"/>
                <a:gd name="T47" fmla="*/ 6 h 84"/>
                <a:gd name="T48" fmla="*/ 76 w 82"/>
                <a:gd name="T49" fmla="*/ 15 h 84"/>
                <a:gd name="T50" fmla="*/ 77 w 82"/>
                <a:gd name="T51" fmla="*/ 48 h 84"/>
                <a:gd name="T52" fmla="*/ 68 w 82"/>
                <a:gd name="T53" fmla="*/ 57 h 84"/>
                <a:gd name="T54" fmla="*/ 16 w 82"/>
                <a:gd name="T55" fmla="*/ 5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" h="84">
                  <a:moveTo>
                    <a:pt x="82" y="48"/>
                  </a:moveTo>
                  <a:cubicBezTo>
                    <a:pt x="82" y="15"/>
                    <a:pt x="82" y="15"/>
                    <a:pt x="82" y="15"/>
                  </a:cubicBezTo>
                  <a:cubicBezTo>
                    <a:pt x="81" y="7"/>
                    <a:pt x="75" y="0"/>
                    <a:pt x="66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7" y="2"/>
                    <a:pt x="0" y="8"/>
                    <a:pt x="0" y="16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1" y="58"/>
                    <a:pt x="8" y="64"/>
                    <a:pt x="1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0" y="75"/>
                    <a:pt x="8" y="77"/>
                    <a:pt x="8" y="80"/>
                  </a:cubicBezTo>
                  <a:cubicBezTo>
                    <a:pt x="8" y="82"/>
                    <a:pt x="10" y="84"/>
                    <a:pt x="13" y="84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5" y="83"/>
                    <a:pt x="77" y="81"/>
                    <a:pt x="77" y="78"/>
                  </a:cubicBezTo>
                  <a:cubicBezTo>
                    <a:pt x="77" y="76"/>
                    <a:pt x="74" y="74"/>
                    <a:pt x="72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76" y="63"/>
                    <a:pt x="82" y="56"/>
                    <a:pt x="82" y="48"/>
                  </a:cubicBezTo>
                  <a:close/>
                  <a:moveTo>
                    <a:pt x="16" y="58"/>
                  </a:moveTo>
                  <a:cubicBezTo>
                    <a:pt x="11" y="59"/>
                    <a:pt x="7" y="55"/>
                    <a:pt x="7" y="49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1"/>
                    <a:pt x="10" y="7"/>
                    <a:pt x="15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72" y="6"/>
                    <a:pt x="76" y="10"/>
                    <a:pt x="76" y="15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53"/>
                    <a:pt x="73" y="57"/>
                    <a:pt x="68" y="57"/>
                  </a:cubicBezTo>
                  <a:lnTo>
                    <a:pt x="16" y="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2500" lnSpcReduction="20000"/>
            </a:bodyPr>
            <a:lstStyle/>
            <a:p>
              <a:pPr algn="ctr"/>
            </a:p>
          </p:txBody>
        </p:sp>
        <p:sp>
          <p:nvSpPr>
            <p:cNvPr id="173" name="iṣlíḍê"/>
            <p:cNvSpPr/>
            <p:nvPr>
              <p:custDataLst>
                <p:tags r:id="rId67"/>
              </p:custDataLst>
            </p:nvPr>
          </p:nvSpPr>
          <p:spPr bwMode="auto">
            <a:xfrm flipH="1">
              <a:off x="3160810" y="3800891"/>
              <a:ext cx="118663" cy="15180"/>
            </a:xfrm>
            <a:custGeom>
              <a:avLst/>
              <a:gdLst>
                <a:gd name="T0" fmla="*/ 55 w 55"/>
                <a:gd name="T1" fmla="*/ 3 h 7"/>
                <a:gd name="T2" fmla="*/ 53 w 55"/>
                <a:gd name="T3" fmla="*/ 5 h 7"/>
                <a:gd name="T4" fmla="*/ 3 w 55"/>
                <a:gd name="T5" fmla="*/ 7 h 7"/>
                <a:gd name="T6" fmla="*/ 0 w 55"/>
                <a:gd name="T7" fmla="*/ 4 h 7"/>
                <a:gd name="T8" fmla="*/ 0 w 55"/>
                <a:gd name="T9" fmla="*/ 4 h 7"/>
                <a:gd name="T10" fmla="*/ 3 w 55"/>
                <a:gd name="T11" fmla="*/ 1 h 7"/>
                <a:gd name="T12" fmla="*/ 52 w 55"/>
                <a:gd name="T13" fmla="*/ 0 h 7"/>
                <a:gd name="T14" fmla="*/ 55 w 55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7">
                  <a:moveTo>
                    <a:pt x="55" y="3"/>
                  </a:moveTo>
                  <a:cubicBezTo>
                    <a:pt x="55" y="4"/>
                    <a:pt x="54" y="5"/>
                    <a:pt x="53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5" y="1"/>
                    <a:pt x="55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4" name="iṣļîḑe"/>
            <p:cNvSpPr/>
            <p:nvPr>
              <p:custDataLst>
                <p:tags r:id="rId68"/>
              </p:custDataLst>
            </p:nvPr>
          </p:nvSpPr>
          <p:spPr bwMode="auto">
            <a:xfrm flipH="1">
              <a:off x="3160810" y="3822577"/>
              <a:ext cx="116445" cy="11927"/>
            </a:xfrm>
            <a:custGeom>
              <a:avLst/>
              <a:gdLst>
                <a:gd name="T0" fmla="*/ 54 w 54"/>
                <a:gd name="T1" fmla="*/ 2 h 6"/>
                <a:gd name="T2" fmla="*/ 52 w 54"/>
                <a:gd name="T3" fmla="*/ 5 h 6"/>
                <a:gd name="T4" fmla="*/ 2 w 54"/>
                <a:gd name="T5" fmla="*/ 6 h 6"/>
                <a:gd name="T6" fmla="*/ 0 w 54"/>
                <a:gd name="T7" fmla="*/ 3 h 6"/>
                <a:gd name="T8" fmla="*/ 0 w 54"/>
                <a:gd name="T9" fmla="*/ 3 h 6"/>
                <a:gd name="T10" fmla="*/ 2 w 54"/>
                <a:gd name="T11" fmla="*/ 1 h 6"/>
                <a:gd name="T12" fmla="*/ 52 w 54"/>
                <a:gd name="T13" fmla="*/ 0 h 6"/>
                <a:gd name="T14" fmla="*/ 54 w 54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">
                  <a:moveTo>
                    <a:pt x="54" y="2"/>
                  </a:moveTo>
                  <a:cubicBezTo>
                    <a:pt x="54" y="3"/>
                    <a:pt x="53" y="5"/>
                    <a:pt x="5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4" y="1"/>
                    <a:pt x="54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5" name="îṧlïḍè"/>
            <p:cNvSpPr/>
            <p:nvPr>
              <p:custDataLst>
                <p:tags r:id="rId69"/>
              </p:custDataLst>
            </p:nvPr>
          </p:nvSpPr>
          <p:spPr bwMode="auto">
            <a:xfrm flipH="1">
              <a:off x="3160810" y="3841010"/>
              <a:ext cx="116445" cy="13012"/>
            </a:xfrm>
            <a:custGeom>
              <a:avLst/>
              <a:gdLst>
                <a:gd name="T0" fmla="*/ 54 w 54"/>
                <a:gd name="T1" fmla="*/ 2 h 6"/>
                <a:gd name="T2" fmla="*/ 52 w 54"/>
                <a:gd name="T3" fmla="*/ 5 h 6"/>
                <a:gd name="T4" fmla="*/ 2 w 54"/>
                <a:gd name="T5" fmla="*/ 6 h 6"/>
                <a:gd name="T6" fmla="*/ 0 w 54"/>
                <a:gd name="T7" fmla="*/ 3 h 6"/>
                <a:gd name="T8" fmla="*/ 0 w 54"/>
                <a:gd name="T9" fmla="*/ 3 h 6"/>
                <a:gd name="T10" fmla="*/ 2 w 54"/>
                <a:gd name="T11" fmla="*/ 1 h 6"/>
                <a:gd name="T12" fmla="*/ 52 w 54"/>
                <a:gd name="T13" fmla="*/ 0 h 6"/>
                <a:gd name="T14" fmla="*/ 54 w 54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">
                  <a:moveTo>
                    <a:pt x="54" y="2"/>
                  </a:moveTo>
                  <a:cubicBezTo>
                    <a:pt x="54" y="4"/>
                    <a:pt x="53" y="5"/>
                    <a:pt x="5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4" y="1"/>
                    <a:pt x="54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6" name="ïšľîďè"/>
            <p:cNvSpPr/>
            <p:nvPr>
              <p:custDataLst>
                <p:tags r:id="rId70"/>
              </p:custDataLst>
            </p:nvPr>
          </p:nvSpPr>
          <p:spPr bwMode="auto">
            <a:xfrm flipH="1">
              <a:off x="3158592" y="3860528"/>
              <a:ext cx="86502" cy="13012"/>
            </a:xfrm>
            <a:custGeom>
              <a:avLst/>
              <a:gdLst>
                <a:gd name="T0" fmla="*/ 40 w 40"/>
                <a:gd name="T1" fmla="*/ 2 h 6"/>
                <a:gd name="T2" fmla="*/ 37 w 40"/>
                <a:gd name="T3" fmla="*/ 5 h 6"/>
                <a:gd name="T4" fmla="*/ 2 w 40"/>
                <a:gd name="T5" fmla="*/ 6 h 6"/>
                <a:gd name="T6" fmla="*/ 0 w 40"/>
                <a:gd name="T7" fmla="*/ 3 h 6"/>
                <a:gd name="T8" fmla="*/ 0 w 40"/>
                <a:gd name="T9" fmla="*/ 3 h 6"/>
                <a:gd name="T10" fmla="*/ 2 w 40"/>
                <a:gd name="T11" fmla="*/ 1 h 6"/>
                <a:gd name="T12" fmla="*/ 37 w 40"/>
                <a:gd name="T13" fmla="*/ 0 h 6"/>
                <a:gd name="T14" fmla="*/ 40 w 40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6">
                  <a:moveTo>
                    <a:pt x="40" y="2"/>
                  </a:moveTo>
                  <a:cubicBezTo>
                    <a:pt x="40" y="4"/>
                    <a:pt x="39" y="5"/>
                    <a:pt x="37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40" y="1"/>
                    <a:pt x="4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7" name="iṧ1îḍê"/>
            <p:cNvSpPr/>
            <p:nvPr>
              <p:custDataLst>
                <p:tags r:id="rId71"/>
              </p:custDataLst>
            </p:nvPr>
          </p:nvSpPr>
          <p:spPr bwMode="auto">
            <a:xfrm flipH="1">
              <a:off x="3074307" y="2170091"/>
              <a:ext cx="331592" cy="243969"/>
            </a:xfrm>
            <a:custGeom>
              <a:avLst/>
              <a:gdLst>
                <a:gd name="T0" fmla="*/ 128 w 153"/>
                <a:gd name="T1" fmla="*/ 1 h 115"/>
                <a:gd name="T2" fmla="*/ 23 w 153"/>
                <a:gd name="T3" fmla="*/ 3 h 115"/>
                <a:gd name="T4" fmla="*/ 0 w 153"/>
                <a:gd name="T5" fmla="*/ 27 h 115"/>
                <a:gd name="T6" fmla="*/ 1 w 153"/>
                <a:gd name="T7" fmla="*/ 91 h 115"/>
                <a:gd name="T8" fmla="*/ 25 w 153"/>
                <a:gd name="T9" fmla="*/ 114 h 115"/>
                <a:gd name="T10" fmla="*/ 130 w 153"/>
                <a:gd name="T11" fmla="*/ 112 h 115"/>
                <a:gd name="T12" fmla="*/ 153 w 153"/>
                <a:gd name="T13" fmla="*/ 88 h 115"/>
                <a:gd name="T14" fmla="*/ 152 w 153"/>
                <a:gd name="T15" fmla="*/ 24 h 115"/>
                <a:gd name="T16" fmla="*/ 128 w 153"/>
                <a:gd name="T17" fmla="*/ 1 h 115"/>
                <a:gd name="T18" fmla="*/ 23 w 153"/>
                <a:gd name="T19" fmla="*/ 13 h 115"/>
                <a:gd name="T20" fmla="*/ 128 w 153"/>
                <a:gd name="T21" fmla="*/ 11 h 115"/>
                <a:gd name="T22" fmla="*/ 141 w 153"/>
                <a:gd name="T23" fmla="*/ 24 h 115"/>
                <a:gd name="T24" fmla="*/ 142 w 153"/>
                <a:gd name="T25" fmla="*/ 30 h 115"/>
                <a:gd name="T26" fmla="*/ 10 w 153"/>
                <a:gd name="T27" fmla="*/ 33 h 115"/>
                <a:gd name="T28" fmla="*/ 10 w 153"/>
                <a:gd name="T29" fmla="*/ 27 h 115"/>
                <a:gd name="T30" fmla="*/ 23 w 153"/>
                <a:gd name="T31" fmla="*/ 13 h 115"/>
                <a:gd name="T32" fmla="*/ 130 w 153"/>
                <a:gd name="T33" fmla="*/ 102 h 115"/>
                <a:gd name="T34" fmla="*/ 25 w 153"/>
                <a:gd name="T35" fmla="*/ 104 h 115"/>
                <a:gd name="T36" fmla="*/ 12 w 153"/>
                <a:gd name="T37" fmla="*/ 91 h 115"/>
                <a:gd name="T38" fmla="*/ 11 w 153"/>
                <a:gd name="T39" fmla="*/ 58 h 115"/>
                <a:gd name="T40" fmla="*/ 142 w 153"/>
                <a:gd name="T41" fmla="*/ 55 h 115"/>
                <a:gd name="T42" fmla="*/ 143 w 153"/>
                <a:gd name="T43" fmla="*/ 88 h 115"/>
                <a:gd name="T44" fmla="*/ 130 w 153"/>
                <a:gd name="T45" fmla="*/ 10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3" h="115">
                  <a:moveTo>
                    <a:pt x="128" y="1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10" y="3"/>
                    <a:pt x="0" y="14"/>
                    <a:pt x="0" y="27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2" y="104"/>
                    <a:pt x="12" y="115"/>
                    <a:pt x="25" y="114"/>
                  </a:cubicBezTo>
                  <a:cubicBezTo>
                    <a:pt x="130" y="112"/>
                    <a:pt x="130" y="112"/>
                    <a:pt x="130" y="112"/>
                  </a:cubicBezTo>
                  <a:cubicBezTo>
                    <a:pt x="143" y="112"/>
                    <a:pt x="153" y="101"/>
                    <a:pt x="153" y="88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1" y="11"/>
                    <a:pt x="141" y="0"/>
                    <a:pt x="128" y="1"/>
                  </a:cubicBezTo>
                  <a:close/>
                  <a:moveTo>
                    <a:pt x="23" y="13"/>
                  </a:moveTo>
                  <a:cubicBezTo>
                    <a:pt x="128" y="11"/>
                    <a:pt x="128" y="11"/>
                    <a:pt x="128" y="11"/>
                  </a:cubicBezTo>
                  <a:cubicBezTo>
                    <a:pt x="135" y="11"/>
                    <a:pt x="141" y="16"/>
                    <a:pt x="141" y="24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19"/>
                    <a:pt x="16" y="13"/>
                    <a:pt x="23" y="13"/>
                  </a:cubicBezTo>
                  <a:close/>
                  <a:moveTo>
                    <a:pt x="130" y="102"/>
                  </a:moveTo>
                  <a:cubicBezTo>
                    <a:pt x="25" y="104"/>
                    <a:pt x="25" y="104"/>
                    <a:pt x="25" y="104"/>
                  </a:cubicBezTo>
                  <a:cubicBezTo>
                    <a:pt x="18" y="104"/>
                    <a:pt x="12" y="98"/>
                    <a:pt x="12" y="91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96"/>
                    <a:pt x="137" y="102"/>
                    <a:pt x="130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82500" lnSpcReduction="20000"/>
            </a:bodyPr>
            <a:lstStyle/>
            <a:p>
              <a:pPr algn="ctr"/>
            </a:p>
          </p:txBody>
        </p:sp>
        <p:sp>
          <p:nvSpPr>
            <p:cNvPr id="178" name="îsḷïḑé"/>
            <p:cNvSpPr/>
            <p:nvPr>
              <p:custDataLst>
                <p:tags r:id="rId72"/>
              </p:custDataLst>
            </p:nvPr>
          </p:nvSpPr>
          <p:spPr bwMode="auto">
            <a:xfrm flipH="1">
              <a:off x="3199625" y="2308882"/>
              <a:ext cx="160805" cy="24939"/>
            </a:xfrm>
            <a:custGeom>
              <a:avLst/>
              <a:gdLst>
                <a:gd name="T0" fmla="*/ 74 w 74"/>
                <a:gd name="T1" fmla="*/ 5 h 12"/>
                <a:gd name="T2" fmla="*/ 69 w 74"/>
                <a:gd name="T3" fmla="*/ 10 h 12"/>
                <a:gd name="T4" fmla="*/ 5 w 74"/>
                <a:gd name="T5" fmla="*/ 12 h 12"/>
                <a:gd name="T6" fmla="*/ 0 w 74"/>
                <a:gd name="T7" fmla="*/ 6 h 12"/>
                <a:gd name="T8" fmla="*/ 0 w 74"/>
                <a:gd name="T9" fmla="*/ 6 h 12"/>
                <a:gd name="T10" fmla="*/ 5 w 74"/>
                <a:gd name="T11" fmla="*/ 1 h 12"/>
                <a:gd name="T12" fmla="*/ 68 w 74"/>
                <a:gd name="T13" fmla="*/ 0 h 12"/>
                <a:gd name="T14" fmla="*/ 74 w 74"/>
                <a:gd name="T1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">
                  <a:moveTo>
                    <a:pt x="74" y="5"/>
                  </a:moveTo>
                  <a:cubicBezTo>
                    <a:pt x="74" y="8"/>
                    <a:pt x="71" y="10"/>
                    <a:pt x="69" y="10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2"/>
                    <a:pt x="74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79" name="ïş1ïḍé"/>
            <p:cNvSpPr/>
            <p:nvPr>
              <p:custDataLst>
                <p:tags r:id="rId73"/>
              </p:custDataLst>
            </p:nvPr>
          </p:nvSpPr>
          <p:spPr bwMode="auto">
            <a:xfrm flipH="1">
              <a:off x="3265056" y="2349001"/>
              <a:ext cx="95374" cy="22770"/>
            </a:xfrm>
            <a:custGeom>
              <a:avLst/>
              <a:gdLst>
                <a:gd name="T0" fmla="*/ 44 w 44"/>
                <a:gd name="T1" fmla="*/ 5 h 11"/>
                <a:gd name="T2" fmla="*/ 39 w 44"/>
                <a:gd name="T3" fmla="*/ 11 h 11"/>
                <a:gd name="T4" fmla="*/ 5 w 44"/>
                <a:gd name="T5" fmla="*/ 11 h 11"/>
                <a:gd name="T6" fmla="*/ 0 w 44"/>
                <a:gd name="T7" fmla="*/ 6 h 11"/>
                <a:gd name="T8" fmla="*/ 0 w 44"/>
                <a:gd name="T9" fmla="*/ 6 h 11"/>
                <a:gd name="T10" fmla="*/ 5 w 44"/>
                <a:gd name="T11" fmla="*/ 1 h 11"/>
                <a:gd name="T12" fmla="*/ 39 w 44"/>
                <a:gd name="T13" fmla="*/ 0 h 11"/>
                <a:gd name="T14" fmla="*/ 44 w 44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1">
                  <a:moveTo>
                    <a:pt x="44" y="5"/>
                  </a:moveTo>
                  <a:cubicBezTo>
                    <a:pt x="44" y="8"/>
                    <a:pt x="42" y="11"/>
                    <a:pt x="39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1"/>
                    <a:pt x="5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4" y="2"/>
                    <a:pt x="44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0" name="îṣ1îdé"/>
            <p:cNvSpPr/>
            <p:nvPr>
              <p:custDataLst>
                <p:tags r:id="rId74"/>
              </p:custDataLst>
            </p:nvPr>
          </p:nvSpPr>
          <p:spPr bwMode="auto">
            <a:xfrm flipH="1">
              <a:off x="4034703" y="3796553"/>
              <a:ext cx="249525" cy="182164"/>
            </a:xfrm>
            <a:custGeom>
              <a:avLst/>
              <a:gdLst>
                <a:gd name="T0" fmla="*/ 95 w 115"/>
                <a:gd name="T1" fmla="*/ 1 h 86"/>
                <a:gd name="T2" fmla="*/ 17 w 115"/>
                <a:gd name="T3" fmla="*/ 2 h 86"/>
                <a:gd name="T4" fmla="*/ 0 w 115"/>
                <a:gd name="T5" fmla="*/ 20 h 86"/>
                <a:gd name="T6" fmla="*/ 1 w 115"/>
                <a:gd name="T7" fmla="*/ 68 h 86"/>
                <a:gd name="T8" fmla="*/ 19 w 115"/>
                <a:gd name="T9" fmla="*/ 86 h 86"/>
                <a:gd name="T10" fmla="*/ 97 w 115"/>
                <a:gd name="T11" fmla="*/ 84 h 86"/>
                <a:gd name="T12" fmla="*/ 114 w 115"/>
                <a:gd name="T13" fmla="*/ 66 h 86"/>
                <a:gd name="T14" fmla="*/ 113 w 115"/>
                <a:gd name="T15" fmla="*/ 18 h 86"/>
                <a:gd name="T16" fmla="*/ 95 w 115"/>
                <a:gd name="T17" fmla="*/ 1 h 86"/>
                <a:gd name="T18" fmla="*/ 17 w 115"/>
                <a:gd name="T19" fmla="*/ 10 h 86"/>
                <a:gd name="T20" fmla="*/ 96 w 115"/>
                <a:gd name="T21" fmla="*/ 8 h 86"/>
                <a:gd name="T22" fmla="*/ 106 w 115"/>
                <a:gd name="T23" fmla="*/ 18 h 86"/>
                <a:gd name="T24" fmla="*/ 106 w 115"/>
                <a:gd name="T25" fmla="*/ 22 h 86"/>
                <a:gd name="T26" fmla="*/ 8 w 115"/>
                <a:gd name="T27" fmla="*/ 25 h 86"/>
                <a:gd name="T28" fmla="*/ 8 w 115"/>
                <a:gd name="T29" fmla="*/ 20 h 86"/>
                <a:gd name="T30" fmla="*/ 17 w 115"/>
                <a:gd name="T31" fmla="*/ 10 h 86"/>
                <a:gd name="T32" fmla="*/ 97 w 115"/>
                <a:gd name="T33" fmla="*/ 76 h 86"/>
                <a:gd name="T34" fmla="*/ 19 w 115"/>
                <a:gd name="T35" fmla="*/ 78 h 86"/>
                <a:gd name="T36" fmla="*/ 9 w 115"/>
                <a:gd name="T37" fmla="*/ 68 h 86"/>
                <a:gd name="T38" fmla="*/ 8 w 115"/>
                <a:gd name="T39" fmla="*/ 43 h 86"/>
                <a:gd name="T40" fmla="*/ 106 w 115"/>
                <a:gd name="T41" fmla="*/ 41 h 86"/>
                <a:gd name="T42" fmla="*/ 107 w 115"/>
                <a:gd name="T43" fmla="*/ 66 h 86"/>
                <a:gd name="T44" fmla="*/ 97 w 115"/>
                <a:gd name="T45" fmla="*/ 7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86">
                  <a:moveTo>
                    <a:pt x="95" y="1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7" y="2"/>
                    <a:pt x="0" y="10"/>
                    <a:pt x="0" y="20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1" y="78"/>
                    <a:pt x="9" y="86"/>
                    <a:pt x="19" y="86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107" y="84"/>
                    <a:pt x="115" y="76"/>
                    <a:pt x="114" y="66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8"/>
                    <a:pt x="105" y="0"/>
                    <a:pt x="95" y="1"/>
                  </a:cubicBezTo>
                  <a:close/>
                  <a:moveTo>
                    <a:pt x="17" y="10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101" y="8"/>
                    <a:pt x="106" y="12"/>
                    <a:pt x="106" y="18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15"/>
                    <a:pt x="12" y="10"/>
                    <a:pt x="17" y="10"/>
                  </a:cubicBezTo>
                  <a:close/>
                  <a:moveTo>
                    <a:pt x="97" y="76"/>
                  </a:moveTo>
                  <a:cubicBezTo>
                    <a:pt x="19" y="78"/>
                    <a:pt x="19" y="78"/>
                    <a:pt x="19" y="78"/>
                  </a:cubicBezTo>
                  <a:cubicBezTo>
                    <a:pt x="13" y="78"/>
                    <a:pt x="9" y="74"/>
                    <a:pt x="9" y="68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72"/>
                    <a:pt x="103" y="76"/>
                    <a:pt x="97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2500" lnSpcReduction="20000"/>
            </a:bodyPr>
            <a:lstStyle/>
            <a:p>
              <a:pPr algn="ctr"/>
            </a:p>
          </p:txBody>
        </p:sp>
        <p:sp>
          <p:nvSpPr>
            <p:cNvPr id="181" name="ïşḷiḓe"/>
            <p:cNvSpPr/>
            <p:nvPr>
              <p:custDataLst>
                <p:tags r:id="rId75"/>
              </p:custDataLst>
            </p:nvPr>
          </p:nvSpPr>
          <p:spPr bwMode="auto">
            <a:xfrm flipH="1">
              <a:off x="4130077" y="3898478"/>
              <a:ext cx="120881" cy="19518"/>
            </a:xfrm>
            <a:custGeom>
              <a:avLst/>
              <a:gdLst>
                <a:gd name="T0" fmla="*/ 56 w 56"/>
                <a:gd name="T1" fmla="*/ 4 h 9"/>
                <a:gd name="T2" fmla="*/ 52 w 56"/>
                <a:gd name="T3" fmla="*/ 8 h 9"/>
                <a:gd name="T4" fmla="*/ 4 w 56"/>
                <a:gd name="T5" fmla="*/ 9 h 9"/>
                <a:gd name="T6" fmla="*/ 0 w 56"/>
                <a:gd name="T7" fmla="*/ 6 h 9"/>
                <a:gd name="T8" fmla="*/ 0 w 56"/>
                <a:gd name="T9" fmla="*/ 6 h 9"/>
                <a:gd name="T10" fmla="*/ 4 w 56"/>
                <a:gd name="T11" fmla="*/ 2 h 9"/>
                <a:gd name="T12" fmla="*/ 52 w 56"/>
                <a:gd name="T13" fmla="*/ 1 h 9"/>
                <a:gd name="T14" fmla="*/ 56 w 56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9">
                  <a:moveTo>
                    <a:pt x="56" y="4"/>
                  </a:moveTo>
                  <a:cubicBezTo>
                    <a:pt x="56" y="7"/>
                    <a:pt x="54" y="8"/>
                    <a:pt x="52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1" y="8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2"/>
                    <a:pt x="4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4" y="0"/>
                    <a:pt x="56" y="2"/>
                    <a:pt x="56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2" name="ïṡḷïdé"/>
            <p:cNvSpPr/>
            <p:nvPr>
              <p:custDataLst>
                <p:tags r:id="rId76"/>
              </p:custDataLst>
            </p:nvPr>
          </p:nvSpPr>
          <p:spPr bwMode="auto">
            <a:xfrm flipH="1">
              <a:off x="4177764" y="3929923"/>
              <a:ext cx="72085" cy="17349"/>
            </a:xfrm>
            <a:custGeom>
              <a:avLst/>
              <a:gdLst>
                <a:gd name="T0" fmla="*/ 32 w 33"/>
                <a:gd name="T1" fmla="*/ 4 h 8"/>
                <a:gd name="T2" fmla="*/ 29 w 33"/>
                <a:gd name="T3" fmla="*/ 8 h 8"/>
                <a:gd name="T4" fmla="*/ 4 w 33"/>
                <a:gd name="T5" fmla="*/ 8 h 8"/>
                <a:gd name="T6" fmla="*/ 0 w 33"/>
                <a:gd name="T7" fmla="*/ 5 h 8"/>
                <a:gd name="T8" fmla="*/ 0 w 33"/>
                <a:gd name="T9" fmla="*/ 5 h 8"/>
                <a:gd name="T10" fmla="*/ 4 w 33"/>
                <a:gd name="T11" fmla="*/ 1 h 8"/>
                <a:gd name="T12" fmla="*/ 29 w 33"/>
                <a:gd name="T13" fmla="*/ 0 h 8"/>
                <a:gd name="T14" fmla="*/ 32 w 33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8">
                  <a:moveTo>
                    <a:pt x="32" y="4"/>
                  </a:moveTo>
                  <a:cubicBezTo>
                    <a:pt x="33" y="6"/>
                    <a:pt x="31" y="8"/>
                    <a:pt x="2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2" y="2"/>
                    <a:pt x="32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3" name="îṣlîdè"/>
            <p:cNvSpPr/>
            <p:nvPr>
              <p:custDataLst>
                <p:tags r:id="rId77"/>
              </p:custDataLst>
            </p:nvPr>
          </p:nvSpPr>
          <p:spPr bwMode="auto">
            <a:xfrm flipH="1">
              <a:off x="4123423" y="3529813"/>
              <a:ext cx="29943" cy="63974"/>
            </a:xfrm>
            <a:custGeom>
              <a:avLst/>
              <a:gdLst>
                <a:gd name="T0" fmla="*/ 2 w 14"/>
                <a:gd name="T1" fmla="*/ 15 h 30"/>
                <a:gd name="T2" fmla="*/ 0 w 14"/>
                <a:gd name="T3" fmla="*/ 19 h 30"/>
                <a:gd name="T4" fmla="*/ 1 w 14"/>
                <a:gd name="T5" fmla="*/ 22 h 30"/>
                <a:gd name="T6" fmla="*/ 2 w 14"/>
                <a:gd name="T7" fmla="*/ 24 h 30"/>
                <a:gd name="T8" fmla="*/ 4 w 14"/>
                <a:gd name="T9" fmla="*/ 25 h 30"/>
                <a:gd name="T10" fmla="*/ 4 w 14"/>
                <a:gd name="T11" fmla="*/ 29 h 30"/>
                <a:gd name="T12" fmla="*/ 5 w 14"/>
                <a:gd name="T13" fmla="*/ 30 h 30"/>
                <a:gd name="T14" fmla="*/ 6 w 14"/>
                <a:gd name="T15" fmla="*/ 29 h 30"/>
                <a:gd name="T16" fmla="*/ 6 w 14"/>
                <a:gd name="T17" fmla="*/ 25 h 30"/>
                <a:gd name="T18" fmla="*/ 8 w 14"/>
                <a:gd name="T19" fmla="*/ 26 h 30"/>
                <a:gd name="T20" fmla="*/ 8 w 14"/>
                <a:gd name="T21" fmla="*/ 29 h 30"/>
                <a:gd name="T22" fmla="*/ 9 w 14"/>
                <a:gd name="T23" fmla="*/ 30 h 30"/>
                <a:gd name="T24" fmla="*/ 10 w 14"/>
                <a:gd name="T25" fmla="*/ 29 h 30"/>
                <a:gd name="T26" fmla="*/ 10 w 14"/>
                <a:gd name="T27" fmla="*/ 26 h 30"/>
                <a:gd name="T28" fmla="*/ 12 w 14"/>
                <a:gd name="T29" fmla="*/ 25 h 30"/>
                <a:gd name="T30" fmla="*/ 14 w 14"/>
                <a:gd name="T31" fmla="*/ 25 h 30"/>
                <a:gd name="T32" fmla="*/ 14 w 14"/>
                <a:gd name="T33" fmla="*/ 24 h 30"/>
                <a:gd name="T34" fmla="*/ 14 w 14"/>
                <a:gd name="T35" fmla="*/ 23 h 30"/>
                <a:gd name="T36" fmla="*/ 14 w 14"/>
                <a:gd name="T37" fmla="*/ 22 h 30"/>
                <a:gd name="T38" fmla="*/ 14 w 14"/>
                <a:gd name="T39" fmla="*/ 21 h 30"/>
                <a:gd name="T40" fmla="*/ 11 w 14"/>
                <a:gd name="T41" fmla="*/ 22 h 30"/>
                <a:gd name="T42" fmla="*/ 10 w 14"/>
                <a:gd name="T43" fmla="*/ 22 h 30"/>
                <a:gd name="T44" fmla="*/ 10 w 14"/>
                <a:gd name="T45" fmla="*/ 15 h 30"/>
                <a:gd name="T46" fmla="*/ 10 w 14"/>
                <a:gd name="T47" fmla="*/ 15 h 30"/>
                <a:gd name="T48" fmla="*/ 12 w 14"/>
                <a:gd name="T49" fmla="*/ 14 h 30"/>
                <a:gd name="T50" fmla="*/ 14 w 14"/>
                <a:gd name="T51" fmla="*/ 12 h 30"/>
                <a:gd name="T52" fmla="*/ 14 w 14"/>
                <a:gd name="T53" fmla="*/ 10 h 30"/>
                <a:gd name="T54" fmla="*/ 14 w 14"/>
                <a:gd name="T55" fmla="*/ 8 h 30"/>
                <a:gd name="T56" fmla="*/ 12 w 14"/>
                <a:gd name="T57" fmla="*/ 6 h 30"/>
                <a:gd name="T58" fmla="*/ 10 w 14"/>
                <a:gd name="T59" fmla="*/ 5 h 30"/>
                <a:gd name="T60" fmla="*/ 10 w 14"/>
                <a:gd name="T61" fmla="*/ 2 h 30"/>
                <a:gd name="T62" fmla="*/ 9 w 14"/>
                <a:gd name="T63" fmla="*/ 1 h 30"/>
                <a:gd name="T64" fmla="*/ 8 w 14"/>
                <a:gd name="T65" fmla="*/ 1 h 30"/>
                <a:gd name="T66" fmla="*/ 8 w 14"/>
                <a:gd name="T67" fmla="*/ 4 h 30"/>
                <a:gd name="T68" fmla="*/ 7 w 14"/>
                <a:gd name="T69" fmla="*/ 4 h 30"/>
                <a:gd name="T70" fmla="*/ 6 w 14"/>
                <a:gd name="T71" fmla="*/ 4 h 30"/>
                <a:gd name="T72" fmla="*/ 7 w 14"/>
                <a:gd name="T73" fmla="*/ 1 h 30"/>
                <a:gd name="T74" fmla="*/ 6 w 14"/>
                <a:gd name="T75" fmla="*/ 0 h 30"/>
                <a:gd name="T76" fmla="*/ 5 w 14"/>
                <a:gd name="T77" fmla="*/ 1 h 30"/>
                <a:gd name="T78" fmla="*/ 5 w 14"/>
                <a:gd name="T79" fmla="*/ 4 h 30"/>
                <a:gd name="T80" fmla="*/ 3 w 14"/>
                <a:gd name="T81" fmla="*/ 4 h 30"/>
                <a:gd name="T82" fmla="*/ 2 w 14"/>
                <a:gd name="T83" fmla="*/ 4 h 30"/>
                <a:gd name="T84" fmla="*/ 2 w 14"/>
                <a:gd name="T85" fmla="*/ 5 h 30"/>
                <a:gd name="T86" fmla="*/ 1 w 14"/>
                <a:gd name="T87" fmla="*/ 5 h 30"/>
                <a:gd name="T88" fmla="*/ 1 w 14"/>
                <a:gd name="T89" fmla="*/ 6 h 30"/>
                <a:gd name="T90" fmla="*/ 2 w 14"/>
                <a:gd name="T91" fmla="*/ 7 h 30"/>
                <a:gd name="T92" fmla="*/ 2 w 14"/>
                <a:gd name="T93" fmla="*/ 8 h 30"/>
                <a:gd name="T94" fmla="*/ 4 w 14"/>
                <a:gd name="T95" fmla="*/ 8 h 30"/>
                <a:gd name="T96" fmla="*/ 5 w 14"/>
                <a:gd name="T97" fmla="*/ 7 h 30"/>
                <a:gd name="T98" fmla="*/ 4 w 14"/>
                <a:gd name="T99" fmla="*/ 14 h 30"/>
                <a:gd name="T100" fmla="*/ 2 w 14"/>
                <a:gd name="T101" fmla="*/ 15 h 30"/>
                <a:gd name="T102" fmla="*/ 6 w 14"/>
                <a:gd name="T103" fmla="*/ 17 h 30"/>
                <a:gd name="T104" fmla="*/ 8 w 14"/>
                <a:gd name="T105" fmla="*/ 16 h 30"/>
                <a:gd name="T106" fmla="*/ 8 w 14"/>
                <a:gd name="T107" fmla="*/ 22 h 30"/>
                <a:gd name="T108" fmla="*/ 6 w 14"/>
                <a:gd name="T109" fmla="*/ 22 h 30"/>
                <a:gd name="T110" fmla="*/ 6 w 14"/>
                <a:gd name="T111" fmla="*/ 17 h 30"/>
                <a:gd name="T112" fmla="*/ 6 w 14"/>
                <a:gd name="T113" fmla="*/ 7 h 30"/>
                <a:gd name="T114" fmla="*/ 8 w 14"/>
                <a:gd name="T115" fmla="*/ 8 h 30"/>
                <a:gd name="T116" fmla="*/ 8 w 14"/>
                <a:gd name="T117" fmla="*/ 12 h 30"/>
                <a:gd name="T118" fmla="*/ 6 w 14"/>
                <a:gd name="T119" fmla="*/ 13 h 30"/>
                <a:gd name="T120" fmla="*/ 6 w 14"/>
                <a:gd name="T121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" h="30">
                  <a:moveTo>
                    <a:pt x="2" y="15"/>
                  </a:moveTo>
                  <a:cubicBezTo>
                    <a:pt x="1" y="16"/>
                    <a:pt x="0" y="18"/>
                    <a:pt x="0" y="19"/>
                  </a:cubicBezTo>
                  <a:cubicBezTo>
                    <a:pt x="0" y="20"/>
                    <a:pt x="0" y="21"/>
                    <a:pt x="1" y="22"/>
                  </a:cubicBezTo>
                  <a:cubicBezTo>
                    <a:pt x="1" y="23"/>
                    <a:pt x="2" y="24"/>
                    <a:pt x="2" y="24"/>
                  </a:cubicBezTo>
                  <a:cubicBezTo>
                    <a:pt x="3" y="24"/>
                    <a:pt x="3" y="25"/>
                    <a:pt x="4" y="2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30"/>
                    <a:pt x="5" y="30"/>
                  </a:cubicBezTo>
                  <a:cubicBezTo>
                    <a:pt x="5" y="30"/>
                    <a:pt x="6" y="29"/>
                    <a:pt x="6" y="29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5"/>
                    <a:pt x="7" y="26"/>
                    <a:pt x="8" y="26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30"/>
                    <a:pt x="9" y="30"/>
                  </a:cubicBezTo>
                  <a:cubicBezTo>
                    <a:pt x="9" y="30"/>
                    <a:pt x="10" y="29"/>
                    <a:pt x="10" y="29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1" y="25"/>
                    <a:pt x="12" y="25"/>
                  </a:cubicBezTo>
                  <a:cubicBezTo>
                    <a:pt x="13" y="25"/>
                    <a:pt x="14" y="25"/>
                    <a:pt x="14" y="2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3" y="21"/>
                    <a:pt x="12" y="22"/>
                    <a:pt x="11" y="22"/>
                  </a:cubicBezTo>
                  <a:cubicBezTo>
                    <a:pt x="11" y="22"/>
                    <a:pt x="10" y="22"/>
                    <a:pt x="10" y="22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2" y="14"/>
                    <a:pt x="12" y="14"/>
                  </a:cubicBezTo>
                  <a:cubicBezTo>
                    <a:pt x="13" y="13"/>
                    <a:pt x="13" y="13"/>
                    <a:pt x="14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4" y="9"/>
                    <a:pt x="14" y="8"/>
                    <a:pt x="14" y="8"/>
                  </a:cubicBezTo>
                  <a:cubicBezTo>
                    <a:pt x="13" y="7"/>
                    <a:pt x="13" y="6"/>
                    <a:pt x="12" y="6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4" y="7"/>
                    <a:pt x="5" y="7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2" y="15"/>
                    <a:pt x="2" y="15"/>
                  </a:cubicBezTo>
                  <a:close/>
                  <a:moveTo>
                    <a:pt x="6" y="17"/>
                  </a:moveTo>
                  <a:cubicBezTo>
                    <a:pt x="7" y="17"/>
                    <a:pt x="7" y="16"/>
                    <a:pt x="8" y="16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2"/>
                    <a:pt x="7" y="22"/>
                    <a:pt x="6" y="22"/>
                  </a:cubicBezTo>
                  <a:lnTo>
                    <a:pt x="6" y="17"/>
                  </a:lnTo>
                  <a:close/>
                  <a:moveTo>
                    <a:pt x="6" y="7"/>
                  </a:moveTo>
                  <a:cubicBezTo>
                    <a:pt x="7" y="7"/>
                    <a:pt x="8" y="7"/>
                    <a:pt x="8" y="8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7" y="12"/>
                    <a:pt x="6" y="13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4" name="íṣlîḓè"/>
            <p:cNvSpPr/>
            <p:nvPr>
              <p:custDataLst>
                <p:tags r:id="rId78"/>
              </p:custDataLst>
            </p:nvPr>
          </p:nvSpPr>
          <p:spPr bwMode="auto">
            <a:xfrm flipH="1">
              <a:off x="4073518" y="3499453"/>
              <a:ext cx="128644" cy="185417"/>
            </a:xfrm>
            <a:custGeom>
              <a:avLst/>
              <a:gdLst>
                <a:gd name="T0" fmla="*/ 21 w 59"/>
                <a:gd name="T1" fmla="*/ 57 h 87"/>
                <a:gd name="T2" fmla="*/ 20 w 59"/>
                <a:gd name="T3" fmla="*/ 81 h 87"/>
                <a:gd name="T4" fmla="*/ 25 w 59"/>
                <a:gd name="T5" fmla="*/ 87 h 87"/>
                <a:gd name="T6" fmla="*/ 31 w 59"/>
                <a:gd name="T7" fmla="*/ 87 h 87"/>
                <a:gd name="T8" fmla="*/ 36 w 59"/>
                <a:gd name="T9" fmla="*/ 82 h 87"/>
                <a:gd name="T10" fmla="*/ 37 w 59"/>
                <a:gd name="T11" fmla="*/ 57 h 87"/>
                <a:gd name="T12" fmla="*/ 58 w 59"/>
                <a:gd name="T13" fmla="*/ 30 h 87"/>
                <a:gd name="T14" fmla="*/ 30 w 59"/>
                <a:gd name="T15" fmla="*/ 0 h 87"/>
                <a:gd name="T16" fmla="*/ 1 w 59"/>
                <a:gd name="T17" fmla="*/ 28 h 87"/>
                <a:gd name="T18" fmla="*/ 21 w 59"/>
                <a:gd name="T19" fmla="*/ 57 h 87"/>
                <a:gd name="T20" fmla="*/ 9 w 59"/>
                <a:gd name="T21" fmla="*/ 29 h 87"/>
                <a:gd name="T22" fmla="*/ 30 w 59"/>
                <a:gd name="T23" fmla="*/ 9 h 87"/>
                <a:gd name="T24" fmla="*/ 50 w 59"/>
                <a:gd name="T25" fmla="*/ 30 h 87"/>
                <a:gd name="T26" fmla="*/ 29 w 59"/>
                <a:gd name="T27" fmla="*/ 50 h 87"/>
                <a:gd name="T28" fmla="*/ 9 w 59"/>
                <a:gd name="T29" fmla="*/ 2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87">
                  <a:moveTo>
                    <a:pt x="21" y="57"/>
                  </a:moveTo>
                  <a:cubicBezTo>
                    <a:pt x="20" y="81"/>
                    <a:pt x="20" y="81"/>
                    <a:pt x="20" y="81"/>
                  </a:cubicBezTo>
                  <a:cubicBezTo>
                    <a:pt x="20" y="84"/>
                    <a:pt x="22" y="87"/>
                    <a:pt x="25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3" y="87"/>
                    <a:pt x="36" y="85"/>
                    <a:pt x="36" y="82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49" y="54"/>
                    <a:pt x="58" y="43"/>
                    <a:pt x="58" y="30"/>
                  </a:cubicBezTo>
                  <a:cubicBezTo>
                    <a:pt x="59" y="14"/>
                    <a:pt x="46" y="1"/>
                    <a:pt x="30" y="0"/>
                  </a:cubicBezTo>
                  <a:cubicBezTo>
                    <a:pt x="14" y="0"/>
                    <a:pt x="1" y="12"/>
                    <a:pt x="1" y="28"/>
                  </a:cubicBezTo>
                  <a:cubicBezTo>
                    <a:pt x="0" y="42"/>
                    <a:pt x="9" y="53"/>
                    <a:pt x="21" y="57"/>
                  </a:cubicBezTo>
                  <a:close/>
                  <a:moveTo>
                    <a:pt x="9" y="29"/>
                  </a:moveTo>
                  <a:cubicBezTo>
                    <a:pt x="9" y="17"/>
                    <a:pt x="19" y="8"/>
                    <a:pt x="30" y="9"/>
                  </a:cubicBezTo>
                  <a:cubicBezTo>
                    <a:pt x="41" y="9"/>
                    <a:pt x="50" y="18"/>
                    <a:pt x="50" y="30"/>
                  </a:cubicBezTo>
                  <a:cubicBezTo>
                    <a:pt x="50" y="41"/>
                    <a:pt x="40" y="50"/>
                    <a:pt x="29" y="50"/>
                  </a:cubicBezTo>
                  <a:cubicBezTo>
                    <a:pt x="18" y="49"/>
                    <a:pt x="9" y="40"/>
                    <a:pt x="9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</a:p>
          </p:txBody>
        </p:sp>
        <p:sp>
          <p:nvSpPr>
            <p:cNvPr id="185" name="íšľïďè"/>
            <p:cNvSpPr/>
            <p:nvPr>
              <p:custDataLst>
                <p:tags r:id="rId79"/>
              </p:custDataLst>
            </p:nvPr>
          </p:nvSpPr>
          <p:spPr bwMode="auto">
            <a:xfrm flipH="1">
              <a:off x="4043575" y="3476682"/>
              <a:ext cx="231781" cy="146382"/>
            </a:xfrm>
            <a:custGeom>
              <a:avLst/>
              <a:gdLst>
                <a:gd name="T0" fmla="*/ 15 w 107"/>
                <a:gd name="T1" fmla="*/ 1 h 69"/>
                <a:gd name="T2" fmla="*/ 94 w 107"/>
                <a:gd name="T3" fmla="*/ 3 h 69"/>
                <a:gd name="T4" fmla="*/ 107 w 107"/>
                <a:gd name="T5" fmla="*/ 17 h 69"/>
                <a:gd name="T6" fmla="*/ 106 w 107"/>
                <a:gd name="T7" fmla="*/ 55 h 69"/>
                <a:gd name="T8" fmla="*/ 92 w 107"/>
                <a:gd name="T9" fmla="*/ 69 h 69"/>
                <a:gd name="T10" fmla="*/ 86 w 107"/>
                <a:gd name="T11" fmla="*/ 68 h 69"/>
                <a:gd name="T12" fmla="*/ 92 w 107"/>
                <a:gd name="T13" fmla="*/ 63 h 69"/>
                <a:gd name="T14" fmla="*/ 92 w 107"/>
                <a:gd name="T15" fmla="*/ 63 h 69"/>
                <a:gd name="T16" fmla="*/ 100 w 107"/>
                <a:gd name="T17" fmla="*/ 55 h 69"/>
                <a:gd name="T18" fmla="*/ 101 w 107"/>
                <a:gd name="T19" fmla="*/ 17 h 69"/>
                <a:gd name="T20" fmla="*/ 94 w 107"/>
                <a:gd name="T21" fmla="*/ 9 h 69"/>
                <a:gd name="T22" fmla="*/ 15 w 107"/>
                <a:gd name="T23" fmla="*/ 7 h 69"/>
                <a:gd name="T24" fmla="*/ 7 w 107"/>
                <a:gd name="T25" fmla="*/ 14 h 69"/>
                <a:gd name="T26" fmla="*/ 6 w 107"/>
                <a:gd name="T27" fmla="*/ 52 h 69"/>
                <a:gd name="T28" fmla="*/ 13 w 107"/>
                <a:gd name="T29" fmla="*/ 60 h 69"/>
                <a:gd name="T30" fmla="*/ 34 w 107"/>
                <a:gd name="T31" fmla="*/ 61 h 69"/>
                <a:gd name="T32" fmla="*/ 39 w 107"/>
                <a:gd name="T33" fmla="*/ 67 h 69"/>
                <a:gd name="T34" fmla="*/ 13 w 107"/>
                <a:gd name="T35" fmla="*/ 66 h 69"/>
                <a:gd name="T36" fmla="*/ 0 w 107"/>
                <a:gd name="T37" fmla="*/ 52 h 69"/>
                <a:gd name="T38" fmla="*/ 1 w 107"/>
                <a:gd name="T39" fmla="*/ 14 h 69"/>
                <a:gd name="T40" fmla="*/ 15 w 107"/>
                <a:gd name="T41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69">
                  <a:moveTo>
                    <a:pt x="15" y="1"/>
                  </a:moveTo>
                  <a:cubicBezTo>
                    <a:pt x="94" y="3"/>
                    <a:pt x="94" y="3"/>
                    <a:pt x="94" y="3"/>
                  </a:cubicBezTo>
                  <a:cubicBezTo>
                    <a:pt x="101" y="3"/>
                    <a:pt x="107" y="9"/>
                    <a:pt x="107" y="17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63"/>
                    <a:pt x="99" y="69"/>
                    <a:pt x="92" y="69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9" y="67"/>
                    <a:pt x="90" y="65"/>
                    <a:pt x="92" y="63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6" y="63"/>
                    <a:pt x="100" y="59"/>
                    <a:pt x="100" y="55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1" y="12"/>
                    <a:pt x="98" y="9"/>
                    <a:pt x="94" y="9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6"/>
                    <a:pt x="7" y="10"/>
                    <a:pt x="7" y="14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7"/>
                    <a:pt x="9" y="60"/>
                    <a:pt x="13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5" y="63"/>
                    <a:pt x="37" y="65"/>
                    <a:pt x="39" y="67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6" y="66"/>
                    <a:pt x="0" y="60"/>
                    <a:pt x="0" y="52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6"/>
                    <a:pt x="8" y="0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35000" lnSpcReduction="20000"/>
            </a:bodyPr>
            <a:lstStyle/>
            <a:p>
              <a:pPr algn="ctr"/>
            </a:p>
          </p:txBody>
        </p:sp>
        <p:sp>
          <p:nvSpPr>
            <p:cNvPr id="186" name="íṣļîḓé"/>
            <p:cNvSpPr/>
            <p:nvPr>
              <p:custDataLst>
                <p:tags r:id="rId80"/>
              </p:custDataLst>
            </p:nvPr>
          </p:nvSpPr>
          <p:spPr bwMode="auto">
            <a:xfrm flipH="1">
              <a:off x="3984798" y="3001755"/>
              <a:ext cx="156369" cy="97588"/>
            </a:xfrm>
            <a:custGeom>
              <a:avLst/>
              <a:gdLst>
                <a:gd name="T0" fmla="*/ 72 w 72"/>
                <a:gd name="T1" fmla="*/ 1 h 46"/>
                <a:gd name="T2" fmla="*/ 37 w 72"/>
                <a:gd name="T3" fmla="*/ 38 h 46"/>
                <a:gd name="T4" fmla="*/ 24 w 72"/>
                <a:gd name="T5" fmla="*/ 26 h 46"/>
                <a:gd name="T6" fmla="*/ 0 w 72"/>
                <a:gd name="T7" fmla="*/ 46 h 46"/>
                <a:gd name="T8" fmla="*/ 0 w 72"/>
                <a:gd name="T9" fmla="*/ 36 h 46"/>
                <a:gd name="T10" fmla="*/ 24 w 72"/>
                <a:gd name="T11" fmla="*/ 16 h 46"/>
                <a:gd name="T12" fmla="*/ 37 w 72"/>
                <a:gd name="T13" fmla="*/ 29 h 46"/>
                <a:gd name="T14" fmla="*/ 71 w 72"/>
                <a:gd name="T15" fmla="*/ 1 h 46"/>
                <a:gd name="T16" fmla="*/ 72 w 72"/>
                <a:gd name="T17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46">
                  <a:moveTo>
                    <a:pt x="72" y="1"/>
                  </a:moveTo>
                  <a:cubicBezTo>
                    <a:pt x="37" y="38"/>
                    <a:pt x="37" y="38"/>
                    <a:pt x="37" y="38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2" y="0"/>
                    <a:pt x="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7" name="íṣľîde"/>
            <p:cNvSpPr/>
            <p:nvPr>
              <p:custDataLst>
                <p:tags r:id="rId81"/>
              </p:custDataLst>
            </p:nvPr>
          </p:nvSpPr>
          <p:spPr bwMode="auto">
            <a:xfrm flipH="1">
              <a:off x="4006978" y="3108017"/>
              <a:ext cx="1109" cy="8674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1 w 1"/>
                <a:gd name="T5" fmla="*/ 4 h 4"/>
                <a:gd name="T6" fmla="*/ 1 w 1"/>
                <a:gd name="T7" fmla="*/ 1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8" name="ïSḷíḋê"/>
            <p:cNvSpPr/>
            <p:nvPr>
              <p:custDataLst>
                <p:tags r:id="rId82"/>
              </p:custDataLst>
            </p:nvPr>
          </p:nvSpPr>
          <p:spPr bwMode="auto">
            <a:xfrm flipH="1">
              <a:off x="4006978" y="3095006"/>
              <a:ext cx="1109" cy="8674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0 h 4"/>
                <a:gd name="T4" fmla="*/ 0 w 1"/>
                <a:gd name="T5" fmla="*/ 3 h 4"/>
                <a:gd name="T6" fmla="*/ 1 w 1"/>
                <a:gd name="T7" fmla="*/ 4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89" name="í$ļîḋè"/>
            <p:cNvSpPr/>
            <p:nvPr>
              <p:custDataLst>
                <p:tags r:id="rId83"/>
              </p:custDataLst>
            </p:nvPr>
          </p:nvSpPr>
          <p:spPr bwMode="auto">
            <a:xfrm flipH="1">
              <a:off x="3982580" y="3026694"/>
              <a:ext cx="158587" cy="114937"/>
            </a:xfrm>
            <a:custGeom>
              <a:avLst/>
              <a:gdLst>
                <a:gd name="T0" fmla="*/ 72 w 73"/>
                <a:gd name="T1" fmla="*/ 0 h 54"/>
                <a:gd name="T2" fmla="*/ 66 w 73"/>
                <a:gd name="T3" fmla="*/ 6 h 54"/>
                <a:gd name="T4" fmla="*/ 37 w 73"/>
                <a:gd name="T5" fmla="*/ 37 h 54"/>
                <a:gd name="T6" fmla="*/ 24 w 73"/>
                <a:gd name="T7" fmla="*/ 25 h 54"/>
                <a:gd name="T8" fmla="*/ 0 w 73"/>
                <a:gd name="T9" fmla="*/ 44 h 54"/>
                <a:gd name="T10" fmla="*/ 0 w 73"/>
                <a:gd name="T11" fmla="*/ 48 h 54"/>
                <a:gd name="T12" fmla="*/ 6 w 73"/>
                <a:gd name="T13" fmla="*/ 54 h 54"/>
                <a:gd name="T14" fmla="*/ 68 w 73"/>
                <a:gd name="T15" fmla="*/ 53 h 54"/>
                <a:gd name="T16" fmla="*/ 73 w 73"/>
                <a:gd name="T17" fmla="*/ 46 h 54"/>
                <a:gd name="T18" fmla="*/ 72 w 73"/>
                <a:gd name="T19" fmla="*/ 0 h 54"/>
                <a:gd name="T20" fmla="*/ 66 w 73"/>
                <a:gd name="T21" fmla="*/ 43 h 54"/>
                <a:gd name="T22" fmla="*/ 65 w 73"/>
                <a:gd name="T23" fmla="*/ 44 h 54"/>
                <a:gd name="T24" fmla="*/ 64 w 73"/>
                <a:gd name="T25" fmla="*/ 44 h 54"/>
                <a:gd name="T26" fmla="*/ 64 w 73"/>
                <a:gd name="T27" fmla="*/ 47 h 54"/>
                <a:gd name="T28" fmla="*/ 63 w 73"/>
                <a:gd name="T29" fmla="*/ 48 h 54"/>
                <a:gd name="T30" fmla="*/ 63 w 73"/>
                <a:gd name="T31" fmla="*/ 47 h 54"/>
                <a:gd name="T32" fmla="*/ 63 w 73"/>
                <a:gd name="T33" fmla="*/ 45 h 54"/>
                <a:gd name="T34" fmla="*/ 61 w 73"/>
                <a:gd name="T35" fmla="*/ 45 h 54"/>
                <a:gd name="T36" fmla="*/ 61 w 73"/>
                <a:gd name="T37" fmla="*/ 47 h 54"/>
                <a:gd name="T38" fmla="*/ 61 w 73"/>
                <a:gd name="T39" fmla="*/ 48 h 54"/>
                <a:gd name="T40" fmla="*/ 60 w 73"/>
                <a:gd name="T41" fmla="*/ 47 h 54"/>
                <a:gd name="T42" fmla="*/ 60 w 73"/>
                <a:gd name="T43" fmla="*/ 45 h 54"/>
                <a:gd name="T44" fmla="*/ 58 w 73"/>
                <a:gd name="T45" fmla="*/ 45 h 54"/>
                <a:gd name="T46" fmla="*/ 56 w 73"/>
                <a:gd name="T47" fmla="*/ 44 h 54"/>
                <a:gd name="T48" fmla="*/ 56 w 73"/>
                <a:gd name="T49" fmla="*/ 44 h 54"/>
                <a:gd name="T50" fmla="*/ 56 w 73"/>
                <a:gd name="T51" fmla="*/ 43 h 54"/>
                <a:gd name="T52" fmla="*/ 57 w 73"/>
                <a:gd name="T53" fmla="*/ 42 h 54"/>
                <a:gd name="T54" fmla="*/ 57 w 73"/>
                <a:gd name="T55" fmla="*/ 42 h 54"/>
                <a:gd name="T56" fmla="*/ 59 w 73"/>
                <a:gd name="T57" fmla="*/ 42 h 54"/>
                <a:gd name="T58" fmla="*/ 60 w 73"/>
                <a:gd name="T59" fmla="*/ 42 h 54"/>
                <a:gd name="T60" fmla="*/ 60 w 73"/>
                <a:gd name="T61" fmla="*/ 37 h 54"/>
                <a:gd name="T62" fmla="*/ 59 w 73"/>
                <a:gd name="T63" fmla="*/ 37 h 54"/>
                <a:gd name="T64" fmla="*/ 58 w 73"/>
                <a:gd name="T65" fmla="*/ 36 h 54"/>
                <a:gd name="T66" fmla="*/ 57 w 73"/>
                <a:gd name="T67" fmla="*/ 35 h 54"/>
                <a:gd name="T68" fmla="*/ 57 w 73"/>
                <a:gd name="T69" fmla="*/ 33 h 54"/>
                <a:gd name="T70" fmla="*/ 57 w 73"/>
                <a:gd name="T71" fmla="*/ 32 h 54"/>
                <a:gd name="T72" fmla="*/ 58 w 73"/>
                <a:gd name="T73" fmla="*/ 31 h 54"/>
                <a:gd name="T74" fmla="*/ 59 w 73"/>
                <a:gd name="T75" fmla="*/ 30 h 54"/>
                <a:gd name="T76" fmla="*/ 59 w 73"/>
                <a:gd name="T77" fmla="*/ 27 h 54"/>
                <a:gd name="T78" fmla="*/ 60 w 73"/>
                <a:gd name="T79" fmla="*/ 27 h 54"/>
                <a:gd name="T80" fmla="*/ 61 w 73"/>
                <a:gd name="T81" fmla="*/ 27 h 54"/>
                <a:gd name="T82" fmla="*/ 61 w 73"/>
                <a:gd name="T83" fmla="*/ 29 h 54"/>
                <a:gd name="T84" fmla="*/ 62 w 73"/>
                <a:gd name="T85" fmla="*/ 29 h 54"/>
                <a:gd name="T86" fmla="*/ 62 w 73"/>
                <a:gd name="T87" fmla="*/ 29 h 54"/>
                <a:gd name="T88" fmla="*/ 62 w 73"/>
                <a:gd name="T89" fmla="*/ 27 h 54"/>
                <a:gd name="T90" fmla="*/ 63 w 73"/>
                <a:gd name="T91" fmla="*/ 27 h 54"/>
                <a:gd name="T92" fmla="*/ 64 w 73"/>
                <a:gd name="T93" fmla="*/ 27 h 54"/>
                <a:gd name="T94" fmla="*/ 64 w 73"/>
                <a:gd name="T95" fmla="*/ 29 h 54"/>
                <a:gd name="T96" fmla="*/ 65 w 73"/>
                <a:gd name="T97" fmla="*/ 29 h 54"/>
                <a:gd name="T98" fmla="*/ 65 w 73"/>
                <a:gd name="T99" fmla="*/ 30 h 54"/>
                <a:gd name="T100" fmla="*/ 66 w 73"/>
                <a:gd name="T101" fmla="*/ 30 h 54"/>
                <a:gd name="T102" fmla="*/ 66 w 73"/>
                <a:gd name="T103" fmla="*/ 30 h 54"/>
                <a:gd name="T104" fmla="*/ 66 w 73"/>
                <a:gd name="T105" fmla="*/ 31 h 54"/>
                <a:gd name="T106" fmla="*/ 66 w 73"/>
                <a:gd name="T107" fmla="*/ 32 h 54"/>
                <a:gd name="T108" fmla="*/ 65 w 73"/>
                <a:gd name="T109" fmla="*/ 32 h 54"/>
                <a:gd name="T110" fmla="*/ 64 w 73"/>
                <a:gd name="T111" fmla="*/ 32 h 54"/>
                <a:gd name="T112" fmla="*/ 64 w 73"/>
                <a:gd name="T113" fmla="*/ 32 h 54"/>
                <a:gd name="T114" fmla="*/ 64 w 73"/>
                <a:gd name="T115" fmla="*/ 36 h 54"/>
                <a:gd name="T116" fmla="*/ 66 w 73"/>
                <a:gd name="T117" fmla="*/ 38 h 54"/>
                <a:gd name="T118" fmla="*/ 67 w 73"/>
                <a:gd name="T119" fmla="*/ 40 h 54"/>
                <a:gd name="T120" fmla="*/ 66 w 73"/>
                <a:gd name="T121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3" h="54">
                  <a:moveTo>
                    <a:pt x="72" y="0"/>
                  </a:moveTo>
                  <a:cubicBezTo>
                    <a:pt x="66" y="6"/>
                    <a:pt x="66" y="6"/>
                    <a:pt x="66" y="6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3"/>
                    <a:pt x="6" y="54"/>
                    <a:pt x="6" y="54"/>
                  </a:cubicBezTo>
                  <a:cubicBezTo>
                    <a:pt x="6" y="54"/>
                    <a:pt x="62" y="53"/>
                    <a:pt x="68" y="53"/>
                  </a:cubicBezTo>
                  <a:cubicBezTo>
                    <a:pt x="73" y="53"/>
                    <a:pt x="73" y="46"/>
                    <a:pt x="73" y="46"/>
                  </a:cubicBezTo>
                  <a:lnTo>
                    <a:pt x="72" y="0"/>
                  </a:lnTo>
                  <a:close/>
                  <a:moveTo>
                    <a:pt x="66" y="43"/>
                  </a:moveTo>
                  <a:cubicBezTo>
                    <a:pt x="66" y="43"/>
                    <a:pt x="66" y="44"/>
                    <a:pt x="65" y="44"/>
                  </a:cubicBezTo>
                  <a:cubicBezTo>
                    <a:pt x="65" y="44"/>
                    <a:pt x="64" y="44"/>
                    <a:pt x="64" y="44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7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2" y="45"/>
                    <a:pt x="62" y="45"/>
                    <a:pt x="61" y="45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0" y="48"/>
                    <a:pt x="60" y="48"/>
                    <a:pt x="60" y="47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59" y="45"/>
                    <a:pt x="59" y="45"/>
                    <a:pt x="58" y="45"/>
                  </a:cubicBezTo>
                  <a:cubicBezTo>
                    <a:pt x="57" y="44"/>
                    <a:pt x="57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8" y="42"/>
                    <a:pt x="59" y="42"/>
                  </a:cubicBezTo>
                  <a:cubicBezTo>
                    <a:pt x="59" y="42"/>
                    <a:pt x="59" y="42"/>
                    <a:pt x="60" y="42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59" y="37"/>
                    <a:pt x="59" y="37"/>
                  </a:cubicBezTo>
                  <a:cubicBezTo>
                    <a:pt x="59" y="37"/>
                    <a:pt x="58" y="37"/>
                    <a:pt x="58" y="36"/>
                  </a:cubicBezTo>
                  <a:cubicBezTo>
                    <a:pt x="58" y="36"/>
                    <a:pt x="57" y="36"/>
                    <a:pt x="57" y="35"/>
                  </a:cubicBezTo>
                  <a:cubicBezTo>
                    <a:pt x="57" y="35"/>
                    <a:pt x="57" y="34"/>
                    <a:pt x="57" y="33"/>
                  </a:cubicBezTo>
                  <a:cubicBezTo>
                    <a:pt x="57" y="33"/>
                    <a:pt x="57" y="32"/>
                    <a:pt x="57" y="32"/>
                  </a:cubicBezTo>
                  <a:cubicBezTo>
                    <a:pt x="57" y="31"/>
                    <a:pt x="57" y="31"/>
                    <a:pt x="58" y="31"/>
                  </a:cubicBezTo>
                  <a:cubicBezTo>
                    <a:pt x="58" y="30"/>
                    <a:pt x="59" y="30"/>
                    <a:pt x="59" y="30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60" y="27"/>
                    <a:pt x="60" y="27"/>
                  </a:cubicBezTo>
                  <a:cubicBezTo>
                    <a:pt x="60" y="27"/>
                    <a:pt x="61" y="27"/>
                    <a:pt x="61" y="27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9"/>
                    <a:pt x="62" y="29"/>
                    <a:pt x="62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27"/>
                    <a:pt x="62" y="27"/>
                    <a:pt x="63" y="27"/>
                  </a:cubicBezTo>
                  <a:cubicBezTo>
                    <a:pt x="63" y="27"/>
                    <a:pt x="64" y="27"/>
                    <a:pt x="64" y="27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9"/>
                    <a:pt x="64" y="29"/>
                    <a:pt x="65" y="29"/>
                  </a:cubicBezTo>
                  <a:cubicBezTo>
                    <a:pt x="65" y="29"/>
                    <a:pt x="65" y="29"/>
                    <a:pt x="65" y="30"/>
                  </a:cubicBezTo>
                  <a:cubicBezTo>
                    <a:pt x="65" y="30"/>
                    <a:pt x="66" y="30"/>
                    <a:pt x="66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0"/>
                    <a:pt x="66" y="31"/>
                    <a:pt x="66" y="31"/>
                  </a:cubicBezTo>
                  <a:cubicBezTo>
                    <a:pt x="66" y="31"/>
                    <a:pt x="66" y="32"/>
                    <a:pt x="66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5" y="37"/>
                    <a:pt x="65" y="37"/>
                    <a:pt x="66" y="38"/>
                  </a:cubicBezTo>
                  <a:cubicBezTo>
                    <a:pt x="66" y="38"/>
                    <a:pt x="67" y="39"/>
                    <a:pt x="67" y="40"/>
                  </a:cubicBezTo>
                  <a:cubicBezTo>
                    <a:pt x="67" y="41"/>
                    <a:pt x="67" y="42"/>
                    <a:pt x="6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0" name="is1íḓê"/>
            <p:cNvSpPr/>
            <p:nvPr>
              <p:custDataLst>
                <p:tags r:id="rId84"/>
              </p:custDataLst>
            </p:nvPr>
          </p:nvSpPr>
          <p:spPr bwMode="auto">
            <a:xfrm flipH="1">
              <a:off x="3644334" y="2262257"/>
              <a:ext cx="188530" cy="116021"/>
            </a:xfrm>
            <a:custGeom>
              <a:avLst/>
              <a:gdLst>
                <a:gd name="T0" fmla="*/ 87 w 87"/>
                <a:gd name="T1" fmla="*/ 2 h 55"/>
                <a:gd name="T2" fmla="*/ 44 w 87"/>
                <a:gd name="T3" fmla="*/ 46 h 55"/>
                <a:gd name="T4" fmla="*/ 28 w 87"/>
                <a:gd name="T5" fmla="*/ 31 h 55"/>
                <a:gd name="T6" fmla="*/ 0 w 87"/>
                <a:gd name="T7" fmla="*/ 55 h 55"/>
                <a:gd name="T8" fmla="*/ 0 w 87"/>
                <a:gd name="T9" fmla="*/ 43 h 55"/>
                <a:gd name="T10" fmla="*/ 28 w 87"/>
                <a:gd name="T11" fmla="*/ 20 h 55"/>
                <a:gd name="T12" fmla="*/ 44 w 87"/>
                <a:gd name="T13" fmla="*/ 35 h 55"/>
                <a:gd name="T14" fmla="*/ 86 w 87"/>
                <a:gd name="T15" fmla="*/ 1 h 55"/>
                <a:gd name="T16" fmla="*/ 87 w 87"/>
                <a:gd name="T17" fmla="*/ 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55">
                  <a:moveTo>
                    <a:pt x="87" y="2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1"/>
                    <a:pt x="87" y="0"/>
                    <a:pt x="87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1" name="îSľíḑé"/>
            <p:cNvSpPr/>
            <p:nvPr>
              <p:custDataLst>
                <p:tags r:id="rId85"/>
              </p:custDataLst>
            </p:nvPr>
          </p:nvSpPr>
          <p:spPr bwMode="auto">
            <a:xfrm flipH="1">
              <a:off x="3669842" y="2389121"/>
              <a:ext cx="4436" cy="10843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5 h 5"/>
                <a:gd name="T4" fmla="*/ 2 w 2"/>
                <a:gd name="T5" fmla="*/ 5 h 5"/>
                <a:gd name="T6" fmla="*/ 2 w 2"/>
                <a:gd name="T7" fmla="*/ 1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2" name="ïSḻîḋè"/>
            <p:cNvSpPr/>
            <p:nvPr>
              <p:custDataLst>
                <p:tags r:id="rId86"/>
              </p:custDataLst>
            </p:nvPr>
          </p:nvSpPr>
          <p:spPr bwMode="auto">
            <a:xfrm flipH="1">
              <a:off x="3669842" y="2371772"/>
              <a:ext cx="4436" cy="10843"/>
            </a:xfrm>
            <a:custGeom>
              <a:avLst/>
              <a:gdLst>
                <a:gd name="T0" fmla="*/ 2 w 2"/>
                <a:gd name="T1" fmla="*/ 0 h 5"/>
                <a:gd name="T2" fmla="*/ 0 w 2"/>
                <a:gd name="T3" fmla="*/ 1 h 5"/>
                <a:gd name="T4" fmla="*/ 0 w 2"/>
                <a:gd name="T5" fmla="*/ 4 h 5"/>
                <a:gd name="T6" fmla="*/ 2 w 2"/>
                <a:gd name="T7" fmla="*/ 5 h 5"/>
                <a:gd name="T8" fmla="*/ 2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2" y="5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3" name="iṣļiďé"/>
            <p:cNvSpPr/>
            <p:nvPr>
              <p:custDataLst>
                <p:tags r:id="rId87"/>
              </p:custDataLst>
            </p:nvPr>
          </p:nvSpPr>
          <p:spPr bwMode="auto">
            <a:xfrm flipH="1">
              <a:off x="3642116" y="2291533"/>
              <a:ext cx="190748" cy="137707"/>
            </a:xfrm>
            <a:custGeom>
              <a:avLst/>
              <a:gdLst>
                <a:gd name="T0" fmla="*/ 87 w 88"/>
                <a:gd name="T1" fmla="*/ 0 h 65"/>
                <a:gd name="T2" fmla="*/ 80 w 88"/>
                <a:gd name="T3" fmla="*/ 8 h 65"/>
                <a:gd name="T4" fmla="*/ 44 w 88"/>
                <a:gd name="T5" fmla="*/ 45 h 65"/>
                <a:gd name="T6" fmla="*/ 29 w 88"/>
                <a:gd name="T7" fmla="*/ 30 h 65"/>
                <a:gd name="T8" fmla="*/ 0 w 88"/>
                <a:gd name="T9" fmla="*/ 53 h 65"/>
                <a:gd name="T10" fmla="*/ 0 w 88"/>
                <a:gd name="T11" fmla="*/ 58 h 65"/>
                <a:gd name="T12" fmla="*/ 7 w 88"/>
                <a:gd name="T13" fmla="*/ 65 h 65"/>
                <a:gd name="T14" fmla="*/ 82 w 88"/>
                <a:gd name="T15" fmla="*/ 64 h 65"/>
                <a:gd name="T16" fmla="*/ 88 w 88"/>
                <a:gd name="T17" fmla="*/ 56 h 65"/>
                <a:gd name="T18" fmla="*/ 87 w 88"/>
                <a:gd name="T19" fmla="*/ 0 h 65"/>
                <a:gd name="T20" fmla="*/ 80 w 88"/>
                <a:gd name="T21" fmla="*/ 51 h 65"/>
                <a:gd name="T22" fmla="*/ 78 w 88"/>
                <a:gd name="T23" fmla="*/ 53 h 65"/>
                <a:gd name="T24" fmla="*/ 77 w 88"/>
                <a:gd name="T25" fmla="*/ 54 h 65"/>
                <a:gd name="T26" fmla="*/ 77 w 88"/>
                <a:gd name="T27" fmla="*/ 57 h 65"/>
                <a:gd name="T28" fmla="*/ 76 w 88"/>
                <a:gd name="T29" fmla="*/ 58 h 65"/>
                <a:gd name="T30" fmla="*/ 75 w 88"/>
                <a:gd name="T31" fmla="*/ 57 h 65"/>
                <a:gd name="T32" fmla="*/ 75 w 88"/>
                <a:gd name="T33" fmla="*/ 54 h 65"/>
                <a:gd name="T34" fmla="*/ 74 w 88"/>
                <a:gd name="T35" fmla="*/ 54 h 65"/>
                <a:gd name="T36" fmla="*/ 74 w 88"/>
                <a:gd name="T37" fmla="*/ 57 h 65"/>
                <a:gd name="T38" fmla="*/ 73 w 88"/>
                <a:gd name="T39" fmla="*/ 58 h 65"/>
                <a:gd name="T40" fmla="*/ 72 w 88"/>
                <a:gd name="T41" fmla="*/ 57 h 65"/>
                <a:gd name="T42" fmla="*/ 72 w 88"/>
                <a:gd name="T43" fmla="*/ 54 h 65"/>
                <a:gd name="T44" fmla="*/ 70 w 88"/>
                <a:gd name="T45" fmla="*/ 54 h 65"/>
                <a:gd name="T46" fmla="*/ 68 w 88"/>
                <a:gd name="T47" fmla="*/ 53 h 65"/>
                <a:gd name="T48" fmla="*/ 68 w 88"/>
                <a:gd name="T49" fmla="*/ 53 h 65"/>
                <a:gd name="T50" fmla="*/ 68 w 88"/>
                <a:gd name="T51" fmla="*/ 52 h 65"/>
                <a:gd name="T52" fmla="*/ 68 w 88"/>
                <a:gd name="T53" fmla="*/ 51 h 65"/>
                <a:gd name="T54" fmla="*/ 69 w 88"/>
                <a:gd name="T55" fmla="*/ 50 h 65"/>
                <a:gd name="T56" fmla="*/ 70 w 88"/>
                <a:gd name="T57" fmla="*/ 51 h 65"/>
                <a:gd name="T58" fmla="*/ 72 w 88"/>
                <a:gd name="T59" fmla="*/ 51 h 65"/>
                <a:gd name="T60" fmla="*/ 72 w 88"/>
                <a:gd name="T61" fmla="*/ 45 h 65"/>
                <a:gd name="T62" fmla="*/ 71 w 88"/>
                <a:gd name="T63" fmla="*/ 45 h 65"/>
                <a:gd name="T64" fmla="*/ 70 w 88"/>
                <a:gd name="T65" fmla="*/ 44 h 65"/>
                <a:gd name="T66" fmla="*/ 69 w 88"/>
                <a:gd name="T67" fmla="*/ 43 h 65"/>
                <a:gd name="T68" fmla="*/ 68 w 88"/>
                <a:gd name="T69" fmla="*/ 40 h 65"/>
                <a:gd name="T70" fmla="*/ 68 w 88"/>
                <a:gd name="T71" fmla="*/ 39 h 65"/>
                <a:gd name="T72" fmla="*/ 70 w 88"/>
                <a:gd name="T73" fmla="*/ 37 h 65"/>
                <a:gd name="T74" fmla="*/ 72 w 88"/>
                <a:gd name="T75" fmla="*/ 36 h 65"/>
                <a:gd name="T76" fmla="*/ 71 w 88"/>
                <a:gd name="T77" fmla="*/ 33 h 65"/>
                <a:gd name="T78" fmla="*/ 72 w 88"/>
                <a:gd name="T79" fmla="*/ 32 h 65"/>
                <a:gd name="T80" fmla="*/ 73 w 88"/>
                <a:gd name="T81" fmla="*/ 33 h 65"/>
                <a:gd name="T82" fmla="*/ 73 w 88"/>
                <a:gd name="T83" fmla="*/ 36 h 65"/>
                <a:gd name="T84" fmla="*/ 75 w 88"/>
                <a:gd name="T85" fmla="*/ 36 h 65"/>
                <a:gd name="T86" fmla="*/ 75 w 88"/>
                <a:gd name="T87" fmla="*/ 36 h 65"/>
                <a:gd name="T88" fmla="*/ 75 w 88"/>
                <a:gd name="T89" fmla="*/ 33 h 65"/>
                <a:gd name="T90" fmla="*/ 76 w 88"/>
                <a:gd name="T91" fmla="*/ 32 h 65"/>
                <a:gd name="T92" fmla="*/ 76 w 88"/>
                <a:gd name="T93" fmla="*/ 33 h 65"/>
                <a:gd name="T94" fmla="*/ 76 w 88"/>
                <a:gd name="T95" fmla="*/ 36 h 65"/>
                <a:gd name="T96" fmla="*/ 78 w 88"/>
                <a:gd name="T97" fmla="*/ 36 h 65"/>
                <a:gd name="T98" fmla="*/ 78 w 88"/>
                <a:gd name="T99" fmla="*/ 36 h 65"/>
                <a:gd name="T100" fmla="*/ 79 w 88"/>
                <a:gd name="T101" fmla="*/ 36 h 65"/>
                <a:gd name="T102" fmla="*/ 79 w 88"/>
                <a:gd name="T103" fmla="*/ 37 h 65"/>
                <a:gd name="T104" fmla="*/ 79 w 88"/>
                <a:gd name="T105" fmla="*/ 38 h 65"/>
                <a:gd name="T106" fmla="*/ 79 w 88"/>
                <a:gd name="T107" fmla="*/ 39 h 65"/>
                <a:gd name="T108" fmla="*/ 78 w 88"/>
                <a:gd name="T109" fmla="*/ 39 h 65"/>
                <a:gd name="T110" fmla="*/ 77 w 88"/>
                <a:gd name="T111" fmla="*/ 39 h 65"/>
                <a:gd name="T112" fmla="*/ 77 w 88"/>
                <a:gd name="T113" fmla="*/ 39 h 65"/>
                <a:gd name="T114" fmla="*/ 77 w 88"/>
                <a:gd name="T115" fmla="*/ 44 h 65"/>
                <a:gd name="T116" fmla="*/ 79 w 88"/>
                <a:gd name="T117" fmla="*/ 45 h 65"/>
                <a:gd name="T118" fmla="*/ 80 w 88"/>
                <a:gd name="T119" fmla="*/ 49 h 65"/>
                <a:gd name="T120" fmla="*/ 80 w 88"/>
                <a:gd name="T121" fmla="*/ 5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" h="65">
                  <a:moveTo>
                    <a:pt x="87" y="0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4"/>
                    <a:pt x="7" y="65"/>
                    <a:pt x="7" y="65"/>
                  </a:cubicBezTo>
                  <a:cubicBezTo>
                    <a:pt x="7" y="65"/>
                    <a:pt x="75" y="64"/>
                    <a:pt x="82" y="64"/>
                  </a:cubicBezTo>
                  <a:cubicBezTo>
                    <a:pt x="88" y="63"/>
                    <a:pt x="88" y="56"/>
                    <a:pt x="88" y="56"/>
                  </a:cubicBezTo>
                  <a:lnTo>
                    <a:pt x="87" y="0"/>
                  </a:lnTo>
                  <a:close/>
                  <a:moveTo>
                    <a:pt x="80" y="51"/>
                  </a:moveTo>
                  <a:cubicBezTo>
                    <a:pt x="79" y="52"/>
                    <a:pt x="79" y="53"/>
                    <a:pt x="78" y="53"/>
                  </a:cubicBezTo>
                  <a:cubicBezTo>
                    <a:pt x="78" y="53"/>
                    <a:pt x="77" y="54"/>
                    <a:pt x="77" y="54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8"/>
                    <a:pt x="76" y="58"/>
                  </a:cubicBezTo>
                  <a:cubicBezTo>
                    <a:pt x="76" y="58"/>
                    <a:pt x="75" y="58"/>
                    <a:pt x="75" y="57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4" y="54"/>
                    <a:pt x="74" y="54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3" y="58"/>
                    <a:pt x="73" y="58"/>
                  </a:cubicBezTo>
                  <a:cubicBezTo>
                    <a:pt x="72" y="58"/>
                    <a:pt x="72" y="58"/>
                    <a:pt x="72" y="57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0" y="54"/>
                    <a:pt x="70" y="54"/>
                  </a:cubicBezTo>
                  <a:cubicBezTo>
                    <a:pt x="69" y="54"/>
                    <a:pt x="68" y="54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1"/>
                    <a:pt x="68" y="50"/>
                    <a:pt x="69" y="50"/>
                  </a:cubicBezTo>
                  <a:cubicBezTo>
                    <a:pt x="69" y="51"/>
                    <a:pt x="70" y="51"/>
                    <a:pt x="70" y="51"/>
                  </a:cubicBezTo>
                  <a:cubicBezTo>
                    <a:pt x="71" y="51"/>
                    <a:pt x="71" y="51"/>
                    <a:pt x="72" y="51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0" y="45"/>
                    <a:pt x="70" y="44"/>
                  </a:cubicBezTo>
                  <a:cubicBezTo>
                    <a:pt x="69" y="44"/>
                    <a:pt x="69" y="43"/>
                    <a:pt x="69" y="43"/>
                  </a:cubicBezTo>
                  <a:cubicBezTo>
                    <a:pt x="68" y="42"/>
                    <a:pt x="68" y="41"/>
                    <a:pt x="68" y="40"/>
                  </a:cubicBezTo>
                  <a:cubicBezTo>
                    <a:pt x="68" y="40"/>
                    <a:pt x="68" y="39"/>
                    <a:pt x="68" y="39"/>
                  </a:cubicBezTo>
                  <a:cubicBezTo>
                    <a:pt x="69" y="38"/>
                    <a:pt x="69" y="37"/>
                    <a:pt x="70" y="37"/>
                  </a:cubicBezTo>
                  <a:cubicBezTo>
                    <a:pt x="70" y="37"/>
                    <a:pt x="71" y="36"/>
                    <a:pt x="72" y="36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1" y="33"/>
                    <a:pt x="72" y="32"/>
                    <a:pt x="72" y="32"/>
                  </a:cubicBezTo>
                  <a:cubicBezTo>
                    <a:pt x="73" y="32"/>
                    <a:pt x="73" y="33"/>
                    <a:pt x="73" y="3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6"/>
                    <a:pt x="74" y="36"/>
                    <a:pt x="75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2"/>
                    <a:pt x="76" y="32"/>
                  </a:cubicBezTo>
                  <a:cubicBezTo>
                    <a:pt x="76" y="32"/>
                    <a:pt x="76" y="33"/>
                    <a:pt x="76" y="33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7" y="36"/>
                    <a:pt x="77" y="36"/>
                    <a:pt x="78" y="36"/>
                  </a:cubicBezTo>
                  <a:cubicBezTo>
                    <a:pt x="78" y="36"/>
                    <a:pt x="78" y="36"/>
                    <a:pt x="7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7"/>
                  </a:cubicBezTo>
                  <a:cubicBezTo>
                    <a:pt x="79" y="37"/>
                    <a:pt x="79" y="37"/>
                    <a:pt x="79" y="38"/>
                  </a:cubicBezTo>
                  <a:cubicBezTo>
                    <a:pt x="79" y="38"/>
                    <a:pt x="79" y="38"/>
                    <a:pt x="79" y="39"/>
                  </a:cubicBezTo>
                  <a:cubicBezTo>
                    <a:pt x="79" y="39"/>
                    <a:pt x="79" y="39"/>
                    <a:pt x="78" y="39"/>
                  </a:cubicBezTo>
                  <a:cubicBezTo>
                    <a:pt x="78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8" y="44"/>
                    <a:pt x="78" y="45"/>
                    <a:pt x="79" y="45"/>
                  </a:cubicBezTo>
                  <a:cubicBezTo>
                    <a:pt x="80" y="46"/>
                    <a:pt x="80" y="47"/>
                    <a:pt x="80" y="49"/>
                  </a:cubicBezTo>
                  <a:cubicBezTo>
                    <a:pt x="80" y="50"/>
                    <a:pt x="80" y="51"/>
                    <a:pt x="80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4" name="îṧļîḋê"/>
            <p:cNvSpPr/>
            <p:nvPr>
              <p:custDataLst>
                <p:tags r:id="rId88"/>
              </p:custDataLst>
            </p:nvPr>
          </p:nvSpPr>
          <p:spPr bwMode="auto">
            <a:xfrm flipH="1">
              <a:off x="3815121" y="2828266"/>
              <a:ext cx="102028" cy="99756"/>
            </a:xfrm>
            <a:custGeom>
              <a:avLst/>
              <a:gdLst>
                <a:gd name="T0" fmla="*/ 23 w 47"/>
                <a:gd name="T1" fmla="*/ 0 h 47"/>
                <a:gd name="T2" fmla="*/ 0 w 47"/>
                <a:gd name="T3" fmla="*/ 24 h 47"/>
                <a:gd name="T4" fmla="*/ 24 w 47"/>
                <a:gd name="T5" fmla="*/ 46 h 47"/>
                <a:gd name="T6" fmla="*/ 47 w 47"/>
                <a:gd name="T7" fmla="*/ 23 h 47"/>
                <a:gd name="T8" fmla="*/ 23 w 47"/>
                <a:gd name="T9" fmla="*/ 0 h 47"/>
                <a:gd name="T10" fmla="*/ 24 w 47"/>
                <a:gd name="T11" fmla="*/ 42 h 47"/>
                <a:gd name="T12" fmla="*/ 5 w 47"/>
                <a:gd name="T13" fmla="*/ 24 h 47"/>
                <a:gd name="T14" fmla="*/ 23 w 47"/>
                <a:gd name="T15" fmla="*/ 5 h 47"/>
                <a:gd name="T16" fmla="*/ 42 w 47"/>
                <a:gd name="T17" fmla="*/ 23 h 47"/>
                <a:gd name="T18" fmla="*/ 24 w 47"/>
                <a:gd name="T1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23" y="0"/>
                  </a:moveTo>
                  <a:cubicBezTo>
                    <a:pt x="10" y="1"/>
                    <a:pt x="0" y="11"/>
                    <a:pt x="0" y="24"/>
                  </a:cubicBezTo>
                  <a:cubicBezTo>
                    <a:pt x="1" y="37"/>
                    <a:pt x="11" y="47"/>
                    <a:pt x="24" y="46"/>
                  </a:cubicBezTo>
                  <a:cubicBezTo>
                    <a:pt x="37" y="46"/>
                    <a:pt x="47" y="35"/>
                    <a:pt x="47" y="23"/>
                  </a:cubicBezTo>
                  <a:cubicBezTo>
                    <a:pt x="46" y="10"/>
                    <a:pt x="36" y="0"/>
                    <a:pt x="23" y="0"/>
                  </a:cubicBezTo>
                  <a:close/>
                  <a:moveTo>
                    <a:pt x="24" y="42"/>
                  </a:moveTo>
                  <a:cubicBezTo>
                    <a:pt x="14" y="42"/>
                    <a:pt x="5" y="34"/>
                    <a:pt x="5" y="24"/>
                  </a:cubicBezTo>
                  <a:cubicBezTo>
                    <a:pt x="5" y="14"/>
                    <a:pt x="13" y="5"/>
                    <a:pt x="23" y="5"/>
                  </a:cubicBezTo>
                  <a:cubicBezTo>
                    <a:pt x="33" y="5"/>
                    <a:pt x="42" y="13"/>
                    <a:pt x="42" y="23"/>
                  </a:cubicBezTo>
                  <a:cubicBezTo>
                    <a:pt x="42" y="33"/>
                    <a:pt x="34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5" name="ïŝliḍé"/>
            <p:cNvSpPr/>
            <p:nvPr>
              <p:custDataLst>
                <p:tags r:id="rId89"/>
              </p:custDataLst>
            </p:nvPr>
          </p:nvSpPr>
          <p:spPr bwMode="auto">
            <a:xfrm flipH="1">
              <a:off x="3848391" y="2844530"/>
              <a:ext cx="34379" cy="66143"/>
            </a:xfrm>
            <a:custGeom>
              <a:avLst/>
              <a:gdLst>
                <a:gd name="T0" fmla="*/ 11 w 16"/>
                <a:gd name="T1" fmla="*/ 14 h 31"/>
                <a:gd name="T2" fmla="*/ 11 w 16"/>
                <a:gd name="T3" fmla="*/ 7 h 31"/>
                <a:gd name="T4" fmla="*/ 11 w 16"/>
                <a:gd name="T5" fmla="*/ 7 h 31"/>
                <a:gd name="T6" fmla="*/ 13 w 16"/>
                <a:gd name="T7" fmla="*/ 8 h 31"/>
                <a:gd name="T8" fmla="*/ 14 w 16"/>
                <a:gd name="T9" fmla="*/ 7 h 31"/>
                <a:gd name="T10" fmla="*/ 14 w 16"/>
                <a:gd name="T11" fmla="*/ 6 h 31"/>
                <a:gd name="T12" fmla="*/ 14 w 16"/>
                <a:gd name="T13" fmla="*/ 5 h 31"/>
                <a:gd name="T14" fmla="*/ 14 w 16"/>
                <a:gd name="T15" fmla="*/ 4 h 31"/>
                <a:gd name="T16" fmla="*/ 13 w 16"/>
                <a:gd name="T17" fmla="*/ 4 h 31"/>
                <a:gd name="T18" fmla="*/ 12 w 16"/>
                <a:gd name="T19" fmla="*/ 4 h 31"/>
                <a:gd name="T20" fmla="*/ 11 w 16"/>
                <a:gd name="T21" fmla="*/ 4 h 31"/>
                <a:gd name="T22" fmla="*/ 11 w 16"/>
                <a:gd name="T23" fmla="*/ 1 h 31"/>
                <a:gd name="T24" fmla="*/ 10 w 16"/>
                <a:gd name="T25" fmla="*/ 0 h 31"/>
                <a:gd name="T26" fmla="*/ 9 w 16"/>
                <a:gd name="T27" fmla="*/ 1 h 31"/>
                <a:gd name="T28" fmla="*/ 9 w 16"/>
                <a:gd name="T29" fmla="*/ 4 h 31"/>
                <a:gd name="T30" fmla="*/ 9 w 16"/>
                <a:gd name="T31" fmla="*/ 4 h 31"/>
                <a:gd name="T32" fmla="*/ 7 w 16"/>
                <a:gd name="T33" fmla="*/ 4 h 31"/>
                <a:gd name="T34" fmla="*/ 7 w 16"/>
                <a:gd name="T35" fmla="*/ 1 h 31"/>
                <a:gd name="T36" fmla="*/ 6 w 16"/>
                <a:gd name="T37" fmla="*/ 0 h 31"/>
                <a:gd name="T38" fmla="*/ 5 w 16"/>
                <a:gd name="T39" fmla="*/ 1 h 31"/>
                <a:gd name="T40" fmla="*/ 5 w 16"/>
                <a:gd name="T41" fmla="*/ 4 h 31"/>
                <a:gd name="T42" fmla="*/ 3 w 16"/>
                <a:gd name="T43" fmla="*/ 6 h 31"/>
                <a:gd name="T44" fmla="*/ 1 w 16"/>
                <a:gd name="T45" fmla="*/ 8 h 31"/>
                <a:gd name="T46" fmla="*/ 1 w 16"/>
                <a:gd name="T47" fmla="*/ 10 h 31"/>
                <a:gd name="T48" fmla="*/ 1 w 16"/>
                <a:gd name="T49" fmla="*/ 12 h 31"/>
                <a:gd name="T50" fmla="*/ 3 w 16"/>
                <a:gd name="T51" fmla="*/ 14 h 31"/>
                <a:gd name="T52" fmla="*/ 5 w 16"/>
                <a:gd name="T53" fmla="*/ 15 h 31"/>
                <a:gd name="T54" fmla="*/ 5 w 16"/>
                <a:gd name="T55" fmla="*/ 16 h 31"/>
                <a:gd name="T56" fmla="*/ 5 w 16"/>
                <a:gd name="T57" fmla="*/ 23 h 31"/>
                <a:gd name="T58" fmla="*/ 4 w 16"/>
                <a:gd name="T59" fmla="*/ 22 h 31"/>
                <a:gd name="T60" fmla="*/ 1 w 16"/>
                <a:gd name="T61" fmla="*/ 22 h 31"/>
                <a:gd name="T62" fmla="*/ 1 w 16"/>
                <a:gd name="T63" fmla="*/ 22 h 31"/>
                <a:gd name="T64" fmla="*/ 1 w 16"/>
                <a:gd name="T65" fmla="*/ 23 h 31"/>
                <a:gd name="T66" fmla="*/ 0 w 16"/>
                <a:gd name="T67" fmla="*/ 25 h 31"/>
                <a:gd name="T68" fmla="*/ 0 w 16"/>
                <a:gd name="T69" fmla="*/ 25 h 31"/>
                <a:gd name="T70" fmla="*/ 3 w 16"/>
                <a:gd name="T71" fmla="*/ 26 h 31"/>
                <a:gd name="T72" fmla="*/ 5 w 16"/>
                <a:gd name="T73" fmla="*/ 26 h 31"/>
                <a:gd name="T74" fmla="*/ 5 w 16"/>
                <a:gd name="T75" fmla="*/ 30 h 31"/>
                <a:gd name="T76" fmla="*/ 6 w 16"/>
                <a:gd name="T77" fmla="*/ 31 h 31"/>
                <a:gd name="T78" fmla="*/ 7 w 16"/>
                <a:gd name="T79" fmla="*/ 30 h 31"/>
                <a:gd name="T80" fmla="*/ 7 w 16"/>
                <a:gd name="T81" fmla="*/ 26 h 31"/>
                <a:gd name="T82" fmla="*/ 9 w 16"/>
                <a:gd name="T83" fmla="*/ 26 h 31"/>
                <a:gd name="T84" fmla="*/ 9 w 16"/>
                <a:gd name="T85" fmla="*/ 30 h 31"/>
                <a:gd name="T86" fmla="*/ 10 w 16"/>
                <a:gd name="T87" fmla="*/ 31 h 31"/>
                <a:gd name="T88" fmla="*/ 11 w 16"/>
                <a:gd name="T89" fmla="*/ 30 h 31"/>
                <a:gd name="T90" fmla="*/ 11 w 16"/>
                <a:gd name="T91" fmla="*/ 26 h 31"/>
                <a:gd name="T92" fmla="*/ 13 w 16"/>
                <a:gd name="T93" fmla="*/ 25 h 31"/>
                <a:gd name="T94" fmla="*/ 15 w 16"/>
                <a:gd name="T95" fmla="*/ 23 h 31"/>
                <a:gd name="T96" fmla="*/ 15 w 16"/>
                <a:gd name="T97" fmla="*/ 20 h 31"/>
                <a:gd name="T98" fmla="*/ 14 w 16"/>
                <a:gd name="T99" fmla="*/ 16 h 31"/>
                <a:gd name="T100" fmla="*/ 11 w 16"/>
                <a:gd name="T101" fmla="*/ 14 h 31"/>
                <a:gd name="T102" fmla="*/ 9 w 16"/>
                <a:gd name="T103" fmla="*/ 22 h 31"/>
                <a:gd name="T104" fmla="*/ 7 w 16"/>
                <a:gd name="T105" fmla="*/ 23 h 31"/>
                <a:gd name="T106" fmla="*/ 7 w 16"/>
                <a:gd name="T107" fmla="*/ 17 h 31"/>
                <a:gd name="T108" fmla="*/ 9 w 16"/>
                <a:gd name="T109" fmla="*/ 17 h 31"/>
                <a:gd name="T110" fmla="*/ 9 w 16"/>
                <a:gd name="T111" fmla="*/ 22 h 31"/>
                <a:gd name="T112" fmla="*/ 9 w 16"/>
                <a:gd name="T113" fmla="*/ 13 h 31"/>
                <a:gd name="T114" fmla="*/ 7 w 16"/>
                <a:gd name="T115" fmla="*/ 12 h 31"/>
                <a:gd name="T116" fmla="*/ 7 w 16"/>
                <a:gd name="T117" fmla="*/ 8 h 31"/>
                <a:gd name="T118" fmla="*/ 9 w 16"/>
                <a:gd name="T119" fmla="*/ 7 h 31"/>
                <a:gd name="T120" fmla="*/ 9 w 16"/>
                <a:gd name="T121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" h="31">
                  <a:moveTo>
                    <a:pt x="11" y="14"/>
                  </a:move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3" y="8"/>
                    <a:pt x="13" y="8"/>
                    <a:pt x="14" y="7"/>
                  </a:cubicBezTo>
                  <a:cubicBezTo>
                    <a:pt x="14" y="7"/>
                    <a:pt x="14" y="7"/>
                    <a:pt x="14" y="6"/>
                  </a:cubicBezTo>
                  <a:cubicBezTo>
                    <a:pt x="14" y="6"/>
                    <a:pt x="14" y="5"/>
                    <a:pt x="14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3" y="5"/>
                    <a:pt x="3" y="6"/>
                  </a:cubicBezTo>
                  <a:cubicBezTo>
                    <a:pt x="2" y="6"/>
                    <a:pt x="2" y="7"/>
                    <a:pt x="1" y="8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3" y="15"/>
                    <a:pt x="4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4" y="23"/>
                    <a:pt x="4" y="22"/>
                  </a:cubicBezTo>
                  <a:cubicBezTo>
                    <a:pt x="3" y="22"/>
                    <a:pt x="2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6"/>
                    <a:pt x="2" y="26"/>
                    <a:pt x="3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6" y="31"/>
                    <a:pt x="6" y="31"/>
                  </a:cubicBezTo>
                  <a:cubicBezTo>
                    <a:pt x="7" y="31"/>
                    <a:pt x="7" y="30"/>
                    <a:pt x="7" y="3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10" y="31"/>
                    <a:pt x="10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2" y="26"/>
                    <a:pt x="12" y="25"/>
                    <a:pt x="13" y="25"/>
                  </a:cubicBezTo>
                  <a:cubicBezTo>
                    <a:pt x="14" y="24"/>
                    <a:pt x="14" y="24"/>
                    <a:pt x="15" y="23"/>
                  </a:cubicBezTo>
                  <a:cubicBezTo>
                    <a:pt x="15" y="22"/>
                    <a:pt x="16" y="21"/>
                    <a:pt x="15" y="20"/>
                  </a:cubicBezTo>
                  <a:cubicBezTo>
                    <a:pt x="15" y="18"/>
                    <a:pt x="15" y="17"/>
                    <a:pt x="14" y="16"/>
                  </a:cubicBezTo>
                  <a:cubicBezTo>
                    <a:pt x="13" y="15"/>
                    <a:pt x="12" y="14"/>
                    <a:pt x="11" y="14"/>
                  </a:cubicBezTo>
                  <a:close/>
                  <a:moveTo>
                    <a:pt x="9" y="22"/>
                  </a:moveTo>
                  <a:cubicBezTo>
                    <a:pt x="9" y="22"/>
                    <a:pt x="8" y="23"/>
                    <a:pt x="7" y="2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9" y="17"/>
                    <a:pt x="9" y="17"/>
                  </a:cubicBezTo>
                  <a:lnTo>
                    <a:pt x="9" y="22"/>
                  </a:lnTo>
                  <a:close/>
                  <a:moveTo>
                    <a:pt x="9" y="13"/>
                  </a:moveTo>
                  <a:cubicBezTo>
                    <a:pt x="8" y="13"/>
                    <a:pt x="8" y="12"/>
                    <a:pt x="7" y="12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8" y="7"/>
                    <a:pt x="9" y="7"/>
                  </a:cubicBezTo>
                  <a:lnTo>
                    <a:pt x="9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6" name="íşḻíďê"/>
            <p:cNvSpPr/>
            <p:nvPr>
              <p:custDataLst>
                <p:tags r:id="rId90"/>
              </p:custDataLst>
            </p:nvPr>
          </p:nvSpPr>
          <p:spPr bwMode="auto">
            <a:xfrm flipH="1">
              <a:off x="3002222" y="1969493"/>
              <a:ext cx="115336" cy="113852"/>
            </a:xfrm>
            <a:custGeom>
              <a:avLst/>
              <a:gdLst>
                <a:gd name="T0" fmla="*/ 26 w 53"/>
                <a:gd name="T1" fmla="*/ 0 h 54"/>
                <a:gd name="T2" fmla="*/ 0 w 53"/>
                <a:gd name="T3" fmla="*/ 28 h 54"/>
                <a:gd name="T4" fmla="*/ 27 w 53"/>
                <a:gd name="T5" fmla="*/ 54 h 54"/>
                <a:gd name="T6" fmla="*/ 53 w 53"/>
                <a:gd name="T7" fmla="*/ 26 h 54"/>
                <a:gd name="T8" fmla="*/ 26 w 53"/>
                <a:gd name="T9" fmla="*/ 0 h 54"/>
                <a:gd name="T10" fmla="*/ 27 w 53"/>
                <a:gd name="T11" fmla="*/ 48 h 54"/>
                <a:gd name="T12" fmla="*/ 5 w 53"/>
                <a:gd name="T13" fmla="*/ 27 h 54"/>
                <a:gd name="T14" fmla="*/ 26 w 53"/>
                <a:gd name="T15" fmla="*/ 6 h 54"/>
                <a:gd name="T16" fmla="*/ 48 w 53"/>
                <a:gd name="T17" fmla="*/ 27 h 54"/>
                <a:gd name="T18" fmla="*/ 27 w 53"/>
                <a:gd name="T19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4">
                  <a:moveTo>
                    <a:pt x="26" y="0"/>
                  </a:moveTo>
                  <a:cubicBezTo>
                    <a:pt x="11" y="1"/>
                    <a:pt x="0" y="13"/>
                    <a:pt x="0" y="28"/>
                  </a:cubicBezTo>
                  <a:cubicBezTo>
                    <a:pt x="0" y="42"/>
                    <a:pt x="12" y="54"/>
                    <a:pt x="27" y="54"/>
                  </a:cubicBezTo>
                  <a:cubicBezTo>
                    <a:pt x="42" y="53"/>
                    <a:pt x="53" y="41"/>
                    <a:pt x="53" y="26"/>
                  </a:cubicBezTo>
                  <a:cubicBezTo>
                    <a:pt x="53" y="12"/>
                    <a:pt x="40" y="0"/>
                    <a:pt x="26" y="0"/>
                  </a:cubicBezTo>
                  <a:close/>
                  <a:moveTo>
                    <a:pt x="27" y="48"/>
                  </a:moveTo>
                  <a:cubicBezTo>
                    <a:pt x="15" y="49"/>
                    <a:pt x="5" y="39"/>
                    <a:pt x="5" y="27"/>
                  </a:cubicBezTo>
                  <a:cubicBezTo>
                    <a:pt x="5" y="16"/>
                    <a:pt x="14" y="6"/>
                    <a:pt x="26" y="6"/>
                  </a:cubicBezTo>
                  <a:cubicBezTo>
                    <a:pt x="38" y="5"/>
                    <a:pt x="47" y="15"/>
                    <a:pt x="48" y="27"/>
                  </a:cubicBezTo>
                  <a:cubicBezTo>
                    <a:pt x="48" y="38"/>
                    <a:pt x="39" y="48"/>
                    <a:pt x="27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7" name="ïṩľíḍe"/>
            <p:cNvSpPr/>
            <p:nvPr>
              <p:custDataLst>
                <p:tags r:id="rId91"/>
              </p:custDataLst>
            </p:nvPr>
          </p:nvSpPr>
          <p:spPr bwMode="auto">
            <a:xfrm flipH="1">
              <a:off x="3038819" y="1987927"/>
              <a:ext cx="39924" cy="76986"/>
            </a:xfrm>
            <a:custGeom>
              <a:avLst/>
              <a:gdLst>
                <a:gd name="T0" fmla="*/ 12 w 18"/>
                <a:gd name="T1" fmla="*/ 16 h 36"/>
                <a:gd name="T2" fmla="*/ 12 w 18"/>
                <a:gd name="T3" fmla="*/ 9 h 36"/>
                <a:gd name="T4" fmla="*/ 13 w 18"/>
                <a:gd name="T5" fmla="*/ 9 h 36"/>
                <a:gd name="T6" fmla="*/ 15 w 18"/>
                <a:gd name="T7" fmla="*/ 9 h 36"/>
                <a:gd name="T8" fmla="*/ 16 w 18"/>
                <a:gd name="T9" fmla="*/ 9 h 36"/>
                <a:gd name="T10" fmla="*/ 16 w 18"/>
                <a:gd name="T11" fmla="*/ 8 h 36"/>
                <a:gd name="T12" fmla="*/ 16 w 18"/>
                <a:gd name="T13" fmla="*/ 6 h 36"/>
                <a:gd name="T14" fmla="*/ 16 w 18"/>
                <a:gd name="T15" fmla="*/ 5 h 36"/>
                <a:gd name="T16" fmla="*/ 15 w 18"/>
                <a:gd name="T17" fmla="*/ 5 h 36"/>
                <a:gd name="T18" fmla="*/ 14 w 18"/>
                <a:gd name="T19" fmla="*/ 5 h 36"/>
                <a:gd name="T20" fmla="*/ 12 w 18"/>
                <a:gd name="T21" fmla="*/ 5 h 36"/>
                <a:gd name="T22" fmla="*/ 12 w 18"/>
                <a:gd name="T23" fmla="*/ 2 h 36"/>
                <a:gd name="T24" fmla="*/ 11 w 18"/>
                <a:gd name="T25" fmla="*/ 0 h 36"/>
                <a:gd name="T26" fmla="*/ 10 w 18"/>
                <a:gd name="T27" fmla="*/ 2 h 36"/>
                <a:gd name="T28" fmla="*/ 10 w 18"/>
                <a:gd name="T29" fmla="*/ 5 h 36"/>
                <a:gd name="T30" fmla="*/ 10 w 18"/>
                <a:gd name="T31" fmla="*/ 5 h 36"/>
                <a:gd name="T32" fmla="*/ 8 w 18"/>
                <a:gd name="T33" fmla="*/ 5 h 36"/>
                <a:gd name="T34" fmla="*/ 8 w 18"/>
                <a:gd name="T35" fmla="*/ 2 h 36"/>
                <a:gd name="T36" fmla="*/ 6 w 18"/>
                <a:gd name="T37" fmla="*/ 0 h 36"/>
                <a:gd name="T38" fmla="*/ 5 w 18"/>
                <a:gd name="T39" fmla="*/ 2 h 36"/>
                <a:gd name="T40" fmla="*/ 5 w 18"/>
                <a:gd name="T41" fmla="*/ 5 h 36"/>
                <a:gd name="T42" fmla="*/ 3 w 18"/>
                <a:gd name="T43" fmla="*/ 7 h 36"/>
                <a:gd name="T44" fmla="*/ 1 w 18"/>
                <a:gd name="T45" fmla="*/ 9 h 36"/>
                <a:gd name="T46" fmla="*/ 1 w 18"/>
                <a:gd name="T47" fmla="*/ 12 h 36"/>
                <a:gd name="T48" fmla="*/ 1 w 18"/>
                <a:gd name="T49" fmla="*/ 15 h 36"/>
                <a:gd name="T50" fmla="*/ 3 w 18"/>
                <a:gd name="T51" fmla="*/ 17 h 36"/>
                <a:gd name="T52" fmla="*/ 5 w 18"/>
                <a:gd name="T53" fmla="*/ 18 h 36"/>
                <a:gd name="T54" fmla="*/ 6 w 18"/>
                <a:gd name="T55" fmla="*/ 18 h 36"/>
                <a:gd name="T56" fmla="*/ 6 w 18"/>
                <a:gd name="T57" fmla="*/ 26 h 36"/>
                <a:gd name="T58" fmla="*/ 4 w 18"/>
                <a:gd name="T59" fmla="*/ 26 h 36"/>
                <a:gd name="T60" fmla="*/ 1 w 18"/>
                <a:gd name="T61" fmla="*/ 25 h 36"/>
                <a:gd name="T62" fmla="*/ 1 w 18"/>
                <a:gd name="T63" fmla="*/ 26 h 36"/>
                <a:gd name="T64" fmla="*/ 0 w 18"/>
                <a:gd name="T65" fmla="*/ 27 h 36"/>
                <a:gd name="T66" fmla="*/ 0 w 18"/>
                <a:gd name="T67" fmla="*/ 29 h 36"/>
                <a:gd name="T68" fmla="*/ 0 w 18"/>
                <a:gd name="T69" fmla="*/ 29 h 36"/>
                <a:gd name="T70" fmla="*/ 3 w 18"/>
                <a:gd name="T71" fmla="*/ 30 h 36"/>
                <a:gd name="T72" fmla="*/ 6 w 18"/>
                <a:gd name="T73" fmla="*/ 31 h 36"/>
                <a:gd name="T74" fmla="*/ 6 w 18"/>
                <a:gd name="T75" fmla="*/ 35 h 36"/>
                <a:gd name="T76" fmla="*/ 7 w 18"/>
                <a:gd name="T77" fmla="*/ 36 h 36"/>
                <a:gd name="T78" fmla="*/ 8 w 18"/>
                <a:gd name="T79" fmla="*/ 35 h 36"/>
                <a:gd name="T80" fmla="*/ 8 w 18"/>
                <a:gd name="T81" fmla="*/ 31 h 36"/>
                <a:gd name="T82" fmla="*/ 11 w 18"/>
                <a:gd name="T83" fmla="*/ 31 h 36"/>
                <a:gd name="T84" fmla="*/ 11 w 18"/>
                <a:gd name="T85" fmla="*/ 35 h 36"/>
                <a:gd name="T86" fmla="*/ 12 w 18"/>
                <a:gd name="T87" fmla="*/ 36 h 36"/>
                <a:gd name="T88" fmla="*/ 13 w 18"/>
                <a:gd name="T89" fmla="*/ 35 h 36"/>
                <a:gd name="T90" fmla="*/ 13 w 18"/>
                <a:gd name="T91" fmla="*/ 30 h 36"/>
                <a:gd name="T92" fmla="*/ 15 w 18"/>
                <a:gd name="T93" fmla="*/ 29 h 36"/>
                <a:gd name="T94" fmla="*/ 17 w 18"/>
                <a:gd name="T95" fmla="*/ 27 h 36"/>
                <a:gd name="T96" fmla="*/ 18 w 18"/>
                <a:gd name="T97" fmla="*/ 23 h 36"/>
                <a:gd name="T98" fmla="*/ 16 w 18"/>
                <a:gd name="T99" fmla="*/ 18 h 36"/>
                <a:gd name="T100" fmla="*/ 12 w 18"/>
                <a:gd name="T101" fmla="*/ 16 h 36"/>
                <a:gd name="T102" fmla="*/ 10 w 18"/>
                <a:gd name="T103" fmla="*/ 26 h 36"/>
                <a:gd name="T104" fmla="*/ 8 w 18"/>
                <a:gd name="T105" fmla="*/ 26 h 36"/>
                <a:gd name="T106" fmla="*/ 8 w 18"/>
                <a:gd name="T107" fmla="*/ 19 h 36"/>
                <a:gd name="T108" fmla="*/ 10 w 18"/>
                <a:gd name="T109" fmla="*/ 20 h 36"/>
                <a:gd name="T110" fmla="*/ 10 w 18"/>
                <a:gd name="T111" fmla="*/ 26 h 36"/>
                <a:gd name="T112" fmla="*/ 10 w 18"/>
                <a:gd name="T113" fmla="*/ 15 h 36"/>
                <a:gd name="T114" fmla="*/ 8 w 18"/>
                <a:gd name="T115" fmla="*/ 14 h 36"/>
                <a:gd name="T116" fmla="*/ 8 w 18"/>
                <a:gd name="T117" fmla="*/ 9 h 36"/>
                <a:gd name="T118" fmla="*/ 10 w 18"/>
                <a:gd name="T119" fmla="*/ 9 h 36"/>
                <a:gd name="T120" fmla="*/ 10 w 18"/>
                <a:gd name="T121" fmla="*/ 1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" h="36">
                  <a:moveTo>
                    <a:pt x="12" y="16"/>
                  </a:move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9"/>
                    <a:pt x="13" y="9"/>
                  </a:cubicBezTo>
                  <a:cubicBezTo>
                    <a:pt x="14" y="9"/>
                    <a:pt x="14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5"/>
                    <a:pt x="16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6"/>
                    <a:pt x="3" y="6"/>
                    <a:pt x="3" y="7"/>
                  </a:cubicBezTo>
                  <a:cubicBezTo>
                    <a:pt x="2" y="7"/>
                    <a:pt x="2" y="8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3"/>
                    <a:pt x="1" y="14"/>
                    <a:pt x="1" y="15"/>
                  </a:cubicBezTo>
                  <a:cubicBezTo>
                    <a:pt x="2" y="15"/>
                    <a:pt x="2" y="16"/>
                    <a:pt x="3" y="17"/>
                  </a:cubicBezTo>
                  <a:cubicBezTo>
                    <a:pt x="4" y="17"/>
                    <a:pt x="4" y="18"/>
                    <a:pt x="5" y="18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6"/>
                    <a:pt x="4" y="26"/>
                    <a:pt x="4" y="26"/>
                  </a:cubicBezTo>
                  <a:cubicBezTo>
                    <a:pt x="3" y="26"/>
                    <a:pt x="2" y="26"/>
                    <a:pt x="1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1" y="26"/>
                    <a:pt x="0" y="27"/>
                    <a:pt x="0" y="27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7" y="36"/>
                    <a:pt x="7" y="36"/>
                  </a:cubicBezTo>
                  <a:cubicBezTo>
                    <a:pt x="8" y="36"/>
                    <a:pt x="8" y="35"/>
                    <a:pt x="8" y="35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9" y="31"/>
                    <a:pt x="10" y="31"/>
                    <a:pt x="11" y="31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6"/>
                    <a:pt x="12" y="36"/>
                  </a:cubicBezTo>
                  <a:cubicBezTo>
                    <a:pt x="12" y="36"/>
                    <a:pt x="13" y="35"/>
                    <a:pt x="13" y="35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4" y="29"/>
                    <a:pt x="15" y="29"/>
                  </a:cubicBezTo>
                  <a:cubicBezTo>
                    <a:pt x="16" y="29"/>
                    <a:pt x="16" y="28"/>
                    <a:pt x="17" y="27"/>
                  </a:cubicBezTo>
                  <a:cubicBezTo>
                    <a:pt x="17" y="26"/>
                    <a:pt x="18" y="25"/>
                    <a:pt x="18" y="23"/>
                  </a:cubicBezTo>
                  <a:cubicBezTo>
                    <a:pt x="18" y="21"/>
                    <a:pt x="17" y="20"/>
                    <a:pt x="16" y="18"/>
                  </a:cubicBezTo>
                  <a:cubicBezTo>
                    <a:pt x="15" y="18"/>
                    <a:pt x="14" y="17"/>
                    <a:pt x="12" y="16"/>
                  </a:cubicBezTo>
                  <a:close/>
                  <a:moveTo>
                    <a:pt x="10" y="26"/>
                  </a:moveTo>
                  <a:cubicBezTo>
                    <a:pt x="10" y="26"/>
                    <a:pt x="9" y="26"/>
                    <a:pt x="8" y="26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20"/>
                    <a:pt x="10" y="20"/>
                    <a:pt x="10" y="20"/>
                  </a:cubicBezTo>
                  <a:lnTo>
                    <a:pt x="10" y="26"/>
                  </a:lnTo>
                  <a:close/>
                  <a:moveTo>
                    <a:pt x="10" y="15"/>
                  </a:moveTo>
                  <a:cubicBezTo>
                    <a:pt x="9" y="15"/>
                    <a:pt x="8" y="15"/>
                    <a:pt x="8" y="1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10" y="9"/>
                  </a:cubicBezTo>
                  <a:lnTo>
                    <a:pt x="10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8" name="ïšḻiḍé"/>
            <p:cNvSpPr/>
            <p:nvPr>
              <p:custDataLst>
                <p:tags r:id="rId92"/>
              </p:custDataLst>
            </p:nvPr>
          </p:nvSpPr>
          <p:spPr bwMode="auto">
            <a:xfrm flipH="1">
              <a:off x="3516799" y="1570468"/>
              <a:ext cx="79848" cy="76986"/>
            </a:xfrm>
            <a:custGeom>
              <a:avLst/>
              <a:gdLst>
                <a:gd name="T0" fmla="*/ 18 w 37"/>
                <a:gd name="T1" fmla="*/ 0 h 36"/>
                <a:gd name="T2" fmla="*/ 1 w 37"/>
                <a:gd name="T3" fmla="*/ 18 h 36"/>
                <a:gd name="T4" fmla="*/ 19 w 37"/>
                <a:gd name="T5" fmla="*/ 36 h 36"/>
                <a:gd name="T6" fmla="*/ 37 w 37"/>
                <a:gd name="T7" fmla="*/ 17 h 36"/>
                <a:gd name="T8" fmla="*/ 18 w 37"/>
                <a:gd name="T9" fmla="*/ 0 h 36"/>
                <a:gd name="T10" fmla="*/ 19 w 37"/>
                <a:gd name="T11" fmla="*/ 32 h 36"/>
                <a:gd name="T12" fmla="*/ 4 w 37"/>
                <a:gd name="T13" fmla="*/ 18 h 36"/>
                <a:gd name="T14" fmla="*/ 18 w 37"/>
                <a:gd name="T15" fmla="*/ 3 h 36"/>
                <a:gd name="T16" fmla="*/ 33 w 37"/>
                <a:gd name="T17" fmla="*/ 18 h 36"/>
                <a:gd name="T18" fmla="*/ 19 w 37"/>
                <a:gd name="T19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8" y="0"/>
                  </a:moveTo>
                  <a:cubicBezTo>
                    <a:pt x="8" y="0"/>
                    <a:pt x="0" y="8"/>
                    <a:pt x="1" y="18"/>
                  </a:cubicBezTo>
                  <a:cubicBezTo>
                    <a:pt x="1" y="28"/>
                    <a:pt x="9" y="36"/>
                    <a:pt x="19" y="36"/>
                  </a:cubicBezTo>
                  <a:cubicBezTo>
                    <a:pt x="29" y="36"/>
                    <a:pt x="37" y="27"/>
                    <a:pt x="37" y="17"/>
                  </a:cubicBezTo>
                  <a:cubicBezTo>
                    <a:pt x="37" y="8"/>
                    <a:pt x="28" y="0"/>
                    <a:pt x="18" y="0"/>
                  </a:cubicBezTo>
                  <a:close/>
                  <a:moveTo>
                    <a:pt x="19" y="32"/>
                  </a:moveTo>
                  <a:cubicBezTo>
                    <a:pt x="11" y="33"/>
                    <a:pt x="4" y="26"/>
                    <a:pt x="4" y="18"/>
                  </a:cubicBezTo>
                  <a:cubicBezTo>
                    <a:pt x="4" y="10"/>
                    <a:pt x="10" y="4"/>
                    <a:pt x="18" y="3"/>
                  </a:cubicBezTo>
                  <a:cubicBezTo>
                    <a:pt x="26" y="3"/>
                    <a:pt x="33" y="10"/>
                    <a:pt x="33" y="18"/>
                  </a:cubicBezTo>
                  <a:cubicBezTo>
                    <a:pt x="33" y="26"/>
                    <a:pt x="27" y="32"/>
                    <a:pt x="19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199" name="ïslíḓê"/>
            <p:cNvSpPr/>
            <p:nvPr>
              <p:custDataLst>
                <p:tags r:id="rId93"/>
              </p:custDataLst>
            </p:nvPr>
          </p:nvSpPr>
          <p:spPr bwMode="auto">
            <a:xfrm flipH="1">
              <a:off x="3542306" y="1583480"/>
              <a:ext cx="26616" cy="50963"/>
            </a:xfrm>
            <a:custGeom>
              <a:avLst/>
              <a:gdLst>
                <a:gd name="T0" fmla="*/ 8 w 12"/>
                <a:gd name="T1" fmla="*/ 11 h 24"/>
                <a:gd name="T2" fmla="*/ 8 w 12"/>
                <a:gd name="T3" fmla="*/ 6 h 24"/>
                <a:gd name="T4" fmla="*/ 9 w 12"/>
                <a:gd name="T5" fmla="*/ 6 h 24"/>
                <a:gd name="T6" fmla="*/ 10 w 12"/>
                <a:gd name="T7" fmla="*/ 6 h 24"/>
                <a:gd name="T8" fmla="*/ 11 w 12"/>
                <a:gd name="T9" fmla="*/ 6 h 24"/>
                <a:gd name="T10" fmla="*/ 11 w 12"/>
                <a:gd name="T11" fmla="*/ 5 h 24"/>
                <a:gd name="T12" fmla="*/ 11 w 12"/>
                <a:gd name="T13" fmla="*/ 4 h 24"/>
                <a:gd name="T14" fmla="*/ 11 w 12"/>
                <a:gd name="T15" fmla="*/ 3 h 24"/>
                <a:gd name="T16" fmla="*/ 10 w 12"/>
                <a:gd name="T17" fmla="*/ 3 h 24"/>
                <a:gd name="T18" fmla="*/ 9 w 12"/>
                <a:gd name="T19" fmla="*/ 3 h 24"/>
                <a:gd name="T20" fmla="*/ 8 w 12"/>
                <a:gd name="T21" fmla="*/ 3 h 24"/>
                <a:gd name="T22" fmla="*/ 8 w 12"/>
                <a:gd name="T23" fmla="*/ 1 h 24"/>
                <a:gd name="T24" fmla="*/ 7 w 12"/>
                <a:gd name="T25" fmla="*/ 0 h 24"/>
                <a:gd name="T26" fmla="*/ 7 w 12"/>
                <a:gd name="T27" fmla="*/ 1 h 24"/>
                <a:gd name="T28" fmla="*/ 7 w 12"/>
                <a:gd name="T29" fmla="*/ 3 h 24"/>
                <a:gd name="T30" fmla="*/ 7 w 12"/>
                <a:gd name="T31" fmla="*/ 3 h 24"/>
                <a:gd name="T32" fmla="*/ 5 w 12"/>
                <a:gd name="T33" fmla="*/ 3 h 24"/>
                <a:gd name="T34" fmla="*/ 5 w 12"/>
                <a:gd name="T35" fmla="*/ 1 h 24"/>
                <a:gd name="T36" fmla="*/ 4 w 12"/>
                <a:gd name="T37" fmla="*/ 0 h 24"/>
                <a:gd name="T38" fmla="*/ 4 w 12"/>
                <a:gd name="T39" fmla="*/ 1 h 24"/>
                <a:gd name="T40" fmla="*/ 4 w 12"/>
                <a:gd name="T41" fmla="*/ 3 h 24"/>
                <a:gd name="T42" fmla="*/ 2 w 12"/>
                <a:gd name="T43" fmla="*/ 4 h 24"/>
                <a:gd name="T44" fmla="*/ 1 w 12"/>
                <a:gd name="T45" fmla="*/ 6 h 24"/>
                <a:gd name="T46" fmla="*/ 0 w 12"/>
                <a:gd name="T47" fmla="*/ 8 h 24"/>
                <a:gd name="T48" fmla="*/ 1 w 12"/>
                <a:gd name="T49" fmla="*/ 10 h 24"/>
                <a:gd name="T50" fmla="*/ 2 w 12"/>
                <a:gd name="T51" fmla="*/ 11 h 24"/>
                <a:gd name="T52" fmla="*/ 3 w 12"/>
                <a:gd name="T53" fmla="*/ 12 h 24"/>
                <a:gd name="T54" fmla="*/ 4 w 12"/>
                <a:gd name="T55" fmla="*/ 12 h 24"/>
                <a:gd name="T56" fmla="*/ 4 w 12"/>
                <a:gd name="T57" fmla="*/ 18 h 24"/>
                <a:gd name="T58" fmla="*/ 3 w 12"/>
                <a:gd name="T59" fmla="*/ 17 h 24"/>
                <a:gd name="T60" fmla="*/ 1 w 12"/>
                <a:gd name="T61" fmla="*/ 17 h 24"/>
                <a:gd name="T62" fmla="*/ 0 w 12"/>
                <a:gd name="T63" fmla="*/ 17 h 24"/>
                <a:gd name="T64" fmla="*/ 0 w 12"/>
                <a:gd name="T65" fmla="*/ 18 h 24"/>
                <a:gd name="T66" fmla="*/ 0 w 12"/>
                <a:gd name="T67" fmla="*/ 19 h 24"/>
                <a:gd name="T68" fmla="*/ 0 w 12"/>
                <a:gd name="T69" fmla="*/ 20 h 24"/>
                <a:gd name="T70" fmla="*/ 2 w 12"/>
                <a:gd name="T71" fmla="*/ 20 h 24"/>
                <a:gd name="T72" fmla="*/ 4 w 12"/>
                <a:gd name="T73" fmla="*/ 21 h 24"/>
                <a:gd name="T74" fmla="*/ 4 w 12"/>
                <a:gd name="T75" fmla="*/ 23 h 24"/>
                <a:gd name="T76" fmla="*/ 5 w 12"/>
                <a:gd name="T77" fmla="*/ 24 h 24"/>
                <a:gd name="T78" fmla="*/ 6 w 12"/>
                <a:gd name="T79" fmla="*/ 23 h 24"/>
                <a:gd name="T80" fmla="*/ 6 w 12"/>
                <a:gd name="T81" fmla="*/ 21 h 24"/>
                <a:gd name="T82" fmla="*/ 7 w 12"/>
                <a:gd name="T83" fmla="*/ 20 h 24"/>
                <a:gd name="T84" fmla="*/ 7 w 12"/>
                <a:gd name="T85" fmla="*/ 23 h 24"/>
                <a:gd name="T86" fmla="*/ 8 w 12"/>
                <a:gd name="T87" fmla="*/ 24 h 24"/>
                <a:gd name="T88" fmla="*/ 9 w 12"/>
                <a:gd name="T89" fmla="*/ 23 h 24"/>
                <a:gd name="T90" fmla="*/ 9 w 12"/>
                <a:gd name="T91" fmla="*/ 20 h 24"/>
                <a:gd name="T92" fmla="*/ 10 w 12"/>
                <a:gd name="T93" fmla="*/ 19 h 24"/>
                <a:gd name="T94" fmla="*/ 11 w 12"/>
                <a:gd name="T95" fmla="*/ 18 h 24"/>
                <a:gd name="T96" fmla="*/ 12 w 12"/>
                <a:gd name="T97" fmla="*/ 15 h 24"/>
                <a:gd name="T98" fmla="*/ 11 w 12"/>
                <a:gd name="T99" fmla="*/ 12 h 24"/>
                <a:gd name="T100" fmla="*/ 8 w 12"/>
                <a:gd name="T101" fmla="*/ 11 h 24"/>
                <a:gd name="T102" fmla="*/ 7 w 12"/>
                <a:gd name="T103" fmla="*/ 17 h 24"/>
                <a:gd name="T104" fmla="*/ 5 w 12"/>
                <a:gd name="T105" fmla="*/ 18 h 24"/>
                <a:gd name="T106" fmla="*/ 5 w 12"/>
                <a:gd name="T107" fmla="*/ 13 h 24"/>
                <a:gd name="T108" fmla="*/ 7 w 12"/>
                <a:gd name="T109" fmla="*/ 14 h 24"/>
                <a:gd name="T110" fmla="*/ 7 w 12"/>
                <a:gd name="T111" fmla="*/ 17 h 24"/>
                <a:gd name="T112" fmla="*/ 7 w 12"/>
                <a:gd name="T113" fmla="*/ 10 h 24"/>
                <a:gd name="T114" fmla="*/ 5 w 12"/>
                <a:gd name="T115" fmla="*/ 9 h 24"/>
                <a:gd name="T116" fmla="*/ 5 w 12"/>
                <a:gd name="T117" fmla="*/ 6 h 24"/>
                <a:gd name="T118" fmla="*/ 7 w 12"/>
                <a:gd name="T119" fmla="*/ 6 h 24"/>
                <a:gd name="T120" fmla="*/ 7 w 12"/>
                <a:gd name="T121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" h="24">
                  <a:moveTo>
                    <a:pt x="8" y="11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0"/>
                    <a:pt x="1" y="11"/>
                    <a:pt x="2" y="11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18"/>
                    <a:pt x="3" y="18"/>
                    <a:pt x="3" y="17"/>
                  </a:cubicBezTo>
                  <a:cubicBezTo>
                    <a:pt x="2" y="17"/>
                    <a:pt x="1" y="17"/>
                    <a:pt x="1" y="17"/>
                  </a:cubicBezTo>
                  <a:cubicBezTo>
                    <a:pt x="1" y="17"/>
                    <a:pt x="1" y="17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1" y="20"/>
                    <a:pt x="1" y="20"/>
                    <a:pt x="2" y="20"/>
                  </a:cubicBezTo>
                  <a:cubicBezTo>
                    <a:pt x="3" y="20"/>
                    <a:pt x="3" y="21"/>
                    <a:pt x="4" y="21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4"/>
                    <a:pt x="4" y="24"/>
                    <a:pt x="5" y="24"/>
                  </a:cubicBezTo>
                  <a:cubicBezTo>
                    <a:pt x="5" y="24"/>
                    <a:pt x="6" y="24"/>
                    <a:pt x="6" y="23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1"/>
                    <a:pt x="7" y="2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4"/>
                    <a:pt x="8" y="24"/>
                    <a:pt x="8" y="24"/>
                  </a:cubicBezTo>
                  <a:cubicBezTo>
                    <a:pt x="8" y="24"/>
                    <a:pt x="9" y="24"/>
                    <a:pt x="9" y="23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20"/>
                    <a:pt x="10" y="19"/>
                  </a:cubicBezTo>
                  <a:cubicBezTo>
                    <a:pt x="11" y="19"/>
                    <a:pt x="11" y="19"/>
                    <a:pt x="11" y="18"/>
                  </a:cubicBezTo>
                  <a:cubicBezTo>
                    <a:pt x="12" y="17"/>
                    <a:pt x="12" y="16"/>
                    <a:pt x="12" y="15"/>
                  </a:cubicBezTo>
                  <a:cubicBezTo>
                    <a:pt x="12" y="14"/>
                    <a:pt x="12" y="13"/>
                    <a:pt x="11" y="12"/>
                  </a:cubicBezTo>
                  <a:cubicBezTo>
                    <a:pt x="10" y="12"/>
                    <a:pt x="9" y="11"/>
                    <a:pt x="8" y="11"/>
                  </a:cubicBezTo>
                  <a:close/>
                  <a:moveTo>
                    <a:pt x="7" y="17"/>
                  </a:moveTo>
                  <a:cubicBezTo>
                    <a:pt x="7" y="18"/>
                    <a:pt x="6" y="18"/>
                    <a:pt x="5" y="1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3"/>
                    <a:pt x="7" y="13"/>
                    <a:pt x="7" y="14"/>
                  </a:cubicBezTo>
                  <a:lnTo>
                    <a:pt x="7" y="17"/>
                  </a:lnTo>
                  <a:close/>
                  <a:moveTo>
                    <a:pt x="7" y="10"/>
                  </a:moveTo>
                  <a:cubicBezTo>
                    <a:pt x="6" y="10"/>
                    <a:pt x="6" y="10"/>
                    <a:pt x="5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7" y="6"/>
                  </a:cubicBezTo>
                  <a:lnTo>
                    <a:pt x="7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0" name="í$ḷîḑê"/>
            <p:cNvSpPr/>
            <p:nvPr>
              <p:custDataLst>
                <p:tags r:id="rId94"/>
              </p:custDataLst>
            </p:nvPr>
          </p:nvSpPr>
          <p:spPr bwMode="auto">
            <a:xfrm flipH="1">
              <a:off x="3928239" y="3877876"/>
              <a:ext cx="99810" cy="96503"/>
            </a:xfrm>
            <a:custGeom>
              <a:avLst/>
              <a:gdLst>
                <a:gd name="T0" fmla="*/ 22 w 46"/>
                <a:gd name="T1" fmla="*/ 1 h 46"/>
                <a:gd name="T2" fmla="*/ 0 w 46"/>
                <a:gd name="T3" fmla="*/ 24 h 46"/>
                <a:gd name="T4" fmla="*/ 23 w 46"/>
                <a:gd name="T5" fmla="*/ 46 h 46"/>
                <a:gd name="T6" fmla="*/ 45 w 46"/>
                <a:gd name="T7" fmla="*/ 23 h 46"/>
                <a:gd name="T8" fmla="*/ 22 w 46"/>
                <a:gd name="T9" fmla="*/ 1 h 46"/>
                <a:gd name="T10" fmla="*/ 23 w 46"/>
                <a:gd name="T11" fmla="*/ 42 h 46"/>
                <a:gd name="T12" fmla="*/ 4 w 46"/>
                <a:gd name="T13" fmla="*/ 24 h 46"/>
                <a:gd name="T14" fmla="*/ 22 w 46"/>
                <a:gd name="T15" fmla="*/ 5 h 46"/>
                <a:gd name="T16" fmla="*/ 41 w 46"/>
                <a:gd name="T17" fmla="*/ 23 h 46"/>
                <a:gd name="T18" fmla="*/ 23 w 46"/>
                <a:gd name="T19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6">
                  <a:moveTo>
                    <a:pt x="22" y="1"/>
                  </a:moveTo>
                  <a:cubicBezTo>
                    <a:pt x="10" y="1"/>
                    <a:pt x="0" y="11"/>
                    <a:pt x="0" y="24"/>
                  </a:cubicBezTo>
                  <a:cubicBezTo>
                    <a:pt x="0" y="36"/>
                    <a:pt x="11" y="46"/>
                    <a:pt x="23" y="46"/>
                  </a:cubicBezTo>
                  <a:cubicBezTo>
                    <a:pt x="36" y="46"/>
                    <a:pt x="46" y="35"/>
                    <a:pt x="45" y="23"/>
                  </a:cubicBezTo>
                  <a:cubicBezTo>
                    <a:pt x="45" y="10"/>
                    <a:pt x="35" y="0"/>
                    <a:pt x="22" y="1"/>
                  </a:cubicBezTo>
                  <a:close/>
                  <a:moveTo>
                    <a:pt x="23" y="42"/>
                  </a:moveTo>
                  <a:cubicBezTo>
                    <a:pt x="13" y="42"/>
                    <a:pt x="5" y="34"/>
                    <a:pt x="4" y="24"/>
                  </a:cubicBezTo>
                  <a:cubicBezTo>
                    <a:pt x="4" y="14"/>
                    <a:pt x="12" y="5"/>
                    <a:pt x="22" y="5"/>
                  </a:cubicBezTo>
                  <a:cubicBezTo>
                    <a:pt x="32" y="5"/>
                    <a:pt x="41" y="13"/>
                    <a:pt x="41" y="23"/>
                  </a:cubicBezTo>
                  <a:cubicBezTo>
                    <a:pt x="41" y="33"/>
                    <a:pt x="33" y="41"/>
                    <a:pt x="23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1" name="iṧḷíḋè"/>
            <p:cNvSpPr/>
            <p:nvPr>
              <p:custDataLst>
                <p:tags r:id="rId95"/>
              </p:custDataLst>
            </p:nvPr>
          </p:nvSpPr>
          <p:spPr bwMode="auto">
            <a:xfrm flipH="1">
              <a:off x="3962618" y="3894141"/>
              <a:ext cx="31052" cy="66143"/>
            </a:xfrm>
            <a:custGeom>
              <a:avLst/>
              <a:gdLst>
                <a:gd name="T0" fmla="*/ 10 w 14"/>
                <a:gd name="T1" fmla="*/ 14 h 31"/>
                <a:gd name="T2" fmla="*/ 10 w 14"/>
                <a:gd name="T3" fmla="*/ 8 h 31"/>
                <a:gd name="T4" fmla="*/ 10 w 14"/>
                <a:gd name="T5" fmla="*/ 8 h 31"/>
                <a:gd name="T6" fmla="*/ 12 w 14"/>
                <a:gd name="T7" fmla="*/ 8 h 31"/>
                <a:gd name="T8" fmla="*/ 13 w 14"/>
                <a:gd name="T9" fmla="*/ 8 h 31"/>
                <a:gd name="T10" fmla="*/ 13 w 14"/>
                <a:gd name="T11" fmla="*/ 6 h 31"/>
                <a:gd name="T12" fmla="*/ 13 w 14"/>
                <a:gd name="T13" fmla="*/ 5 h 31"/>
                <a:gd name="T14" fmla="*/ 13 w 14"/>
                <a:gd name="T15" fmla="*/ 5 h 31"/>
                <a:gd name="T16" fmla="*/ 12 w 14"/>
                <a:gd name="T17" fmla="*/ 4 h 31"/>
                <a:gd name="T18" fmla="*/ 11 w 14"/>
                <a:gd name="T19" fmla="*/ 4 h 31"/>
                <a:gd name="T20" fmla="*/ 10 w 14"/>
                <a:gd name="T21" fmla="*/ 4 h 31"/>
                <a:gd name="T22" fmla="*/ 10 w 14"/>
                <a:gd name="T23" fmla="*/ 1 h 31"/>
                <a:gd name="T24" fmla="*/ 9 w 14"/>
                <a:gd name="T25" fmla="*/ 0 h 31"/>
                <a:gd name="T26" fmla="*/ 8 w 14"/>
                <a:gd name="T27" fmla="*/ 1 h 31"/>
                <a:gd name="T28" fmla="*/ 8 w 14"/>
                <a:gd name="T29" fmla="*/ 4 h 31"/>
                <a:gd name="T30" fmla="*/ 8 w 14"/>
                <a:gd name="T31" fmla="*/ 4 h 31"/>
                <a:gd name="T32" fmla="*/ 6 w 14"/>
                <a:gd name="T33" fmla="*/ 4 h 31"/>
                <a:gd name="T34" fmla="*/ 6 w 14"/>
                <a:gd name="T35" fmla="*/ 1 h 31"/>
                <a:gd name="T36" fmla="*/ 5 w 14"/>
                <a:gd name="T37" fmla="*/ 0 h 31"/>
                <a:gd name="T38" fmla="*/ 4 w 14"/>
                <a:gd name="T39" fmla="*/ 1 h 31"/>
                <a:gd name="T40" fmla="*/ 4 w 14"/>
                <a:gd name="T41" fmla="*/ 5 h 31"/>
                <a:gd name="T42" fmla="*/ 2 w 14"/>
                <a:gd name="T43" fmla="*/ 6 h 31"/>
                <a:gd name="T44" fmla="*/ 0 w 14"/>
                <a:gd name="T45" fmla="*/ 8 h 31"/>
                <a:gd name="T46" fmla="*/ 0 w 14"/>
                <a:gd name="T47" fmla="*/ 10 h 31"/>
                <a:gd name="T48" fmla="*/ 1 w 14"/>
                <a:gd name="T49" fmla="*/ 12 h 31"/>
                <a:gd name="T50" fmla="*/ 2 w 14"/>
                <a:gd name="T51" fmla="*/ 14 h 31"/>
                <a:gd name="T52" fmla="*/ 4 w 14"/>
                <a:gd name="T53" fmla="*/ 16 h 31"/>
                <a:gd name="T54" fmla="*/ 4 w 14"/>
                <a:gd name="T55" fmla="*/ 16 h 31"/>
                <a:gd name="T56" fmla="*/ 4 w 14"/>
                <a:gd name="T57" fmla="*/ 23 h 31"/>
                <a:gd name="T58" fmla="*/ 3 w 14"/>
                <a:gd name="T59" fmla="*/ 22 h 31"/>
                <a:gd name="T60" fmla="*/ 0 w 14"/>
                <a:gd name="T61" fmla="*/ 22 h 31"/>
                <a:gd name="T62" fmla="*/ 0 w 14"/>
                <a:gd name="T63" fmla="*/ 22 h 31"/>
                <a:gd name="T64" fmla="*/ 0 w 14"/>
                <a:gd name="T65" fmla="*/ 23 h 31"/>
                <a:gd name="T66" fmla="*/ 0 w 14"/>
                <a:gd name="T67" fmla="*/ 24 h 31"/>
                <a:gd name="T68" fmla="*/ 0 w 14"/>
                <a:gd name="T69" fmla="*/ 25 h 31"/>
                <a:gd name="T70" fmla="*/ 2 w 14"/>
                <a:gd name="T71" fmla="*/ 26 h 31"/>
                <a:gd name="T72" fmla="*/ 4 w 14"/>
                <a:gd name="T73" fmla="*/ 26 h 31"/>
                <a:gd name="T74" fmla="*/ 5 w 14"/>
                <a:gd name="T75" fmla="*/ 30 h 31"/>
                <a:gd name="T76" fmla="*/ 6 w 14"/>
                <a:gd name="T77" fmla="*/ 31 h 31"/>
                <a:gd name="T78" fmla="*/ 6 w 14"/>
                <a:gd name="T79" fmla="*/ 30 h 31"/>
                <a:gd name="T80" fmla="*/ 6 w 14"/>
                <a:gd name="T81" fmla="*/ 26 h 31"/>
                <a:gd name="T82" fmla="*/ 8 w 14"/>
                <a:gd name="T83" fmla="*/ 26 h 31"/>
                <a:gd name="T84" fmla="*/ 8 w 14"/>
                <a:gd name="T85" fmla="*/ 30 h 31"/>
                <a:gd name="T86" fmla="*/ 9 w 14"/>
                <a:gd name="T87" fmla="*/ 31 h 31"/>
                <a:gd name="T88" fmla="*/ 10 w 14"/>
                <a:gd name="T89" fmla="*/ 30 h 31"/>
                <a:gd name="T90" fmla="*/ 10 w 14"/>
                <a:gd name="T91" fmla="*/ 26 h 31"/>
                <a:gd name="T92" fmla="*/ 12 w 14"/>
                <a:gd name="T93" fmla="*/ 25 h 31"/>
                <a:gd name="T94" fmla="*/ 14 w 14"/>
                <a:gd name="T95" fmla="*/ 23 h 31"/>
                <a:gd name="T96" fmla="*/ 14 w 14"/>
                <a:gd name="T97" fmla="*/ 20 h 31"/>
                <a:gd name="T98" fmla="*/ 13 w 14"/>
                <a:gd name="T99" fmla="*/ 16 h 31"/>
                <a:gd name="T100" fmla="*/ 10 w 14"/>
                <a:gd name="T101" fmla="*/ 14 h 31"/>
                <a:gd name="T102" fmla="*/ 8 w 14"/>
                <a:gd name="T103" fmla="*/ 22 h 31"/>
                <a:gd name="T104" fmla="*/ 6 w 14"/>
                <a:gd name="T105" fmla="*/ 23 h 31"/>
                <a:gd name="T106" fmla="*/ 6 w 14"/>
                <a:gd name="T107" fmla="*/ 17 h 31"/>
                <a:gd name="T108" fmla="*/ 8 w 14"/>
                <a:gd name="T109" fmla="*/ 17 h 31"/>
                <a:gd name="T110" fmla="*/ 8 w 14"/>
                <a:gd name="T111" fmla="*/ 22 h 31"/>
                <a:gd name="T112" fmla="*/ 8 w 14"/>
                <a:gd name="T113" fmla="*/ 13 h 31"/>
                <a:gd name="T114" fmla="*/ 6 w 14"/>
                <a:gd name="T115" fmla="*/ 12 h 31"/>
                <a:gd name="T116" fmla="*/ 6 w 14"/>
                <a:gd name="T117" fmla="*/ 8 h 31"/>
                <a:gd name="T118" fmla="*/ 8 w 14"/>
                <a:gd name="T119" fmla="*/ 7 h 31"/>
                <a:gd name="T120" fmla="*/ 8 w 14"/>
                <a:gd name="T121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" h="31">
                  <a:moveTo>
                    <a:pt x="10" y="14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2" y="8"/>
                    <a:pt x="12" y="8"/>
                    <a:pt x="13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2" y="4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0"/>
                    <a:pt x="9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5"/>
                    <a:pt x="2" y="6"/>
                  </a:cubicBezTo>
                  <a:cubicBezTo>
                    <a:pt x="1" y="6"/>
                    <a:pt x="1" y="7"/>
                    <a:pt x="0" y="8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3" y="15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3" y="22"/>
                    <a:pt x="3" y="22"/>
                  </a:cubicBezTo>
                  <a:cubicBezTo>
                    <a:pt x="2" y="22"/>
                    <a:pt x="1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3" y="26"/>
                    <a:pt x="4" y="26"/>
                    <a:pt x="4" y="26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6" y="31"/>
                  </a:cubicBezTo>
                  <a:cubicBezTo>
                    <a:pt x="6" y="31"/>
                    <a:pt x="6" y="30"/>
                    <a:pt x="6" y="30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9" y="31"/>
                    <a:pt x="9" y="31"/>
                  </a:cubicBezTo>
                  <a:cubicBezTo>
                    <a:pt x="10" y="31"/>
                    <a:pt x="10" y="30"/>
                    <a:pt x="10" y="30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5"/>
                    <a:pt x="11" y="25"/>
                    <a:pt x="12" y="25"/>
                  </a:cubicBezTo>
                  <a:cubicBezTo>
                    <a:pt x="13" y="24"/>
                    <a:pt x="13" y="24"/>
                    <a:pt x="14" y="23"/>
                  </a:cubicBezTo>
                  <a:cubicBezTo>
                    <a:pt x="14" y="22"/>
                    <a:pt x="14" y="21"/>
                    <a:pt x="14" y="20"/>
                  </a:cubicBezTo>
                  <a:cubicBezTo>
                    <a:pt x="14" y="18"/>
                    <a:pt x="14" y="17"/>
                    <a:pt x="13" y="16"/>
                  </a:cubicBezTo>
                  <a:cubicBezTo>
                    <a:pt x="12" y="15"/>
                    <a:pt x="11" y="14"/>
                    <a:pt x="10" y="14"/>
                  </a:cubicBezTo>
                  <a:close/>
                  <a:moveTo>
                    <a:pt x="8" y="22"/>
                  </a:moveTo>
                  <a:cubicBezTo>
                    <a:pt x="8" y="22"/>
                    <a:pt x="7" y="23"/>
                    <a:pt x="6" y="2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8" y="17"/>
                    <a:pt x="8" y="17"/>
                  </a:cubicBezTo>
                  <a:lnTo>
                    <a:pt x="8" y="22"/>
                  </a:lnTo>
                  <a:close/>
                  <a:moveTo>
                    <a:pt x="8" y="13"/>
                  </a:moveTo>
                  <a:cubicBezTo>
                    <a:pt x="7" y="13"/>
                    <a:pt x="7" y="12"/>
                    <a:pt x="6" y="1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7"/>
                    <a:pt x="8" y="7"/>
                  </a:cubicBez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2" name="íṧḷîḋè"/>
            <p:cNvSpPr/>
            <p:nvPr>
              <p:custDataLst>
                <p:tags r:id="rId96"/>
              </p:custDataLst>
            </p:nvPr>
          </p:nvSpPr>
          <p:spPr bwMode="auto">
            <a:xfrm flipH="1">
              <a:off x="3115340" y="3971127"/>
              <a:ext cx="113118" cy="107347"/>
            </a:xfrm>
            <a:custGeom>
              <a:avLst/>
              <a:gdLst>
                <a:gd name="T0" fmla="*/ 26 w 52"/>
                <a:gd name="T1" fmla="*/ 0 h 51"/>
                <a:gd name="T2" fmla="*/ 1 w 52"/>
                <a:gd name="T3" fmla="*/ 26 h 51"/>
                <a:gd name="T4" fmla="*/ 27 w 52"/>
                <a:gd name="T5" fmla="*/ 51 h 51"/>
                <a:gd name="T6" fmla="*/ 52 w 52"/>
                <a:gd name="T7" fmla="*/ 25 h 51"/>
                <a:gd name="T8" fmla="*/ 26 w 52"/>
                <a:gd name="T9" fmla="*/ 0 h 51"/>
                <a:gd name="T10" fmla="*/ 27 w 52"/>
                <a:gd name="T11" fmla="*/ 46 h 51"/>
                <a:gd name="T12" fmla="*/ 6 w 52"/>
                <a:gd name="T13" fmla="*/ 26 h 51"/>
                <a:gd name="T14" fmla="*/ 26 w 52"/>
                <a:gd name="T15" fmla="*/ 5 h 51"/>
                <a:gd name="T16" fmla="*/ 47 w 52"/>
                <a:gd name="T17" fmla="*/ 25 h 51"/>
                <a:gd name="T18" fmla="*/ 27 w 52"/>
                <a:gd name="T19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cubicBezTo>
                    <a:pt x="11" y="0"/>
                    <a:pt x="0" y="12"/>
                    <a:pt x="1" y="26"/>
                  </a:cubicBezTo>
                  <a:cubicBezTo>
                    <a:pt x="1" y="40"/>
                    <a:pt x="13" y="51"/>
                    <a:pt x="27" y="51"/>
                  </a:cubicBezTo>
                  <a:cubicBezTo>
                    <a:pt x="41" y="51"/>
                    <a:pt x="52" y="39"/>
                    <a:pt x="52" y="25"/>
                  </a:cubicBezTo>
                  <a:cubicBezTo>
                    <a:pt x="51" y="11"/>
                    <a:pt x="40" y="0"/>
                    <a:pt x="26" y="0"/>
                  </a:cubicBezTo>
                  <a:close/>
                  <a:moveTo>
                    <a:pt x="27" y="46"/>
                  </a:moveTo>
                  <a:cubicBezTo>
                    <a:pt x="15" y="46"/>
                    <a:pt x="6" y="37"/>
                    <a:pt x="6" y="26"/>
                  </a:cubicBezTo>
                  <a:cubicBezTo>
                    <a:pt x="5" y="15"/>
                    <a:pt x="14" y="5"/>
                    <a:pt x="26" y="5"/>
                  </a:cubicBezTo>
                  <a:cubicBezTo>
                    <a:pt x="37" y="5"/>
                    <a:pt x="46" y="14"/>
                    <a:pt x="47" y="25"/>
                  </a:cubicBezTo>
                  <a:cubicBezTo>
                    <a:pt x="47" y="36"/>
                    <a:pt x="3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3" name="í$líḑè"/>
            <p:cNvSpPr/>
            <p:nvPr>
              <p:custDataLst>
                <p:tags r:id="rId97"/>
              </p:custDataLst>
            </p:nvPr>
          </p:nvSpPr>
          <p:spPr bwMode="auto">
            <a:xfrm flipH="1">
              <a:off x="3151938" y="3989560"/>
              <a:ext cx="36597" cy="72649"/>
            </a:xfrm>
            <a:custGeom>
              <a:avLst/>
              <a:gdLst>
                <a:gd name="T0" fmla="*/ 12 w 17"/>
                <a:gd name="T1" fmla="*/ 15 h 34"/>
                <a:gd name="T2" fmla="*/ 12 w 17"/>
                <a:gd name="T3" fmla="*/ 8 h 34"/>
                <a:gd name="T4" fmla="*/ 12 w 17"/>
                <a:gd name="T5" fmla="*/ 8 h 34"/>
                <a:gd name="T6" fmla="*/ 14 w 17"/>
                <a:gd name="T7" fmla="*/ 8 h 34"/>
                <a:gd name="T8" fmla="*/ 15 w 17"/>
                <a:gd name="T9" fmla="*/ 8 h 34"/>
                <a:gd name="T10" fmla="*/ 15 w 17"/>
                <a:gd name="T11" fmla="*/ 7 h 34"/>
                <a:gd name="T12" fmla="*/ 16 w 17"/>
                <a:gd name="T13" fmla="*/ 5 h 34"/>
                <a:gd name="T14" fmla="*/ 15 w 17"/>
                <a:gd name="T15" fmla="*/ 4 h 34"/>
                <a:gd name="T16" fmla="*/ 14 w 17"/>
                <a:gd name="T17" fmla="*/ 4 h 34"/>
                <a:gd name="T18" fmla="*/ 13 w 17"/>
                <a:gd name="T19" fmla="*/ 4 h 34"/>
                <a:gd name="T20" fmla="*/ 12 w 17"/>
                <a:gd name="T21" fmla="*/ 4 h 34"/>
                <a:gd name="T22" fmla="*/ 12 w 17"/>
                <a:gd name="T23" fmla="*/ 1 h 34"/>
                <a:gd name="T24" fmla="*/ 11 w 17"/>
                <a:gd name="T25" fmla="*/ 0 h 34"/>
                <a:gd name="T26" fmla="*/ 10 w 17"/>
                <a:gd name="T27" fmla="*/ 1 h 34"/>
                <a:gd name="T28" fmla="*/ 10 w 17"/>
                <a:gd name="T29" fmla="*/ 4 h 34"/>
                <a:gd name="T30" fmla="*/ 9 w 17"/>
                <a:gd name="T31" fmla="*/ 4 h 34"/>
                <a:gd name="T32" fmla="*/ 7 w 17"/>
                <a:gd name="T33" fmla="*/ 4 h 34"/>
                <a:gd name="T34" fmla="*/ 7 w 17"/>
                <a:gd name="T35" fmla="*/ 1 h 34"/>
                <a:gd name="T36" fmla="*/ 6 w 17"/>
                <a:gd name="T37" fmla="*/ 0 h 34"/>
                <a:gd name="T38" fmla="*/ 5 w 17"/>
                <a:gd name="T39" fmla="*/ 1 h 34"/>
                <a:gd name="T40" fmla="*/ 5 w 17"/>
                <a:gd name="T41" fmla="*/ 5 h 34"/>
                <a:gd name="T42" fmla="*/ 3 w 17"/>
                <a:gd name="T43" fmla="*/ 6 h 34"/>
                <a:gd name="T44" fmla="*/ 1 w 17"/>
                <a:gd name="T45" fmla="*/ 8 h 34"/>
                <a:gd name="T46" fmla="*/ 1 w 17"/>
                <a:gd name="T47" fmla="*/ 10 h 34"/>
                <a:gd name="T48" fmla="*/ 1 w 17"/>
                <a:gd name="T49" fmla="*/ 13 h 34"/>
                <a:gd name="T50" fmla="*/ 3 w 17"/>
                <a:gd name="T51" fmla="*/ 15 h 34"/>
                <a:gd name="T52" fmla="*/ 5 w 17"/>
                <a:gd name="T53" fmla="*/ 17 h 34"/>
                <a:gd name="T54" fmla="*/ 5 w 17"/>
                <a:gd name="T55" fmla="*/ 17 h 34"/>
                <a:gd name="T56" fmla="*/ 6 w 17"/>
                <a:gd name="T57" fmla="*/ 25 h 34"/>
                <a:gd name="T58" fmla="*/ 4 w 17"/>
                <a:gd name="T59" fmla="*/ 24 h 34"/>
                <a:gd name="T60" fmla="*/ 1 w 17"/>
                <a:gd name="T61" fmla="*/ 24 h 34"/>
                <a:gd name="T62" fmla="*/ 1 w 17"/>
                <a:gd name="T63" fmla="*/ 24 h 34"/>
                <a:gd name="T64" fmla="*/ 0 w 17"/>
                <a:gd name="T65" fmla="*/ 25 h 34"/>
                <a:gd name="T66" fmla="*/ 0 w 17"/>
                <a:gd name="T67" fmla="*/ 27 h 34"/>
                <a:gd name="T68" fmla="*/ 0 w 17"/>
                <a:gd name="T69" fmla="*/ 28 h 34"/>
                <a:gd name="T70" fmla="*/ 3 w 17"/>
                <a:gd name="T71" fmla="*/ 28 h 34"/>
                <a:gd name="T72" fmla="*/ 6 w 17"/>
                <a:gd name="T73" fmla="*/ 29 h 34"/>
                <a:gd name="T74" fmla="*/ 6 w 17"/>
                <a:gd name="T75" fmla="*/ 33 h 34"/>
                <a:gd name="T76" fmla="*/ 7 w 17"/>
                <a:gd name="T77" fmla="*/ 34 h 34"/>
                <a:gd name="T78" fmla="*/ 8 w 17"/>
                <a:gd name="T79" fmla="*/ 33 h 34"/>
                <a:gd name="T80" fmla="*/ 8 w 17"/>
                <a:gd name="T81" fmla="*/ 29 h 34"/>
                <a:gd name="T82" fmla="*/ 10 w 17"/>
                <a:gd name="T83" fmla="*/ 29 h 34"/>
                <a:gd name="T84" fmla="*/ 10 w 17"/>
                <a:gd name="T85" fmla="*/ 33 h 34"/>
                <a:gd name="T86" fmla="*/ 11 w 17"/>
                <a:gd name="T87" fmla="*/ 34 h 34"/>
                <a:gd name="T88" fmla="*/ 12 w 17"/>
                <a:gd name="T89" fmla="*/ 33 h 34"/>
                <a:gd name="T90" fmla="*/ 12 w 17"/>
                <a:gd name="T91" fmla="*/ 28 h 34"/>
                <a:gd name="T92" fmla="*/ 14 w 17"/>
                <a:gd name="T93" fmla="*/ 27 h 34"/>
                <a:gd name="T94" fmla="*/ 16 w 17"/>
                <a:gd name="T95" fmla="*/ 25 h 34"/>
                <a:gd name="T96" fmla="*/ 17 w 17"/>
                <a:gd name="T97" fmla="*/ 22 h 34"/>
                <a:gd name="T98" fmla="*/ 15 w 17"/>
                <a:gd name="T99" fmla="*/ 17 h 34"/>
                <a:gd name="T100" fmla="*/ 12 w 17"/>
                <a:gd name="T101" fmla="*/ 15 h 34"/>
                <a:gd name="T102" fmla="*/ 10 w 17"/>
                <a:gd name="T103" fmla="*/ 24 h 34"/>
                <a:gd name="T104" fmla="*/ 8 w 17"/>
                <a:gd name="T105" fmla="*/ 25 h 34"/>
                <a:gd name="T106" fmla="*/ 8 w 17"/>
                <a:gd name="T107" fmla="*/ 18 h 34"/>
                <a:gd name="T108" fmla="*/ 10 w 17"/>
                <a:gd name="T109" fmla="*/ 19 h 34"/>
                <a:gd name="T110" fmla="*/ 10 w 17"/>
                <a:gd name="T111" fmla="*/ 24 h 34"/>
                <a:gd name="T112" fmla="*/ 10 w 17"/>
                <a:gd name="T113" fmla="*/ 14 h 34"/>
                <a:gd name="T114" fmla="*/ 8 w 17"/>
                <a:gd name="T115" fmla="*/ 13 h 34"/>
                <a:gd name="T116" fmla="*/ 7 w 17"/>
                <a:gd name="T117" fmla="*/ 8 h 34"/>
                <a:gd name="T118" fmla="*/ 10 w 17"/>
                <a:gd name="T119" fmla="*/ 8 h 34"/>
                <a:gd name="T120" fmla="*/ 10 w 17"/>
                <a:gd name="T121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" h="34">
                  <a:moveTo>
                    <a:pt x="12" y="15"/>
                  </a:move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4" y="8"/>
                    <a:pt x="14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6"/>
                    <a:pt x="16" y="6"/>
                    <a:pt x="16" y="5"/>
                  </a:cubicBezTo>
                  <a:cubicBezTo>
                    <a:pt x="16" y="5"/>
                    <a:pt x="15" y="5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3" y="5"/>
                    <a:pt x="3" y="6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2" y="15"/>
                    <a:pt x="3" y="15"/>
                  </a:cubicBezTo>
                  <a:cubicBezTo>
                    <a:pt x="3" y="16"/>
                    <a:pt x="4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5"/>
                    <a:pt x="4" y="25"/>
                    <a:pt x="4" y="24"/>
                  </a:cubicBezTo>
                  <a:cubicBezTo>
                    <a:pt x="3" y="24"/>
                    <a:pt x="2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0" y="25"/>
                    <a:pt x="0" y="25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0" y="27"/>
                    <a:pt x="0" y="27"/>
                    <a:pt x="0" y="28"/>
                  </a:cubicBezTo>
                  <a:cubicBezTo>
                    <a:pt x="1" y="28"/>
                    <a:pt x="2" y="28"/>
                    <a:pt x="3" y="28"/>
                  </a:cubicBezTo>
                  <a:cubicBezTo>
                    <a:pt x="4" y="29"/>
                    <a:pt x="5" y="29"/>
                    <a:pt x="6" y="29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4"/>
                    <a:pt x="7" y="34"/>
                  </a:cubicBezTo>
                  <a:cubicBezTo>
                    <a:pt x="8" y="34"/>
                    <a:pt x="8" y="33"/>
                    <a:pt x="8" y="33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9"/>
                    <a:pt x="9" y="29"/>
                    <a:pt x="10" y="29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1" y="34"/>
                    <a:pt x="11" y="34"/>
                  </a:cubicBezTo>
                  <a:cubicBezTo>
                    <a:pt x="12" y="34"/>
                    <a:pt x="12" y="33"/>
                    <a:pt x="12" y="33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8"/>
                    <a:pt x="14" y="28"/>
                    <a:pt x="14" y="27"/>
                  </a:cubicBezTo>
                  <a:cubicBezTo>
                    <a:pt x="15" y="27"/>
                    <a:pt x="16" y="26"/>
                    <a:pt x="16" y="25"/>
                  </a:cubicBezTo>
                  <a:cubicBezTo>
                    <a:pt x="17" y="24"/>
                    <a:pt x="17" y="23"/>
                    <a:pt x="17" y="22"/>
                  </a:cubicBezTo>
                  <a:cubicBezTo>
                    <a:pt x="17" y="20"/>
                    <a:pt x="16" y="18"/>
                    <a:pt x="15" y="17"/>
                  </a:cubicBezTo>
                  <a:cubicBezTo>
                    <a:pt x="14" y="16"/>
                    <a:pt x="13" y="15"/>
                    <a:pt x="12" y="15"/>
                  </a:cubicBezTo>
                  <a:close/>
                  <a:moveTo>
                    <a:pt x="10" y="24"/>
                  </a:moveTo>
                  <a:cubicBezTo>
                    <a:pt x="9" y="24"/>
                    <a:pt x="9" y="25"/>
                    <a:pt x="8" y="25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9"/>
                    <a:pt x="10" y="19"/>
                  </a:cubicBezTo>
                  <a:lnTo>
                    <a:pt x="10" y="24"/>
                  </a:lnTo>
                  <a:close/>
                  <a:moveTo>
                    <a:pt x="10" y="14"/>
                  </a:moveTo>
                  <a:cubicBezTo>
                    <a:pt x="9" y="14"/>
                    <a:pt x="8" y="13"/>
                    <a:pt x="8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10" y="8"/>
                  </a:cubicBezTo>
                  <a:lnTo>
                    <a:pt x="1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4" name="ïṣlîḋe"/>
            <p:cNvSpPr/>
            <p:nvPr>
              <p:custDataLst>
                <p:tags r:id="rId98"/>
              </p:custDataLst>
            </p:nvPr>
          </p:nvSpPr>
          <p:spPr bwMode="auto">
            <a:xfrm flipH="1">
              <a:off x="3570031" y="1102047"/>
              <a:ext cx="56559" cy="55300"/>
            </a:xfrm>
            <a:custGeom>
              <a:avLst/>
              <a:gdLst>
                <a:gd name="T0" fmla="*/ 25 w 26"/>
                <a:gd name="T1" fmla="*/ 15 h 26"/>
                <a:gd name="T2" fmla="*/ 23 w 26"/>
                <a:gd name="T3" fmla="*/ 14 h 26"/>
                <a:gd name="T4" fmla="*/ 23 w 26"/>
                <a:gd name="T5" fmla="*/ 12 h 26"/>
                <a:gd name="T6" fmla="*/ 25 w 26"/>
                <a:gd name="T7" fmla="*/ 11 h 26"/>
                <a:gd name="T8" fmla="*/ 26 w 26"/>
                <a:gd name="T9" fmla="*/ 9 h 26"/>
                <a:gd name="T10" fmla="*/ 25 w 26"/>
                <a:gd name="T11" fmla="*/ 7 h 26"/>
                <a:gd name="T12" fmla="*/ 22 w 26"/>
                <a:gd name="T13" fmla="*/ 6 h 26"/>
                <a:gd name="T14" fmla="*/ 21 w 26"/>
                <a:gd name="T15" fmla="*/ 7 h 26"/>
                <a:gd name="T16" fmla="*/ 19 w 26"/>
                <a:gd name="T17" fmla="*/ 6 h 26"/>
                <a:gd name="T18" fmla="*/ 20 w 26"/>
                <a:gd name="T19" fmla="*/ 4 h 26"/>
                <a:gd name="T20" fmla="*/ 19 w 26"/>
                <a:gd name="T21" fmla="*/ 2 h 26"/>
                <a:gd name="T22" fmla="*/ 17 w 26"/>
                <a:gd name="T23" fmla="*/ 1 h 26"/>
                <a:gd name="T24" fmla="*/ 15 w 26"/>
                <a:gd name="T25" fmla="*/ 2 h 26"/>
                <a:gd name="T26" fmla="*/ 14 w 26"/>
                <a:gd name="T27" fmla="*/ 4 h 26"/>
                <a:gd name="T28" fmla="*/ 12 w 26"/>
                <a:gd name="T29" fmla="*/ 4 h 26"/>
                <a:gd name="T30" fmla="*/ 11 w 26"/>
                <a:gd name="T31" fmla="*/ 2 h 26"/>
                <a:gd name="T32" fmla="*/ 9 w 26"/>
                <a:gd name="T33" fmla="*/ 1 h 26"/>
                <a:gd name="T34" fmla="*/ 7 w 26"/>
                <a:gd name="T35" fmla="*/ 2 h 26"/>
                <a:gd name="T36" fmla="*/ 6 w 26"/>
                <a:gd name="T37" fmla="*/ 4 h 26"/>
                <a:gd name="T38" fmla="*/ 7 w 26"/>
                <a:gd name="T39" fmla="*/ 6 h 26"/>
                <a:gd name="T40" fmla="*/ 5 w 26"/>
                <a:gd name="T41" fmla="*/ 7 h 26"/>
                <a:gd name="T42" fmla="*/ 4 w 26"/>
                <a:gd name="T43" fmla="*/ 7 h 26"/>
                <a:gd name="T44" fmla="*/ 1 w 26"/>
                <a:gd name="T45" fmla="*/ 8 h 26"/>
                <a:gd name="T46" fmla="*/ 1 w 26"/>
                <a:gd name="T47" fmla="*/ 9 h 26"/>
                <a:gd name="T48" fmla="*/ 2 w 26"/>
                <a:gd name="T49" fmla="*/ 12 h 26"/>
                <a:gd name="T50" fmla="*/ 3 w 26"/>
                <a:gd name="T51" fmla="*/ 12 h 26"/>
                <a:gd name="T52" fmla="*/ 3 w 26"/>
                <a:gd name="T53" fmla="*/ 15 h 26"/>
                <a:gd name="T54" fmla="*/ 2 w 26"/>
                <a:gd name="T55" fmla="*/ 15 h 26"/>
                <a:gd name="T56" fmla="*/ 1 w 26"/>
                <a:gd name="T57" fmla="*/ 18 h 26"/>
                <a:gd name="T58" fmla="*/ 2 w 26"/>
                <a:gd name="T59" fmla="*/ 19 h 26"/>
                <a:gd name="T60" fmla="*/ 4 w 26"/>
                <a:gd name="T61" fmla="*/ 20 h 26"/>
                <a:gd name="T62" fmla="*/ 5 w 26"/>
                <a:gd name="T63" fmla="*/ 20 h 26"/>
                <a:gd name="T64" fmla="*/ 7 w 26"/>
                <a:gd name="T65" fmla="*/ 21 h 26"/>
                <a:gd name="T66" fmla="*/ 6 w 26"/>
                <a:gd name="T67" fmla="*/ 23 h 26"/>
                <a:gd name="T68" fmla="*/ 7 w 26"/>
                <a:gd name="T69" fmla="*/ 25 h 26"/>
                <a:gd name="T70" fmla="*/ 9 w 26"/>
                <a:gd name="T71" fmla="*/ 26 h 26"/>
                <a:gd name="T72" fmla="*/ 12 w 26"/>
                <a:gd name="T73" fmla="*/ 25 h 26"/>
                <a:gd name="T74" fmla="*/ 12 w 26"/>
                <a:gd name="T75" fmla="*/ 23 h 26"/>
                <a:gd name="T76" fmla="*/ 14 w 26"/>
                <a:gd name="T77" fmla="*/ 23 h 26"/>
                <a:gd name="T78" fmla="*/ 15 w 26"/>
                <a:gd name="T79" fmla="*/ 25 h 26"/>
                <a:gd name="T80" fmla="*/ 17 w 26"/>
                <a:gd name="T81" fmla="*/ 26 h 26"/>
                <a:gd name="T82" fmla="*/ 19 w 26"/>
                <a:gd name="T83" fmla="*/ 25 h 26"/>
                <a:gd name="T84" fmla="*/ 20 w 26"/>
                <a:gd name="T85" fmla="*/ 22 h 26"/>
                <a:gd name="T86" fmla="*/ 20 w 26"/>
                <a:gd name="T87" fmla="*/ 21 h 26"/>
                <a:gd name="T88" fmla="*/ 21 w 26"/>
                <a:gd name="T89" fmla="*/ 19 h 26"/>
                <a:gd name="T90" fmla="*/ 23 w 26"/>
                <a:gd name="T91" fmla="*/ 20 h 26"/>
                <a:gd name="T92" fmla="*/ 25 w 26"/>
                <a:gd name="T93" fmla="*/ 19 h 26"/>
                <a:gd name="T94" fmla="*/ 26 w 26"/>
                <a:gd name="T95" fmla="*/ 17 h 26"/>
                <a:gd name="T96" fmla="*/ 25 w 26"/>
                <a:gd name="T97" fmla="*/ 15 h 26"/>
                <a:gd name="T98" fmla="*/ 15 w 26"/>
                <a:gd name="T99" fmla="*/ 18 h 26"/>
                <a:gd name="T100" fmla="*/ 8 w 26"/>
                <a:gd name="T101" fmla="*/ 15 h 26"/>
                <a:gd name="T102" fmla="*/ 11 w 26"/>
                <a:gd name="T103" fmla="*/ 9 h 26"/>
                <a:gd name="T104" fmla="*/ 17 w 26"/>
                <a:gd name="T105" fmla="*/ 11 h 26"/>
                <a:gd name="T106" fmla="*/ 15 w 26"/>
                <a:gd name="T107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" h="26">
                  <a:moveTo>
                    <a:pt x="25" y="15"/>
                  </a:move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3" y="13"/>
                    <a:pt x="23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6" y="10"/>
                    <a:pt x="26" y="9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"/>
                    <a:pt x="20" y="2"/>
                    <a:pt x="19" y="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0"/>
                    <a:pt x="15" y="1"/>
                    <a:pt x="15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2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2" y="7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0" y="17"/>
                    <a:pt x="1" y="18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3" y="21"/>
                    <a:pt x="4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0"/>
                    <a:pt x="6" y="21"/>
                    <a:pt x="7" y="21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7" y="25"/>
                    <a:pt x="7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6"/>
                    <a:pt x="11" y="26"/>
                    <a:pt x="12" y="25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3"/>
                    <a:pt x="14" y="23"/>
                    <a:pt x="14" y="23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7" y="26"/>
                    <a:pt x="17" y="2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4"/>
                    <a:pt x="21" y="23"/>
                    <a:pt x="20" y="2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1" y="19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5" y="20"/>
                    <a:pt x="25" y="19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6"/>
                    <a:pt x="26" y="15"/>
                    <a:pt x="25" y="15"/>
                  </a:cubicBezTo>
                  <a:close/>
                  <a:moveTo>
                    <a:pt x="15" y="18"/>
                  </a:moveTo>
                  <a:cubicBezTo>
                    <a:pt x="12" y="19"/>
                    <a:pt x="10" y="18"/>
                    <a:pt x="8" y="15"/>
                  </a:cubicBezTo>
                  <a:cubicBezTo>
                    <a:pt x="7" y="13"/>
                    <a:pt x="9" y="10"/>
                    <a:pt x="11" y="9"/>
                  </a:cubicBezTo>
                  <a:cubicBezTo>
                    <a:pt x="13" y="8"/>
                    <a:pt x="16" y="9"/>
                    <a:pt x="17" y="11"/>
                  </a:cubicBezTo>
                  <a:cubicBezTo>
                    <a:pt x="19" y="14"/>
                    <a:pt x="17" y="17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5" name="íşlïďé"/>
            <p:cNvSpPr/>
            <p:nvPr>
              <p:custDataLst>
                <p:tags r:id="rId99"/>
              </p:custDataLst>
            </p:nvPr>
          </p:nvSpPr>
          <p:spPr bwMode="auto">
            <a:xfrm flipH="1">
              <a:off x="3568922" y="1277705"/>
              <a:ext cx="120881" cy="119274"/>
            </a:xfrm>
            <a:custGeom>
              <a:avLst/>
              <a:gdLst>
                <a:gd name="T0" fmla="*/ 53 w 56"/>
                <a:gd name="T1" fmla="*/ 31 h 56"/>
                <a:gd name="T2" fmla="*/ 49 w 56"/>
                <a:gd name="T3" fmla="*/ 30 h 56"/>
                <a:gd name="T4" fmla="*/ 49 w 56"/>
                <a:gd name="T5" fmla="*/ 26 h 56"/>
                <a:gd name="T6" fmla="*/ 52 w 56"/>
                <a:gd name="T7" fmla="*/ 24 h 56"/>
                <a:gd name="T8" fmla="*/ 54 w 56"/>
                <a:gd name="T9" fmla="*/ 19 h 56"/>
                <a:gd name="T10" fmla="*/ 53 w 56"/>
                <a:gd name="T11" fmla="*/ 15 h 56"/>
                <a:gd name="T12" fmla="*/ 47 w 56"/>
                <a:gd name="T13" fmla="*/ 13 h 56"/>
                <a:gd name="T14" fmla="*/ 44 w 56"/>
                <a:gd name="T15" fmla="*/ 14 h 56"/>
                <a:gd name="T16" fmla="*/ 41 w 56"/>
                <a:gd name="T17" fmla="*/ 12 h 56"/>
                <a:gd name="T18" fmla="*/ 42 w 56"/>
                <a:gd name="T19" fmla="*/ 8 h 56"/>
                <a:gd name="T20" fmla="*/ 40 w 56"/>
                <a:gd name="T21" fmla="*/ 3 h 56"/>
                <a:gd name="T22" fmla="*/ 36 w 56"/>
                <a:gd name="T23" fmla="*/ 1 h 56"/>
                <a:gd name="T24" fmla="*/ 31 w 56"/>
                <a:gd name="T25" fmla="*/ 3 h 56"/>
                <a:gd name="T26" fmla="*/ 29 w 56"/>
                <a:gd name="T27" fmla="*/ 7 h 56"/>
                <a:gd name="T28" fmla="*/ 25 w 56"/>
                <a:gd name="T29" fmla="*/ 7 h 56"/>
                <a:gd name="T30" fmla="*/ 24 w 56"/>
                <a:gd name="T31" fmla="*/ 3 h 56"/>
                <a:gd name="T32" fmla="*/ 18 w 56"/>
                <a:gd name="T33" fmla="*/ 1 h 56"/>
                <a:gd name="T34" fmla="*/ 14 w 56"/>
                <a:gd name="T35" fmla="*/ 3 h 56"/>
                <a:gd name="T36" fmla="*/ 12 w 56"/>
                <a:gd name="T37" fmla="*/ 8 h 56"/>
                <a:gd name="T38" fmla="*/ 14 w 56"/>
                <a:gd name="T39" fmla="*/ 12 h 56"/>
                <a:gd name="T40" fmla="*/ 11 w 56"/>
                <a:gd name="T41" fmla="*/ 15 h 56"/>
                <a:gd name="T42" fmla="*/ 7 w 56"/>
                <a:gd name="T43" fmla="*/ 14 h 56"/>
                <a:gd name="T44" fmla="*/ 2 w 56"/>
                <a:gd name="T45" fmla="*/ 16 h 56"/>
                <a:gd name="T46" fmla="*/ 0 w 56"/>
                <a:gd name="T47" fmla="*/ 20 h 56"/>
                <a:gd name="T48" fmla="*/ 3 w 56"/>
                <a:gd name="T49" fmla="*/ 25 h 56"/>
                <a:gd name="T50" fmla="*/ 6 w 56"/>
                <a:gd name="T51" fmla="*/ 26 h 56"/>
                <a:gd name="T52" fmla="*/ 6 w 56"/>
                <a:gd name="T53" fmla="*/ 31 h 56"/>
                <a:gd name="T54" fmla="*/ 3 w 56"/>
                <a:gd name="T55" fmla="*/ 32 h 56"/>
                <a:gd name="T56" fmla="*/ 1 w 56"/>
                <a:gd name="T57" fmla="*/ 37 h 56"/>
                <a:gd name="T58" fmla="*/ 3 w 56"/>
                <a:gd name="T59" fmla="*/ 42 h 56"/>
                <a:gd name="T60" fmla="*/ 8 w 56"/>
                <a:gd name="T61" fmla="*/ 44 h 56"/>
                <a:gd name="T62" fmla="*/ 11 w 56"/>
                <a:gd name="T63" fmla="*/ 42 h 56"/>
                <a:gd name="T64" fmla="*/ 14 w 56"/>
                <a:gd name="T65" fmla="*/ 45 h 56"/>
                <a:gd name="T66" fmla="*/ 13 w 56"/>
                <a:gd name="T67" fmla="*/ 49 h 56"/>
                <a:gd name="T68" fmla="*/ 15 w 56"/>
                <a:gd name="T69" fmla="*/ 54 h 56"/>
                <a:gd name="T70" fmla="*/ 19 w 56"/>
                <a:gd name="T71" fmla="*/ 55 h 56"/>
                <a:gd name="T72" fmla="*/ 25 w 56"/>
                <a:gd name="T73" fmla="*/ 53 h 56"/>
                <a:gd name="T74" fmla="*/ 26 w 56"/>
                <a:gd name="T75" fmla="*/ 50 h 56"/>
                <a:gd name="T76" fmla="*/ 30 w 56"/>
                <a:gd name="T77" fmla="*/ 50 h 56"/>
                <a:gd name="T78" fmla="*/ 32 w 56"/>
                <a:gd name="T79" fmla="*/ 53 h 56"/>
                <a:gd name="T80" fmla="*/ 37 w 56"/>
                <a:gd name="T81" fmla="*/ 55 h 56"/>
                <a:gd name="T82" fmla="*/ 41 w 56"/>
                <a:gd name="T83" fmla="*/ 53 h 56"/>
                <a:gd name="T84" fmla="*/ 43 w 56"/>
                <a:gd name="T85" fmla="*/ 48 h 56"/>
                <a:gd name="T86" fmla="*/ 41 w 56"/>
                <a:gd name="T87" fmla="*/ 44 h 56"/>
                <a:gd name="T88" fmla="*/ 44 w 56"/>
                <a:gd name="T89" fmla="*/ 41 h 56"/>
                <a:gd name="T90" fmla="*/ 48 w 56"/>
                <a:gd name="T91" fmla="*/ 43 h 56"/>
                <a:gd name="T92" fmla="*/ 53 w 56"/>
                <a:gd name="T93" fmla="*/ 41 h 56"/>
                <a:gd name="T94" fmla="*/ 55 w 56"/>
                <a:gd name="T95" fmla="*/ 36 h 56"/>
                <a:gd name="T96" fmla="*/ 53 w 56"/>
                <a:gd name="T97" fmla="*/ 31 h 56"/>
                <a:gd name="T98" fmla="*/ 31 w 56"/>
                <a:gd name="T99" fmla="*/ 38 h 56"/>
                <a:gd name="T100" fmla="*/ 17 w 56"/>
                <a:gd name="T101" fmla="*/ 33 h 56"/>
                <a:gd name="T102" fmla="*/ 23 w 56"/>
                <a:gd name="T103" fmla="*/ 19 h 56"/>
                <a:gd name="T104" fmla="*/ 37 w 56"/>
                <a:gd name="T105" fmla="*/ 24 h 56"/>
                <a:gd name="T106" fmla="*/ 31 w 56"/>
                <a:gd name="T107" fmla="*/ 3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" h="56">
                  <a:moveTo>
                    <a:pt x="53" y="31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28"/>
                    <a:pt x="49" y="27"/>
                    <a:pt x="49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4" y="23"/>
                    <a:pt x="55" y="21"/>
                    <a:pt x="54" y="19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3"/>
                    <a:pt x="49" y="12"/>
                    <a:pt x="47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3" y="13"/>
                    <a:pt x="42" y="13"/>
                    <a:pt x="41" y="12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6"/>
                    <a:pt x="42" y="3"/>
                    <a:pt x="40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4" y="0"/>
                    <a:pt x="32" y="1"/>
                    <a:pt x="31" y="3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7" y="7"/>
                    <a:pt x="25" y="7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1"/>
                    <a:pt x="20" y="1"/>
                    <a:pt x="18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4"/>
                    <a:pt x="11" y="6"/>
                    <a:pt x="12" y="8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1" y="14"/>
                    <a:pt x="11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5" y="13"/>
                    <a:pt x="3" y="14"/>
                    <a:pt x="2" y="1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4"/>
                    <a:pt x="3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8"/>
                    <a:pt x="6" y="29"/>
                    <a:pt x="6" y="3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" y="33"/>
                    <a:pt x="0" y="35"/>
                    <a:pt x="1" y="37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6" y="44"/>
                    <a:pt x="8" y="44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3"/>
                    <a:pt x="13" y="45"/>
                    <a:pt x="14" y="45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51"/>
                    <a:pt x="13" y="53"/>
                    <a:pt x="15" y="54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1" y="56"/>
                    <a:pt x="24" y="55"/>
                    <a:pt x="25" y="53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7" y="50"/>
                    <a:pt x="29" y="50"/>
                    <a:pt x="30" y="5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5"/>
                    <a:pt x="35" y="56"/>
                    <a:pt x="37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3" y="52"/>
                    <a:pt x="44" y="50"/>
                    <a:pt x="43" y="48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3" y="44"/>
                    <a:pt x="43" y="42"/>
                    <a:pt x="44" y="41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50" y="44"/>
                    <a:pt x="52" y="43"/>
                    <a:pt x="53" y="41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4"/>
                    <a:pt x="55" y="32"/>
                    <a:pt x="53" y="31"/>
                  </a:cubicBezTo>
                  <a:close/>
                  <a:moveTo>
                    <a:pt x="31" y="38"/>
                  </a:moveTo>
                  <a:cubicBezTo>
                    <a:pt x="26" y="41"/>
                    <a:pt x="20" y="38"/>
                    <a:pt x="17" y="33"/>
                  </a:cubicBezTo>
                  <a:cubicBezTo>
                    <a:pt x="15" y="27"/>
                    <a:pt x="18" y="21"/>
                    <a:pt x="23" y="19"/>
                  </a:cubicBezTo>
                  <a:cubicBezTo>
                    <a:pt x="28" y="16"/>
                    <a:pt x="35" y="19"/>
                    <a:pt x="37" y="24"/>
                  </a:cubicBezTo>
                  <a:cubicBezTo>
                    <a:pt x="39" y="30"/>
                    <a:pt x="37" y="36"/>
                    <a:pt x="31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6" name="í$ḷîdé"/>
            <p:cNvSpPr/>
            <p:nvPr>
              <p:custDataLst>
                <p:tags r:id="rId100"/>
              </p:custDataLst>
            </p:nvPr>
          </p:nvSpPr>
          <p:spPr bwMode="auto">
            <a:xfrm flipH="1">
              <a:off x="2904630" y="2251414"/>
              <a:ext cx="156369" cy="152888"/>
            </a:xfrm>
            <a:custGeom>
              <a:avLst/>
              <a:gdLst>
                <a:gd name="T0" fmla="*/ 68 w 72"/>
                <a:gd name="T1" fmla="*/ 40 h 72"/>
                <a:gd name="T2" fmla="*/ 63 w 72"/>
                <a:gd name="T3" fmla="*/ 38 h 72"/>
                <a:gd name="T4" fmla="*/ 63 w 72"/>
                <a:gd name="T5" fmla="*/ 33 h 72"/>
                <a:gd name="T6" fmla="*/ 68 w 72"/>
                <a:gd name="T7" fmla="*/ 31 h 72"/>
                <a:gd name="T8" fmla="*/ 71 w 72"/>
                <a:gd name="T9" fmla="*/ 24 h 72"/>
                <a:gd name="T10" fmla="*/ 68 w 72"/>
                <a:gd name="T11" fmla="*/ 19 h 72"/>
                <a:gd name="T12" fmla="*/ 62 w 72"/>
                <a:gd name="T13" fmla="*/ 16 h 72"/>
                <a:gd name="T14" fmla="*/ 57 w 72"/>
                <a:gd name="T15" fmla="*/ 18 h 72"/>
                <a:gd name="T16" fmla="*/ 53 w 72"/>
                <a:gd name="T17" fmla="*/ 15 h 72"/>
                <a:gd name="T18" fmla="*/ 55 w 72"/>
                <a:gd name="T19" fmla="*/ 10 h 72"/>
                <a:gd name="T20" fmla="*/ 52 w 72"/>
                <a:gd name="T21" fmla="*/ 3 h 72"/>
                <a:gd name="T22" fmla="*/ 47 w 72"/>
                <a:gd name="T23" fmla="*/ 1 h 72"/>
                <a:gd name="T24" fmla="*/ 40 w 72"/>
                <a:gd name="T25" fmla="*/ 4 h 72"/>
                <a:gd name="T26" fmla="*/ 38 w 72"/>
                <a:gd name="T27" fmla="*/ 9 h 72"/>
                <a:gd name="T28" fmla="*/ 33 w 72"/>
                <a:gd name="T29" fmla="*/ 9 h 72"/>
                <a:gd name="T30" fmla="*/ 31 w 72"/>
                <a:gd name="T31" fmla="*/ 4 h 72"/>
                <a:gd name="T32" fmla="*/ 24 w 72"/>
                <a:gd name="T33" fmla="*/ 2 h 72"/>
                <a:gd name="T34" fmla="*/ 19 w 72"/>
                <a:gd name="T35" fmla="*/ 4 h 72"/>
                <a:gd name="T36" fmla="*/ 16 w 72"/>
                <a:gd name="T37" fmla="*/ 11 h 72"/>
                <a:gd name="T38" fmla="*/ 18 w 72"/>
                <a:gd name="T39" fmla="*/ 15 h 72"/>
                <a:gd name="T40" fmla="*/ 14 w 72"/>
                <a:gd name="T41" fmla="*/ 19 h 72"/>
                <a:gd name="T42" fmla="*/ 10 w 72"/>
                <a:gd name="T43" fmla="*/ 17 h 72"/>
                <a:gd name="T44" fmla="*/ 3 w 72"/>
                <a:gd name="T45" fmla="*/ 20 h 72"/>
                <a:gd name="T46" fmla="*/ 1 w 72"/>
                <a:gd name="T47" fmla="*/ 26 h 72"/>
                <a:gd name="T48" fmla="*/ 4 w 72"/>
                <a:gd name="T49" fmla="*/ 32 h 72"/>
                <a:gd name="T50" fmla="*/ 8 w 72"/>
                <a:gd name="T51" fmla="*/ 34 h 72"/>
                <a:gd name="T52" fmla="*/ 8 w 72"/>
                <a:gd name="T53" fmla="*/ 40 h 72"/>
                <a:gd name="T54" fmla="*/ 4 w 72"/>
                <a:gd name="T55" fmla="*/ 41 h 72"/>
                <a:gd name="T56" fmla="*/ 2 w 72"/>
                <a:gd name="T57" fmla="*/ 48 h 72"/>
                <a:gd name="T58" fmla="*/ 4 w 72"/>
                <a:gd name="T59" fmla="*/ 53 h 72"/>
                <a:gd name="T60" fmla="*/ 11 w 72"/>
                <a:gd name="T61" fmla="*/ 56 h 72"/>
                <a:gd name="T62" fmla="*/ 15 w 72"/>
                <a:gd name="T63" fmla="*/ 54 h 72"/>
                <a:gd name="T64" fmla="*/ 19 w 72"/>
                <a:gd name="T65" fmla="*/ 58 h 72"/>
                <a:gd name="T66" fmla="*/ 17 w 72"/>
                <a:gd name="T67" fmla="*/ 62 h 72"/>
                <a:gd name="T68" fmla="*/ 20 w 72"/>
                <a:gd name="T69" fmla="*/ 69 h 72"/>
                <a:gd name="T70" fmla="*/ 26 w 72"/>
                <a:gd name="T71" fmla="*/ 71 h 72"/>
                <a:gd name="T72" fmla="*/ 32 w 72"/>
                <a:gd name="T73" fmla="*/ 68 h 72"/>
                <a:gd name="T74" fmla="*/ 34 w 72"/>
                <a:gd name="T75" fmla="*/ 64 h 72"/>
                <a:gd name="T76" fmla="*/ 40 w 72"/>
                <a:gd name="T77" fmla="*/ 64 h 72"/>
                <a:gd name="T78" fmla="*/ 41 w 72"/>
                <a:gd name="T79" fmla="*/ 68 h 72"/>
                <a:gd name="T80" fmla="*/ 48 w 72"/>
                <a:gd name="T81" fmla="*/ 70 h 72"/>
                <a:gd name="T82" fmla="*/ 53 w 72"/>
                <a:gd name="T83" fmla="*/ 68 h 72"/>
                <a:gd name="T84" fmla="*/ 56 w 72"/>
                <a:gd name="T85" fmla="*/ 61 h 72"/>
                <a:gd name="T86" fmla="*/ 54 w 72"/>
                <a:gd name="T87" fmla="*/ 57 h 72"/>
                <a:gd name="T88" fmla="*/ 58 w 72"/>
                <a:gd name="T89" fmla="*/ 53 h 72"/>
                <a:gd name="T90" fmla="*/ 62 w 72"/>
                <a:gd name="T91" fmla="*/ 55 h 72"/>
                <a:gd name="T92" fmla="*/ 69 w 72"/>
                <a:gd name="T93" fmla="*/ 52 h 72"/>
                <a:gd name="T94" fmla="*/ 71 w 72"/>
                <a:gd name="T95" fmla="*/ 47 h 72"/>
                <a:gd name="T96" fmla="*/ 68 w 72"/>
                <a:gd name="T97" fmla="*/ 40 h 72"/>
                <a:gd name="T98" fmla="*/ 41 w 72"/>
                <a:gd name="T99" fmla="*/ 49 h 72"/>
                <a:gd name="T100" fmla="*/ 23 w 72"/>
                <a:gd name="T101" fmla="*/ 42 h 72"/>
                <a:gd name="T102" fmla="*/ 30 w 72"/>
                <a:gd name="T103" fmla="*/ 24 h 72"/>
                <a:gd name="T104" fmla="*/ 48 w 72"/>
                <a:gd name="T105" fmla="*/ 31 h 72"/>
                <a:gd name="T106" fmla="*/ 41 w 72"/>
                <a:gd name="T107" fmla="*/ 4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" h="72">
                  <a:moveTo>
                    <a:pt x="68" y="40"/>
                  </a:moveTo>
                  <a:cubicBezTo>
                    <a:pt x="63" y="38"/>
                    <a:pt x="63" y="38"/>
                    <a:pt x="63" y="38"/>
                  </a:cubicBezTo>
                  <a:cubicBezTo>
                    <a:pt x="63" y="36"/>
                    <a:pt x="63" y="35"/>
                    <a:pt x="63" y="33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70" y="30"/>
                    <a:pt x="72" y="27"/>
                    <a:pt x="71" y="24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16"/>
                    <a:pt x="64" y="15"/>
                    <a:pt x="62" y="16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6" y="17"/>
                    <a:pt x="54" y="16"/>
                    <a:pt x="53" y="15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6" y="7"/>
                    <a:pt x="55" y="4"/>
                    <a:pt x="52" y="3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4" y="0"/>
                    <a:pt x="41" y="2"/>
                    <a:pt x="40" y="4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9"/>
                    <a:pt x="35" y="9"/>
                    <a:pt x="33" y="9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2"/>
                    <a:pt x="27" y="1"/>
                    <a:pt x="24" y="2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5"/>
                    <a:pt x="15" y="8"/>
                    <a:pt x="16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6"/>
                    <a:pt x="15" y="18"/>
                    <a:pt x="14" y="19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7" y="16"/>
                    <a:pt x="5" y="18"/>
                    <a:pt x="3" y="2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8"/>
                    <a:pt x="2" y="31"/>
                    <a:pt x="4" y="3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6"/>
                    <a:pt x="8" y="38"/>
                    <a:pt x="8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1" y="45"/>
                    <a:pt x="2" y="48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5" y="56"/>
                    <a:pt x="8" y="57"/>
                    <a:pt x="11" y="56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6"/>
                    <a:pt x="17" y="57"/>
                    <a:pt x="19" y="58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6" y="65"/>
                    <a:pt x="18" y="68"/>
                    <a:pt x="20" y="69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8" y="72"/>
                    <a:pt x="31" y="71"/>
                    <a:pt x="32" y="6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6" y="64"/>
                    <a:pt x="38" y="64"/>
                    <a:pt x="40" y="64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42" y="70"/>
                    <a:pt x="46" y="72"/>
                    <a:pt x="48" y="70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6" y="67"/>
                    <a:pt x="57" y="64"/>
                    <a:pt x="56" y="61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5" y="56"/>
                    <a:pt x="56" y="54"/>
                    <a:pt x="58" y="53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5" y="56"/>
                    <a:pt x="68" y="55"/>
                    <a:pt x="69" y="52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4"/>
                    <a:pt x="71" y="41"/>
                    <a:pt x="68" y="40"/>
                  </a:cubicBezTo>
                  <a:close/>
                  <a:moveTo>
                    <a:pt x="41" y="49"/>
                  </a:moveTo>
                  <a:cubicBezTo>
                    <a:pt x="34" y="52"/>
                    <a:pt x="26" y="49"/>
                    <a:pt x="23" y="42"/>
                  </a:cubicBezTo>
                  <a:cubicBezTo>
                    <a:pt x="20" y="35"/>
                    <a:pt x="23" y="27"/>
                    <a:pt x="30" y="24"/>
                  </a:cubicBezTo>
                  <a:cubicBezTo>
                    <a:pt x="37" y="21"/>
                    <a:pt x="45" y="24"/>
                    <a:pt x="48" y="31"/>
                  </a:cubicBezTo>
                  <a:cubicBezTo>
                    <a:pt x="51" y="38"/>
                    <a:pt x="48" y="46"/>
                    <a:pt x="41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35000" lnSpcReduction="20000"/>
            </a:bodyPr>
            <a:lstStyle/>
            <a:p>
              <a:pPr algn="ctr"/>
            </a:p>
          </p:txBody>
        </p:sp>
        <p:sp>
          <p:nvSpPr>
            <p:cNvPr id="207" name="îṣļîḑé"/>
            <p:cNvSpPr/>
            <p:nvPr>
              <p:custDataLst>
                <p:tags r:id="rId101"/>
              </p:custDataLst>
            </p:nvPr>
          </p:nvSpPr>
          <p:spPr bwMode="auto">
            <a:xfrm flipH="1">
              <a:off x="3921585" y="3620895"/>
              <a:ext cx="176331" cy="171321"/>
            </a:xfrm>
            <a:custGeom>
              <a:avLst/>
              <a:gdLst>
                <a:gd name="T0" fmla="*/ 77 w 81"/>
                <a:gd name="T1" fmla="*/ 45 h 81"/>
                <a:gd name="T2" fmla="*/ 71 w 81"/>
                <a:gd name="T3" fmla="*/ 43 h 81"/>
                <a:gd name="T4" fmla="*/ 71 w 81"/>
                <a:gd name="T5" fmla="*/ 37 h 81"/>
                <a:gd name="T6" fmla="*/ 76 w 81"/>
                <a:gd name="T7" fmla="*/ 35 h 81"/>
                <a:gd name="T8" fmla="*/ 79 w 81"/>
                <a:gd name="T9" fmla="*/ 27 h 81"/>
                <a:gd name="T10" fmla="*/ 77 w 81"/>
                <a:gd name="T11" fmla="*/ 21 h 81"/>
                <a:gd name="T12" fmla="*/ 69 w 81"/>
                <a:gd name="T13" fmla="*/ 18 h 81"/>
                <a:gd name="T14" fmla="*/ 64 w 81"/>
                <a:gd name="T15" fmla="*/ 21 h 81"/>
                <a:gd name="T16" fmla="*/ 60 w 81"/>
                <a:gd name="T17" fmla="*/ 17 h 81"/>
                <a:gd name="T18" fmla="*/ 62 w 81"/>
                <a:gd name="T19" fmla="*/ 11 h 81"/>
                <a:gd name="T20" fmla="*/ 59 w 81"/>
                <a:gd name="T21" fmla="*/ 4 h 81"/>
                <a:gd name="T22" fmla="*/ 53 w 81"/>
                <a:gd name="T23" fmla="*/ 1 h 81"/>
                <a:gd name="T24" fmla="*/ 45 w 81"/>
                <a:gd name="T25" fmla="*/ 4 h 81"/>
                <a:gd name="T26" fmla="*/ 43 w 81"/>
                <a:gd name="T27" fmla="*/ 10 h 81"/>
                <a:gd name="T28" fmla="*/ 37 w 81"/>
                <a:gd name="T29" fmla="*/ 10 h 81"/>
                <a:gd name="T30" fmla="*/ 35 w 81"/>
                <a:gd name="T31" fmla="*/ 5 h 81"/>
                <a:gd name="T32" fmla="*/ 27 w 81"/>
                <a:gd name="T33" fmla="*/ 2 h 81"/>
                <a:gd name="T34" fmla="*/ 21 w 81"/>
                <a:gd name="T35" fmla="*/ 4 h 81"/>
                <a:gd name="T36" fmla="*/ 18 w 81"/>
                <a:gd name="T37" fmla="*/ 12 h 81"/>
                <a:gd name="T38" fmla="*/ 20 w 81"/>
                <a:gd name="T39" fmla="*/ 17 h 81"/>
                <a:gd name="T40" fmla="*/ 16 w 81"/>
                <a:gd name="T41" fmla="*/ 21 h 81"/>
                <a:gd name="T42" fmla="*/ 11 w 81"/>
                <a:gd name="T43" fmla="*/ 19 h 81"/>
                <a:gd name="T44" fmla="*/ 4 w 81"/>
                <a:gd name="T45" fmla="*/ 22 h 81"/>
                <a:gd name="T46" fmla="*/ 1 w 81"/>
                <a:gd name="T47" fmla="*/ 28 h 81"/>
                <a:gd name="T48" fmla="*/ 5 w 81"/>
                <a:gd name="T49" fmla="*/ 36 h 81"/>
                <a:gd name="T50" fmla="*/ 9 w 81"/>
                <a:gd name="T51" fmla="*/ 38 h 81"/>
                <a:gd name="T52" fmla="*/ 9 w 81"/>
                <a:gd name="T53" fmla="*/ 44 h 81"/>
                <a:gd name="T54" fmla="*/ 5 w 81"/>
                <a:gd name="T55" fmla="*/ 46 h 81"/>
                <a:gd name="T56" fmla="*/ 2 w 81"/>
                <a:gd name="T57" fmla="*/ 54 h 81"/>
                <a:gd name="T58" fmla="*/ 4 w 81"/>
                <a:gd name="T59" fmla="*/ 60 h 81"/>
                <a:gd name="T60" fmla="*/ 12 w 81"/>
                <a:gd name="T61" fmla="*/ 63 h 81"/>
                <a:gd name="T62" fmla="*/ 16 w 81"/>
                <a:gd name="T63" fmla="*/ 61 h 81"/>
                <a:gd name="T64" fmla="*/ 21 w 81"/>
                <a:gd name="T65" fmla="*/ 65 h 81"/>
                <a:gd name="T66" fmla="*/ 19 w 81"/>
                <a:gd name="T67" fmla="*/ 70 h 81"/>
                <a:gd name="T68" fmla="*/ 23 w 81"/>
                <a:gd name="T69" fmla="*/ 77 h 81"/>
                <a:gd name="T70" fmla="*/ 29 w 81"/>
                <a:gd name="T71" fmla="*/ 80 h 81"/>
                <a:gd name="T72" fmla="*/ 36 w 81"/>
                <a:gd name="T73" fmla="*/ 76 h 81"/>
                <a:gd name="T74" fmla="*/ 38 w 81"/>
                <a:gd name="T75" fmla="*/ 72 h 81"/>
                <a:gd name="T76" fmla="*/ 44 w 81"/>
                <a:gd name="T77" fmla="*/ 71 h 81"/>
                <a:gd name="T78" fmla="*/ 46 w 81"/>
                <a:gd name="T79" fmla="*/ 76 h 81"/>
                <a:gd name="T80" fmla="*/ 54 w 81"/>
                <a:gd name="T81" fmla="*/ 79 h 81"/>
                <a:gd name="T82" fmla="*/ 60 w 81"/>
                <a:gd name="T83" fmla="*/ 77 h 81"/>
                <a:gd name="T84" fmla="*/ 63 w 81"/>
                <a:gd name="T85" fmla="*/ 69 h 81"/>
                <a:gd name="T86" fmla="*/ 61 w 81"/>
                <a:gd name="T87" fmla="*/ 64 h 81"/>
                <a:gd name="T88" fmla="*/ 65 w 81"/>
                <a:gd name="T89" fmla="*/ 59 h 81"/>
                <a:gd name="T90" fmla="*/ 70 w 81"/>
                <a:gd name="T91" fmla="*/ 62 h 81"/>
                <a:gd name="T92" fmla="*/ 77 w 81"/>
                <a:gd name="T93" fmla="*/ 58 h 81"/>
                <a:gd name="T94" fmla="*/ 80 w 81"/>
                <a:gd name="T95" fmla="*/ 52 h 81"/>
                <a:gd name="T96" fmla="*/ 77 w 81"/>
                <a:gd name="T97" fmla="*/ 45 h 81"/>
                <a:gd name="T98" fmla="*/ 46 w 81"/>
                <a:gd name="T99" fmla="*/ 55 h 81"/>
                <a:gd name="T100" fmla="*/ 26 w 81"/>
                <a:gd name="T101" fmla="*/ 47 h 81"/>
                <a:gd name="T102" fmla="*/ 34 w 81"/>
                <a:gd name="T103" fmla="*/ 26 h 81"/>
                <a:gd name="T104" fmla="*/ 54 w 81"/>
                <a:gd name="T105" fmla="*/ 34 h 81"/>
                <a:gd name="T106" fmla="*/ 46 w 81"/>
                <a:gd name="T107" fmla="*/ 5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" h="81">
                  <a:moveTo>
                    <a:pt x="77" y="45"/>
                  </a:moveTo>
                  <a:cubicBezTo>
                    <a:pt x="71" y="43"/>
                    <a:pt x="71" y="43"/>
                    <a:pt x="71" y="43"/>
                  </a:cubicBezTo>
                  <a:cubicBezTo>
                    <a:pt x="71" y="41"/>
                    <a:pt x="71" y="39"/>
                    <a:pt x="71" y="37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3"/>
                    <a:pt x="81" y="30"/>
                    <a:pt x="79" y="27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18"/>
                    <a:pt x="72" y="17"/>
                    <a:pt x="69" y="18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2" y="19"/>
                    <a:pt x="61" y="18"/>
                    <a:pt x="60" y="17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3" y="8"/>
                    <a:pt x="61" y="5"/>
                    <a:pt x="59" y="4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0" y="0"/>
                    <a:pt x="46" y="1"/>
                    <a:pt x="45" y="4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1" y="10"/>
                    <a:pt x="39" y="10"/>
                    <a:pt x="37" y="1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3" y="2"/>
                    <a:pt x="30" y="0"/>
                    <a:pt x="27" y="2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8" y="5"/>
                    <a:pt x="17" y="9"/>
                    <a:pt x="18" y="12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8"/>
                    <a:pt x="17" y="19"/>
                    <a:pt x="16" y="21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8"/>
                    <a:pt x="5" y="20"/>
                    <a:pt x="4" y="22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31"/>
                    <a:pt x="2" y="35"/>
                    <a:pt x="5" y="36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40"/>
                    <a:pt x="9" y="42"/>
                    <a:pt x="9" y="44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8"/>
                    <a:pt x="1" y="51"/>
                    <a:pt x="2" y="5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6" y="63"/>
                    <a:pt x="9" y="64"/>
                    <a:pt x="12" y="63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8" y="62"/>
                    <a:pt x="19" y="64"/>
                    <a:pt x="21" y="6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20" y="76"/>
                    <a:pt x="23" y="77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2" y="81"/>
                    <a:pt x="35" y="79"/>
                    <a:pt x="36" y="76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40" y="72"/>
                    <a:pt x="42" y="72"/>
                    <a:pt x="44" y="71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8" y="79"/>
                    <a:pt x="51" y="80"/>
                    <a:pt x="54" y="79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3" y="75"/>
                    <a:pt x="64" y="72"/>
                    <a:pt x="63" y="69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2" y="62"/>
                    <a:pt x="64" y="61"/>
                    <a:pt x="65" y="59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3"/>
                    <a:pt x="76" y="61"/>
                    <a:pt x="77" y="5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1" y="49"/>
                    <a:pt x="80" y="46"/>
                    <a:pt x="77" y="45"/>
                  </a:cubicBezTo>
                  <a:close/>
                  <a:moveTo>
                    <a:pt x="46" y="55"/>
                  </a:moveTo>
                  <a:cubicBezTo>
                    <a:pt x="38" y="58"/>
                    <a:pt x="29" y="55"/>
                    <a:pt x="26" y="47"/>
                  </a:cubicBezTo>
                  <a:cubicBezTo>
                    <a:pt x="22" y="39"/>
                    <a:pt x="26" y="30"/>
                    <a:pt x="34" y="26"/>
                  </a:cubicBezTo>
                  <a:cubicBezTo>
                    <a:pt x="42" y="23"/>
                    <a:pt x="51" y="27"/>
                    <a:pt x="54" y="34"/>
                  </a:cubicBezTo>
                  <a:cubicBezTo>
                    <a:pt x="58" y="42"/>
                    <a:pt x="54" y="51"/>
                    <a:pt x="46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5000" lnSpcReduction="20000"/>
            </a:bodyPr>
            <a:lstStyle/>
            <a:p>
              <a:pPr algn="ctr"/>
            </a:p>
          </p:txBody>
        </p:sp>
        <p:sp>
          <p:nvSpPr>
            <p:cNvPr id="208" name="i$ḻïdé"/>
            <p:cNvSpPr/>
            <p:nvPr>
              <p:custDataLst>
                <p:tags r:id="rId102"/>
              </p:custDataLst>
            </p:nvPr>
          </p:nvSpPr>
          <p:spPr bwMode="auto">
            <a:xfrm flipH="1">
              <a:off x="3340468" y="4155459"/>
              <a:ext cx="63213" cy="60721"/>
            </a:xfrm>
            <a:custGeom>
              <a:avLst/>
              <a:gdLst>
                <a:gd name="T0" fmla="*/ 41 w 57"/>
                <a:gd name="T1" fmla="*/ 56 h 56"/>
                <a:gd name="T2" fmla="*/ 57 w 57"/>
                <a:gd name="T3" fmla="*/ 39 h 56"/>
                <a:gd name="T4" fmla="*/ 57 w 57"/>
                <a:gd name="T5" fmla="*/ 15 h 56"/>
                <a:gd name="T6" fmla="*/ 41 w 57"/>
                <a:gd name="T7" fmla="*/ 0 h 56"/>
                <a:gd name="T8" fmla="*/ 18 w 57"/>
                <a:gd name="T9" fmla="*/ 0 h 56"/>
                <a:gd name="T10" fmla="*/ 0 w 57"/>
                <a:gd name="T11" fmla="*/ 17 h 56"/>
                <a:gd name="T12" fmla="*/ 0 w 57"/>
                <a:gd name="T13" fmla="*/ 41 h 56"/>
                <a:gd name="T14" fmla="*/ 18 w 57"/>
                <a:gd name="T15" fmla="*/ 56 h 56"/>
                <a:gd name="T16" fmla="*/ 41 w 57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6">
                  <a:moveTo>
                    <a:pt x="41" y="56"/>
                  </a:moveTo>
                  <a:lnTo>
                    <a:pt x="57" y="39"/>
                  </a:lnTo>
                  <a:lnTo>
                    <a:pt x="57" y="15"/>
                  </a:lnTo>
                  <a:lnTo>
                    <a:pt x="41" y="0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0" y="41"/>
                  </a:lnTo>
                  <a:lnTo>
                    <a:pt x="18" y="56"/>
                  </a:lnTo>
                  <a:lnTo>
                    <a:pt x="41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09" name="îsḷíḓe"/>
            <p:cNvSpPr/>
            <p:nvPr>
              <p:custDataLst>
                <p:tags r:id="rId103"/>
              </p:custDataLst>
            </p:nvPr>
          </p:nvSpPr>
          <p:spPr bwMode="auto">
            <a:xfrm flipH="1">
              <a:off x="3281691" y="4165218"/>
              <a:ext cx="178549" cy="185417"/>
            </a:xfrm>
            <a:custGeom>
              <a:avLst/>
              <a:gdLst>
                <a:gd name="T0" fmla="*/ 72 w 82"/>
                <a:gd name="T1" fmla="*/ 18 h 87"/>
                <a:gd name="T2" fmla="*/ 64 w 82"/>
                <a:gd name="T3" fmla="*/ 0 h 87"/>
                <a:gd name="T4" fmla="*/ 61 w 82"/>
                <a:gd name="T5" fmla="*/ 0 h 87"/>
                <a:gd name="T6" fmla="*/ 61 w 82"/>
                <a:gd name="T7" fmla="*/ 18 h 87"/>
                <a:gd name="T8" fmla="*/ 49 w 82"/>
                <a:gd name="T9" fmla="*/ 30 h 87"/>
                <a:gd name="T10" fmla="*/ 43 w 82"/>
                <a:gd name="T11" fmla="*/ 30 h 87"/>
                <a:gd name="T12" fmla="*/ 39 w 82"/>
                <a:gd name="T13" fmla="*/ 30 h 87"/>
                <a:gd name="T14" fmla="*/ 33 w 82"/>
                <a:gd name="T15" fmla="*/ 30 h 87"/>
                <a:gd name="T16" fmla="*/ 21 w 82"/>
                <a:gd name="T17" fmla="*/ 18 h 87"/>
                <a:gd name="T18" fmla="*/ 20 w 82"/>
                <a:gd name="T19" fmla="*/ 0 h 87"/>
                <a:gd name="T20" fmla="*/ 18 w 82"/>
                <a:gd name="T21" fmla="*/ 0 h 87"/>
                <a:gd name="T22" fmla="*/ 10 w 82"/>
                <a:gd name="T23" fmla="*/ 18 h 87"/>
                <a:gd name="T24" fmla="*/ 29 w 82"/>
                <a:gd name="T25" fmla="*/ 55 h 87"/>
                <a:gd name="T26" fmla="*/ 29 w 82"/>
                <a:gd name="T27" fmla="*/ 82 h 87"/>
                <a:gd name="T28" fmla="*/ 35 w 82"/>
                <a:gd name="T29" fmla="*/ 87 h 87"/>
                <a:gd name="T30" fmla="*/ 48 w 82"/>
                <a:gd name="T31" fmla="*/ 87 h 87"/>
                <a:gd name="T32" fmla="*/ 54 w 82"/>
                <a:gd name="T33" fmla="*/ 82 h 87"/>
                <a:gd name="T34" fmla="*/ 54 w 82"/>
                <a:gd name="T35" fmla="*/ 55 h 87"/>
                <a:gd name="T36" fmla="*/ 72 w 82"/>
                <a:gd name="T37" fmla="*/ 1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7">
                  <a:moveTo>
                    <a:pt x="72" y="18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0" y="44"/>
                    <a:pt x="29" y="55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5"/>
                    <a:pt x="32" y="87"/>
                    <a:pt x="35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51" y="87"/>
                    <a:pt x="54" y="85"/>
                    <a:pt x="54" y="82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82" y="43"/>
                    <a:pt x="72" y="18"/>
                    <a:pt x="7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2500" lnSpcReduction="20000"/>
            </a:bodyPr>
            <a:lstStyle/>
            <a:p>
              <a:pPr algn="ctr"/>
            </a:p>
          </p:txBody>
        </p:sp>
        <p:sp>
          <p:nvSpPr>
            <p:cNvPr id="210" name="îṣļídè"/>
            <p:cNvSpPr/>
            <p:nvPr>
              <p:custDataLst>
                <p:tags r:id="rId104"/>
              </p:custDataLst>
            </p:nvPr>
          </p:nvSpPr>
          <p:spPr bwMode="auto">
            <a:xfrm flipH="1">
              <a:off x="3414771" y="1383967"/>
              <a:ext cx="43251" cy="44457"/>
            </a:xfrm>
            <a:custGeom>
              <a:avLst/>
              <a:gdLst>
                <a:gd name="T0" fmla="*/ 0 w 39"/>
                <a:gd name="T1" fmla="*/ 29 h 41"/>
                <a:gd name="T2" fmla="*/ 12 w 39"/>
                <a:gd name="T3" fmla="*/ 41 h 41"/>
                <a:gd name="T4" fmla="*/ 28 w 39"/>
                <a:gd name="T5" fmla="*/ 41 h 41"/>
                <a:gd name="T6" fmla="*/ 39 w 39"/>
                <a:gd name="T7" fmla="*/ 29 h 41"/>
                <a:gd name="T8" fmla="*/ 39 w 39"/>
                <a:gd name="T9" fmla="*/ 12 h 41"/>
                <a:gd name="T10" fmla="*/ 28 w 39"/>
                <a:gd name="T11" fmla="*/ 0 h 41"/>
                <a:gd name="T12" fmla="*/ 12 w 39"/>
                <a:gd name="T13" fmla="*/ 0 h 41"/>
                <a:gd name="T14" fmla="*/ 0 w 39"/>
                <a:gd name="T15" fmla="*/ 12 h 41"/>
                <a:gd name="T16" fmla="*/ 0 w 39"/>
                <a:gd name="T17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0" y="29"/>
                  </a:moveTo>
                  <a:lnTo>
                    <a:pt x="12" y="41"/>
                  </a:lnTo>
                  <a:lnTo>
                    <a:pt x="28" y="41"/>
                  </a:lnTo>
                  <a:lnTo>
                    <a:pt x="39" y="29"/>
                  </a:lnTo>
                  <a:lnTo>
                    <a:pt x="39" y="12"/>
                  </a:lnTo>
                  <a:lnTo>
                    <a:pt x="28" y="0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1" name="iṥḷiḍe"/>
            <p:cNvSpPr/>
            <p:nvPr>
              <p:custDataLst>
                <p:tags r:id="rId105"/>
              </p:custDataLst>
            </p:nvPr>
          </p:nvSpPr>
          <p:spPr bwMode="auto">
            <a:xfrm flipH="1">
              <a:off x="3421425" y="1346016"/>
              <a:ext cx="134189" cy="120358"/>
            </a:xfrm>
            <a:custGeom>
              <a:avLst/>
              <a:gdLst>
                <a:gd name="T0" fmla="*/ 49 w 62"/>
                <a:gd name="T1" fmla="*/ 51 h 57"/>
                <a:gd name="T2" fmla="*/ 62 w 62"/>
                <a:gd name="T3" fmla="*/ 45 h 57"/>
                <a:gd name="T4" fmla="*/ 62 w 62"/>
                <a:gd name="T5" fmla="*/ 43 h 57"/>
                <a:gd name="T6" fmla="*/ 49 w 62"/>
                <a:gd name="T7" fmla="*/ 43 h 57"/>
                <a:gd name="T8" fmla="*/ 40 w 62"/>
                <a:gd name="T9" fmla="*/ 34 h 57"/>
                <a:gd name="T10" fmla="*/ 40 w 62"/>
                <a:gd name="T11" fmla="*/ 30 h 57"/>
                <a:gd name="T12" fmla="*/ 40 w 62"/>
                <a:gd name="T13" fmla="*/ 27 h 57"/>
                <a:gd name="T14" fmla="*/ 40 w 62"/>
                <a:gd name="T15" fmla="*/ 23 h 57"/>
                <a:gd name="T16" fmla="*/ 49 w 62"/>
                <a:gd name="T17" fmla="*/ 14 h 57"/>
                <a:gd name="T18" fmla="*/ 62 w 62"/>
                <a:gd name="T19" fmla="*/ 14 h 57"/>
                <a:gd name="T20" fmla="*/ 62 w 62"/>
                <a:gd name="T21" fmla="*/ 13 h 57"/>
                <a:gd name="T22" fmla="*/ 49 w 62"/>
                <a:gd name="T23" fmla="*/ 6 h 57"/>
                <a:gd name="T24" fmla="*/ 23 w 62"/>
                <a:gd name="T25" fmla="*/ 20 h 57"/>
                <a:gd name="T26" fmla="*/ 4 w 62"/>
                <a:gd name="T27" fmla="*/ 20 h 57"/>
                <a:gd name="T28" fmla="*/ 0 w 62"/>
                <a:gd name="T29" fmla="*/ 24 h 57"/>
                <a:gd name="T30" fmla="*/ 0 w 62"/>
                <a:gd name="T31" fmla="*/ 33 h 57"/>
                <a:gd name="T32" fmla="*/ 4 w 62"/>
                <a:gd name="T33" fmla="*/ 37 h 57"/>
                <a:gd name="T34" fmla="*/ 23 w 62"/>
                <a:gd name="T35" fmla="*/ 37 h 57"/>
                <a:gd name="T36" fmla="*/ 49 w 62"/>
                <a:gd name="T37" fmla="*/ 5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57">
                  <a:moveTo>
                    <a:pt x="49" y="51"/>
                  </a:moveTo>
                  <a:cubicBezTo>
                    <a:pt x="62" y="45"/>
                    <a:pt x="62" y="45"/>
                    <a:pt x="62" y="45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31" y="0"/>
                    <a:pt x="23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22"/>
                    <a:pt x="0" y="2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2" y="37"/>
                    <a:pt x="4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31" y="57"/>
                    <a:pt x="49" y="51"/>
                    <a:pt x="49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2" name="îŝlîḓê"/>
            <p:cNvSpPr/>
            <p:nvPr>
              <p:custDataLst>
                <p:tags r:id="rId106"/>
              </p:custDataLst>
            </p:nvPr>
          </p:nvSpPr>
          <p:spPr bwMode="auto">
            <a:xfrm flipH="1">
              <a:off x="3568922" y="2236233"/>
              <a:ext cx="62104" cy="59637"/>
            </a:xfrm>
            <a:custGeom>
              <a:avLst/>
              <a:gdLst>
                <a:gd name="T0" fmla="*/ 0 w 29"/>
                <a:gd name="T1" fmla="*/ 15 h 28"/>
                <a:gd name="T2" fmla="*/ 29 w 29"/>
                <a:gd name="T3" fmla="*/ 14 h 28"/>
                <a:gd name="T4" fmla="*/ 24 w 29"/>
                <a:gd name="T5" fmla="*/ 22 h 28"/>
                <a:gd name="T6" fmla="*/ 21 w 29"/>
                <a:gd name="T7" fmla="*/ 21 h 28"/>
                <a:gd name="T8" fmla="*/ 23 w 29"/>
                <a:gd name="T9" fmla="*/ 23 h 28"/>
                <a:gd name="T10" fmla="*/ 19 w 29"/>
                <a:gd name="T11" fmla="*/ 24 h 28"/>
                <a:gd name="T12" fmla="*/ 18 w 29"/>
                <a:gd name="T13" fmla="*/ 24 h 28"/>
                <a:gd name="T14" fmla="*/ 16 w 29"/>
                <a:gd name="T15" fmla="*/ 26 h 28"/>
                <a:gd name="T16" fmla="*/ 15 w 29"/>
                <a:gd name="T17" fmla="*/ 23 h 28"/>
                <a:gd name="T18" fmla="*/ 14 w 29"/>
                <a:gd name="T19" fmla="*/ 26 h 28"/>
                <a:gd name="T20" fmla="*/ 11 w 29"/>
                <a:gd name="T21" fmla="*/ 24 h 28"/>
                <a:gd name="T22" fmla="*/ 10 w 29"/>
                <a:gd name="T23" fmla="*/ 24 h 28"/>
                <a:gd name="T24" fmla="*/ 7 w 29"/>
                <a:gd name="T25" fmla="*/ 24 h 28"/>
                <a:gd name="T26" fmla="*/ 8 w 29"/>
                <a:gd name="T27" fmla="*/ 21 h 28"/>
                <a:gd name="T28" fmla="*/ 6 w 29"/>
                <a:gd name="T29" fmla="*/ 22 h 28"/>
                <a:gd name="T30" fmla="*/ 5 w 29"/>
                <a:gd name="T31" fmla="*/ 19 h 28"/>
                <a:gd name="T32" fmla="*/ 5 w 29"/>
                <a:gd name="T33" fmla="*/ 18 h 28"/>
                <a:gd name="T34" fmla="*/ 3 w 29"/>
                <a:gd name="T35" fmla="*/ 15 h 28"/>
                <a:gd name="T36" fmla="*/ 5 w 29"/>
                <a:gd name="T37" fmla="*/ 14 h 28"/>
                <a:gd name="T38" fmla="*/ 3 w 29"/>
                <a:gd name="T39" fmla="*/ 14 h 28"/>
                <a:gd name="T40" fmla="*/ 5 w 29"/>
                <a:gd name="T41" fmla="*/ 11 h 28"/>
                <a:gd name="T42" fmla="*/ 5 w 29"/>
                <a:gd name="T43" fmla="*/ 10 h 28"/>
                <a:gd name="T44" fmla="*/ 5 w 29"/>
                <a:gd name="T45" fmla="*/ 7 h 28"/>
                <a:gd name="T46" fmla="*/ 8 w 29"/>
                <a:gd name="T47" fmla="*/ 8 h 28"/>
                <a:gd name="T48" fmla="*/ 7 w 29"/>
                <a:gd name="T49" fmla="*/ 5 h 28"/>
                <a:gd name="T50" fmla="*/ 10 w 29"/>
                <a:gd name="T51" fmla="*/ 5 h 28"/>
                <a:gd name="T52" fmla="*/ 11 w 29"/>
                <a:gd name="T53" fmla="*/ 4 h 28"/>
                <a:gd name="T54" fmla="*/ 13 w 29"/>
                <a:gd name="T55" fmla="*/ 2 h 28"/>
                <a:gd name="T56" fmla="*/ 14 w 29"/>
                <a:gd name="T57" fmla="*/ 5 h 28"/>
                <a:gd name="T58" fmla="*/ 15 w 29"/>
                <a:gd name="T59" fmla="*/ 2 h 28"/>
                <a:gd name="T60" fmla="*/ 18 w 29"/>
                <a:gd name="T61" fmla="*/ 4 h 28"/>
                <a:gd name="T62" fmla="*/ 19 w 29"/>
                <a:gd name="T63" fmla="*/ 5 h 28"/>
                <a:gd name="T64" fmla="*/ 22 w 29"/>
                <a:gd name="T65" fmla="*/ 5 h 28"/>
                <a:gd name="T66" fmla="*/ 21 w 29"/>
                <a:gd name="T67" fmla="*/ 8 h 28"/>
                <a:gd name="T68" fmla="*/ 23 w 29"/>
                <a:gd name="T69" fmla="*/ 6 h 28"/>
                <a:gd name="T70" fmla="*/ 24 w 29"/>
                <a:gd name="T71" fmla="*/ 10 h 28"/>
                <a:gd name="T72" fmla="*/ 24 w 29"/>
                <a:gd name="T73" fmla="*/ 11 h 28"/>
                <a:gd name="T74" fmla="*/ 26 w 29"/>
                <a:gd name="T75" fmla="*/ 13 h 28"/>
                <a:gd name="T76" fmla="*/ 24 w 29"/>
                <a:gd name="T77" fmla="*/ 14 h 28"/>
                <a:gd name="T78" fmla="*/ 27 w 29"/>
                <a:gd name="T79" fmla="*/ 15 h 28"/>
                <a:gd name="T80" fmla="*/ 25 w 29"/>
                <a:gd name="T81" fmla="*/ 17 h 28"/>
                <a:gd name="T82" fmla="*/ 24 w 29"/>
                <a:gd name="T83" fmla="*/ 19 h 28"/>
                <a:gd name="T84" fmla="*/ 24 w 29"/>
                <a:gd name="T85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" h="28">
                  <a:moveTo>
                    <a:pt x="14" y="0"/>
                  </a:moveTo>
                  <a:cubicBezTo>
                    <a:pt x="6" y="0"/>
                    <a:pt x="0" y="7"/>
                    <a:pt x="0" y="15"/>
                  </a:cubicBezTo>
                  <a:cubicBezTo>
                    <a:pt x="1" y="22"/>
                    <a:pt x="7" y="28"/>
                    <a:pt x="15" y="28"/>
                  </a:cubicBezTo>
                  <a:cubicBezTo>
                    <a:pt x="23" y="28"/>
                    <a:pt x="29" y="22"/>
                    <a:pt x="29" y="14"/>
                  </a:cubicBezTo>
                  <a:cubicBezTo>
                    <a:pt x="28" y="6"/>
                    <a:pt x="22" y="0"/>
                    <a:pt x="14" y="0"/>
                  </a:cubicBezTo>
                  <a:close/>
                  <a:moveTo>
                    <a:pt x="24" y="22"/>
                  </a:moveTo>
                  <a:cubicBezTo>
                    <a:pt x="23" y="21"/>
                    <a:pt x="23" y="21"/>
                    <a:pt x="23" y="21"/>
                  </a:cubicBezTo>
                  <a:cubicBezTo>
                    <a:pt x="22" y="20"/>
                    <a:pt x="22" y="20"/>
                    <a:pt x="21" y="21"/>
                  </a:cubicBezTo>
                  <a:cubicBezTo>
                    <a:pt x="21" y="21"/>
                    <a:pt x="21" y="22"/>
                    <a:pt x="21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2" y="24"/>
                    <a:pt x="21" y="24"/>
                    <a:pt x="20" y="25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8" y="23"/>
                    <a:pt x="18" y="24"/>
                    <a:pt x="18" y="2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8" y="26"/>
                    <a:pt x="17" y="26"/>
                    <a:pt x="16" y="26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5" y="23"/>
                    <a:pt x="15" y="23"/>
                  </a:cubicBezTo>
                  <a:cubicBezTo>
                    <a:pt x="14" y="23"/>
                    <a:pt x="14" y="24"/>
                    <a:pt x="14" y="24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2" y="26"/>
                    <a:pt x="11" y="2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3"/>
                  </a:cubicBezTo>
                  <a:cubicBezTo>
                    <a:pt x="11" y="23"/>
                    <a:pt x="10" y="23"/>
                    <a:pt x="10" y="24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8" y="24"/>
                    <a:pt x="7" y="2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2"/>
                    <a:pt x="9" y="21"/>
                    <a:pt x="8" y="21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1"/>
                    <a:pt x="4" y="21"/>
                    <a:pt x="4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3" y="16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4"/>
                  </a:cubicBezTo>
                  <a:cubicBezTo>
                    <a:pt x="5" y="14"/>
                    <a:pt x="5" y="13"/>
                    <a:pt x="4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8" y="4"/>
                    <a:pt x="9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2" y="2"/>
                    <a:pt x="13" y="2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7" y="2"/>
                    <a:pt x="18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9" y="5"/>
                    <a:pt x="19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1" y="4"/>
                    <a:pt x="22" y="5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7"/>
                    <a:pt x="21" y="7"/>
                    <a:pt x="21" y="8"/>
                  </a:cubicBezTo>
                  <a:cubicBezTo>
                    <a:pt x="21" y="8"/>
                    <a:pt x="22" y="8"/>
                    <a:pt x="22" y="8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7"/>
                    <a:pt x="25" y="8"/>
                    <a:pt x="25" y="9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3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6"/>
                    <a:pt x="26" y="17"/>
                    <a:pt x="26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8"/>
                  </a:cubicBezTo>
                  <a:cubicBezTo>
                    <a:pt x="24" y="18"/>
                    <a:pt x="24" y="18"/>
                    <a:pt x="24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4" y="21"/>
                    <a:pt x="2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3" name="ï$ḻîḑe"/>
            <p:cNvSpPr/>
            <p:nvPr>
              <p:custDataLst>
                <p:tags r:id="rId107"/>
              </p:custDataLst>
            </p:nvPr>
          </p:nvSpPr>
          <p:spPr bwMode="auto">
            <a:xfrm flipH="1">
              <a:off x="3594429" y="2249245"/>
              <a:ext cx="11090" cy="20602"/>
            </a:xfrm>
            <a:custGeom>
              <a:avLst/>
              <a:gdLst>
                <a:gd name="T0" fmla="*/ 3 w 5"/>
                <a:gd name="T1" fmla="*/ 6 h 10"/>
                <a:gd name="T2" fmla="*/ 3 w 5"/>
                <a:gd name="T3" fmla="*/ 1 h 10"/>
                <a:gd name="T4" fmla="*/ 2 w 5"/>
                <a:gd name="T5" fmla="*/ 0 h 10"/>
                <a:gd name="T6" fmla="*/ 2 w 5"/>
                <a:gd name="T7" fmla="*/ 1 h 10"/>
                <a:gd name="T8" fmla="*/ 2 w 5"/>
                <a:gd name="T9" fmla="*/ 6 h 10"/>
                <a:gd name="T10" fmla="*/ 0 w 5"/>
                <a:gd name="T11" fmla="*/ 8 h 10"/>
                <a:gd name="T12" fmla="*/ 3 w 5"/>
                <a:gd name="T13" fmla="*/ 10 h 10"/>
                <a:gd name="T14" fmla="*/ 5 w 5"/>
                <a:gd name="T15" fmla="*/ 8 h 10"/>
                <a:gd name="T16" fmla="*/ 3 w 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0">
                  <a:moveTo>
                    <a:pt x="3" y="6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1" y="9"/>
                    <a:pt x="1" y="10"/>
                    <a:pt x="3" y="10"/>
                  </a:cubicBezTo>
                  <a:cubicBezTo>
                    <a:pt x="4" y="10"/>
                    <a:pt x="5" y="9"/>
                    <a:pt x="5" y="8"/>
                  </a:cubicBezTo>
                  <a:cubicBezTo>
                    <a:pt x="5" y="7"/>
                    <a:pt x="4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4" name="íṩḷîḋê"/>
            <p:cNvSpPr/>
            <p:nvPr>
              <p:custDataLst>
                <p:tags r:id="rId108"/>
              </p:custDataLst>
            </p:nvPr>
          </p:nvSpPr>
          <p:spPr bwMode="auto">
            <a:xfrm flipH="1">
              <a:off x="3596647" y="2272016"/>
              <a:ext cx="6654" cy="10843"/>
            </a:xfrm>
            <a:custGeom>
              <a:avLst/>
              <a:gdLst>
                <a:gd name="T0" fmla="*/ 0 w 3"/>
                <a:gd name="T1" fmla="*/ 0 h 5"/>
                <a:gd name="T2" fmla="*/ 1 w 3"/>
                <a:gd name="T3" fmla="*/ 4 h 5"/>
                <a:gd name="T4" fmla="*/ 2 w 3"/>
                <a:gd name="T5" fmla="*/ 5 h 5"/>
                <a:gd name="T6" fmla="*/ 3 w 3"/>
                <a:gd name="T7" fmla="*/ 4 h 5"/>
                <a:gd name="T8" fmla="*/ 3 w 3"/>
                <a:gd name="T9" fmla="*/ 0 h 5"/>
                <a:gd name="T10" fmla="*/ 2 w 3"/>
                <a:gd name="T11" fmla="*/ 0 h 5"/>
                <a:gd name="T12" fmla="*/ 0 w 3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5" name="ïSļïdè"/>
            <p:cNvSpPr/>
            <p:nvPr>
              <p:custDataLst>
                <p:tags r:id="rId109"/>
              </p:custDataLst>
            </p:nvPr>
          </p:nvSpPr>
          <p:spPr bwMode="auto">
            <a:xfrm flipH="1">
              <a:off x="3184099" y="1774318"/>
              <a:ext cx="63213" cy="61806"/>
            </a:xfrm>
            <a:custGeom>
              <a:avLst/>
              <a:gdLst>
                <a:gd name="T0" fmla="*/ 1 w 29"/>
                <a:gd name="T1" fmla="*/ 15 h 29"/>
                <a:gd name="T2" fmla="*/ 29 w 29"/>
                <a:gd name="T3" fmla="*/ 14 h 29"/>
                <a:gd name="T4" fmla="*/ 24 w 29"/>
                <a:gd name="T5" fmla="*/ 22 h 29"/>
                <a:gd name="T6" fmla="*/ 21 w 29"/>
                <a:gd name="T7" fmla="*/ 21 h 29"/>
                <a:gd name="T8" fmla="*/ 23 w 29"/>
                <a:gd name="T9" fmla="*/ 24 h 29"/>
                <a:gd name="T10" fmla="*/ 20 w 29"/>
                <a:gd name="T11" fmla="*/ 24 h 29"/>
                <a:gd name="T12" fmla="*/ 18 w 29"/>
                <a:gd name="T13" fmla="*/ 24 h 29"/>
                <a:gd name="T14" fmla="*/ 16 w 29"/>
                <a:gd name="T15" fmla="*/ 27 h 29"/>
                <a:gd name="T16" fmla="*/ 15 w 29"/>
                <a:gd name="T17" fmla="*/ 24 h 29"/>
                <a:gd name="T18" fmla="*/ 14 w 29"/>
                <a:gd name="T19" fmla="*/ 27 h 29"/>
                <a:gd name="T20" fmla="*/ 12 w 29"/>
                <a:gd name="T21" fmla="*/ 25 h 29"/>
                <a:gd name="T22" fmla="*/ 10 w 29"/>
                <a:gd name="T23" fmla="*/ 24 h 29"/>
                <a:gd name="T24" fmla="*/ 7 w 29"/>
                <a:gd name="T25" fmla="*/ 24 h 29"/>
                <a:gd name="T26" fmla="*/ 8 w 29"/>
                <a:gd name="T27" fmla="*/ 21 h 29"/>
                <a:gd name="T28" fmla="*/ 6 w 29"/>
                <a:gd name="T29" fmla="*/ 23 h 29"/>
                <a:gd name="T30" fmla="*/ 5 w 29"/>
                <a:gd name="T31" fmla="*/ 19 h 29"/>
                <a:gd name="T32" fmla="*/ 5 w 29"/>
                <a:gd name="T33" fmla="*/ 18 h 29"/>
                <a:gd name="T34" fmla="*/ 3 w 29"/>
                <a:gd name="T35" fmla="*/ 16 h 29"/>
                <a:gd name="T36" fmla="*/ 6 w 29"/>
                <a:gd name="T37" fmla="*/ 15 h 29"/>
                <a:gd name="T38" fmla="*/ 3 w 29"/>
                <a:gd name="T39" fmla="*/ 14 h 29"/>
                <a:gd name="T40" fmla="*/ 5 w 29"/>
                <a:gd name="T41" fmla="*/ 12 h 29"/>
                <a:gd name="T42" fmla="*/ 5 w 29"/>
                <a:gd name="T43" fmla="*/ 10 h 29"/>
                <a:gd name="T44" fmla="*/ 5 w 29"/>
                <a:gd name="T45" fmla="*/ 7 h 29"/>
                <a:gd name="T46" fmla="*/ 8 w 29"/>
                <a:gd name="T47" fmla="*/ 8 h 29"/>
                <a:gd name="T48" fmla="*/ 7 w 29"/>
                <a:gd name="T49" fmla="*/ 6 h 29"/>
                <a:gd name="T50" fmla="*/ 10 w 29"/>
                <a:gd name="T51" fmla="*/ 5 h 29"/>
                <a:gd name="T52" fmla="*/ 11 w 29"/>
                <a:gd name="T53" fmla="*/ 5 h 29"/>
                <a:gd name="T54" fmla="*/ 14 w 29"/>
                <a:gd name="T55" fmla="*/ 3 h 29"/>
                <a:gd name="T56" fmla="*/ 15 w 29"/>
                <a:gd name="T57" fmla="*/ 5 h 29"/>
                <a:gd name="T58" fmla="*/ 15 w 29"/>
                <a:gd name="T59" fmla="*/ 3 h 29"/>
                <a:gd name="T60" fmla="*/ 18 w 29"/>
                <a:gd name="T61" fmla="*/ 5 h 29"/>
                <a:gd name="T62" fmla="*/ 19 w 29"/>
                <a:gd name="T63" fmla="*/ 5 h 29"/>
                <a:gd name="T64" fmla="*/ 22 w 29"/>
                <a:gd name="T65" fmla="*/ 5 h 29"/>
                <a:gd name="T66" fmla="*/ 21 w 29"/>
                <a:gd name="T67" fmla="*/ 8 h 29"/>
                <a:gd name="T68" fmla="*/ 24 w 29"/>
                <a:gd name="T69" fmla="*/ 7 h 29"/>
                <a:gd name="T70" fmla="*/ 24 w 29"/>
                <a:gd name="T71" fmla="*/ 10 h 29"/>
                <a:gd name="T72" fmla="*/ 25 w 29"/>
                <a:gd name="T73" fmla="*/ 11 h 29"/>
                <a:gd name="T74" fmla="*/ 27 w 29"/>
                <a:gd name="T75" fmla="*/ 13 h 29"/>
                <a:gd name="T76" fmla="*/ 24 w 29"/>
                <a:gd name="T77" fmla="*/ 14 h 29"/>
                <a:gd name="T78" fmla="*/ 27 w 29"/>
                <a:gd name="T79" fmla="*/ 15 h 29"/>
                <a:gd name="T80" fmla="*/ 25 w 29"/>
                <a:gd name="T81" fmla="*/ 18 h 29"/>
                <a:gd name="T82" fmla="*/ 24 w 29"/>
                <a:gd name="T83" fmla="*/ 19 h 29"/>
                <a:gd name="T84" fmla="*/ 24 w 29"/>
                <a:gd name="T8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" h="29">
                  <a:moveTo>
                    <a:pt x="14" y="0"/>
                  </a:moveTo>
                  <a:cubicBezTo>
                    <a:pt x="7" y="1"/>
                    <a:pt x="0" y="7"/>
                    <a:pt x="1" y="15"/>
                  </a:cubicBezTo>
                  <a:cubicBezTo>
                    <a:pt x="1" y="23"/>
                    <a:pt x="7" y="29"/>
                    <a:pt x="15" y="29"/>
                  </a:cubicBezTo>
                  <a:cubicBezTo>
                    <a:pt x="23" y="29"/>
                    <a:pt x="29" y="22"/>
                    <a:pt x="29" y="14"/>
                  </a:cubicBezTo>
                  <a:cubicBezTo>
                    <a:pt x="29" y="6"/>
                    <a:pt x="22" y="0"/>
                    <a:pt x="14" y="0"/>
                  </a:cubicBezTo>
                  <a:close/>
                  <a:moveTo>
                    <a:pt x="24" y="22"/>
                  </a:moveTo>
                  <a:cubicBezTo>
                    <a:pt x="23" y="21"/>
                    <a:pt x="23" y="21"/>
                    <a:pt x="23" y="21"/>
                  </a:cubicBezTo>
                  <a:cubicBezTo>
                    <a:pt x="22" y="21"/>
                    <a:pt x="22" y="21"/>
                    <a:pt x="21" y="21"/>
                  </a:cubicBezTo>
                  <a:cubicBezTo>
                    <a:pt x="21" y="21"/>
                    <a:pt x="21" y="22"/>
                    <a:pt x="21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9" y="23"/>
                    <a:pt x="19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6"/>
                    <a:pt x="17" y="26"/>
                    <a:pt x="16" y="2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3" y="26"/>
                    <a:pt x="12" y="26"/>
                    <a:pt x="11" y="26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4"/>
                    <a:pt x="12" y="24"/>
                    <a:pt x="11" y="24"/>
                  </a:cubicBezTo>
                  <a:cubicBezTo>
                    <a:pt x="11" y="24"/>
                    <a:pt x="10" y="24"/>
                    <a:pt x="10" y="24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9" y="25"/>
                    <a:pt x="8" y="25"/>
                    <a:pt x="7" y="2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9" y="22"/>
                    <a:pt x="9" y="22"/>
                    <a:pt x="8" y="21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2"/>
                    <a:pt x="5" y="21"/>
                    <a:pt x="4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8"/>
                    <a:pt x="5" y="18"/>
                    <a:pt x="5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8"/>
                    <a:pt x="3" y="17"/>
                    <a:pt x="3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6" y="15"/>
                    <a:pt x="6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1"/>
                    <a:pt x="6" y="11"/>
                  </a:cubicBezTo>
                  <a:cubicBezTo>
                    <a:pt x="6" y="11"/>
                    <a:pt x="6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5" y="8"/>
                    <a:pt x="5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8" y="9"/>
                    <a:pt x="8" y="8"/>
                  </a:cubicBezTo>
                  <a:cubicBezTo>
                    <a:pt x="8" y="8"/>
                    <a:pt x="8" y="7"/>
                    <a:pt x="8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5"/>
                    <a:pt x="8" y="4"/>
                    <a:pt x="9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2" y="3"/>
                    <a:pt x="14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6"/>
                  </a:cubicBezTo>
                  <a:cubicBezTo>
                    <a:pt x="19" y="6"/>
                    <a:pt x="19" y="5"/>
                    <a:pt x="19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2" y="5"/>
                    <a:pt x="22" y="5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8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5" y="8"/>
                    <a:pt x="26" y="9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1"/>
                  </a:cubicBezTo>
                  <a:cubicBezTo>
                    <a:pt x="24" y="11"/>
                    <a:pt x="24" y="11"/>
                    <a:pt x="25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1"/>
                    <a:pt x="27" y="12"/>
                    <a:pt x="27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4" y="13"/>
                    <a:pt x="24" y="14"/>
                    <a:pt x="24" y="14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6"/>
                    <a:pt x="26" y="17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9"/>
                    <a:pt x="24" y="19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5" y="20"/>
                    <a:pt x="25" y="21"/>
                    <a:pt x="2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6" name="isļíḑe"/>
            <p:cNvSpPr/>
            <p:nvPr>
              <p:custDataLst>
                <p:tags r:id="rId110"/>
              </p:custDataLst>
            </p:nvPr>
          </p:nvSpPr>
          <p:spPr bwMode="auto">
            <a:xfrm flipH="1">
              <a:off x="3210715" y="1787330"/>
              <a:ext cx="8872" cy="22770"/>
            </a:xfrm>
            <a:custGeom>
              <a:avLst/>
              <a:gdLst>
                <a:gd name="T0" fmla="*/ 2 w 4"/>
                <a:gd name="T1" fmla="*/ 7 h 11"/>
                <a:gd name="T2" fmla="*/ 2 w 4"/>
                <a:gd name="T3" fmla="*/ 1 h 11"/>
                <a:gd name="T4" fmla="*/ 2 w 4"/>
                <a:gd name="T5" fmla="*/ 0 h 11"/>
                <a:gd name="T6" fmla="*/ 1 w 4"/>
                <a:gd name="T7" fmla="*/ 1 h 11"/>
                <a:gd name="T8" fmla="*/ 1 w 4"/>
                <a:gd name="T9" fmla="*/ 7 h 11"/>
                <a:gd name="T10" fmla="*/ 0 w 4"/>
                <a:gd name="T11" fmla="*/ 8 h 11"/>
                <a:gd name="T12" fmla="*/ 2 w 4"/>
                <a:gd name="T13" fmla="*/ 11 h 11"/>
                <a:gd name="T14" fmla="*/ 4 w 4"/>
                <a:gd name="T15" fmla="*/ 8 h 11"/>
                <a:gd name="T16" fmla="*/ 2 w 4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1">
                  <a:moveTo>
                    <a:pt x="2" y="7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0"/>
                    <a:pt x="4" y="10"/>
                    <a:pt x="4" y="8"/>
                  </a:cubicBezTo>
                  <a:cubicBezTo>
                    <a:pt x="4" y="8"/>
                    <a:pt x="3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7" name="ïSḻîḋè"/>
            <p:cNvSpPr/>
            <p:nvPr>
              <p:custDataLst>
                <p:tags r:id="rId111"/>
              </p:custDataLst>
            </p:nvPr>
          </p:nvSpPr>
          <p:spPr bwMode="auto">
            <a:xfrm flipH="1">
              <a:off x="3212933" y="1810100"/>
              <a:ext cx="4436" cy="10843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4 h 5"/>
                <a:gd name="T4" fmla="*/ 1 w 2"/>
                <a:gd name="T5" fmla="*/ 5 h 5"/>
                <a:gd name="T6" fmla="*/ 2 w 2"/>
                <a:gd name="T7" fmla="*/ 4 h 5"/>
                <a:gd name="T8" fmla="*/ 2 w 2"/>
                <a:gd name="T9" fmla="*/ 0 h 5"/>
                <a:gd name="T10" fmla="*/ 1 w 2"/>
                <a:gd name="T11" fmla="*/ 0 h 5"/>
                <a:gd name="T12" fmla="*/ 0 w 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18" name="íSľïḍè"/>
            <p:cNvSpPr/>
            <p:nvPr>
              <p:custDataLst>
                <p:tags r:id="rId112"/>
              </p:custDataLst>
            </p:nvPr>
          </p:nvSpPr>
          <p:spPr bwMode="auto">
            <a:xfrm flipH="1">
              <a:off x="3342686" y="1099878"/>
              <a:ext cx="251743" cy="246138"/>
            </a:xfrm>
            <a:custGeom>
              <a:avLst/>
              <a:gdLst>
                <a:gd name="T0" fmla="*/ 1 w 116"/>
                <a:gd name="T1" fmla="*/ 59 h 116"/>
                <a:gd name="T2" fmla="*/ 116 w 116"/>
                <a:gd name="T3" fmla="*/ 57 h 116"/>
                <a:gd name="T4" fmla="*/ 96 w 116"/>
                <a:gd name="T5" fmla="*/ 89 h 116"/>
                <a:gd name="T6" fmla="*/ 85 w 116"/>
                <a:gd name="T7" fmla="*/ 84 h 116"/>
                <a:gd name="T8" fmla="*/ 91 w 116"/>
                <a:gd name="T9" fmla="*/ 95 h 116"/>
                <a:gd name="T10" fmla="*/ 78 w 116"/>
                <a:gd name="T11" fmla="*/ 96 h 116"/>
                <a:gd name="T12" fmla="*/ 73 w 116"/>
                <a:gd name="T13" fmla="*/ 98 h 116"/>
                <a:gd name="T14" fmla="*/ 63 w 116"/>
                <a:gd name="T15" fmla="*/ 107 h 116"/>
                <a:gd name="T16" fmla="*/ 59 w 116"/>
                <a:gd name="T17" fmla="*/ 96 h 116"/>
                <a:gd name="T18" fmla="*/ 55 w 116"/>
                <a:gd name="T19" fmla="*/ 107 h 116"/>
                <a:gd name="T20" fmla="*/ 45 w 116"/>
                <a:gd name="T21" fmla="*/ 99 h 116"/>
                <a:gd name="T22" fmla="*/ 40 w 116"/>
                <a:gd name="T23" fmla="*/ 97 h 116"/>
                <a:gd name="T24" fmla="*/ 27 w 116"/>
                <a:gd name="T25" fmla="*/ 96 h 116"/>
                <a:gd name="T26" fmla="*/ 32 w 116"/>
                <a:gd name="T27" fmla="*/ 85 h 116"/>
                <a:gd name="T28" fmla="*/ 22 w 116"/>
                <a:gd name="T29" fmla="*/ 91 h 116"/>
                <a:gd name="T30" fmla="*/ 20 w 116"/>
                <a:gd name="T31" fmla="*/ 78 h 116"/>
                <a:gd name="T32" fmla="*/ 18 w 116"/>
                <a:gd name="T33" fmla="*/ 73 h 116"/>
                <a:gd name="T34" fmla="*/ 10 w 116"/>
                <a:gd name="T35" fmla="*/ 63 h 116"/>
                <a:gd name="T36" fmla="*/ 21 w 116"/>
                <a:gd name="T37" fmla="*/ 59 h 116"/>
                <a:gd name="T38" fmla="*/ 10 w 116"/>
                <a:gd name="T39" fmla="*/ 55 h 116"/>
                <a:gd name="T40" fmla="*/ 18 w 116"/>
                <a:gd name="T41" fmla="*/ 46 h 116"/>
                <a:gd name="T42" fmla="*/ 19 w 116"/>
                <a:gd name="T43" fmla="*/ 41 h 116"/>
                <a:gd name="T44" fmla="*/ 20 w 116"/>
                <a:gd name="T45" fmla="*/ 27 h 116"/>
                <a:gd name="T46" fmla="*/ 31 w 116"/>
                <a:gd name="T47" fmla="*/ 32 h 116"/>
                <a:gd name="T48" fmla="*/ 26 w 116"/>
                <a:gd name="T49" fmla="*/ 22 h 116"/>
                <a:gd name="T50" fmla="*/ 39 w 116"/>
                <a:gd name="T51" fmla="*/ 20 h 116"/>
                <a:gd name="T52" fmla="*/ 44 w 116"/>
                <a:gd name="T53" fmla="*/ 18 h 116"/>
                <a:gd name="T54" fmla="*/ 53 w 116"/>
                <a:gd name="T55" fmla="*/ 10 h 116"/>
                <a:gd name="T56" fmla="*/ 57 w 116"/>
                <a:gd name="T57" fmla="*/ 21 h 116"/>
                <a:gd name="T58" fmla="*/ 61 w 116"/>
                <a:gd name="T59" fmla="*/ 9 h 116"/>
                <a:gd name="T60" fmla="*/ 71 w 116"/>
                <a:gd name="T61" fmla="*/ 18 h 116"/>
                <a:gd name="T62" fmla="*/ 76 w 116"/>
                <a:gd name="T63" fmla="*/ 20 h 116"/>
                <a:gd name="T64" fmla="*/ 89 w 116"/>
                <a:gd name="T65" fmla="*/ 20 h 116"/>
                <a:gd name="T66" fmla="*/ 84 w 116"/>
                <a:gd name="T67" fmla="*/ 31 h 116"/>
                <a:gd name="T68" fmla="*/ 95 w 116"/>
                <a:gd name="T69" fmla="*/ 26 h 116"/>
                <a:gd name="T70" fmla="*/ 96 w 116"/>
                <a:gd name="T71" fmla="*/ 39 h 116"/>
                <a:gd name="T72" fmla="*/ 98 w 116"/>
                <a:gd name="T73" fmla="*/ 44 h 116"/>
                <a:gd name="T74" fmla="*/ 107 w 116"/>
                <a:gd name="T75" fmla="*/ 53 h 116"/>
                <a:gd name="T76" fmla="*/ 96 w 116"/>
                <a:gd name="T77" fmla="*/ 57 h 116"/>
                <a:gd name="T78" fmla="*/ 107 w 116"/>
                <a:gd name="T79" fmla="*/ 61 h 116"/>
                <a:gd name="T80" fmla="*/ 99 w 116"/>
                <a:gd name="T81" fmla="*/ 71 h 116"/>
                <a:gd name="T82" fmla="*/ 97 w 116"/>
                <a:gd name="T83" fmla="*/ 76 h 116"/>
                <a:gd name="T84" fmla="*/ 96 w 116"/>
                <a:gd name="T85" fmla="*/ 8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6">
                  <a:moveTo>
                    <a:pt x="57" y="1"/>
                  </a:moveTo>
                  <a:cubicBezTo>
                    <a:pt x="25" y="1"/>
                    <a:pt x="0" y="28"/>
                    <a:pt x="1" y="59"/>
                  </a:cubicBezTo>
                  <a:cubicBezTo>
                    <a:pt x="2" y="91"/>
                    <a:pt x="28" y="116"/>
                    <a:pt x="60" y="116"/>
                  </a:cubicBezTo>
                  <a:cubicBezTo>
                    <a:pt x="91" y="115"/>
                    <a:pt x="116" y="89"/>
                    <a:pt x="116" y="57"/>
                  </a:cubicBezTo>
                  <a:cubicBezTo>
                    <a:pt x="115" y="25"/>
                    <a:pt x="89" y="0"/>
                    <a:pt x="57" y="1"/>
                  </a:cubicBezTo>
                  <a:close/>
                  <a:moveTo>
                    <a:pt x="96" y="89"/>
                  </a:moveTo>
                  <a:cubicBezTo>
                    <a:pt x="91" y="84"/>
                    <a:pt x="91" y="84"/>
                    <a:pt x="91" y="84"/>
                  </a:cubicBezTo>
                  <a:cubicBezTo>
                    <a:pt x="89" y="83"/>
                    <a:pt x="87" y="83"/>
                    <a:pt x="85" y="84"/>
                  </a:cubicBezTo>
                  <a:cubicBezTo>
                    <a:pt x="84" y="86"/>
                    <a:pt x="84" y="88"/>
                    <a:pt x="86" y="90"/>
                  </a:cubicBezTo>
                  <a:cubicBezTo>
                    <a:pt x="91" y="95"/>
                    <a:pt x="91" y="95"/>
                    <a:pt x="91" y="95"/>
                  </a:cubicBezTo>
                  <a:cubicBezTo>
                    <a:pt x="88" y="97"/>
                    <a:pt x="84" y="100"/>
                    <a:pt x="80" y="102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7" y="95"/>
                    <a:pt x="76" y="94"/>
                    <a:pt x="74" y="95"/>
                  </a:cubicBezTo>
                  <a:cubicBezTo>
                    <a:pt x="73" y="96"/>
                    <a:pt x="72" y="97"/>
                    <a:pt x="73" y="98"/>
                  </a:cubicBezTo>
                  <a:cubicBezTo>
                    <a:pt x="75" y="104"/>
                    <a:pt x="75" y="104"/>
                    <a:pt x="75" y="104"/>
                  </a:cubicBezTo>
                  <a:cubicBezTo>
                    <a:pt x="72" y="105"/>
                    <a:pt x="67" y="106"/>
                    <a:pt x="63" y="107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97"/>
                    <a:pt x="61" y="96"/>
                    <a:pt x="59" y="96"/>
                  </a:cubicBezTo>
                  <a:cubicBezTo>
                    <a:pt x="57" y="96"/>
                    <a:pt x="55" y="98"/>
                    <a:pt x="55" y="100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1" y="107"/>
                    <a:pt x="47" y="106"/>
                    <a:pt x="43" y="105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46" y="98"/>
                    <a:pt x="45" y="96"/>
                    <a:pt x="44" y="96"/>
                  </a:cubicBezTo>
                  <a:cubicBezTo>
                    <a:pt x="42" y="95"/>
                    <a:pt x="41" y="96"/>
                    <a:pt x="40" y="97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34" y="101"/>
                    <a:pt x="31" y="99"/>
                    <a:pt x="27" y="96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4" y="89"/>
                    <a:pt x="34" y="87"/>
                    <a:pt x="32" y="85"/>
                  </a:cubicBezTo>
                  <a:cubicBezTo>
                    <a:pt x="31" y="84"/>
                    <a:pt x="28" y="84"/>
                    <a:pt x="27" y="85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19" y="87"/>
                    <a:pt x="17" y="84"/>
                    <a:pt x="15" y="80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2" y="77"/>
                    <a:pt x="22" y="76"/>
                    <a:pt x="22" y="74"/>
                  </a:cubicBezTo>
                  <a:cubicBezTo>
                    <a:pt x="21" y="73"/>
                    <a:pt x="19" y="72"/>
                    <a:pt x="18" y="73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1" y="71"/>
                    <a:pt x="10" y="67"/>
                    <a:pt x="10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9" y="63"/>
                    <a:pt x="21" y="61"/>
                    <a:pt x="21" y="59"/>
                  </a:cubicBezTo>
                  <a:cubicBezTo>
                    <a:pt x="21" y="57"/>
                    <a:pt x="19" y="55"/>
                    <a:pt x="17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1"/>
                    <a:pt x="11" y="47"/>
                    <a:pt x="12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9" y="46"/>
                    <a:pt x="20" y="46"/>
                    <a:pt x="21" y="44"/>
                  </a:cubicBezTo>
                  <a:cubicBezTo>
                    <a:pt x="21" y="43"/>
                    <a:pt x="21" y="41"/>
                    <a:pt x="19" y="41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5" y="34"/>
                    <a:pt x="18" y="31"/>
                    <a:pt x="20" y="27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7" y="34"/>
                    <a:pt x="30" y="34"/>
                    <a:pt x="31" y="32"/>
                  </a:cubicBezTo>
                  <a:cubicBezTo>
                    <a:pt x="33" y="31"/>
                    <a:pt x="33" y="28"/>
                    <a:pt x="31" y="27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9" y="19"/>
                    <a:pt x="32" y="17"/>
                    <a:pt x="36" y="15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2"/>
                    <a:pt x="41" y="22"/>
                    <a:pt x="42" y="22"/>
                  </a:cubicBezTo>
                  <a:cubicBezTo>
                    <a:pt x="43" y="21"/>
                    <a:pt x="44" y="20"/>
                    <a:pt x="44" y="18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5" y="11"/>
                    <a:pt x="49" y="10"/>
                    <a:pt x="53" y="10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9"/>
                    <a:pt x="55" y="21"/>
                    <a:pt x="57" y="21"/>
                  </a:cubicBezTo>
                  <a:cubicBezTo>
                    <a:pt x="60" y="21"/>
                    <a:pt x="61" y="19"/>
                    <a:pt x="61" y="17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10"/>
                    <a:pt x="70" y="10"/>
                    <a:pt x="74" y="12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9"/>
                    <a:pt x="71" y="21"/>
                    <a:pt x="73" y="21"/>
                  </a:cubicBezTo>
                  <a:cubicBezTo>
                    <a:pt x="74" y="22"/>
                    <a:pt x="76" y="21"/>
                    <a:pt x="76" y="2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15"/>
                    <a:pt x="86" y="18"/>
                    <a:pt x="89" y="20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3" y="27"/>
                    <a:pt x="83" y="30"/>
                    <a:pt x="84" y="31"/>
                  </a:cubicBezTo>
                  <a:cubicBezTo>
                    <a:pt x="86" y="32"/>
                    <a:pt x="88" y="32"/>
                    <a:pt x="90" y="31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8" y="29"/>
                    <a:pt x="100" y="33"/>
                    <a:pt x="102" y="37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5" y="40"/>
                    <a:pt x="94" y="41"/>
                    <a:pt x="95" y="43"/>
                  </a:cubicBezTo>
                  <a:cubicBezTo>
                    <a:pt x="96" y="44"/>
                    <a:pt x="97" y="45"/>
                    <a:pt x="98" y="44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6" y="45"/>
                    <a:pt x="106" y="49"/>
                    <a:pt x="107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98" y="53"/>
                    <a:pt x="96" y="55"/>
                    <a:pt x="96" y="57"/>
                  </a:cubicBezTo>
                  <a:cubicBezTo>
                    <a:pt x="96" y="60"/>
                    <a:pt x="98" y="61"/>
                    <a:pt x="100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5"/>
                    <a:pt x="106" y="69"/>
                    <a:pt x="105" y="73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8" y="71"/>
                    <a:pt x="96" y="71"/>
                    <a:pt x="96" y="73"/>
                  </a:cubicBezTo>
                  <a:cubicBezTo>
                    <a:pt x="95" y="74"/>
                    <a:pt x="96" y="76"/>
                    <a:pt x="97" y="76"/>
                  </a:cubicBezTo>
                  <a:cubicBezTo>
                    <a:pt x="103" y="78"/>
                    <a:pt x="103" y="78"/>
                    <a:pt x="103" y="78"/>
                  </a:cubicBezTo>
                  <a:cubicBezTo>
                    <a:pt x="101" y="82"/>
                    <a:pt x="99" y="86"/>
                    <a:pt x="96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82500" lnSpcReduction="20000"/>
            </a:bodyPr>
            <a:lstStyle/>
            <a:p>
              <a:pPr algn="ctr"/>
            </a:p>
          </p:txBody>
        </p:sp>
        <p:sp>
          <p:nvSpPr>
            <p:cNvPr id="219" name="iş1ídé"/>
            <p:cNvSpPr/>
            <p:nvPr>
              <p:custDataLst>
                <p:tags r:id="rId113"/>
              </p:custDataLst>
            </p:nvPr>
          </p:nvSpPr>
          <p:spPr bwMode="auto">
            <a:xfrm flipH="1">
              <a:off x="3449150" y="1150841"/>
              <a:ext cx="36597" cy="88913"/>
            </a:xfrm>
            <a:custGeom>
              <a:avLst/>
              <a:gdLst>
                <a:gd name="T0" fmla="*/ 11 w 17"/>
                <a:gd name="T1" fmla="*/ 26 h 42"/>
                <a:gd name="T2" fmla="*/ 10 w 17"/>
                <a:gd name="T3" fmla="*/ 3 h 42"/>
                <a:gd name="T4" fmla="*/ 8 w 17"/>
                <a:gd name="T5" fmla="*/ 0 h 42"/>
                <a:gd name="T6" fmla="*/ 5 w 17"/>
                <a:gd name="T7" fmla="*/ 3 h 42"/>
                <a:gd name="T8" fmla="*/ 5 w 17"/>
                <a:gd name="T9" fmla="*/ 26 h 42"/>
                <a:gd name="T10" fmla="*/ 0 w 17"/>
                <a:gd name="T11" fmla="*/ 34 h 42"/>
                <a:gd name="T12" fmla="*/ 8 w 17"/>
                <a:gd name="T13" fmla="*/ 42 h 42"/>
                <a:gd name="T14" fmla="*/ 17 w 17"/>
                <a:gd name="T15" fmla="*/ 33 h 42"/>
                <a:gd name="T16" fmla="*/ 11 w 17"/>
                <a:gd name="T1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11" y="26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5" y="1"/>
                    <a:pt x="5" y="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2" y="27"/>
                    <a:pt x="0" y="30"/>
                    <a:pt x="0" y="34"/>
                  </a:cubicBezTo>
                  <a:cubicBezTo>
                    <a:pt x="0" y="38"/>
                    <a:pt x="4" y="42"/>
                    <a:pt x="8" y="42"/>
                  </a:cubicBezTo>
                  <a:cubicBezTo>
                    <a:pt x="13" y="42"/>
                    <a:pt x="17" y="38"/>
                    <a:pt x="17" y="33"/>
                  </a:cubicBezTo>
                  <a:cubicBezTo>
                    <a:pt x="17" y="30"/>
                    <a:pt x="14" y="27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0" name="îṡlïdè"/>
            <p:cNvSpPr/>
            <p:nvPr>
              <p:custDataLst>
                <p:tags r:id="rId114"/>
              </p:custDataLst>
            </p:nvPr>
          </p:nvSpPr>
          <p:spPr bwMode="auto">
            <a:xfrm flipH="1">
              <a:off x="3455804" y="1244091"/>
              <a:ext cx="21071" cy="46625"/>
            </a:xfrm>
            <a:custGeom>
              <a:avLst/>
              <a:gdLst>
                <a:gd name="T0" fmla="*/ 0 w 10"/>
                <a:gd name="T1" fmla="*/ 1 h 22"/>
                <a:gd name="T2" fmla="*/ 0 w 10"/>
                <a:gd name="T3" fmla="*/ 17 h 22"/>
                <a:gd name="T4" fmla="*/ 5 w 10"/>
                <a:gd name="T5" fmla="*/ 22 h 22"/>
                <a:gd name="T6" fmla="*/ 9 w 10"/>
                <a:gd name="T7" fmla="*/ 17 h 22"/>
                <a:gd name="T8" fmla="*/ 9 w 10"/>
                <a:gd name="T9" fmla="*/ 0 h 22"/>
                <a:gd name="T10" fmla="*/ 5 w 10"/>
                <a:gd name="T11" fmla="*/ 1 h 22"/>
                <a:gd name="T12" fmla="*/ 0 w 10"/>
                <a:gd name="T1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2">
                  <a:moveTo>
                    <a:pt x="0" y="1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20"/>
                    <a:pt x="2" y="22"/>
                    <a:pt x="5" y="22"/>
                  </a:cubicBezTo>
                  <a:cubicBezTo>
                    <a:pt x="8" y="22"/>
                    <a:pt x="10" y="20"/>
                    <a:pt x="9" y="17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6" y="1"/>
                    <a:pt x="5" y="1"/>
                  </a:cubicBezTo>
                  <a:cubicBezTo>
                    <a:pt x="3" y="1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1" name="îšḷîḍé"/>
            <p:cNvSpPr/>
            <p:nvPr>
              <p:custDataLst>
                <p:tags r:id="rId115"/>
              </p:custDataLst>
            </p:nvPr>
          </p:nvSpPr>
          <p:spPr bwMode="auto">
            <a:xfrm flipH="1">
              <a:off x="2897976" y="2509479"/>
              <a:ext cx="115336" cy="227705"/>
            </a:xfrm>
            <a:custGeom>
              <a:avLst/>
              <a:gdLst>
                <a:gd name="T0" fmla="*/ 37 w 53"/>
                <a:gd name="T1" fmla="*/ 48 h 107"/>
                <a:gd name="T2" fmla="*/ 37 w 53"/>
                <a:gd name="T3" fmla="*/ 26 h 107"/>
                <a:gd name="T4" fmla="*/ 38 w 53"/>
                <a:gd name="T5" fmla="*/ 26 h 107"/>
                <a:gd name="T6" fmla="*/ 45 w 53"/>
                <a:gd name="T7" fmla="*/ 27 h 107"/>
                <a:gd name="T8" fmla="*/ 46 w 53"/>
                <a:gd name="T9" fmla="*/ 26 h 107"/>
                <a:gd name="T10" fmla="*/ 48 w 53"/>
                <a:gd name="T11" fmla="*/ 22 h 107"/>
                <a:gd name="T12" fmla="*/ 48 w 53"/>
                <a:gd name="T13" fmla="*/ 18 h 107"/>
                <a:gd name="T14" fmla="*/ 47 w 53"/>
                <a:gd name="T15" fmla="*/ 15 h 107"/>
                <a:gd name="T16" fmla="*/ 45 w 53"/>
                <a:gd name="T17" fmla="*/ 14 h 107"/>
                <a:gd name="T18" fmla="*/ 42 w 53"/>
                <a:gd name="T19" fmla="*/ 14 h 107"/>
                <a:gd name="T20" fmla="*/ 37 w 53"/>
                <a:gd name="T21" fmla="*/ 13 h 107"/>
                <a:gd name="T22" fmla="*/ 36 w 53"/>
                <a:gd name="T23" fmla="*/ 3 h 107"/>
                <a:gd name="T24" fmla="*/ 33 w 53"/>
                <a:gd name="T25" fmla="*/ 0 h 107"/>
                <a:gd name="T26" fmla="*/ 29 w 53"/>
                <a:gd name="T27" fmla="*/ 4 h 107"/>
                <a:gd name="T28" fmla="*/ 30 w 53"/>
                <a:gd name="T29" fmla="*/ 13 h 107"/>
                <a:gd name="T30" fmla="*/ 29 w 53"/>
                <a:gd name="T31" fmla="*/ 13 h 107"/>
                <a:gd name="T32" fmla="*/ 23 w 53"/>
                <a:gd name="T33" fmla="*/ 14 h 107"/>
                <a:gd name="T34" fmla="*/ 22 w 53"/>
                <a:gd name="T35" fmla="*/ 4 h 107"/>
                <a:gd name="T36" fmla="*/ 19 w 53"/>
                <a:gd name="T37" fmla="*/ 0 h 107"/>
                <a:gd name="T38" fmla="*/ 16 w 53"/>
                <a:gd name="T39" fmla="*/ 4 h 107"/>
                <a:gd name="T40" fmla="*/ 16 w 53"/>
                <a:gd name="T41" fmla="*/ 15 h 107"/>
                <a:gd name="T42" fmla="*/ 8 w 53"/>
                <a:gd name="T43" fmla="*/ 20 h 107"/>
                <a:gd name="T44" fmla="*/ 3 w 53"/>
                <a:gd name="T45" fmla="*/ 26 h 107"/>
                <a:gd name="T46" fmla="*/ 2 w 53"/>
                <a:gd name="T47" fmla="*/ 34 h 107"/>
                <a:gd name="T48" fmla="*/ 4 w 53"/>
                <a:gd name="T49" fmla="*/ 43 h 107"/>
                <a:gd name="T50" fmla="*/ 8 w 53"/>
                <a:gd name="T51" fmla="*/ 49 h 107"/>
                <a:gd name="T52" fmla="*/ 15 w 53"/>
                <a:gd name="T53" fmla="*/ 54 h 107"/>
                <a:gd name="T54" fmla="*/ 17 w 53"/>
                <a:gd name="T55" fmla="*/ 55 h 107"/>
                <a:gd name="T56" fmla="*/ 17 w 53"/>
                <a:gd name="T57" fmla="*/ 79 h 107"/>
                <a:gd name="T58" fmla="*/ 11 w 53"/>
                <a:gd name="T59" fmla="*/ 78 h 107"/>
                <a:gd name="T60" fmla="*/ 3 w 53"/>
                <a:gd name="T61" fmla="*/ 76 h 107"/>
                <a:gd name="T62" fmla="*/ 2 w 53"/>
                <a:gd name="T63" fmla="*/ 77 h 107"/>
                <a:gd name="T64" fmla="*/ 1 w 53"/>
                <a:gd name="T65" fmla="*/ 81 h 107"/>
                <a:gd name="T66" fmla="*/ 0 w 53"/>
                <a:gd name="T67" fmla="*/ 85 h 107"/>
                <a:gd name="T68" fmla="*/ 1 w 53"/>
                <a:gd name="T69" fmla="*/ 88 h 107"/>
                <a:gd name="T70" fmla="*/ 9 w 53"/>
                <a:gd name="T71" fmla="*/ 91 h 107"/>
                <a:gd name="T72" fmla="*/ 17 w 53"/>
                <a:gd name="T73" fmla="*/ 92 h 107"/>
                <a:gd name="T74" fmla="*/ 18 w 53"/>
                <a:gd name="T75" fmla="*/ 104 h 107"/>
                <a:gd name="T76" fmla="*/ 21 w 53"/>
                <a:gd name="T77" fmla="*/ 107 h 107"/>
                <a:gd name="T78" fmla="*/ 25 w 53"/>
                <a:gd name="T79" fmla="*/ 104 h 107"/>
                <a:gd name="T80" fmla="*/ 24 w 53"/>
                <a:gd name="T81" fmla="*/ 92 h 107"/>
                <a:gd name="T82" fmla="*/ 31 w 53"/>
                <a:gd name="T83" fmla="*/ 91 h 107"/>
                <a:gd name="T84" fmla="*/ 32 w 53"/>
                <a:gd name="T85" fmla="*/ 103 h 107"/>
                <a:gd name="T86" fmla="*/ 35 w 53"/>
                <a:gd name="T87" fmla="*/ 107 h 107"/>
                <a:gd name="T88" fmla="*/ 38 w 53"/>
                <a:gd name="T89" fmla="*/ 103 h 107"/>
                <a:gd name="T90" fmla="*/ 38 w 53"/>
                <a:gd name="T91" fmla="*/ 89 h 107"/>
                <a:gd name="T92" fmla="*/ 44 w 53"/>
                <a:gd name="T93" fmla="*/ 87 h 107"/>
                <a:gd name="T94" fmla="*/ 50 w 53"/>
                <a:gd name="T95" fmla="*/ 80 h 107"/>
                <a:gd name="T96" fmla="*/ 53 w 53"/>
                <a:gd name="T97" fmla="*/ 69 h 107"/>
                <a:gd name="T98" fmla="*/ 47 w 53"/>
                <a:gd name="T99" fmla="*/ 55 h 107"/>
                <a:gd name="T100" fmla="*/ 37 w 53"/>
                <a:gd name="T101" fmla="*/ 48 h 107"/>
                <a:gd name="T102" fmla="*/ 31 w 53"/>
                <a:gd name="T103" fmla="*/ 77 h 107"/>
                <a:gd name="T104" fmla="*/ 24 w 53"/>
                <a:gd name="T105" fmla="*/ 79 h 107"/>
                <a:gd name="T106" fmla="*/ 24 w 53"/>
                <a:gd name="T107" fmla="*/ 57 h 107"/>
                <a:gd name="T108" fmla="*/ 31 w 53"/>
                <a:gd name="T109" fmla="*/ 60 h 107"/>
                <a:gd name="T110" fmla="*/ 31 w 53"/>
                <a:gd name="T111" fmla="*/ 77 h 107"/>
                <a:gd name="T112" fmla="*/ 30 w 53"/>
                <a:gd name="T113" fmla="*/ 45 h 107"/>
                <a:gd name="T114" fmla="*/ 23 w 53"/>
                <a:gd name="T115" fmla="*/ 42 h 107"/>
                <a:gd name="T116" fmla="*/ 23 w 53"/>
                <a:gd name="T117" fmla="*/ 26 h 107"/>
                <a:gd name="T118" fmla="*/ 30 w 53"/>
                <a:gd name="T119" fmla="*/ 25 h 107"/>
                <a:gd name="T120" fmla="*/ 30 w 53"/>
                <a:gd name="T121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107">
                  <a:moveTo>
                    <a:pt x="37" y="48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ubicBezTo>
                    <a:pt x="41" y="26"/>
                    <a:pt x="43" y="27"/>
                    <a:pt x="45" y="27"/>
                  </a:cubicBezTo>
                  <a:cubicBezTo>
                    <a:pt x="45" y="28"/>
                    <a:pt x="46" y="27"/>
                    <a:pt x="46" y="26"/>
                  </a:cubicBezTo>
                  <a:cubicBezTo>
                    <a:pt x="47" y="25"/>
                    <a:pt x="48" y="23"/>
                    <a:pt x="48" y="22"/>
                  </a:cubicBezTo>
                  <a:cubicBezTo>
                    <a:pt x="48" y="20"/>
                    <a:pt x="48" y="19"/>
                    <a:pt x="48" y="18"/>
                  </a:cubicBezTo>
                  <a:cubicBezTo>
                    <a:pt x="48" y="16"/>
                    <a:pt x="48" y="15"/>
                    <a:pt x="47" y="15"/>
                  </a:cubicBezTo>
                  <a:cubicBezTo>
                    <a:pt x="47" y="15"/>
                    <a:pt x="46" y="15"/>
                    <a:pt x="45" y="14"/>
                  </a:cubicBezTo>
                  <a:cubicBezTo>
                    <a:pt x="44" y="14"/>
                    <a:pt x="43" y="14"/>
                    <a:pt x="42" y="14"/>
                  </a:cubicBezTo>
                  <a:cubicBezTo>
                    <a:pt x="40" y="14"/>
                    <a:pt x="39" y="13"/>
                    <a:pt x="37" y="1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0"/>
                    <a:pt x="33" y="0"/>
                  </a:cubicBezTo>
                  <a:cubicBezTo>
                    <a:pt x="31" y="0"/>
                    <a:pt x="29" y="2"/>
                    <a:pt x="29" y="4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3"/>
                    <a:pt x="25" y="14"/>
                    <a:pt x="23" y="1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2"/>
                    <a:pt x="21" y="0"/>
                    <a:pt x="19" y="0"/>
                  </a:cubicBezTo>
                  <a:cubicBezTo>
                    <a:pt x="17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3" y="17"/>
                    <a:pt x="10" y="18"/>
                    <a:pt x="8" y="20"/>
                  </a:cubicBezTo>
                  <a:cubicBezTo>
                    <a:pt x="6" y="22"/>
                    <a:pt x="4" y="24"/>
                    <a:pt x="3" y="26"/>
                  </a:cubicBezTo>
                  <a:cubicBezTo>
                    <a:pt x="2" y="29"/>
                    <a:pt x="2" y="31"/>
                    <a:pt x="2" y="34"/>
                  </a:cubicBezTo>
                  <a:cubicBezTo>
                    <a:pt x="2" y="38"/>
                    <a:pt x="2" y="40"/>
                    <a:pt x="4" y="43"/>
                  </a:cubicBezTo>
                  <a:cubicBezTo>
                    <a:pt x="5" y="45"/>
                    <a:pt x="6" y="48"/>
                    <a:pt x="8" y="49"/>
                  </a:cubicBezTo>
                  <a:cubicBezTo>
                    <a:pt x="10" y="51"/>
                    <a:pt x="13" y="53"/>
                    <a:pt x="15" y="54"/>
                  </a:cubicBezTo>
                  <a:cubicBezTo>
                    <a:pt x="16" y="54"/>
                    <a:pt x="16" y="54"/>
                    <a:pt x="17" y="55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5" y="79"/>
                    <a:pt x="13" y="78"/>
                    <a:pt x="11" y="78"/>
                  </a:cubicBezTo>
                  <a:cubicBezTo>
                    <a:pt x="8" y="77"/>
                    <a:pt x="6" y="77"/>
                    <a:pt x="3" y="76"/>
                  </a:cubicBezTo>
                  <a:cubicBezTo>
                    <a:pt x="3" y="76"/>
                    <a:pt x="2" y="76"/>
                    <a:pt x="2" y="77"/>
                  </a:cubicBezTo>
                  <a:cubicBezTo>
                    <a:pt x="1" y="78"/>
                    <a:pt x="1" y="80"/>
                    <a:pt x="1" y="81"/>
                  </a:cubicBezTo>
                  <a:cubicBezTo>
                    <a:pt x="0" y="83"/>
                    <a:pt x="0" y="84"/>
                    <a:pt x="0" y="85"/>
                  </a:cubicBezTo>
                  <a:cubicBezTo>
                    <a:pt x="0" y="87"/>
                    <a:pt x="0" y="87"/>
                    <a:pt x="1" y="88"/>
                  </a:cubicBezTo>
                  <a:cubicBezTo>
                    <a:pt x="2" y="89"/>
                    <a:pt x="5" y="90"/>
                    <a:pt x="9" y="91"/>
                  </a:cubicBezTo>
                  <a:cubicBezTo>
                    <a:pt x="11" y="91"/>
                    <a:pt x="14" y="91"/>
                    <a:pt x="17" y="92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6"/>
                    <a:pt x="19" y="107"/>
                    <a:pt x="21" y="107"/>
                  </a:cubicBezTo>
                  <a:cubicBezTo>
                    <a:pt x="23" y="107"/>
                    <a:pt x="25" y="106"/>
                    <a:pt x="25" y="10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7" y="92"/>
                    <a:pt x="29" y="91"/>
                    <a:pt x="31" y="91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2" y="105"/>
                    <a:pt x="33" y="107"/>
                    <a:pt x="35" y="107"/>
                  </a:cubicBezTo>
                  <a:cubicBezTo>
                    <a:pt x="37" y="107"/>
                    <a:pt x="39" y="105"/>
                    <a:pt x="38" y="103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40" y="89"/>
                    <a:pt x="42" y="88"/>
                    <a:pt x="44" y="87"/>
                  </a:cubicBezTo>
                  <a:cubicBezTo>
                    <a:pt x="47" y="85"/>
                    <a:pt x="49" y="83"/>
                    <a:pt x="50" y="80"/>
                  </a:cubicBezTo>
                  <a:cubicBezTo>
                    <a:pt x="52" y="77"/>
                    <a:pt x="53" y="73"/>
                    <a:pt x="53" y="69"/>
                  </a:cubicBezTo>
                  <a:cubicBezTo>
                    <a:pt x="53" y="63"/>
                    <a:pt x="51" y="58"/>
                    <a:pt x="47" y="55"/>
                  </a:cubicBezTo>
                  <a:cubicBezTo>
                    <a:pt x="45" y="52"/>
                    <a:pt x="41" y="50"/>
                    <a:pt x="37" y="48"/>
                  </a:cubicBezTo>
                  <a:close/>
                  <a:moveTo>
                    <a:pt x="31" y="77"/>
                  </a:moveTo>
                  <a:cubicBezTo>
                    <a:pt x="29" y="78"/>
                    <a:pt x="27" y="79"/>
                    <a:pt x="24" y="79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6" y="58"/>
                    <a:pt x="29" y="59"/>
                    <a:pt x="31" y="60"/>
                  </a:cubicBezTo>
                  <a:lnTo>
                    <a:pt x="31" y="77"/>
                  </a:lnTo>
                  <a:close/>
                  <a:moveTo>
                    <a:pt x="30" y="45"/>
                  </a:moveTo>
                  <a:cubicBezTo>
                    <a:pt x="28" y="44"/>
                    <a:pt x="25" y="43"/>
                    <a:pt x="23" y="42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5" y="26"/>
                    <a:pt x="27" y="25"/>
                    <a:pt x="30" y="25"/>
                  </a:cubicBezTo>
                  <a:lnTo>
                    <a:pt x="30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</a:p>
          </p:txBody>
        </p:sp>
        <p:sp>
          <p:nvSpPr>
            <p:cNvPr id="222" name="íṣļïḓé"/>
            <p:cNvSpPr/>
            <p:nvPr>
              <p:custDataLst>
                <p:tags r:id="rId116"/>
              </p:custDataLst>
            </p:nvPr>
          </p:nvSpPr>
          <p:spPr bwMode="auto">
            <a:xfrm flipH="1">
              <a:off x="2947881" y="2147320"/>
              <a:ext cx="31052" cy="66143"/>
            </a:xfrm>
            <a:custGeom>
              <a:avLst/>
              <a:gdLst>
                <a:gd name="T0" fmla="*/ 0 w 14"/>
                <a:gd name="T1" fmla="*/ 27 h 31"/>
                <a:gd name="T2" fmla="*/ 5 w 14"/>
                <a:gd name="T3" fmla="*/ 31 h 31"/>
                <a:gd name="T4" fmla="*/ 9 w 14"/>
                <a:gd name="T5" fmla="*/ 31 h 31"/>
                <a:gd name="T6" fmla="*/ 14 w 14"/>
                <a:gd name="T7" fmla="*/ 27 h 31"/>
                <a:gd name="T8" fmla="*/ 14 w 14"/>
                <a:gd name="T9" fmla="*/ 4 h 31"/>
                <a:gd name="T10" fmla="*/ 9 w 14"/>
                <a:gd name="T11" fmla="*/ 0 h 31"/>
                <a:gd name="T12" fmla="*/ 5 w 14"/>
                <a:gd name="T13" fmla="*/ 0 h 31"/>
                <a:gd name="T14" fmla="*/ 0 w 14"/>
                <a:gd name="T15" fmla="*/ 4 h 31"/>
                <a:gd name="T16" fmla="*/ 0 w 14"/>
                <a:gd name="T17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31">
                  <a:moveTo>
                    <a:pt x="0" y="27"/>
                  </a:moveTo>
                  <a:cubicBezTo>
                    <a:pt x="0" y="29"/>
                    <a:pt x="2" y="31"/>
                    <a:pt x="5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2" y="31"/>
                    <a:pt x="14" y="29"/>
                    <a:pt x="14" y="2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2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3" name="iṣlíḋè"/>
            <p:cNvSpPr/>
            <p:nvPr>
              <p:custDataLst>
                <p:tags r:id="rId117"/>
              </p:custDataLst>
            </p:nvPr>
          </p:nvSpPr>
          <p:spPr bwMode="auto">
            <a:xfrm flipH="1">
              <a:off x="2988914" y="2129971"/>
              <a:ext cx="31052" cy="83492"/>
            </a:xfrm>
            <a:custGeom>
              <a:avLst/>
              <a:gdLst>
                <a:gd name="T0" fmla="*/ 0 w 14"/>
                <a:gd name="T1" fmla="*/ 35 h 39"/>
                <a:gd name="T2" fmla="*/ 5 w 14"/>
                <a:gd name="T3" fmla="*/ 39 h 39"/>
                <a:gd name="T4" fmla="*/ 9 w 14"/>
                <a:gd name="T5" fmla="*/ 39 h 39"/>
                <a:gd name="T6" fmla="*/ 14 w 14"/>
                <a:gd name="T7" fmla="*/ 35 h 39"/>
                <a:gd name="T8" fmla="*/ 14 w 14"/>
                <a:gd name="T9" fmla="*/ 4 h 39"/>
                <a:gd name="T10" fmla="*/ 9 w 14"/>
                <a:gd name="T11" fmla="*/ 0 h 39"/>
                <a:gd name="T12" fmla="*/ 5 w 14"/>
                <a:gd name="T13" fmla="*/ 0 h 39"/>
                <a:gd name="T14" fmla="*/ 0 w 14"/>
                <a:gd name="T15" fmla="*/ 4 h 39"/>
                <a:gd name="T16" fmla="*/ 0 w 14"/>
                <a:gd name="T17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39">
                  <a:moveTo>
                    <a:pt x="0" y="35"/>
                  </a:moveTo>
                  <a:cubicBezTo>
                    <a:pt x="0" y="37"/>
                    <a:pt x="2" y="39"/>
                    <a:pt x="5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2" y="39"/>
                    <a:pt x="14" y="37"/>
                    <a:pt x="14" y="3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1"/>
                    <a:pt x="12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4" name="îSļiḓe"/>
            <p:cNvSpPr/>
            <p:nvPr>
              <p:custDataLst>
                <p:tags r:id="rId118"/>
              </p:custDataLst>
            </p:nvPr>
          </p:nvSpPr>
          <p:spPr bwMode="auto">
            <a:xfrm flipH="1">
              <a:off x="3031056" y="2105032"/>
              <a:ext cx="29943" cy="108431"/>
            </a:xfrm>
            <a:custGeom>
              <a:avLst/>
              <a:gdLst>
                <a:gd name="T0" fmla="*/ 0 w 14"/>
                <a:gd name="T1" fmla="*/ 47 h 51"/>
                <a:gd name="T2" fmla="*/ 5 w 14"/>
                <a:gd name="T3" fmla="*/ 51 h 51"/>
                <a:gd name="T4" fmla="*/ 9 w 14"/>
                <a:gd name="T5" fmla="*/ 51 h 51"/>
                <a:gd name="T6" fmla="*/ 14 w 14"/>
                <a:gd name="T7" fmla="*/ 47 h 51"/>
                <a:gd name="T8" fmla="*/ 14 w 14"/>
                <a:gd name="T9" fmla="*/ 5 h 51"/>
                <a:gd name="T10" fmla="*/ 9 w 14"/>
                <a:gd name="T11" fmla="*/ 0 h 51"/>
                <a:gd name="T12" fmla="*/ 5 w 14"/>
                <a:gd name="T13" fmla="*/ 0 h 51"/>
                <a:gd name="T14" fmla="*/ 0 w 14"/>
                <a:gd name="T15" fmla="*/ 5 h 51"/>
                <a:gd name="T16" fmla="*/ 0 w 14"/>
                <a:gd name="T17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51">
                  <a:moveTo>
                    <a:pt x="0" y="47"/>
                  </a:moveTo>
                  <a:cubicBezTo>
                    <a:pt x="0" y="49"/>
                    <a:pt x="2" y="51"/>
                    <a:pt x="5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12" y="51"/>
                    <a:pt x="14" y="49"/>
                    <a:pt x="14" y="47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2"/>
                    <a:pt x="12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lnTo>
                    <a:pt x="0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5" name="íŝ1ïḓe"/>
            <p:cNvSpPr/>
            <p:nvPr>
              <p:custDataLst>
                <p:tags r:id="rId119"/>
              </p:custDataLst>
            </p:nvPr>
          </p:nvSpPr>
          <p:spPr bwMode="auto">
            <a:xfrm flipH="1">
              <a:off x="3622154" y="1513000"/>
              <a:ext cx="13308" cy="32529"/>
            </a:xfrm>
            <a:custGeom>
              <a:avLst/>
              <a:gdLst>
                <a:gd name="T0" fmla="*/ 0 w 6"/>
                <a:gd name="T1" fmla="*/ 13 h 15"/>
                <a:gd name="T2" fmla="*/ 2 w 6"/>
                <a:gd name="T3" fmla="*/ 15 h 15"/>
                <a:gd name="T4" fmla="*/ 4 w 6"/>
                <a:gd name="T5" fmla="*/ 15 h 15"/>
                <a:gd name="T6" fmla="*/ 6 w 6"/>
                <a:gd name="T7" fmla="*/ 13 h 15"/>
                <a:gd name="T8" fmla="*/ 6 w 6"/>
                <a:gd name="T9" fmla="*/ 2 h 15"/>
                <a:gd name="T10" fmla="*/ 4 w 6"/>
                <a:gd name="T11" fmla="*/ 0 h 15"/>
                <a:gd name="T12" fmla="*/ 2 w 6"/>
                <a:gd name="T13" fmla="*/ 0 h 15"/>
                <a:gd name="T14" fmla="*/ 0 w 6"/>
                <a:gd name="T15" fmla="*/ 2 h 15"/>
                <a:gd name="T16" fmla="*/ 0 w 6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5">
                  <a:moveTo>
                    <a:pt x="0" y="13"/>
                  </a:moveTo>
                  <a:cubicBezTo>
                    <a:pt x="0" y="14"/>
                    <a:pt x="1" y="15"/>
                    <a:pt x="2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4"/>
                    <a:pt x="6" y="1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6" name="ïşḻídè"/>
            <p:cNvSpPr/>
            <p:nvPr>
              <p:custDataLst>
                <p:tags r:id="rId120"/>
              </p:custDataLst>
            </p:nvPr>
          </p:nvSpPr>
          <p:spPr bwMode="auto">
            <a:xfrm flipH="1">
              <a:off x="3639898" y="1505409"/>
              <a:ext cx="13308" cy="40119"/>
            </a:xfrm>
            <a:custGeom>
              <a:avLst/>
              <a:gdLst>
                <a:gd name="T0" fmla="*/ 0 w 6"/>
                <a:gd name="T1" fmla="*/ 17 h 19"/>
                <a:gd name="T2" fmla="*/ 2 w 6"/>
                <a:gd name="T3" fmla="*/ 19 h 19"/>
                <a:gd name="T4" fmla="*/ 4 w 6"/>
                <a:gd name="T5" fmla="*/ 19 h 19"/>
                <a:gd name="T6" fmla="*/ 6 w 6"/>
                <a:gd name="T7" fmla="*/ 17 h 19"/>
                <a:gd name="T8" fmla="*/ 6 w 6"/>
                <a:gd name="T9" fmla="*/ 2 h 19"/>
                <a:gd name="T10" fmla="*/ 4 w 6"/>
                <a:gd name="T11" fmla="*/ 0 h 19"/>
                <a:gd name="T12" fmla="*/ 2 w 6"/>
                <a:gd name="T13" fmla="*/ 0 h 19"/>
                <a:gd name="T14" fmla="*/ 0 w 6"/>
                <a:gd name="T15" fmla="*/ 2 h 19"/>
                <a:gd name="T16" fmla="*/ 0 w 6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9">
                  <a:moveTo>
                    <a:pt x="0" y="17"/>
                  </a:moveTo>
                  <a:cubicBezTo>
                    <a:pt x="0" y="18"/>
                    <a:pt x="0" y="19"/>
                    <a:pt x="2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6" y="18"/>
                    <a:pt x="6" y="1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7" name="ïṣļîḑê"/>
            <p:cNvSpPr/>
            <p:nvPr>
              <p:custDataLst>
                <p:tags r:id="rId121"/>
              </p:custDataLst>
            </p:nvPr>
          </p:nvSpPr>
          <p:spPr bwMode="auto">
            <a:xfrm flipH="1">
              <a:off x="3659860" y="1494566"/>
              <a:ext cx="12199" cy="50963"/>
            </a:xfrm>
            <a:custGeom>
              <a:avLst/>
              <a:gdLst>
                <a:gd name="T0" fmla="*/ 0 w 6"/>
                <a:gd name="T1" fmla="*/ 22 h 24"/>
                <a:gd name="T2" fmla="*/ 2 w 6"/>
                <a:gd name="T3" fmla="*/ 24 h 24"/>
                <a:gd name="T4" fmla="*/ 4 w 6"/>
                <a:gd name="T5" fmla="*/ 24 h 24"/>
                <a:gd name="T6" fmla="*/ 6 w 6"/>
                <a:gd name="T7" fmla="*/ 22 h 24"/>
                <a:gd name="T8" fmla="*/ 6 w 6"/>
                <a:gd name="T9" fmla="*/ 2 h 24"/>
                <a:gd name="T10" fmla="*/ 4 w 6"/>
                <a:gd name="T11" fmla="*/ 0 h 24"/>
                <a:gd name="T12" fmla="*/ 2 w 6"/>
                <a:gd name="T13" fmla="*/ 0 h 24"/>
                <a:gd name="T14" fmla="*/ 0 w 6"/>
                <a:gd name="T15" fmla="*/ 2 h 24"/>
                <a:gd name="T16" fmla="*/ 0 w 6"/>
                <a:gd name="T17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24">
                  <a:moveTo>
                    <a:pt x="0" y="22"/>
                  </a:moveTo>
                  <a:cubicBezTo>
                    <a:pt x="0" y="23"/>
                    <a:pt x="1" y="24"/>
                    <a:pt x="2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8" name="ï$líḋè"/>
            <p:cNvSpPr/>
            <p:nvPr>
              <p:custDataLst>
                <p:tags r:id="rId122"/>
              </p:custDataLst>
            </p:nvPr>
          </p:nvSpPr>
          <p:spPr bwMode="auto">
            <a:xfrm flipH="1">
              <a:off x="3238440" y="3510296"/>
              <a:ext cx="37706" cy="81323"/>
            </a:xfrm>
            <a:custGeom>
              <a:avLst/>
              <a:gdLst>
                <a:gd name="T0" fmla="*/ 0 w 17"/>
                <a:gd name="T1" fmla="*/ 32 h 38"/>
                <a:gd name="T2" fmla="*/ 6 w 17"/>
                <a:gd name="T3" fmla="*/ 38 h 38"/>
                <a:gd name="T4" fmla="*/ 11 w 17"/>
                <a:gd name="T5" fmla="*/ 38 h 38"/>
                <a:gd name="T6" fmla="*/ 17 w 17"/>
                <a:gd name="T7" fmla="*/ 32 h 38"/>
                <a:gd name="T8" fmla="*/ 17 w 17"/>
                <a:gd name="T9" fmla="*/ 5 h 38"/>
                <a:gd name="T10" fmla="*/ 11 w 17"/>
                <a:gd name="T11" fmla="*/ 0 h 38"/>
                <a:gd name="T12" fmla="*/ 6 w 17"/>
                <a:gd name="T13" fmla="*/ 0 h 38"/>
                <a:gd name="T14" fmla="*/ 0 w 17"/>
                <a:gd name="T15" fmla="*/ 5 h 38"/>
                <a:gd name="T16" fmla="*/ 0 w 17"/>
                <a:gd name="T17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38">
                  <a:moveTo>
                    <a:pt x="0" y="32"/>
                  </a:moveTo>
                  <a:cubicBezTo>
                    <a:pt x="0" y="35"/>
                    <a:pt x="3" y="38"/>
                    <a:pt x="6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8"/>
                    <a:pt x="17" y="35"/>
                    <a:pt x="17" y="32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lnTo>
                    <a:pt x="0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29" name="í$1ïḍe"/>
            <p:cNvSpPr/>
            <p:nvPr>
              <p:custDataLst>
                <p:tags r:id="rId123"/>
              </p:custDataLst>
            </p:nvPr>
          </p:nvSpPr>
          <p:spPr bwMode="auto">
            <a:xfrm flipH="1">
              <a:off x="3288345" y="3487525"/>
              <a:ext cx="35488" cy="104094"/>
            </a:xfrm>
            <a:custGeom>
              <a:avLst/>
              <a:gdLst>
                <a:gd name="T0" fmla="*/ 0 w 16"/>
                <a:gd name="T1" fmla="*/ 43 h 49"/>
                <a:gd name="T2" fmla="*/ 5 w 16"/>
                <a:gd name="T3" fmla="*/ 49 h 49"/>
                <a:gd name="T4" fmla="*/ 11 w 16"/>
                <a:gd name="T5" fmla="*/ 49 h 49"/>
                <a:gd name="T6" fmla="*/ 16 w 16"/>
                <a:gd name="T7" fmla="*/ 43 h 49"/>
                <a:gd name="T8" fmla="*/ 16 w 16"/>
                <a:gd name="T9" fmla="*/ 6 h 49"/>
                <a:gd name="T10" fmla="*/ 10 w 16"/>
                <a:gd name="T11" fmla="*/ 0 h 49"/>
                <a:gd name="T12" fmla="*/ 5 w 16"/>
                <a:gd name="T13" fmla="*/ 0 h 49"/>
                <a:gd name="T14" fmla="*/ 0 w 16"/>
                <a:gd name="T15" fmla="*/ 6 h 49"/>
                <a:gd name="T16" fmla="*/ 0 w 16"/>
                <a:gd name="T17" fmla="*/ 4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0" y="43"/>
                  </a:moveTo>
                  <a:cubicBezTo>
                    <a:pt x="0" y="46"/>
                    <a:pt x="2" y="49"/>
                    <a:pt x="5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3" y="49"/>
                    <a:pt x="16" y="46"/>
                    <a:pt x="16" y="43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3" y="0"/>
                    <a:pt x="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0" name="ïṥ1îḍê"/>
            <p:cNvSpPr/>
            <p:nvPr>
              <p:custDataLst>
                <p:tags r:id="rId124"/>
              </p:custDataLst>
            </p:nvPr>
          </p:nvSpPr>
          <p:spPr bwMode="auto">
            <a:xfrm flipH="1">
              <a:off x="3338250" y="3459333"/>
              <a:ext cx="36597" cy="132286"/>
            </a:xfrm>
            <a:custGeom>
              <a:avLst/>
              <a:gdLst>
                <a:gd name="T0" fmla="*/ 0 w 17"/>
                <a:gd name="T1" fmla="*/ 56 h 62"/>
                <a:gd name="T2" fmla="*/ 6 w 17"/>
                <a:gd name="T3" fmla="*/ 62 h 62"/>
                <a:gd name="T4" fmla="*/ 11 w 17"/>
                <a:gd name="T5" fmla="*/ 62 h 62"/>
                <a:gd name="T6" fmla="*/ 17 w 17"/>
                <a:gd name="T7" fmla="*/ 56 h 62"/>
                <a:gd name="T8" fmla="*/ 16 w 17"/>
                <a:gd name="T9" fmla="*/ 5 h 62"/>
                <a:gd name="T10" fmla="*/ 11 w 17"/>
                <a:gd name="T11" fmla="*/ 0 h 62"/>
                <a:gd name="T12" fmla="*/ 6 w 17"/>
                <a:gd name="T13" fmla="*/ 0 h 62"/>
                <a:gd name="T14" fmla="*/ 0 w 17"/>
                <a:gd name="T15" fmla="*/ 5 h 62"/>
                <a:gd name="T16" fmla="*/ 0 w 17"/>
                <a:gd name="T17" fmla="*/ 5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2">
                  <a:moveTo>
                    <a:pt x="0" y="56"/>
                  </a:moveTo>
                  <a:cubicBezTo>
                    <a:pt x="0" y="59"/>
                    <a:pt x="3" y="62"/>
                    <a:pt x="6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4" y="62"/>
                    <a:pt x="17" y="59"/>
                    <a:pt x="17" y="5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4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1" name="îṡḻíďê"/>
            <p:cNvSpPr/>
            <p:nvPr>
              <p:custDataLst>
                <p:tags r:id="rId125"/>
              </p:custDataLst>
            </p:nvPr>
          </p:nvSpPr>
          <p:spPr bwMode="auto">
            <a:xfrm flipH="1">
              <a:off x="3327160" y="3762940"/>
              <a:ext cx="176331" cy="171321"/>
            </a:xfrm>
            <a:custGeom>
              <a:avLst/>
              <a:gdLst>
                <a:gd name="T0" fmla="*/ 40 w 81"/>
                <a:gd name="T1" fmla="*/ 1 h 81"/>
                <a:gd name="T2" fmla="*/ 1 w 81"/>
                <a:gd name="T3" fmla="*/ 41 h 81"/>
                <a:gd name="T4" fmla="*/ 41 w 81"/>
                <a:gd name="T5" fmla="*/ 80 h 81"/>
                <a:gd name="T6" fmla="*/ 80 w 81"/>
                <a:gd name="T7" fmla="*/ 40 h 81"/>
                <a:gd name="T8" fmla="*/ 40 w 81"/>
                <a:gd name="T9" fmla="*/ 1 h 81"/>
                <a:gd name="T10" fmla="*/ 41 w 81"/>
                <a:gd name="T11" fmla="*/ 72 h 81"/>
                <a:gd name="T12" fmla="*/ 9 w 81"/>
                <a:gd name="T13" fmla="*/ 41 h 81"/>
                <a:gd name="T14" fmla="*/ 40 w 81"/>
                <a:gd name="T15" fmla="*/ 9 h 81"/>
                <a:gd name="T16" fmla="*/ 72 w 81"/>
                <a:gd name="T17" fmla="*/ 40 h 81"/>
                <a:gd name="T18" fmla="*/ 41 w 81"/>
                <a:gd name="T19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0" y="1"/>
                  </a:moveTo>
                  <a:cubicBezTo>
                    <a:pt x="18" y="1"/>
                    <a:pt x="0" y="19"/>
                    <a:pt x="1" y="41"/>
                  </a:cubicBezTo>
                  <a:cubicBezTo>
                    <a:pt x="1" y="63"/>
                    <a:pt x="20" y="81"/>
                    <a:pt x="41" y="80"/>
                  </a:cubicBezTo>
                  <a:cubicBezTo>
                    <a:pt x="63" y="80"/>
                    <a:pt x="81" y="61"/>
                    <a:pt x="80" y="40"/>
                  </a:cubicBezTo>
                  <a:cubicBezTo>
                    <a:pt x="80" y="18"/>
                    <a:pt x="62" y="0"/>
                    <a:pt x="40" y="1"/>
                  </a:cubicBezTo>
                  <a:close/>
                  <a:moveTo>
                    <a:pt x="41" y="72"/>
                  </a:moveTo>
                  <a:cubicBezTo>
                    <a:pt x="24" y="73"/>
                    <a:pt x="9" y="59"/>
                    <a:pt x="9" y="41"/>
                  </a:cubicBezTo>
                  <a:cubicBezTo>
                    <a:pt x="8" y="24"/>
                    <a:pt x="22" y="9"/>
                    <a:pt x="40" y="9"/>
                  </a:cubicBezTo>
                  <a:cubicBezTo>
                    <a:pt x="57" y="8"/>
                    <a:pt x="72" y="22"/>
                    <a:pt x="72" y="40"/>
                  </a:cubicBezTo>
                  <a:cubicBezTo>
                    <a:pt x="73" y="57"/>
                    <a:pt x="59" y="72"/>
                    <a:pt x="41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5000" lnSpcReduction="20000"/>
            </a:bodyPr>
            <a:lstStyle/>
            <a:p>
              <a:pPr algn="ctr"/>
            </a:p>
          </p:txBody>
        </p:sp>
        <p:sp>
          <p:nvSpPr>
            <p:cNvPr id="232" name="îṧľïḑé"/>
            <p:cNvSpPr/>
            <p:nvPr>
              <p:custDataLst>
                <p:tags r:id="rId126"/>
              </p:custDataLst>
            </p:nvPr>
          </p:nvSpPr>
          <p:spPr bwMode="auto">
            <a:xfrm flipH="1">
              <a:off x="3369302" y="3807396"/>
              <a:ext cx="93156" cy="82407"/>
            </a:xfrm>
            <a:custGeom>
              <a:avLst/>
              <a:gdLst>
                <a:gd name="T0" fmla="*/ 27 w 43"/>
                <a:gd name="T1" fmla="*/ 32 h 39"/>
                <a:gd name="T2" fmla="*/ 16 w 43"/>
                <a:gd name="T3" fmla="*/ 27 h 39"/>
                <a:gd name="T4" fmla="*/ 25 w 43"/>
                <a:gd name="T5" fmla="*/ 26 h 39"/>
                <a:gd name="T6" fmla="*/ 28 w 43"/>
                <a:gd name="T7" fmla="*/ 24 h 39"/>
                <a:gd name="T8" fmla="*/ 25 w 43"/>
                <a:gd name="T9" fmla="*/ 21 h 39"/>
                <a:gd name="T10" fmla="*/ 15 w 43"/>
                <a:gd name="T11" fmla="*/ 21 h 39"/>
                <a:gd name="T12" fmla="*/ 14 w 43"/>
                <a:gd name="T13" fmla="*/ 20 h 39"/>
                <a:gd name="T14" fmla="*/ 14 w 43"/>
                <a:gd name="T15" fmla="*/ 18 h 39"/>
                <a:gd name="T16" fmla="*/ 25 w 43"/>
                <a:gd name="T17" fmla="*/ 18 h 39"/>
                <a:gd name="T18" fmla="*/ 28 w 43"/>
                <a:gd name="T19" fmla="*/ 15 h 39"/>
                <a:gd name="T20" fmla="*/ 25 w 43"/>
                <a:gd name="T21" fmla="*/ 12 h 39"/>
                <a:gd name="T22" fmla="*/ 16 w 43"/>
                <a:gd name="T23" fmla="*/ 13 h 39"/>
                <a:gd name="T24" fmla="*/ 27 w 43"/>
                <a:gd name="T25" fmla="*/ 6 h 39"/>
                <a:gd name="T26" fmla="*/ 35 w 43"/>
                <a:gd name="T27" fmla="*/ 9 h 39"/>
                <a:gd name="T28" fmla="*/ 42 w 43"/>
                <a:gd name="T29" fmla="*/ 9 h 39"/>
                <a:gd name="T30" fmla="*/ 26 w 43"/>
                <a:gd name="T31" fmla="*/ 0 h 39"/>
                <a:gd name="T32" fmla="*/ 9 w 43"/>
                <a:gd name="T33" fmla="*/ 13 h 39"/>
                <a:gd name="T34" fmla="*/ 3 w 43"/>
                <a:gd name="T35" fmla="*/ 13 h 39"/>
                <a:gd name="T36" fmla="*/ 0 w 43"/>
                <a:gd name="T37" fmla="*/ 15 h 39"/>
                <a:gd name="T38" fmla="*/ 3 w 43"/>
                <a:gd name="T39" fmla="*/ 18 h 39"/>
                <a:gd name="T40" fmla="*/ 8 w 43"/>
                <a:gd name="T41" fmla="*/ 18 h 39"/>
                <a:gd name="T42" fmla="*/ 8 w 43"/>
                <a:gd name="T43" fmla="*/ 20 h 39"/>
                <a:gd name="T44" fmla="*/ 8 w 43"/>
                <a:gd name="T45" fmla="*/ 22 h 39"/>
                <a:gd name="T46" fmla="*/ 3 w 43"/>
                <a:gd name="T47" fmla="*/ 22 h 39"/>
                <a:gd name="T48" fmla="*/ 1 w 43"/>
                <a:gd name="T49" fmla="*/ 24 h 39"/>
                <a:gd name="T50" fmla="*/ 3 w 43"/>
                <a:gd name="T51" fmla="*/ 27 h 39"/>
                <a:gd name="T52" fmla="*/ 10 w 43"/>
                <a:gd name="T53" fmla="*/ 27 h 39"/>
                <a:gd name="T54" fmla="*/ 27 w 43"/>
                <a:gd name="T55" fmla="*/ 38 h 39"/>
                <a:gd name="T56" fmla="*/ 43 w 43"/>
                <a:gd name="T57" fmla="*/ 29 h 39"/>
                <a:gd name="T58" fmla="*/ 35 w 43"/>
                <a:gd name="T59" fmla="*/ 29 h 39"/>
                <a:gd name="T60" fmla="*/ 27 w 43"/>
                <a:gd name="T61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" h="39">
                  <a:moveTo>
                    <a:pt x="27" y="32"/>
                  </a:moveTo>
                  <a:cubicBezTo>
                    <a:pt x="23" y="32"/>
                    <a:pt x="19" y="30"/>
                    <a:pt x="16" y="27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7" y="26"/>
                    <a:pt x="28" y="25"/>
                    <a:pt x="28" y="24"/>
                  </a:cubicBezTo>
                  <a:cubicBezTo>
                    <a:pt x="28" y="22"/>
                    <a:pt x="27" y="21"/>
                    <a:pt x="2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4" y="21"/>
                    <a:pt x="14" y="20"/>
                    <a:pt x="14" y="20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28" y="16"/>
                    <a:pt x="28" y="15"/>
                  </a:cubicBezTo>
                  <a:cubicBezTo>
                    <a:pt x="28" y="13"/>
                    <a:pt x="26" y="12"/>
                    <a:pt x="25" y="1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8" y="9"/>
                    <a:pt x="22" y="6"/>
                    <a:pt x="27" y="6"/>
                  </a:cubicBezTo>
                  <a:cubicBezTo>
                    <a:pt x="30" y="6"/>
                    <a:pt x="32" y="7"/>
                    <a:pt x="35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39" y="4"/>
                    <a:pt x="33" y="0"/>
                    <a:pt x="26" y="0"/>
                  </a:cubicBezTo>
                  <a:cubicBezTo>
                    <a:pt x="19" y="0"/>
                    <a:pt x="12" y="6"/>
                    <a:pt x="9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0" y="14"/>
                    <a:pt x="0" y="15"/>
                  </a:cubicBezTo>
                  <a:cubicBezTo>
                    <a:pt x="0" y="17"/>
                    <a:pt x="2" y="18"/>
                    <a:pt x="3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8" y="20"/>
                  </a:cubicBezTo>
                  <a:cubicBezTo>
                    <a:pt x="8" y="20"/>
                    <a:pt x="8" y="21"/>
                    <a:pt x="8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2" y="22"/>
                    <a:pt x="1" y="23"/>
                    <a:pt x="1" y="24"/>
                  </a:cubicBezTo>
                  <a:cubicBezTo>
                    <a:pt x="1" y="26"/>
                    <a:pt x="2" y="27"/>
                    <a:pt x="3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3" y="34"/>
                    <a:pt x="19" y="39"/>
                    <a:pt x="27" y="38"/>
                  </a:cubicBezTo>
                  <a:cubicBezTo>
                    <a:pt x="34" y="38"/>
                    <a:pt x="40" y="35"/>
                    <a:pt x="4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1"/>
                    <a:pt x="30" y="32"/>
                    <a:pt x="27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3" name="îšľïḋè"/>
            <p:cNvSpPr/>
            <p:nvPr>
              <p:custDataLst>
                <p:tags r:id="rId127"/>
              </p:custDataLst>
            </p:nvPr>
          </p:nvSpPr>
          <p:spPr bwMode="auto">
            <a:xfrm flipH="1">
              <a:off x="3919367" y="3796553"/>
              <a:ext cx="78739" cy="79155"/>
            </a:xfrm>
            <a:custGeom>
              <a:avLst/>
              <a:gdLst>
                <a:gd name="T0" fmla="*/ 18 w 36"/>
                <a:gd name="T1" fmla="*/ 1 h 37"/>
                <a:gd name="T2" fmla="*/ 0 w 36"/>
                <a:gd name="T3" fmla="*/ 19 h 37"/>
                <a:gd name="T4" fmla="*/ 18 w 36"/>
                <a:gd name="T5" fmla="*/ 36 h 37"/>
                <a:gd name="T6" fmla="*/ 36 w 36"/>
                <a:gd name="T7" fmla="*/ 18 h 37"/>
                <a:gd name="T8" fmla="*/ 18 w 36"/>
                <a:gd name="T9" fmla="*/ 1 h 37"/>
                <a:gd name="T10" fmla="*/ 18 w 36"/>
                <a:gd name="T11" fmla="*/ 33 h 37"/>
                <a:gd name="T12" fmla="*/ 4 w 36"/>
                <a:gd name="T13" fmla="*/ 19 h 37"/>
                <a:gd name="T14" fmla="*/ 18 w 36"/>
                <a:gd name="T15" fmla="*/ 4 h 37"/>
                <a:gd name="T16" fmla="*/ 32 w 36"/>
                <a:gd name="T17" fmla="*/ 18 h 37"/>
                <a:gd name="T18" fmla="*/ 18 w 36"/>
                <a:gd name="T19" fmla="*/ 3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1"/>
                  </a:moveTo>
                  <a:cubicBezTo>
                    <a:pt x="8" y="1"/>
                    <a:pt x="0" y="9"/>
                    <a:pt x="0" y="19"/>
                  </a:cubicBezTo>
                  <a:cubicBezTo>
                    <a:pt x="0" y="29"/>
                    <a:pt x="9" y="37"/>
                    <a:pt x="18" y="36"/>
                  </a:cubicBezTo>
                  <a:cubicBezTo>
                    <a:pt x="28" y="36"/>
                    <a:pt x="36" y="28"/>
                    <a:pt x="36" y="18"/>
                  </a:cubicBezTo>
                  <a:cubicBezTo>
                    <a:pt x="36" y="8"/>
                    <a:pt x="27" y="0"/>
                    <a:pt x="18" y="1"/>
                  </a:cubicBezTo>
                  <a:close/>
                  <a:moveTo>
                    <a:pt x="18" y="33"/>
                  </a:moveTo>
                  <a:cubicBezTo>
                    <a:pt x="10" y="33"/>
                    <a:pt x="4" y="27"/>
                    <a:pt x="4" y="19"/>
                  </a:cubicBezTo>
                  <a:cubicBezTo>
                    <a:pt x="3" y="11"/>
                    <a:pt x="10" y="4"/>
                    <a:pt x="18" y="4"/>
                  </a:cubicBezTo>
                  <a:cubicBezTo>
                    <a:pt x="26" y="4"/>
                    <a:pt x="32" y="10"/>
                    <a:pt x="32" y="18"/>
                  </a:cubicBezTo>
                  <a:cubicBezTo>
                    <a:pt x="33" y="26"/>
                    <a:pt x="26" y="33"/>
                    <a:pt x="18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4" name="ïšļîḑé"/>
            <p:cNvSpPr/>
            <p:nvPr>
              <p:custDataLst>
                <p:tags r:id="rId128"/>
              </p:custDataLst>
            </p:nvPr>
          </p:nvSpPr>
          <p:spPr bwMode="auto">
            <a:xfrm flipH="1">
              <a:off x="3937111" y="3818239"/>
              <a:ext cx="43251" cy="35782"/>
            </a:xfrm>
            <a:custGeom>
              <a:avLst/>
              <a:gdLst>
                <a:gd name="T0" fmla="*/ 13 w 20"/>
                <a:gd name="T1" fmla="*/ 14 h 17"/>
                <a:gd name="T2" fmla="*/ 8 w 20"/>
                <a:gd name="T3" fmla="*/ 12 h 17"/>
                <a:gd name="T4" fmla="*/ 12 w 20"/>
                <a:gd name="T5" fmla="*/ 12 h 17"/>
                <a:gd name="T6" fmla="*/ 13 w 20"/>
                <a:gd name="T7" fmla="*/ 10 h 17"/>
                <a:gd name="T8" fmla="*/ 12 w 20"/>
                <a:gd name="T9" fmla="*/ 9 h 17"/>
                <a:gd name="T10" fmla="*/ 7 w 20"/>
                <a:gd name="T11" fmla="*/ 9 h 17"/>
                <a:gd name="T12" fmla="*/ 7 w 20"/>
                <a:gd name="T13" fmla="*/ 9 h 17"/>
                <a:gd name="T14" fmla="*/ 7 w 20"/>
                <a:gd name="T15" fmla="*/ 8 h 17"/>
                <a:gd name="T16" fmla="*/ 12 w 20"/>
                <a:gd name="T17" fmla="*/ 8 h 17"/>
                <a:gd name="T18" fmla="*/ 13 w 20"/>
                <a:gd name="T19" fmla="*/ 6 h 17"/>
                <a:gd name="T20" fmla="*/ 12 w 20"/>
                <a:gd name="T21" fmla="*/ 5 h 17"/>
                <a:gd name="T22" fmla="*/ 8 w 20"/>
                <a:gd name="T23" fmla="*/ 5 h 17"/>
                <a:gd name="T24" fmla="*/ 12 w 20"/>
                <a:gd name="T25" fmla="*/ 2 h 17"/>
                <a:gd name="T26" fmla="*/ 16 w 20"/>
                <a:gd name="T27" fmla="*/ 4 h 17"/>
                <a:gd name="T28" fmla="*/ 19 w 20"/>
                <a:gd name="T29" fmla="*/ 4 h 17"/>
                <a:gd name="T30" fmla="*/ 12 w 20"/>
                <a:gd name="T31" fmla="*/ 0 h 17"/>
                <a:gd name="T32" fmla="*/ 5 w 20"/>
                <a:gd name="T33" fmla="*/ 5 h 17"/>
                <a:gd name="T34" fmla="*/ 2 w 20"/>
                <a:gd name="T35" fmla="*/ 5 h 17"/>
                <a:gd name="T36" fmla="*/ 0 w 20"/>
                <a:gd name="T37" fmla="*/ 7 h 17"/>
                <a:gd name="T38" fmla="*/ 2 w 20"/>
                <a:gd name="T39" fmla="*/ 8 h 17"/>
                <a:gd name="T40" fmla="*/ 4 w 20"/>
                <a:gd name="T41" fmla="*/ 8 h 17"/>
                <a:gd name="T42" fmla="*/ 4 w 20"/>
                <a:gd name="T43" fmla="*/ 9 h 17"/>
                <a:gd name="T44" fmla="*/ 4 w 20"/>
                <a:gd name="T45" fmla="*/ 9 h 17"/>
                <a:gd name="T46" fmla="*/ 2 w 20"/>
                <a:gd name="T47" fmla="*/ 9 h 17"/>
                <a:gd name="T48" fmla="*/ 1 w 20"/>
                <a:gd name="T49" fmla="*/ 11 h 17"/>
                <a:gd name="T50" fmla="*/ 2 w 20"/>
                <a:gd name="T51" fmla="*/ 12 h 17"/>
                <a:gd name="T52" fmla="*/ 5 w 20"/>
                <a:gd name="T53" fmla="*/ 12 h 17"/>
                <a:gd name="T54" fmla="*/ 13 w 20"/>
                <a:gd name="T55" fmla="*/ 17 h 17"/>
                <a:gd name="T56" fmla="*/ 20 w 20"/>
                <a:gd name="T57" fmla="*/ 13 h 17"/>
                <a:gd name="T58" fmla="*/ 16 w 20"/>
                <a:gd name="T59" fmla="*/ 13 h 17"/>
                <a:gd name="T60" fmla="*/ 13 w 20"/>
                <a:gd name="T6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" h="17">
                  <a:moveTo>
                    <a:pt x="13" y="14"/>
                  </a:moveTo>
                  <a:cubicBezTo>
                    <a:pt x="11" y="14"/>
                    <a:pt x="9" y="13"/>
                    <a:pt x="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3" y="11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3" y="7"/>
                    <a:pt x="13" y="6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4"/>
                    <a:pt x="10" y="3"/>
                    <a:pt x="12" y="2"/>
                  </a:cubicBezTo>
                  <a:cubicBezTo>
                    <a:pt x="14" y="2"/>
                    <a:pt x="15" y="3"/>
                    <a:pt x="16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1"/>
                    <a:pt x="15" y="0"/>
                    <a:pt x="12" y="0"/>
                  </a:cubicBezTo>
                  <a:cubicBezTo>
                    <a:pt x="9" y="0"/>
                    <a:pt x="6" y="2"/>
                    <a:pt x="5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1" y="11"/>
                    <a:pt x="1" y="12"/>
                    <a:pt x="2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5"/>
                    <a:pt x="9" y="17"/>
                    <a:pt x="13" y="17"/>
                  </a:cubicBezTo>
                  <a:cubicBezTo>
                    <a:pt x="16" y="17"/>
                    <a:pt x="18" y="15"/>
                    <a:pt x="20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4"/>
                    <a:pt x="14" y="14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5" name="iSļïḓé"/>
            <p:cNvSpPr/>
            <p:nvPr>
              <p:custDataLst>
                <p:tags r:id="rId129"/>
              </p:custDataLst>
            </p:nvPr>
          </p:nvSpPr>
          <p:spPr bwMode="auto">
            <a:xfrm flipH="1">
              <a:off x="3674278" y="2213463"/>
              <a:ext cx="72085" cy="69396"/>
            </a:xfrm>
            <a:custGeom>
              <a:avLst/>
              <a:gdLst>
                <a:gd name="T0" fmla="*/ 16 w 33"/>
                <a:gd name="T1" fmla="*/ 0 h 33"/>
                <a:gd name="T2" fmla="*/ 0 w 33"/>
                <a:gd name="T3" fmla="*/ 17 h 33"/>
                <a:gd name="T4" fmla="*/ 17 w 33"/>
                <a:gd name="T5" fmla="*/ 32 h 33"/>
                <a:gd name="T6" fmla="*/ 33 w 33"/>
                <a:gd name="T7" fmla="*/ 16 h 33"/>
                <a:gd name="T8" fmla="*/ 16 w 33"/>
                <a:gd name="T9" fmla="*/ 0 h 33"/>
                <a:gd name="T10" fmla="*/ 17 w 33"/>
                <a:gd name="T11" fmla="*/ 29 h 33"/>
                <a:gd name="T12" fmla="*/ 3 w 33"/>
                <a:gd name="T13" fmla="*/ 16 h 33"/>
                <a:gd name="T14" fmla="*/ 16 w 33"/>
                <a:gd name="T15" fmla="*/ 3 h 33"/>
                <a:gd name="T16" fmla="*/ 29 w 33"/>
                <a:gd name="T17" fmla="*/ 16 h 33"/>
                <a:gd name="T18" fmla="*/ 17 w 33"/>
                <a:gd name="T19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8" y="33"/>
                    <a:pt x="17" y="32"/>
                  </a:cubicBezTo>
                  <a:cubicBezTo>
                    <a:pt x="26" y="32"/>
                    <a:pt x="33" y="25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lose/>
                  <a:moveTo>
                    <a:pt x="17" y="29"/>
                  </a:moveTo>
                  <a:cubicBezTo>
                    <a:pt x="10" y="29"/>
                    <a:pt x="4" y="24"/>
                    <a:pt x="3" y="16"/>
                  </a:cubicBezTo>
                  <a:cubicBezTo>
                    <a:pt x="3" y="9"/>
                    <a:pt x="9" y="3"/>
                    <a:pt x="16" y="3"/>
                  </a:cubicBezTo>
                  <a:cubicBezTo>
                    <a:pt x="23" y="3"/>
                    <a:pt x="29" y="9"/>
                    <a:pt x="29" y="16"/>
                  </a:cubicBezTo>
                  <a:cubicBezTo>
                    <a:pt x="30" y="23"/>
                    <a:pt x="24" y="29"/>
                    <a:pt x="17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6" name="islïde"/>
            <p:cNvSpPr/>
            <p:nvPr>
              <p:custDataLst>
                <p:tags r:id="rId130"/>
              </p:custDataLst>
            </p:nvPr>
          </p:nvSpPr>
          <p:spPr bwMode="auto">
            <a:xfrm flipH="1">
              <a:off x="3692022" y="2229727"/>
              <a:ext cx="36597" cy="34698"/>
            </a:xfrm>
            <a:custGeom>
              <a:avLst/>
              <a:gdLst>
                <a:gd name="T0" fmla="*/ 11 w 17"/>
                <a:gd name="T1" fmla="*/ 13 h 16"/>
                <a:gd name="T2" fmla="*/ 6 w 17"/>
                <a:gd name="T3" fmla="*/ 11 h 16"/>
                <a:gd name="T4" fmla="*/ 10 w 17"/>
                <a:gd name="T5" fmla="*/ 11 h 16"/>
                <a:gd name="T6" fmla="*/ 11 w 17"/>
                <a:gd name="T7" fmla="*/ 10 h 16"/>
                <a:gd name="T8" fmla="*/ 10 w 17"/>
                <a:gd name="T9" fmla="*/ 9 h 16"/>
                <a:gd name="T10" fmla="*/ 6 w 17"/>
                <a:gd name="T11" fmla="*/ 9 h 16"/>
                <a:gd name="T12" fmla="*/ 5 w 17"/>
                <a:gd name="T13" fmla="*/ 8 h 16"/>
                <a:gd name="T14" fmla="*/ 6 w 17"/>
                <a:gd name="T15" fmla="*/ 7 h 16"/>
                <a:gd name="T16" fmla="*/ 10 w 17"/>
                <a:gd name="T17" fmla="*/ 7 h 16"/>
                <a:gd name="T18" fmla="*/ 11 w 17"/>
                <a:gd name="T19" fmla="*/ 6 h 16"/>
                <a:gd name="T20" fmla="*/ 10 w 17"/>
                <a:gd name="T21" fmla="*/ 5 h 16"/>
                <a:gd name="T22" fmla="*/ 6 w 17"/>
                <a:gd name="T23" fmla="*/ 5 h 16"/>
                <a:gd name="T24" fmla="*/ 10 w 17"/>
                <a:gd name="T25" fmla="*/ 3 h 16"/>
                <a:gd name="T26" fmla="*/ 14 w 17"/>
                <a:gd name="T27" fmla="*/ 4 h 16"/>
                <a:gd name="T28" fmla="*/ 17 w 17"/>
                <a:gd name="T29" fmla="*/ 4 h 16"/>
                <a:gd name="T30" fmla="*/ 10 w 17"/>
                <a:gd name="T31" fmla="*/ 0 h 16"/>
                <a:gd name="T32" fmla="*/ 3 w 17"/>
                <a:gd name="T33" fmla="*/ 5 h 16"/>
                <a:gd name="T34" fmla="*/ 1 w 17"/>
                <a:gd name="T35" fmla="*/ 5 h 16"/>
                <a:gd name="T36" fmla="*/ 0 w 17"/>
                <a:gd name="T37" fmla="*/ 7 h 16"/>
                <a:gd name="T38" fmla="*/ 1 w 17"/>
                <a:gd name="T39" fmla="*/ 8 h 16"/>
                <a:gd name="T40" fmla="*/ 3 w 17"/>
                <a:gd name="T41" fmla="*/ 8 h 16"/>
                <a:gd name="T42" fmla="*/ 3 w 17"/>
                <a:gd name="T43" fmla="*/ 8 h 16"/>
                <a:gd name="T44" fmla="*/ 3 w 17"/>
                <a:gd name="T45" fmla="*/ 9 h 16"/>
                <a:gd name="T46" fmla="*/ 1 w 17"/>
                <a:gd name="T47" fmla="*/ 9 h 16"/>
                <a:gd name="T48" fmla="*/ 0 w 17"/>
                <a:gd name="T49" fmla="*/ 10 h 16"/>
                <a:gd name="T50" fmla="*/ 1 w 17"/>
                <a:gd name="T51" fmla="*/ 11 h 16"/>
                <a:gd name="T52" fmla="*/ 4 w 17"/>
                <a:gd name="T53" fmla="*/ 11 h 16"/>
                <a:gd name="T54" fmla="*/ 11 w 17"/>
                <a:gd name="T55" fmla="*/ 16 h 16"/>
                <a:gd name="T56" fmla="*/ 17 w 17"/>
                <a:gd name="T57" fmla="*/ 12 h 16"/>
                <a:gd name="T58" fmla="*/ 14 w 17"/>
                <a:gd name="T59" fmla="*/ 12 h 16"/>
                <a:gd name="T60" fmla="*/ 11 w 17"/>
                <a:gd name="T6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" h="16">
                  <a:moveTo>
                    <a:pt x="11" y="13"/>
                  </a:moveTo>
                  <a:cubicBezTo>
                    <a:pt x="9" y="14"/>
                    <a:pt x="7" y="13"/>
                    <a:pt x="6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9"/>
                    <a:pt x="11" y="9"/>
                    <a:pt x="10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5" y="8"/>
                  </a:cubicBezTo>
                  <a:cubicBezTo>
                    <a:pt x="5" y="8"/>
                    <a:pt x="6" y="8"/>
                    <a:pt x="6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1" y="7"/>
                    <a:pt x="11" y="6"/>
                  </a:cubicBezTo>
                  <a:cubicBezTo>
                    <a:pt x="11" y="6"/>
                    <a:pt x="10" y="5"/>
                    <a:pt x="10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9" y="3"/>
                    <a:pt x="10" y="3"/>
                  </a:cubicBezTo>
                  <a:cubicBezTo>
                    <a:pt x="12" y="3"/>
                    <a:pt x="13" y="3"/>
                    <a:pt x="14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2"/>
                    <a:pt x="13" y="0"/>
                    <a:pt x="10" y="0"/>
                  </a:cubicBezTo>
                  <a:cubicBezTo>
                    <a:pt x="7" y="0"/>
                    <a:pt x="5" y="2"/>
                    <a:pt x="3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7"/>
                    <a:pt x="0" y="8"/>
                    <a:pt x="1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1"/>
                    <a:pt x="0" y="11"/>
                    <a:pt x="1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4"/>
                    <a:pt x="8" y="16"/>
                    <a:pt x="11" y="16"/>
                  </a:cubicBezTo>
                  <a:cubicBezTo>
                    <a:pt x="14" y="16"/>
                    <a:pt x="16" y="14"/>
                    <a:pt x="17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3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7" name="ïṩľíďè"/>
            <p:cNvSpPr/>
            <p:nvPr>
              <p:custDataLst>
                <p:tags r:id="rId131"/>
              </p:custDataLst>
            </p:nvPr>
          </p:nvSpPr>
          <p:spPr bwMode="auto">
            <a:xfrm flipH="1">
              <a:off x="2915720" y="2753449"/>
              <a:ext cx="77630" cy="76986"/>
            </a:xfrm>
            <a:custGeom>
              <a:avLst/>
              <a:gdLst>
                <a:gd name="T0" fmla="*/ 18 w 36"/>
                <a:gd name="T1" fmla="*/ 0 h 36"/>
                <a:gd name="T2" fmla="*/ 0 w 36"/>
                <a:gd name="T3" fmla="*/ 18 h 36"/>
                <a:gd name="T4" fmla="*/ 19 w 36"/>
                <a:gd name="T5" fmla="*/ 35 h 36"/>
                <a:gd name="T6" fmla="*/ 36 w 36"/>
                <a:gd name="T7" fmla="*/ 17 h 36"/>
                <a:gd name="T8" fmla="*/ 18 w 36"/>
                <a:gd name="T9" fmla="*/ 0 h 36"/>
                <a:gd name="T10" fmla="*/ 19 w 36"/>
                <a:gd name="T11" fmla="*/ 32 h 36"/>
                <a:gd name="T12" fmla="*/ 4 w 36"/>
                <a:gd name="T13" fmla="*/ 18 h 36"/>
                <a:gd name="T14" fmla="*/ 18 w 36"/>
                <a:gd name="T15" fmla="*/ 3 h 36"/>
                <a:gd name="T16" fmla="*/ 33 w 36"/>
                <a:gd name="T17" fmla="*/ 17 h 36"/>
                <a:gd name="T18" fmla="*/ 19 w 36"/>
                <a:gd name="T19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1" y="28"/>
                    <a:pt x="9" y="36"/>
                    <a:pt x="19" y="35"/>
                  </a:cubicBez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lose/>
                  <a:moveTo>
                    <a:pt x="19" y="32"/>
                  </a:moveTo>
                  <a:cubicBezTo>
                    <a:pt x="11" y="32"/>
                    <a:pt x="4" y="26"/>
                    <a:pt x="4" y="18"/>
                  </a:cubicBezTo>
                  <a:cubicBezTo>
                    <a:pt x="4" y="10"/>
                    <a:pt x="10" y="3"/>
                    <a:pt x="18" y="3"/>
                  </a:cubicBezTo>
                  <a:cubicBezTo>
                    <a:pt x="26" y="3"/>
                    <a:pt x="32" y="9"/>
                    <a:pt x="33" y="17"/>
                  </a:cubicBezTo>
                  <a:cubicBezTo>
                    <a:pt x="33" y="25"/>
                    <a:pt x="26" y="32"/>
                    <a:pt x="19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8" name="ïṥḷíḋé"/>
            <p:cNvSpPr/>
            <p:nvPr>
              <p:custDataLst>
                <p:tags r:id="rId132"/>
              </p:custDataLst>
            </p:nvPr>
          </p:nvSpPr>
          <p:spPr bwMode="auto">
            <a:xfrm flipH="1">
              <a:off x="2933464" y="2772966"/>
              <a:ext cx="41033" cy="35782"/>
            </a:xfrm>
            <a:custGeom>
              <a:avLst/>
              <a:gdLst>
                <a:gd name="T0" fmla="*/ 12 w 19"/>
                <a:gd name="T1" fmla="*/ 14 h 17"/>
                <a:gd name="T2" fmla="*/ 7 w 19"/>
                <a:gd name="T3" fmla="*/ 12 h 17"/>
                <a:gd name="T4" fmla="*/ 11 w 19"/>
                <a:gd name="T5" fmla="*/ 12 h 17"/>
                <a:gd name="T6" fmla="*/ 12 w 19"/>
                <a:gd name="T7" fmla="*/ 10 h 17"/>
                <a:gd name="T8" fmla="*/ 11 w 19"/>
                <a:gd name="T9" fmla="*/ 9 h 17"/>
                <a:gd name="T10" fmla="*/ 6 w 19"/>
                <a:gd name="T11" fmla="*/ 9 h 17"/>
                <a:gd name="T12" fmla="*/ 6 w 19"/>
                <a:gd name="T13" fmla="*/ 9 h 17"/>
                <a:gd name="T14" fmla="*/ 6 w 19"/>
                <a:gd name="T15" fmla="*/ 8 h 17"/>
                <a:gd name="T16" fmla="*/ 11 w 19"/>
                <a:gd name="T17" fmla="*/ 8 h 17"/>
                <a:gd name="T18" fmla="*/ 12 w 19"/>
                <a:gd name="T19" fmla="*/ 6 h 17"/>
                <a:gd name="T20" fmla="*/ 11 w 19"/>
                <a:gd name="T21" fmla="*/ 5 h 17"/>
                <a:gd name="T22" fmla="*/ 7 w 19"/>
                <a:gd name="T23" fmla="*/ 5 h 17"/>
                <a:gd name="T24" fmla="*/ 11 w 19"/>
                <a:gd name="T25" fmla="*/ 3 h 17"/>
                <a:gd name="T26" fmla="*/ 15 w 19"/>
                <a:gd name="T27" fmla="*/ 4 h 17"/>
                <a:gd name="T28" fmla="*/ 19 w 19"/>
                <a:gd name="T29" fmla="*/ 4 h 17"/>
                <a:gd name="T30" fmla="*/ 11 w 19"/>
                <a:gd name="T31" fmla="*/ 0 h 17"/>
                <a:gd name="T32" fmla="*/ 4 w 19"/>
                <a:gd name="T33" fmla="*/ 6 h 17"/>
                <a:gd name="T34" fmla="*/ 1 w 19"/>
                <a:gd name="T35" fmla="*/ 6 h 17"/>
                <a:gd name="T36" fmla="*/ 0 w 19"/>
                <a:gd name="T37" fmla="*/ 7 h 17"/>
                <a:gd name="T38" fmla="*/ 1 w 19"/>
                <a:gd name="T39" fmla="*/ 8 h 17"/>
                <a:gd name="T40" fmla="*/ 3 w 19"/>
                <a:gd name="T41" fmla="*/ 8 h 17"/>
                <a:gd name="T42" fmla="*/ 3 w 19"/>
                <a:gd name="T43" fmla="*/ 9 h 17"/>
                <a:gd name="T44" fmla="*/ 3 w 19"/>
                <a:gd name="T45" fmla="*/ 9 h 17"/>
                <a:gd name="T46" fmla="*/ 1 w 19"/>
                <a:gd name="T47" fmla="*/ 10 h 17"/>
                <a:gd name="T48" fmla="*/ 0 w 19"/>
                <a:gd name="T49" fmla="*/ 11 h 17"/>
                <a:gd name="T50" fmla="*/ 1 w 19"/>
                <a:gd name="T51" fmla="*/ 12 h 17"/>
                <a:gd name="T52" fmla="*/ 4 w 19"/>
                <a:gd name="T53" fmla="*/ 12 h 17"/>
                <a:gd name="T54" fmla="*/ 12 w 19"/>
                <a:gd name="T55" fmla="*/ 17 h 17"/>
                <a:gd name="T56" fmla="*/ 19 w 19"/>
                <a:gd name="T57" fmla="*/ 13 h 17"/>
                <a:gd name="T58" fmla="*/ 15 w 19"/>
                <a:gd name="T59" fmla="*/ 13 h 17"/>
                <a:gd name="T60" fmla="*/ 12 w 19"/>
                <a:gd name="T6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" h="17">
                  <a:moveTo>
                    <a:pt x="12" y="14"/>
                  </a:moveTo>
                  <a:cubicBezTo>
                    <a:pt x="10" y="14"/>
                    <a:pt x="8" y="13"/>
                    <a:pt x="7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2"/>
                    <a:pt x="12" y="11"/>
                    <a:pt x="12" y="10"/>
                  </a:cubicBezTo>
                  <a:cubicBezTo>
                    <a:pt x="12" y="10"/>
                    <a:pt x="12" y="9"/>
                    <a:pt x="11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7"/>
                    <a:pt x="12" y="6"/>
                  </a:cubicBezTo>
                  <a:cubicBezTo>
                    <a:pt x="12" y="6"/>
                    <a:pt x="11" y="5"/>
                    <a:pt x="11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10" y="3"/>
                    <a:pt x="11" y="3"/>
                  </a:cubicBezTo>
                  <a:cubicBezTo>
                    <a:pt x="13" y="3"/>
                    <a:pt x="14" y="3"/>
                    <a:pt x="15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7" y="1"/>
                    <a:pt x="14" y="0"/>
                    <a:pt x="11" y="0"/>
                  </a:cubicBezTo>
                  <a:cubicBezTo>
                    <a:pt x="8" y="0"/>
                    <a:pt x="5" y="2"/>
                    <a:pt x="4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8"/>
                    <a:pt x="1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5"/>
                    <a:pt x="8" y="17"/>
                    <a:pt x="12" y="17"/>
                  </a:cubicBezTo>
                  <a:cubicBezTo>
                    <a:pt x="15" y="17"/>
                    <a:pt x="17" y="15"/>
                    <a:pt x="1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4"/>
                    <a:pt x="13" y="14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39" name="îşľîḓè"/>
            <p:cNvSpPr/>
            <p:nvPr>
              <p:custDataLst>
                <p:tags r:id="rId133"/>
              </p:custDataLst>
            </p:nvPr>
          </p:nvSpPr>
          <p:spPr bwMode="auto">
            <a:xfrm flipH="1">
              <a:off x="3076525" y="1659381"/>
              <a:ext cx="97592" cy="165899"/>
            </a:xfrm>
            <a:custGeom>
              <a:avLst/>
              <a:gdLst>
                <a:gd name="T0" fmla="*/ 22 w 45"/>
                <a:gd name="T1" fmla="*/ 0 h 78"/>
                <a:gd name="T2" fmla="*/ 1 w 45"/>
                <a:gd name="T3" fmla="*/ 56 h 78"/>
                <a:gd name="T4" fmla="*/ 23 w 45"/>
                <a:gd name="T5" fmla="*/ 78 h 78"/>
                <a:gd name="T6" fmla="*/ 45 w 45"/>
                <a:gd name="T7" fmla="*/ 55 h 78"/>
                <a:gd name="T8" fmla="*/ 22 w 45"/>
                <a:gd name="T9" fmla="*/ 0 h 78"/>
                <a:gd name="T10" fmla="*/ 23 w 45"/>
                <a:gd name="T11" fmla="*/ 69 h 78"/>
                <a:gd name="T12" fmla="*/ 36 w 45"/>
                <a:gd name="T13" fmla="*/ 51 h 78"/>
                <a:gd name="T14" fmla="*/ 23 w 45"/>
                <a:gd name="T15" fmla="*/ 6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78">
                  <a:moveTo>
                    <a:pt x="22" y="0"/>
                  </a:moveTo>
                  <a:cubicBezTo>
                    <a:pt x="22" y="0"/>
                    <a:pt x="0" y="33"/>
                    <a:pt x="1" y="56"/>
                  </a:cubicBezTo>
                  <a:cubicBezTo>
                    <a:pt x="1" y="69"/>
                    <a:pt x="11" y="78"/>
                    <a:pt x="23" y="78"/>
                  </a:cubicBezTo>
                  <a:cubicBezTo>
                    <a:pt x="36" y="78"/>
                    <a:pt x="45" y="68"/>
                    <a:pt x="45" y="55"/>
                  </a:cubicBezTo>
                  <a:cubicBezTo>
                    <a:pt x="45" y="32"/>
                    <a:pt x="22" y="0"/>
                    <a:pt x="22" y="0"/>
                  </a:cubicBezTo>
                  <a:close/>
                  <a:moveTo>
                    <a:pt x="23" y="69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9" y="69"/>
                    <a:pt x="23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0" name="íSḻíḋê"/>
            <p:cNvSpPr/>
            <p:nvPr>
              <p:custDataLst>
                <p:tags r:id="rId134"/>
              </p:custDataLst>
            </p:nvPr>
          </p:nvSpPr>
          <p:spPr bwMode="auto">
            <a:xfrm flipH="1">
              <a:off x="3303871" y="1241922"/>
              <a:ext cx="43251" cy="70480"/>
            </a:xfrm>
            <a:custGeom>
              <a:avLst/>
              <a:gdLst>
                <a:gd name="T0" fmla="*/ 13 w 20"/>
                <a:gd name="T1" fmla="*/ 0 h 33"/>
                <a:gd name="T2" fmla="*/ 1 w 20"/>
                <a:gd name="T3" fmla="*/ 21 h 33"/>
                <a:gd name="T4" fmla="*/ 8 w 20"/>
                <a:gd name="T5" fmla="*/ 32 h 33"/>
                <a:gd name="T6" fmla="*/ 19 w 20"/>
                <a:gd name="T7" fmla="*/ 24 h 33"/>
                <a:gd name="T8" fmla="*/ 13 w 20"/>
                <a:gd name="T9" fmla="*/ 0 h 33"/>
                <a:gd name="T10" fmla="*/ 9 w 20"/>
                <a:gd name="T11" fmla="*/ 28 h 33"/>
                <a:gd name="T12" fmla="*/ 16 w 20"/>
                <a:gd name="T13" fmla="*/ 22 h 33"/>
                <a:gd name="T14" fmla="*/ 9 w 20"/>
                <a:gd name="T15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3">
                  <a:moveTo>
                    <a:pt x="13" y="0"/>
                  </a:moveTo>
                  <a:cubicBezTo>
                    <a:pt x="13" y="0"/>
                    <a:pt x="2" y="12"/>
                    <a:pt x="1" y="21"/>
                  </a:cubicBezTo>
                  <a:cubicBezTo>
                    <a:pt x="0" y="26"/>
                    <a:pt x="3" y="31"/>
                    <a:pt x="8" y="32"/>
                  </a:cubicBezTo>
                  <a:cubicBezTo>
                    <a:pt x="13" y="33"/>
                    <a:pt x="18" y="29"/>
                    <a:pt x="19" y="24"/>
                  </a:cubicBezTo>
                  <a:cubicBezTo>
                    <a:pt x="20" y="15"/>
                    <a:pt x="13" y="0"/>
                    <a:pt x="13" y="0"/>
                  </a:cubicBezTo>
                  <a:close/>
                  <a:moveTo>
                    <a:pt x="9" y="28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5" y="29"/>
                    <a:pt x="9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1" name="íŝ1ïḑè"/>
            <p:cNvSpPr/>
            <p:nvPr>
              <p:custDataLst>
                <p:tags r:id="rId135"/>
              </p:custDataLst>
            </p:nvPr>
          </p:nvSpPr>
          <p:spPr bwMode="auto">
            <a:xfrm flipH="1">
              <a:off x="3594429" y="1907688"/>
              <a:ext cx="63213" cy="108431"/>
            </a:xfrm>
            <a:custGeom>
              <a:avLst/>
              <a:gdLst>
                <a:gd name="T0" fmla="*/ 14 w 29"/>
                <a:gd name="T1" fmla="*/ 0 h 51"/>
                <a:gd name="T2" fmla="*/ 0 w 29"/>
                <a:gd name="T3" fmla="*/ 36 h 51"/>
                <a:gd name="T4" fmla="*/ 15 w 29"/>
                <a:gd name="T5" fmla="*/ 50 h 51"/>
                <a:gd name="T6" fmla="*/ 29 w 29"/>
                <a:gd name="T7" fmla="*/ 36 h 51"/>
                <a:gd name="T8" fmla="*/ 14 w 29"/>
                <a:gd name="T9" fmla="*/ 0 h 51"/>
                <a:gd name="T10" fmla="*/ 14 w 29"/>
                <a:gd name="T11" fmla="*/ 45 h 51"/>
                <a:gd name="T12" fmla="*/ 23 w 29"/>
                <a:gd name="T13" fmla="*/ 33 h 51"/>
                <a:gd name="T14" fmla="*/ 14 w 29"/>
                <a:gd name="T15" fmla="*/ 4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51">
                  <a:moveTo>
                    <a:pt x="14" y="0"/>
                  </a:moveTo>
                  <a:cubicBezTo>
                    <a:pt x="14" y="0"/>
                    <a:pt x="0" y="21"/>
                    <a:pt x="0" y="36"/>
                  </a:cubicBezTo>
                  <a:cubicBezTo>
                    <a:pt x="0" y="44"/>
                    <a:pt x="7" y="51"/>
                    <a:pt x="15" y="50"/>
                  </a:cubicBezTo>
                  <a:cubicBezTo>
                    <a:pt x="23" y="50"/>
                    <a:pt x="29" y="44"/>
                    <a:pt x="29" y="36"/>
                  </a:cubicBezTo>
                  <a:cubicBezTo>
                    <a:pt x="28" y="21"/>
                    <a:pt x="14" y="0"/>
                    <a:pt x="14" y="0"/>
                  </a:cubicBezTo>
                  <a:close/>
                  <a:moveTo>
                    <a:pt x="14" y="45"/>
                  </a:moveTo>
                  <a:cubicBezTo>
                    <a:pt x="23" y="33"/>
                    <a:pt x="23" y="33"/>
                    <a:pt x="23" y="33"/>
                  </a:cubicBezTo>
                  <a:cubicBezTo>
                    <a:pt x="23" y="33"/>
                    <a:pt x="25" y="45"/>
                    <a:pt x="14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2" name="íşḷíḓé"/>
            <p:cNvSpPr/>
            <p:nvPr>
              <p:custDataLst>
                <p:tags r:id="rId136"/>
              </p:custDataLst>
            </p:nvPr>
          </p:nvSpPr>
          <p:spPr bwMode="auto">
            <a:xfrm flipH="1">
              <a:off x="3408117" y="1517337"/>
              <a:ext cx="99810" cy="199513"/>
            </a:xfrm>
            <a:custGeom>
              <a:avLst/>
              <a:gdLst>
                <a:gd name="T0" fmla="*/ 45 w 46"/>
                <a:gd name="T1" fmla="*/ 11 h 94"/>
                <a:gd name="T2" fmla="*/ 45 w 46"/>
                <a:gd name="T3" fmla="*/ 10 h 94"/>
                <a:gd name="T4" fmla="*/ 45 w 46"/>
                <a:gd name="T5" fmla="*/ 10 h 94"/>
                <a:gd name="T6" fmla="*/ 28 w 46"/>
                <a:gd name="T7" fmla="*/ 1 h 94"/>
                <a:gd name="T8" fmla="*/ 27 w 46"/>
                <a:gd name="T9" fmla="*/ 1 h 94"/>
                <a:gd name="T10" fmla="*/ 20 w 46"/>
                <a:gd name="T11" fmla="*/ 1 h 94"/>
                <a:gd name="T12" fmla="*/ 1 w 46"/>
                <a:gd name="T13" fmla="*/ 13 h 94"/>
                <a:gd name="T14" fmla="*/ 1 w 46"/>
                <a:gd name="T15" fmla="*/ 41 h 94"/>
                <a:gd name="T16" fmla="*/ 6 w 46"/>
                <a:gd name="T17" fmla="*/ 46 h 94"/>
                <a:gd name="T18" fmla="*/ 10 w 46"/>
                <a:gd name="T19" fmla="*/ 41 h 94"/>
                <a:gd name="T20" fmla="*/ 10 w 46"/>
                <a:gd name="T21" fmla="*/ 19 h 94"/>
                <a:gd name="T22" fmla="*/ 12 w 46"/>
                <a:gd name="T23" fmla="*/ 19 h 94"/>
                <a:gd name="T24" fmla="*/ 12 w 46"/>
                <a:gd name="T25" fmla="*/ 32 h 94"/>
                <a:gd name="T26" fmla="*/ 12 w 46"/>
                <a:gd name="T27" fmla="*/ 44 h 94"/>
                <a:gd name="T28" fmla="*/ 13 w 46"/>
                <a:gd name="T29" fmla="*/ 89 h 94"/>
                <a:gd name="T30" fmla="*/ 19 w 46"/>
                <a:gd name="T31" fmla="*/ 94 h 94"/>
                <a:gd name="T32" fmla="*/ 24 w 46"/>
                <a:gd name="T33" fmla="*/ 88 h 94"/>
                <a:gd name="T34" fmla="*/ 23 w 46"/>
                <a:gd name="T35" fmla="*/ 48 h 94"/>
                <a:gd name="T36" fmla="*/ 25 w 46"/>
                <a:gd name="T37" fmla="*/ 48 h 94"/>
                <a:gd name="T38" fmla="*/ 26 w 46"/>
                <a:gd name="T39" fmla="*/ 88 h 94"/>
                <a:gd name="T40" fmla="*/ 31 w 46"/>
                <a:gd name="T41" fmla="*/ 93 h 94"/>
                <a:gd name="T42" fmla="*/ 36 w 46"/>
                <a:gd name="T43" fmla="*/ 88 h 94"/>
                <a:gd name="T44" fmla="*/ 35 w 46"/>
                <a:gd name="T45" fmla="*/ 43 h 94"/>
                <a:gd name="T46" fmla="*/ 35 w 46"/>
                <a:gd name="T47" fmla="*/ 32 h 94"/>
                <a:gd name="T48" fmla="*/ 35 w 46"/>
                <a:gd name="T49" fmla="*/ 18 h 94"/>
                <a:gd name="T50" fmla="*/ 36 w 46"/>
                <a:gd name="T51" fmla="*/ 18 h 94"/>
                <a:gd name="T52" fmla="*/ 37 w 46"/>
                <a:gd name="T53" fmla="*/ 40 h 94"/>
                <a:gd name="T54" fmla="*/ 41 w 46"/>
                <a:gd name="T55" fmla="*/ 45 h 94"/>
                <a:gd name="T56" fmla="*/ 46 w 46"/>
                <a:gd name="T57" fmla="*/ 40 h 94"/>
                <a:gd name="T58" fmla="*/ 45 w 46"/>
                <a:gd name="T59" fmla="*/ 11 h 94"/>
                <a:gd name="T60" fmla="*/ 45 w 46"/>
                <a:gd name="T61" fmla="*/ 1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94">
                  <a:moveTo>
                    <a:pt x="45" y="11"/>
                  </a:moveTo>
                  <a:cubicBezTo>
                    <a:pt x="45" y="11"/>
                    <a:pt x="45" y="11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4" y="3"/>
                    <a:pt x="33" y="1"/>
                    <a:pt x="28" y="1"/>
                  </a:cubicBezTo>
                  <a:cubicBezTo>
                    <a:pt x="28" y="1"/>
                    <a:pt x="27" y="1"/>
                    <a:pt x="27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0" y="0"/>
                    <a:pt x="1" y="13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44"/>
                    <a:pt x="4" y="46"/>
                    <a:pt x="6" y="46"/>
                  </a:cubicBezTo>
                  <a:cubicBezTo>
                    <a:pt x="9" y="46"/>
                    <a:pt x="11" y="44"/>
                    <a:pt x="10" y="41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91"/>
                    <a:pt x="16" y="94"/>
                    <a:pt x="19" y="94"/>
                  </a:cubicBezTo>
                  <a:cubicBezTo>
                    <a:pt x="22" y="94"/>
                    <a:pt x="24" y="91"/>
                    <a:pt x="24" y="8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91"/>
                    <a:pt x="28" y="94"/>
                    <a:pt x="31" y="93"/>
                  </a:cubicBezTo>
                  <a:cubicBezTo>
                    <a:pt x="34" y="93"/>
                    <a:pt x="36" y="91"/>
                    <a:pt x="36" y="88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3"/>
                    <a:pt x="39" y="45"/>
                    <a:pt x="41" y="45"/>
                  </a:cubicBezTo>
                  <a:cubicBezTo>
                    <a:pt x="44" y="45"/>
                    <a:pt x="46" y="42"/>
                    <a:pt x="46" y="40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</a:p>
          </p:txBody>
        </p:sp>
        <p:sp>
          <p:nvSpPr>
            <p:cNvPr id="243" name="iṥ1iḑê"/>
            <p:cNvSpPr/>
            <p:nvPr>
              <p:custDataLst>
                <p:tags r:id="rId137"/>
              </p:custDataLst>
            </p:nvPr>
          </p:nvSpPr>
          <p:spPr bwMode="auto">
            <a:xfrm flipH="1">
              <a:off x="3435842" y="1472880"/>
              <a:ext cx="43251" cy="42288"/>
            </a:xfrm>
            <a:custGeom>
              <a:avLst/>
              <a:gdLst>
                <a:gd name="T0" fmla="*/ 10 w 20"/>
                <a:gd name="T1" fmla="*/ 20 h 20"/>
                <a:gd name="T2" fmla="*/ 20 w 20"/>
                <a:gd name="T3" fmla="*/ 10 h 20"/>
                <a:gd name="T4" fmla="*/ 9 w 20"/>
                <a:gd name="T5" fmla="*/ 0 h 20"/>
                <a:gd name="T6" fmla="*/ 0 w 20"/>
                <a:gd name="T7" fmla="*/ 11 h 20"/>
                <a:gd name="T8" fmla="*/ 10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15" y="20"/>
                    <a:pt x="20" y="16"/>
                    <a:pt x="20" y="10"/>
                  </a:cubicBezTo>
                  <a:cubicBezTo>
                    <a:pt x="19" y="5"/>
                    <a:pt x="15" y="0"/>
                    <a:pt x="9" y="0"/>
                  </a:cubicBezTo>
                  <a:cubicBezTo>
                    <a:pt x="4" y="1"/>
                    <a:pt x="0" y="5"/>
                    <a:pt x="0" y="11"/>
                  </a:cubicBezTo>
                  <a:cubicBezTo>
                    <a:pt x="0" y="16"/>
                    <a:pt x="4" y="20"/>
                    <a:pt x="10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4" name="ïšḷiḍê"/>
            <p:cNvSpPr/>
            <p:nvPr>
              <p:custDataLst>
                <p:tags r:id="rId138"/>
              </p:custDataLst>
            </p:nvPr>
          </p:nvSpPr>
          <p:spPr bwMode="auto">
            <a:xfrm flipH="1">
              <a:off x="3678714" y="2988743"/>
              <a:ext cx="95374" cy="195176"/>
            </a:xfrm>
            <a:custGeom>
              <a:avLst/>
              <a:gdLst>
                <a:gd name="T0" fmla="*/ 43 w 44"/>
                <a:gd name="T1" fmla="*/ 10 h 92"/>
                <a:gd name="T2" fmla="*/ 43 w 44"/>
                <a:gd name="T3" fmla="*/ 10 h 92"/>
                <a:gd name="T4" fmla="*/ 43 w 44"/>
                <a:gd name="T5" fmla="*/ 10 h 92"/>
                <a:gd name="T6" fmla="*/ 26 w 44"/>
                <a:gd name="T7" fmla="*/ 1 h 92"/>
                <a:gd name="T8" fmla="*/ 26 w 44"/>
                <a:gd name="T9" fmla="*/ 1 h 92"/>
                <a:gd name="T10" fmla="*/ 19 w 44"/>
                <a:gd name="T11" fmla="*/ 1 h 92"/>
                <a:gd name="T12" fmla="*/ 0 w 44"/>
                <a:gd name="T13" fmla="*/ 12 h 92"/>
                <a:gd name="T14" fmla="*/ 1 w 44"/>
                <a:gd name="T15" fmla="*/ 40 h 92"/>
                <a:gd name="T16" fmla="*/ 5 w 44"/>
                <a:gd name="T17" fmla="*/ 45 h 92"/>
                <a:gd name="T18" fmla="*/ 9 w 44"/>
                <a:gd name="T19" fmla="*/ 40 h 92"/>
                <a:gd name="T20" fmla="*/ 9 w 44"/>
                <a:gd name="T21" fmla="*/ 18 h 92"/>
                <a:gd name="T22" fmla="*/ 11 w 44"/>
                <a:gd name="T23" fmla="*/ 18 h 92"/>
                <a:gd name="T24" fmla="*/ 11 w 44"/>
                <a:gd name="T25" fmla="*/ 31 h 92"/>
                <a:gd name="T26" fmla="*/ 11 w 44"/>
                <a:gd name="T27" fmla="*/ 43 h 92"/>
                <a:gd name="T28" fmla="*/ 12 w 44"/>
                <a:gd name="T29" fmla="*/ 87 h 92"/>
                <a:gd name="T30" fmla="*/ 17 w 44"/>
                <a:gd name="T31" fmla="*/ 92 h 92"/>
                <a:gd name="T32" fmla="*/ 23 w 44"/>
                <a:gd name="T33" fmla="*/ 86 h 92"/>
                <a:gd name="T34" fmla="*/ 22 w 44"/>
                <a:gd name="T35" fmla="*/ 47 h 92"/>
                <a:gd name="T36" fmla="*/ 23 w 44"/>
                <a:gd name="T37" fmla="*/ 47 h 92"/>
                <a:gd name="T38" fmla="*/ 24 w 44"/>
                <a:gd name="T39" fmla="*/ 86 h 92"/>
                <a:gd name="T40" fmla="*/ 30 w 44"/>
                <a:gd name="T41" fmla="*/ 92 h 92"/>
                <a:gd name="T42" fmla="*/ 35 w 44"/>
                <a:gd name="T43" fmla="*/ 86 h 92"/>
                <a:gd name="T44" fmla="*/ 34 w 44"/>
                <a:gd name="T45" fmla="*/ 42 h 92"/>
                <a:gd name="T46" fmla="*/ 33 w 44"/>
                <a:gd name="T47" fmla="*/ 31 h 92"/>
                <a:gd name="T48" fmla="*/ 33 w 44"/>
                <a:gd name="T49" fmla="*/ 18 h 92"/>
                <a:gd name="T50" fmla="*/ 35 w 44"/>
                <a:gd name="T51" fmla="*/ 18 h 92"/>
                <a:gd name="T52" fmla="*/ 35 w 44"/>
                <a:gd name="T53" fmla="*/ 39 h 92"/>
                <a:gd name="T54" fmla="*/ 40 w 44"/>
                <a:gd name="T55" fmla="*/ 44 h 92"/>
                <a:gd name="T56" fmla="*/ 44 w 44"/>
                <a:gd name="T57" fmla="*/ 39 h 92"/>
                <a:gd name="T58" fmla="*/ 43 w 44"/>
                <a:gd name="T59" fmla="*/ 11 h 92"/>
                <a:gd name="T60" fmla="*/ 43 w 44"/>
                <a:gd name="T61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4" h="92">
                  <a:moveTo>
                    <a:pt x="43" y="10"/>
                  </a:move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2" y="2"/>
                    <a:pt x="31" y="1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0" y="0"/>
                    <a:pt x="0" y="1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3"/>
                    <a:pt x="3" y="45"/>
                    <a:pt x="5" y="45"/>
                  </a:cubicBezTo>
                  <a:cubicBezTo>
                    <a:pt x="8" y="45"/>
                    <a:pt x="10" y="43"/>
                    <a:pt x="9" y="4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5" y="92"/>
                    <a:pt x="17" y="92"/>
                  </a:cubicBezTo>
                  <a:cubicBezTo>
                    <a:pt x="20" y="92"/>
                    <a:pt x="23" y="89"/>
                    <a:pt x="23" y="86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24" y="89"/>
                    <a:pt x="27" y="92"/>
                    <a:pt x="30" y="92"/>
                  </a:cubicBezTo>
                  <a:cubicBezTo>
                    <a:pt x="32" y="91"/>
                    <a:pt x="35" y="89"/>
                    <a:pt x="35" y="86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42"/>
                    <a:pt x="37" y="44"/>
                    <a:pt x="40" y="44"/>
                  </a:cubicBezTo>
                  <a:cubicBezTo>
                    <a:pt x="42" y="43"/>
                    <a:pt x="44" y="41"/>
                    <a:pt x="44" y="3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</a:p>
          </p:txBody>
        </p:sp>
        <p:sp>
          <p:nvSpPr>
            <p:cNvPr id="245" name="íṥľïḑe"/>
            <p:cNvSpPr/>
            <p:nvPr>
              <p:custDataLst>
                <p:tags r:id="rId139"/>
              </p:custDataLst>
            </p:nvPr>
          </p:nvSpPr>
          <p:spPr bwMode="auto">
            <a:xfrm flipH="1">
              <a:off x="3707548" y="2946455"/>
              <a:ext cx="43251" cy="40119"/>
            </a:xfrm>
            <a:custGeom>
              <a:avLst/>
              <a:gdLst>
                <a:gd name="T0" fmla="*/ 11 w 20"/>
                <a:gd name="T1" fmla="*/ 19 h 19"/>
                <a:gd name="T2" fmla="*/ 20 w 20"/>
                <a:gd name="T3" fmla="*/ 9 h 19"/>
                <a:gd name="T4" fmla="*/ 10 w 20"/>
                <a:gd name="T5" fmla="*/ 0 h 19"/>
                <a:gd name="T6" fmla="*/ 1 w 20"/>
                <a:gd name="T7" fmla="*/ 10 h 19"/>
                <a:gd name="T8" fmla="*/ 11 w 2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11" y="19"/>
                  </a:moveTo>
                  <a:cubicBezTo>
                    <a:pt x="16" y="19"/>
                    <a:pt x="20" y="15"/>
                    <a:pt x="20" y="9"/>
                  </a:cubicBezTo>
                  <a:cubicBezTo>
                    <a:pt x="20" y="4"/>
                    <a:pt x="16" y="0"/>
                    <a:pt x="10" y="0"/>
                  </a:cubicBezTo>
                  <a:cubicBezTo>
                    <a:pt x="5" y="0"/>
                    <a:pt x="0" y="4"/>
                    <a:pt x="1" y="10"/>
                  </a:cubicBezTo>
                  <a:cubicBezTo>
                    <a:pt x="1" y="15"/>
                    <a:pt x="5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6" name="íŝlîde"/>
            <p:cNvSpPr/>
            <p:nvPr>
              <p:custDataLst>
                <p:tags r:id="rId140"/>
              </p:custDataLst>
            </p:nvPr>
          </p:nvSpPr>
          <p:spPr bwMode="auto">
            <a:xfrm flipH="1">
              <a:off x="3893860" y="3392106"/>
              <a:ext cx="113118" cy="224452"/>
            </a:xfrm>
            <a:custGeom>
              <a:avLst/>
              <a:gdLst>
                <a:gd name="T0" fmla="*/ 51 w 52"/>
                <a:gd name="T1" fmla="*/ 16 h 106"/>
                <a:gd name="T2" fmla="*/ 51 w 52"/>
                <a:gd name="T3" fmla="*/ 16 h 106"/>
                <a:gd name="T4" fmla="*/ 51 w 52"/>
                <a:gd name="T5" fmla="*/ 16 h 106"/>
                <a:gd name="T6" fmla="*/ 33 w 52"/>
                <a:gd name="T7" fmla="*/ 4 h 106"/>
                <a:gd name="T8" fmla="*/ 32 w 52"/>
                <a:gd name="T9" fmla="*/ 3 h 106"/>
                <a:gd name="T10" fmla="*/ 25 w 52"/>
                <a:gd name="T11" fmla="*/ 3 h 106"/>
                <a:gd name="T12" fmla="*/ 2 w 52"/>
                <a:gd name="T13" fmla="*/ 14 h 106"/>
                <a:gd name="T14" fmla="*/ 1 w 52"/>
                <a:gd name="T15" fmla="*/ 46 h 106"/>
                <a:gd name="T16" fmla="*/ 5 w 52"/>
                <a:gd name="T17" fmla="*/ 51 h 106"/>
                <a:gd name="T18" fmla="*/ 11 w 52"/>
                <a:gd name="T19" fmla="*/ 46 h 106"/>
                <a:gd name="T20" fmla="*/ 12 w 52"/>
                <a:gd name="T21" fmla="*/ 22 h 106"/>
                <a:gd name="T22" fmla="*/ 14 w 52"/>
                <a:gd name="T23" fmla="*/ 22 h 106"/>
                <a:gd name="T24" fmla="*/ 13 w 52"/>
                <a:gd name="T25" fmla="*/ 37 h 106"/>
                <a:gd name="T26" fmla="*/ 12 w 52"/>
                <a:gd name="T27" fmla="*/ 50 h 106"/>
                <a:gd name="T28" fmla="*/ 10 w 52"/>
                <a:gd name="T29" fmla="*/ 99 h 106"/>
                <a:gd name="T30" fmla="*/ 15 w 52"/>
                <a:gd name="T31" fmla="*/ 105 h 106"/>
                <a:gd name="T32" fmla="*/ 21 w 52"/>
                <a:gd name="T33" fmla="*/ 100 h 106"/>
                <a:gd name="T34" fmla="*/ 24 w 52"/>
                <a:gd name="T35" fmla="*/ 55 h 106"/>
                <a:gd name="T36" fmla="*/ 26 w 52"/>
                <a:gd name="T37" fmla="*/ 55 h 106"/>
                <a:gd name="T38" fmla="*/ 23 w 52"/>
                <a:gd name="T39" fmla="*/ 100 h 106"/>
                <a:gd name="T40" fmla="*/ 29 w 52"/>
                <a:gd name="T41" fmla="*/ 106 h 106"/>
                <a:gd name="T42" fmla="*/ 35 w 52"/>
                <a:gd name="T43" fmla="*/ 100 h 106"/>
                <a:gd name="T44" fmla="*/ 38 w 52"/>
                <a:gd name="T45" fmla="*/ 51 h 106"/>
                <a:gd name="T46" fmla="*/ 39 w 52"/>
                <a:gd name="T47" fmla="*/ 38 h 106"/>
                <a:gd name="T48" fmla="*/ 39 w 52"/>
                <a:gd name="T49" fmla="*/ 23 h 106"/>
                <a:gd name="T50" fmla="*/ 41 w 52"/>
                <a:gd name="T51" fmla="*/ 23 h 106"/>
                <a:gd name="T52" fmla="*/ 40 w 52"/>
                <a:gd name="T53" fmla="*/ 48 h 106"/>
                <a:gd name="T54" fmla="*/ 44 w 52"/>
                <a:gd name="T55" fmla="*/ 53 h 106"/>
                <a:gd name="T56" fmla="*/ 50 w 52"/>
                <a:gd name="T57" fmla="*/ 48 h 106"/>
                <a:gd name="T58" fmla="*/ 52 w 52"/>
                <a:gd name="T59" fmla="*/ 17 h 106"/>
                <a:gd name="T60" fmla="*/ 51 w 52"/>
                <a:gd name="T61" fmla="*/ 1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" h="106">
                  <a:moveTo>
                    <a:pt x="51" y="16"/>
                  </a:move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7"/>
                    <a:pt x="39" y="4"/>
                    <a:pt x="33" y="4"/>
                  </a:cubicBezTo>
                  <a:cubicBezTo>
                    <a:pt x="33" y="4"/>
                    <a:pt x="33" y="3"/>
                    <a:pt x="32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3" y="0"/>
                    <a:pt x="2" y="1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9"/>
                    <a:pt x="3" y="51"/>
                    <a:pt x="5" y="51"/>
                  </a:cubicBezTo>
                  <a:cubicBezTo>
                    <a:pt x="8" y="51"/>
                    <a:pt x="11" y="49"/>
                    <a:pt x="11" y="4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9" y="102"/>
                    <a:pt x="12" y="105"/>
                    <a:pt x="15" y="105"/>
                  </a:cubicBezTo>
                  <a:cubicBezTo>
                    <a:pt x="18" y="105"/>
                    <a:pt x="21" y="103"/>
                    <a:pt x="21" y="100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100"/>
                    <a:pt x="23" y="100"/>
                    <a:pt x="23" y="100"/>
                  </a:cubicBezTo>
                  <a:cubicBezTo>
                    <a:pt x="23" y="103"/>
                    <a:pt x="26" y="106"/>
                    <a:pt x="29" y="106"/>
                  </a:cubicBezTo>
                  <a:cubicBezTo>
                    <a:pt x="32" y="106"/>
                    <a:pt x="35" y="104"/>
                    <a:pt x="35" y="100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9" y="50"/>
                    <a:pt x="42" y="53"/>
                    <a:pt x="44" y="53"/>
                  </a:cubicBezTo>
                  <a:cubicBezTo>
                    <a:pt x="47" y="53"/>
                    <a:pt x="50" y="51"/>
                    <a:pt x="50" y="48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6"/>
                    <a:pt x="52" y="16"/>
                    <a:pt x="5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</a:p>
          </p:txBody>
        </p:sp>
        <p:sp>
          <p:nvSpPr>
            <p:cNvPr id="247" name="íSḻíḓè"/>
            <p:cNvSpPr/>
            <p:nvPr>
              <p:custDataLst>
                <p:tags r:id="rId141"/>
              </p:custDataLst>
            </p:nvPr>
          </p:nvSpPr>
          <p:spPr bwMode="auto">
            <a:xfrm flipH="1">
              <a:off x="3919367" y="3347650"/>
              <a:ext cx="49905" cy="48794"/>
            </a:xfrm>
            <a:custGeom>
              <a:avLst/>
              <a:gdLst>
                <a:gd name="T0" fmla="*/ 11 w 23"/>
                <a:gd name="T1" fmla="*/ 23 h 23"/>
                <a:gd name="T2" fmla="*/ 23 w 23"/>
                <a:gd name="T3" fmla="*/ 12 h 23"/>
                <a:gd name="T4" fmla="*/ 12 w 23"/>
                <a:gd name="T5" fmla="*/ 1 h 23"/>
                <a:gd name="T6" fmla="*/ 1 w 23"/>
                <a:gd name="T7" fmla="*/ 11 h 23"/>
                <a:gd name="T8" fmla="*/ 11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1" y="23"/>
                  </a:moveTo>
                  <a:cubicBezTo>
                    <a:pt x="17" y="23"/>
                    <a:pt x="22" y="18"/>
                    <a:pt x="23" y="12"/>
                  </a:cubicBezTo>
                  <a:cubicBezTo>
                    <a:pt x="23" y="6"/>
                    <a:pt x="18" y="1"/>
                    <a:pt x="12" y="1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7"/>
                    <a:pt x="5" y="22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8" name="îś1îḑe"/>
            <p:cNvSpPr/>
            <p:nvPr>
              <p:custDataLst>
                <p:tags r:id="rId142"/>
              </p:custDataLst>
            </p:nvPr>
          </p:nvSpPr>
          <p:spPr bwMode="auto">
            <a:xfrm flipH="1">
              <a:off x="3329378" y="1335173"/>
              <a:ext cx="63213" cy="61806"/>
            </a:xfrm>
            <a:custGeom>
              <a:avLst/>
              <a:gdLst>
                <a:gd name="T0" fmla="*/ 22 w 29"/>
                <a:gd name="T1" fmla="*/ 29 h 29"/>
                <a:gd name="T2" fmla="*/ 22 w 29"/>
                <a:gd name="T3" fmla="*/ 21 h 29"/>
                <a:gd name="T4" fmla="*/ 22 w 29"/>
                <a:gd name="T5" fmla="*/ 12 h 29"/>
                <a:gd name="T6" fmla="*/ 23 w 29"/>
                <a:gd name="T7" fmla="*/ 12 h 29"/>
                <a:gd name="T8" fmla="*/ 23 w 29"/>
                <a:gd name="T9" fmla="*/ 25 h 29"/>
                <a:gd name="T10" fmla="*/ 26 w 29"/>
                <a:gd name="T11" fmla="*/ 28 h 29"/>
                <a:gd name="T12" fmla="*/ 29 w 29"/>
                <a:gd name="T13" fmla="*/ 25 h 29"/>
                <a:gd name="T14" fmla="*/ 29 w 29"/>
                <a:gd name="T15" fmla="*/ 7 h 29"/>
                <a:gd name="T16" fmla="*/ 29 w 29"/>
                <a:gd name="T17" fmla="*/ 7 h 29"/>
                <a:gd name="T18" fmla="*/ 29 w 29"/>
                <a:gd name="T19" fmla="*/ 7 h 29"/>
                <a:gd name="T20" fmla="*/ 29 w 29"/>
                <a:gd name="T21" fmla="*/ 7 h 29"/>
                <a:gd name="T22" fmla="*/ 18 w 29"/>
                <a:gd name="T23" fmla="*/ 1 h 29"/>
                <a:gd name="T24" fmla="*/ 17 w 29"/>
                <a:gd name="T25" fmla="*/ 1 h 29"/>
                <a:gd name="T26" fmla="*/ 12 w 29"/>
                <a:gd name="T27" fmla="*/ 1 h 29"/>
                <a:gd name="T28" fmla="*/ 0 w 29"/>
                <a:gd name="T29" fmla="*/ 8 h 29"/>
                <a:gd name="T30" fmla="*/ 0 w 29"/>
                <a:gd name="T31" fmla="*/ 26 h 29"/>
                <a:gd name="T32" fmla="*/ 3 w 29"/>
                <a:gd name="T33" fmla="*/ 29 h 29"/>
                <a:gd name="T34" fmla="*/ 6 w 29"/>
                <a:gd name="T35" fmla="*/ 26 h 29"/>
                <a:gd name="T36" fmla="*/ 6 w 29"/>
                <a:gd name="T37" fmla="*/ 12 h 29"/>
                <a:gd name="T38" fmla="*/ 7 w 29"/>
                <a:gd name="T39" fmla="*/ 12 h 29"/>
                <a:gd name="T40" fmla="*/ 7 w 29"/>
                <a:gd name="T41" fmla="*/ 21 h 29"/>
                <a:gd name="T42" fmla="*/ 7 w 29"/>
                <a:gd name="T43" fmla="*/ 29 h 29"/>
                <a:gd name="T44" fmla="*/ 22 w 29"/>
                <a:gd name="T4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9">
                  <a:moveTo>
                    <a:pt x="22" y="29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7"/>
                    <a:pt x="25" y="28"/>
                    <a:pt x="26" y="28"/>
                  </a:cubicBezTo>
                  <a:cubicBezTo>
                    <a:pt x="28" y="28"/>
                    <a:pt x="29" y="27"/>
                    <a:pt x="29" y="25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2"/>
                    <a:pt x="21" y="1"/>
                    <a:pt x="18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0" y="0"/>
                    <a:pt x="0" y="8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2" y="29"/>
                    <a:pt x="3" y="29"/>
                  </a:cubicBezTo>
                  <a:cubicBezTo>
                    <a:pt x="5" y="29"/>
                    <a:pt x="6" y="28"/>
                    <a:pt x="6" y="26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9"/>
                    <a:pt x="7" y="29"/>
                    <a:pt x="7" y="29"/>
                  </a:cubicBez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49" name="í$ľïḍè"/>
            <p:cNvSpPr/>
            <p:nvPr>
              <p:custDataLst>
                <p:tags r:id="rId143"/>
              </p:custDataLst>
            </p:nvPr>
          </p:nvSpPr>
          <p:spPr bwMode="auto">
            <a:xfrm flipH="1">
              <a:off x="3347122" y="1305897"/>
              <a:ext cx="29943" cy="29276"/>
            </a:xfrm>
            <a:custGeom>
              <a:avLst/>
              <a:gdLst>
                <a:gd name="T0" fmla="*/ 7 w 14"/>
                <a:gd name="T1" fmla="*/ 14 h 14"/>
                <a:gd name="T2" fmla="*/ 14 w 14"/>
                <a:gd name="T3" fmla="*/ 7 h 14"/>
                <a:gd name="T4" fmla="*/ 7 w 14"/>
                <a:gd name="T5" fmla="*/ 0 h 14"/>
                <a:gd name="T6" fmla="*/ 1 w 14"/>
                <a:gd name="T7" fmla="*/ 7 h 14"/>
                <a:gd name="T8" fmla="*/ 7 w 1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7" y="14"/>
                  </a:move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1"/>
                    <a:pt x="0" y="4"/>
                    <a:pt x="1" y="7"/>
                  </a:cubicBezTo>
                  <a:cubicBezTo>
                    <a:pt x="1" y="11"/>
                    <a:pt x="4" y="14"/>
                    <a:pt x="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0" name="i$líḑe"/>
            <p:cNvSpPr/>
            <p:nvPr>
              <p:custDataLst>
                <p:tags r:id="rId144"/>
              </p:custDataLst>
            </p:nvPr>
          </p:nvSpPr>
          <p:spPr bwMode="auto">
            <a:xfrm flipH="1">
              <a:off x="3224023" y="1778655"/>
              <a:ext cx="114227" cy="202766"/>
            </a:xfrm>
            <a:custGeom>
              <a:avLst/>
              <a:gdLst>
                <a:gd name="T0" fmla="*/ 35 w 53"/>
                <a:gd name="T1" fmla="*/ 8 h 96"/>
                <a:gd name="T2" fmla="*/ 28 w 53"/>
                <a:gd name="T3" fmla="*/ 0 h 96"/>
                <a:gd name="T4" fmla="*/ 20 w 53"/>
                <a:gd name="T5" fmla="*/ 7 h 96"/>
                <a:gd name="T6" fmla="*/ 27 w 53"/>
                <a:gd name="T7" fmla="*/ 15 h 96"/>
                <a:gd name="T8" fmla="*/ 35 w 53"/>
                <a:gd name="T9" fmla="*/ 8 h 96"/>
                <a:gd name="T10" fmla="*/ 11 w 53"/>
                <a:gd name="T11" fmla="*/ 28 h 96"/>
                <a:gd name="T12" fmla="*/ 13 w 53"/>
                <a:gd name="T13" fmla="*/ 27 h 96"/>
                <a:gd name="T14" fmla="*/ 10 w 53"/>
                <a:gd name="T15" fmla="*/ 43 h 96"/>
                <a:gd name="T16" fmla="*/ 11 w 53"/>
                <a:gd name="T17" fmla="*/ 48 h 96"/>
                <a:gd name="T18" fmla="*/ 1 w 53"/>
                <a:gd name="T19" fmla="*/ 89 h 96"/>
                <a:gd name="T20" fmla="*/ 5 w 53"/>
                <a:gd name="T21" fmla="*/ 95 h 96"/>
                <a:gd name="T22" fmla="*/ 11 w 53"/>
                <a:gd name="T23" fmla="*/ 91 h 96"/>
                <a:gd name="T24" fmla="*/ 19 w 53"/>
                <a:gd name="T25" fmla="*/ 60 h 96"/>
                <a:gd name="T26" fmla="*/ 26 w 53"/>
                <a:gd name="T27" fmla="*/ 71 h 96"/>
                <a:gd name="T28" fmla="*/ 29 w 53"/>
                <a:gd name="T29" fmla="*/ 91 h 96"/>
                <a:gd name="T30" fmla="*/ 34 w 53"/>
                <a:gd name="T31" fmla="*/ 96 h 96"/>
                <a:gd name="T32" fmla="*/ 39 w 53"/>
                <a:gd name="T33" fmla="*/ 91 h 96"/>
                <a:gd name="T34" fmla="*/ 35 w 53"/>
                <a:gd name="T35" fmla="*/ 70 h 96"/>
                <a:gd name="T36" fmla="*/ 35 w 53"/>
                <a:gd name="T37" fmla="*/ 67 h 96"/>
                <a:gd name="T38" fmla="*/ 35 w 53"/>
                <a:gd name="T39" fmla="*/ 67 h 96"/>
                <a:gd name="T40" fmla="*/ 35 w 53"/>
                <a:gd name="T41" fmla="*/ 67 h 96"/>
                <a:gd name="T42" fmla="*/ 27 w 53"/>
                <a:gd name="T43" fmla="*/ 50 h 96"/>
                <a:gd name="T44" fmla="*/ 29 w 53"/>
                <a:gd name="T45" fmla="*/ 47 h 96"/>
                <a:gd name="T46" fmla="*/ 31 w 53"/>
                <a:gd name="T47" fmla="*/ 35 h 96"/>
                <a:gd name="T48" fmla="*/ 32 w 53"/>
                <a:gd name="T49" fmla="*/ 37 h 96"/>
                <a:gd name="T50" fmla="*/ 34 w 53"/>
                <a:gd name="T51" fmla="*/ 39 h 96"/>
                <a:gd name="T52" fmla="*/ 34 w 53"/>
                <a:gd name="T53" fmla="*/ 39 h 96"/>
                <a:gd name="T54" fmla="*/ 46 w 53"/>
                <a:gd name="T55" fmla="*/ 50 h 96"/>
                <a:gd name="T56" fmla="*/ 51 w 53"/>
                <a:gd name="T57" fmla="*/ 49 h 96"/>
                <a:gd name="T58" fmla="*/ 51 w 53"/>
                <a:gd name="T59" fmla="*/ 44 h 96"/>
                <a:gd name="T60" fmla="*/ 39 w 53"/>
                <a:gd name="T61" fmla="*/ 34 h 96"/>
                <a:gd name="T62" fmla="*/ 39 w 53"/>
                <a:gd name="T63" fmla="*/ 33 h 96"/>
                <a:gd name="T64" fmla="*/ 31 w 53"/>
                <a:gd name="T65" fmla="*/ 20 h 96"/>
                <a:gd name="T66" fmla="*/ 31 w 53"/>
                <a:gd name="T67" fmla="*/ 20 h 96"/>
                <a:gd name="T68" fmla="*/ 31 w 53"/>
                <a:gd name="T69" fmla="*/ 19 h 96"/>
                <a:gd name="T70" fmla="*/ 31 w 53"/>
                <a:gd name="T71" fmla="*/ 19 h 96"/>
                <a:gd name="T72" fmla="*/ 25 w 53"/>
                <a:gd name="T73" fmla="*/ 16 h 96"/>
                <a:gd name="T74" fmla="*/ 17 w 53"/>
                <a:gd name="T75" fmla="*/ 17 h 96"/>
                <a:gd name="T76" fmla="*/ 7 w 53"/>
                <a:gd name="T77" fmla="*/ 21 h 96"/>
                <a:gd name="T78" fmla="*/ 4 w 53"/>
                <a:gd name="T79" fmla="*/ 24 h 96"/>
                <a:gd name="T80" fmla="*/ 0 w 53"/>
                <a:gd name="T81" fmla="*/ 39 h 96"/>
                <a:gd name="T82" fmla="*/ 3 w 53"/>
                <a:gd name="T83" fmla="*/ 44 h 96"/>
                <a:gd name="T84" fmla="*/ 8 w 53"/>
                <a:gd name="T85" fmla="*/ 41 h 96"/>
                <a:gd name="T86" fmla="*/ 11 w 53"/>
                <a:gd name="T87" fmla="*/ 2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" h="96">
                  <a:moveTo>
                    <a:pt x="35" y="8"/>
                  </a:moveTo>
                  <a:cubicBezTo>
                    <a:pt x="35" y="4"/>
                    <a:pt x="32" y="0"/>
                    <a:pt x="28" y="0"/>
                  </a:cubicBezTo>
                  <a:cubicBezTo>
                    <a:pt x="24" y="0"/>
                    <a:pt x="20" y="3"/>
                    <a:pt x="20" y="7"/>
                  </a:cubicBezTo>
                  <a:cubicBezTo>
                    <a:pt x="20" y="11"/>
                    <a:pt x="23" y="15"/>
                    <a:pt x="27" y="15"/>
                  </a:cubicBezTo>
                  <a:cubicBezTo>
                    <a:pt x="32" y="15"/>
                    <a:pt x="35" y="12"/>
                    <a:pt x="35" y="8"/>
                  </a:cubicBezTo>
                  <a:close/>
                  <a:moveTo>
                    <a:pt x="11" y="28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5"/>
                    <a:pt x="10" y="46"/>
                    <a:pt x="11" y="4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1" y="91"/>
                    <a:pt x="2" y="94"/>
                    <a:pt x="5" y="95"/>
                  </a:cubicBezTo>
                  <a:cubicBezTo>
                    <a:pt x="8" y="95"/>
                    <a:pt x="10" y="94"/>
                    <a:pt x="11" y="91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29" y="93"/>
                    <a:pt x="31" y="96"/>
                    <a:pt x="34" y="96"/>
                  </a:cubicBezTo>
                  <a:cubicBezTo>
                    <a:pt x="36" y="96"/>
                    <a:pt x="39" y="94"/>
                    <a:pt x="39" y="9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6" y="69"/>
                    <a:pt x="35" y="68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8" y="49"/>
                    <a:pt x="29" y="48"/>
                    <a:pt x="29" y="47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8"/>
                    <a:pt x="33" y="38"/>
                    <a:pt x="34" y="3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8" y="51"/>
                    <a:pt x="50" y="51"/>
                    <a:pt x="51" y="49"/>
                  </a:cubicBezTo>
                  <a:cubicBezTo>
                    <a:pt x="53" y="48"/>
                    <a:pt x="53" y="45"/>
                    <a:pt x="51" y="4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3"/>
                    <a:pt x="39" y="33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29" y="17"/>
                    <a:pt x="27" y="16"/>
                    <a:pt x="25" y="16"/>
                  </a:cubicBezTo>
                  <a:cubicBezTo>
                    <a:pt x="22" y="15"/>
                    <a:pt x="19" y="16"/>
                    <a:pt x="17" y="1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4" y="22"/>
                    <a:pt x="4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4"/>
                  </a:cubicBezTo>
                  <a:cubicBezTo>
                    <a:pt x="5" y="44"/>
                    <a:pt x="7" y="43"/>
                    <a:pt x="8" y="41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</a:p>
          </p:txBody>
        </p:sp>
        <p:sp>
          <p:nvSpPr>
            <p:cNvPr id="251" name="ïŝľïďe"/>
            <p:cNvSpPr/>
            <p:nvPr>
              <p:custDataLst>
                <p:tags r:id="rId145"/>
              </p:custDataLst>
            </p:nvPr>
          </p:nvSpPr>
          <p:spPr bwMode="auto">
            <a:xfrm flipH="1">
              <a:off x="3392591" y="3478851"/>
              <a:ext cx="149715" cy="262403"/>
            </a:xfrm>
            <a:custGeom>
              <a:avLst/>
              <a:gdLst>
                <a:gd name="T0" fmla="*/ 39 w 69"/>
                <a:gd name="T1" fmla="*/ 8 h 124"/>
                <a:gd name="T2" fmla="*/ 29 w 69"/>
                <a:gd name="T3" fmla="*/ 0 h 124"/>
                <a:gd name="T4" fmla="*/ 21 w 69"/>
                <a:gd name="T5" fmla="*/ 11 h 124"/>
                <a:gd name="T6" fmla="*/ 31 w 69"/>
                <a:gd name="T7" fmla="*/ 19 h 124"/>
                <a:gd name="T8" fmla="*/ 39 w 69"/>
                <a:gd name="T9" fmla="*/ 8 h 124"/>
                <a:gd name="T10" fmla="*/ 12 w 69"/>
                <a:gd name="T11" fmla="*/ 38 h 124"/>
                <a:gd name="T12" fmla="*/ 15 w 69"/>
                <a:gd name="T13" fmla="*/ 36 h 124"/>
                <a:gd name="T14" fmla="*/ 14 w 69"/>
                <a:gd name="T15" fmla="*/ 57 h 124"/>
                <a:gd name="T16" fmla="*/ 16 w 69"/>
                <a:gd name="T17" fmla="*/ 64 h 124"/>
                <a:gd name="T18" fmla="*/ 10 w 69"/>
                <a:gd name="T19" fmla="*/ 117 h 124"/>
                <a:gd name="T20" fmla="*/ 16 w 69"/>
                <a:gd name="T21" fmla="*/ 124 h 124"/>
                <a:gd name="T22" fmla="*/ 22 w 69"/>
                <a:gd name="T23" fmla="*/ 118 h 124"/>
                <a:gd name="T24" fmla="*/ 28 w 69"/>
                <a:gd name="T25" fmla="*/ 78 h 124"/>
                <a:gd name="T26" fmla="*/ 39 w 69"/>
                <a:gd name="T27" fmla="*/ 91 h 124"/>
                <a:gd name="T28" fmla="*/ 46 w 69"/>
                <a:gd name="T29" fmla="*/ 115 h 124"/>
                <a:gd name="T30" fmla="*/ 52 w 69"/>
                <a:gd name="T31" fmla="*/ 120 h 124"/>
                <a:gd name="T32" fmla="*/ 58 w 69"/>
                <a:gd name="T33" fmla="*/ 113 h 124"/>
                <a:gd name="T34" fmla="*/ 50 w 69"/>
                <a:gd name="T35" fmla="*/ 88 h 124"/>
                <a:gd name="T36" fmla="*/ 49 w 69"/>
                <a:gd name="T37" fmla="*/ 84 h 124"/>
                <a:gd name="T38" fmla="*/ 49 w 69"/>
                <a:gd name="T39" fmla="*/ 84 h 124"/>
                <a:gd name="T40" fmla="*/ 49 w 69"/>
                <a:gd name="T41" fmla="*/ 84 h 124"/>
                <a:gd name="T42" fmla="*/ 37 w 69"/>
                <a:gd name="T43" fmla="*/ 63 h 124"/>
                <a:gd name="T44" fmla="*/ 38 w 69"/>
                <a:gd name="T45" fmla="*/ 59 h 124"/>
                <a:gd name="T46" fmla="*/ 39 w 69"/>
                <a:gd name="T47" fmla="*/ 43 h 124"/>
                <a:gd name="T48" fmla="*/ 41 w 69"/>
                <a:gd name="T49" fmla="*/ 47 h 124"/>
                <a:gd name="T50" fmla="*/ 43 w 69"/>
                <a:gd name="T51" fmla="*/ 48 h 124"/>
                <a:gd name="T52" fmla="*/ 44 w 69"/>
                <a:gd name="T53" fmla="*/ 49 h 124"/>
                <a:gd name="T54" fmla="*/ 60 w 69"/>
                <a:gd name="T55" fmla="*/ 60 h 124"/>
                <a:gd name="T56" fmla="*/ 67 w 69"/>
                <a:gd name="T57" fmla="*/ 59 h 124"/>
                <a:gd name="T58" fmla="*/ 66 w 69"/>
                <a:gd name="T59" fmla="*/ 52 h 124"/>
                <a:gd name="T60" fmla="*/ 49 w 69"/>
                <a:gd name="T61" fmla="*/ 41 h 124"/>
                <a:gd name="T62" fmla="*/ 49 w 69"/>
                <a:gd name="T63" fmla="*/ 41 h 124"/>
                <a:gd name="T64" fmla="*/ 37 w 69"/>
                <a:gd name="T65" fmla="*/ 25 h 124"/>
                <a:gd name="T66" fmla="*/ 36 w 69"/>
                <a:gd name="T67" fmla="*/ 24 h 124"/>
                <a:gd name="T68" fmla="*/ 36 w 69"/>
                <a:gd name="T69" fmla="*/ 24 h 124"/>
                <a:gd name="T70" fmla="*/ 36 w 69"/>
                <a:gd name="T71" fmla="*/ 24 h 124"/>
                <a:gd name="T72" fmla="*/ 28 w 69"/>
                <a:gd name="T73" fmla="*/ 20 h 124"/>
                <a:gd name="T74" fmla="*/ 18 w 69"/>
                <a:gd name="T75" fmla="*/ 24 h 124"/>
                <a:gd name="T76" fmla="*/ 7 w 69"/>
                <a:gd name="T77" fmla="*/ 30 h 124"/>
                <a:gd name="T78" fmla="*/ 3 w 69"/>
                <a:gd name="T79" fmla="*/ 34 h 124"/>
                <a:gd name="T80" fmla="*/ 1 w 69"/>
                <a:gd name="T81" fmla="*/ 54 h 124"/>
                <a:gd name="T82" fmla="*/ 5 w 69"/>
                <a:gd name="T83" fmla="*/ 59 h 124"/>
                <a:gd name="T84" fmla="*/ 10 w 69"/>
                <a:gd name="T85" fmla="*/ 55 h 124"/>
                <a:gd name="T86" fmla="*/ 12 w 69"/>
                <a:gd name="T87" fmla="*/ 3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9" h="124">
                  <a:moveTo>
                    <a:pt x="39" y="8"/>
                  </a:moveTo>
                  <a:cubicBezTo>
                    <a:pt x="39" y="3"/>
                    <a:pt x="34" y="0"/>
                    <a:pt x="29" y="0"/>
                  </a:cubicBezTo>
                  <a:cubicBezTo>
                    <a:pt x="24" y="1"/>
                    <a:pt x="20" y="5"/>
                    <a:pt x="21" y="11"/>
                  </a:cubicBezTo>
                  <a:cubicBezTo>
                    <a:pt x="21" y="16"/>
                    <a:pt x="26" y="19"/>
                    <a:pt x="31" y="19"/>
                  </a:cubicBezTo>
                  <a:cubicBezTo>
                    <a:pt x="36" y="18"/>
                    <a:pt x="40" y="14"/>
                    <a:pt x="39" y="8"/>
                  </a:cubicBezTo>
                  <a:close/>
                  <a:moveTo>
                    <a:pt x="12" y="38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9"/>
                    <a:pt x="15" y="62"/>
                    <a:pt x="16" y="64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10" y="120"/>
                    <a:pt x="12" y="123"/>
                    <a:pt x="16" y="124"/>
                  </a:cubicBezTo>
                  <a:cubicBezTo>
                    <a:pt x="19" y="124"/>
                    <a:pt x="22" y="121"/>
                    <a:pt x="22" y="11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6" y="118"/>
                    <a:pt x="49" y="121"/>
                    <a:pt x="52" y="120"/>
                  </a:cubicBezTo>
                  <a:cubicBezTo>
                    <a:pt x="56" y="120"/>
                    <a:pt x="58" y="117"/>
                    <a:pt x="58" y="113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6"/>
                    <a:pt x="50" y="85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8" y="62"/>
                    <a:pt x="38" y="60"/>
                    <a:pt x="38" y="59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2" y="47"/>
                    <a:pt x="42" y="48"/>
                    <a:pt x="43" y="48"/>
                  </a:cubicBezTo>
                  <a:cubicBezTo>
                    <a:pt x="43" y="48"/>
                    <a:pt x="43" y="49"/>
                    <a:pt x="44" y="49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3" y="61"/>
                    <a:pt x="66" y="61"/>
                    <a:pt x="67" y="59"/>
                  </a:cubicBezTo>
                  <a:cubicBezTo>
                    <a:pt x="69" y="56"/>
                    <a:pt x="68" y="53"/>
                    <a:pt x="66" y="52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4" y="22"/>
                    <a:pt x="31" y="21"/>
                    <a:pt x="28" y="20"/>
                  </a:cubicBezTo>
                  <a:cubicBezTo>
                    <a:pt x="24" y="20"/>
                    <a:pt x="21" y="21"/>
                    <a:pt x="18" y="24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5" y="30"/>
                    <a:pt x="3" y="32"/>
                    <a:pt x="3" y="3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7"/>
                    <a:pt x="2" y="59"/>
                    <a:pt x="5" y="59"/>
                  </a:cubicBezTo>
                  <a:cubicBezTo>
                    <a:pt x="8" y="59"/>
                    <a:pt x="10" y="58"/>
                    <a:pt x="10" y="55"/>
                  </a:cubicBez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82500" lnSpcReduction="20000"/>
            </a:bodyPr>
            <a:lstStyle/>
            <a:p>
              <a:pPr algn="ctr"/>
            </a:p>
          </p:txBody>
        </p:sp>
        <p:sp>
          <p:nvSpPr>
            <p:cNvPr id="252" name="íṥľïḑé"/>
            <p:cNvSpPr/>
            <p:nvPr>
              <p:custDataLst>
                <p:tags r:id="rId146"/>
              </p:custDataLst>
            </p:nvPr>
          </p:nvSpPr>
          <p:spPr bwMode="auto">
            <a:xfrm flipH="1">
              <a:off x="3154156" y="3574270"/>
              <a:ext cx="104246" cy="73733"/>
            </a:xfrm>
            <a:custGeom>
              <a:avLst/>
              <a:gdLst>
                <a:gd name="T0" fmla="*/ 28 w 48"/>
                <a:gd name="T1" fmla="*/ 5 h 35"/>
                <a:gd name="T2" fmla="*/ 45 w 48"/>
                <a:gd name="T3" fmla="*/ 26 h 35"/>
                <a:gd name="T4" fmla="*/ 41 w 48"/>
                <a:gd name="T5" fmla="*/ 34 h 35"/>
                <a:gd name="T6" fmla="*/ 7 w 48"/>
                <a:gd name="T7" fmla="*/ 35 h 35"/>
                <a:gd name="T8" fmla="*/ 2 w 48"/>
                <a:gd name="T9" fmla="*/ 27 h 35"/>
                <a:gd name="T10" fmla="*/ 19 w 48"/>
                <a:gd name="T11" fmla="*/ 5 h 35"/>
                <a:gd name="T12" fmla="*/ 28 w 48"/>
                <a:gd name="T13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5">
                  <a:moveTo>
                    <a:pt x="28" y="5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8" y="30"/>
                    <a:pt x="46" y="34"/>
                    <a:pt x="41" y="34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35"/>
                    <a:pt x="0" y="31"/>
                    <a:pt x="2" y="27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1" y="0"/>
                    <a:pt x="25" y="0"/>
                    <a:pt x="2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3" name="iṥ1îḋe"/>
            <p:cNvSpPr/>
            <p:nvPr>
              <p:custDataLst>
                <p:tags r:id="rId147"/>
              </p:custDataLst>
            </p:nvPr>
          </p:nvSpPr>
          <p:spPr bwMode="auto">
            <a:xfrm flipH="1">
              <a:off x="3154156" y="3680532"/>
              <a:ext cx="104246" cy="73733"/>
            </a:xfrm>
            <a:custGeom>
              <a:avLst/>
              <a:gdLst>
                <a:gd name="T0" fmla="*/ 20 w 48"/>
                <a:gd name="T1" fmla="*/ 31 h 35"/>
                <a:gd name="T2" fmla="*/ 3 w 48"/>
                <a:gd name="T3" fmla="*/ 10 h 35"/>
                <a:gd name="T4" fmla="*/ 7 w 48"/>
                <a:gd name="T5" fmla="*/ 1 h 35"/>
                <a:gd name="T6" fmla="*/ 40 w 48"/>
                <a:gd name="T7" fmla="*/ 1 h 35"/>
                <a:gd name="T8" fmla="*/ 45 w 48"/>
                <a:gd name="T9" fmla="*/ 9 h 35"/>
                <a:gd name="T10" fmla="*/ 29 w 48"/>
                <a:gd name="T11" fmla="*/ 31 h 35"/>
                <a:gd name="T12" fmla="*/ 20 w 48"/>
                <a:gd name="T13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5">
                  <a:moveTo>
                    <a:pt x="20" y="31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0" y="5"/>
                    <a:pt x="2" y="1"/>
                    <a:pt x="7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6" y="0"/>
                    <a:pt x="48" y="4"/>
                    <a:pt x="45" y="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7" y="35"/>
                    <a:pt x="22" y="35"/>
                    <a:pt x="20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4" name="îṣḻiḍè"/>
            <p:cNvSpPr/>
            <p:nvPr>
              <p:custDataLst>
                <p:tags r:id="rId148"/>
              </p:custDataLst>
            </p:nvPr>
          </p:nvSpPr>
          <p:spPr bwMode="auto">
            <a:xfrm flipH="1">
              <a:off x="3379283" y="2950793"/>
              <a:ext cx="95374" cy="135539"/>
            </a:xfrm>
            <a:custGeom>
              <a:avLst/>
              <a:gdLst>
                <a:gd name="T0" fmla="*/ 38 w 44"/>
                <a:gd name="T1" fmla="*/ 0 h 64"/>
                <a:gd name="T2" fmla="*/ 5 w 44"/>
                <a:gd name="T3" fmla="*/ 0 h 64"/>
                <a:gd name="T4" fmla="*/ 0 w 44"/>
                <a:gd name="T5" fmla="*/ 5 h 64"/>
                <a:gd name="T6" fmla="*/ 0 w 44"/>
                <a:gd name="T7" fmla="*/ 16 h 64"/>
                <a:gd name="T8" fmla="*/ 5 w 44"/>
                <a:gd name="T9" fmla="*/ 21 h 64"/>
                <a:gd name="T10" fmla="*/ 17 w 44"/>
                <a:gd name="T11" fmla="*/ 22 h 64"/>
                <a:gd name="T12" fmla="*/ 17 w 44"/>
                <a:gd name="T13" fmla="*/ 59 h 64"/>
                <a:gd name="T14" fmla="*/ 21 w 44"/>
                <a:gd name="T15" fmla="*/ 64 h 64"/>
                <a:gd name="T16" fmla="*/ 22 w 44"/>
                <a:gd name="T17" fmla="*/ 64 h 64"/>
                <a:gd name="T18" fmla="*/ 26 w 44"/>
                <a:gd name="T19" fmla="*/ 59 h 64"/>
                <a:gd name="T20" fmla="*/ 27 w 44"/>
                <a:gd name="T21" fmla="*/ 22 h 64"/>
                <a:gd name="T22" fmla="*/ 38 w 44"/>
                <a:gd name="T23" fmla="*/ 22 h 64"/>
                <a:gd name="T24" fmla="*/ 44 w 44"/>
                <a:gd name="T25" fmla="*/ 16 h 64"/>
                <a:gd name="T26" fmla="*/ 44 w 44"/>
                <a:gd name="T27" fmla="*/ 6 h 64"/>
                <a:gd name="T28" fmla="*/ 38 w 44"/>
                <a:gd name="T2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64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62"/>
                    <a:pt x="18" y="64"/>
                    <a:pt x="21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5" y="64"/>
                    <a:pt x="26" y="62"/>
                    <a:pt x="26" y="59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4" y="19"/>
                    <a:pt x="44" y="1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3"/>
                    <a:pt x="41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5" name="îṩlïḑê"/>
            <p:cNvSpPr/>
            <p:nvPr>
              <p:custDataLst>
                <p:tags r:id="rId149"/>
              </p:custDataLst>
            </p:nvPr>
          </p:nvSpPr>
          <p:spPr bwMode="auto">
            <a:xfrm flipH="1">
              <a:off x="3286127" y="3612221"/>
              <a:ext cx="95374" cy="135539"/>
            </a:xfrm>
            <a:custGeom>
              <a:avLst/>
              <a:gdLst>
                <a:gd name="T0" fmla="*/ 38 w 44"/>
                <a:gd name="T1" fmla="*/ 0 h 64"/>
                <a:gd name="T2" fmla="*/ 6 w 44"/>
                <a:gd name="T3" fmla="*/ 0 h 64"/>
                <a:gd name="T4" fmla="*/ 0 w 44"/>
                <a:gd name="T5" fmla="*/ 6 h 64"/>
                <a:gd name="T6" fmla="*/ 0 w 44"/>
                <a:gd name="T7" fmla="*/ 16 h 64"/>
                <a:gd name="T8" fmla="*/ 6 w 44"/>
                <a:gd name="T9" fmla="*/ 22 h 64"/>
                <a:gd name="T10" fmla="*/ 17 w 44"/>
                <a:gd name="T11" fmla="*/ 22 h 64"/>
                <a:gd name="T12" fmla="*/ 17 w 44"/>
                <a:gd name="T13" fmla="*/ 60 h 64"/>
                <a:gd name="T14" fmla="*/ 21 w 44"/>
                <a:gd name="T15" fmla="*/ 64 h 64"/>
                <a:gd name="T16" fmla="*/ 23 w 44"/>
                <a:gd name="T17" fmla="*/ 64 h 64"/>
                <a:gd name="T18" fmla="*/ 27 w 44"/>
                <a:gd name="T19" fmla="*/ 60 h 64"/>
                <a:gd name="T20" fmla="*/ 27 w 44"/>
                <a:gd name="T21" fmla="*/ 22 h 64"/>
                <a:gd name="T22" fmla="*/ 38 w 44"/>
                <a:gd name="T23" fmla="*/ 22 h 64"/>
                <a:gd name="T24" fmla="*/ 44 w 44"/>
                <a:gd name="T25" fmla="*/ 16 h 64"/>
                <a:gd name="T26" fmla="*/ 44 w 44"/>
                <a:gd name="T27" fmla="*/ 6 h 64"/>
                <a:gd name="T28" fmla="*/ 38 w 44"/>
                <a:gd name="T2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64">
                  <a:moveTo>
                    <a:pt x="3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3" y="22"/>
                    <a:pt x="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2"/>
                    <a:pt x="19" y="64"/>
                    <a:pt x="21" y="64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5" y="64"/>
                    <a:pt x="27" y="62"/>
                    <a:pt x="27" y="60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4" y="20"/>
                    <a:pt x="44" y="1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3"/>
                    <a:pt x="42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6" name="ïsľïḍe"/>
            <p:cNvSpPr/>
            <p:nvPr>
              <p:custDataLst>
                <p:tags r:id="rId150"/>
              </p:custDataLst>
            </p:nvPr>
          </p:nvSpPr>
          <p:spPr bwMode="auto">
            <a:xfrm flipH="1">
              <a:off x="3199625" y="4153291"/>
              <a:ext cx="95374" cy="135539"/>
            </a:xfrm>
            <a:custGeom>
              <a:avLst/>
              <a:gdLst>
                <a:gd name="T0" fmla="*/ 39 w 44"/>
                <a:gd name="T1" fmla="*/ 0 h 64"/>
                <a:gd name="T2" fmla="*/ 6 w 44"/>
                <a:gd name="T3" fmla="*/ 0 h 64"/>
                <a:gd name="T4" fmla="*/ 0 w 44"/>
                <a:gd name="T5" fmla="*/ 6 h 64"/>
                <a:gd name="T6" fmla="*/ 0 w 44"/>
                <a:gd name="T7" fmla="*/ 16 h 64"/>
                <a:gd name="T8" fmla="*/ 6 w 44"/>
                <a:gd name="T9" fmla="*/ 22 h 64"/>
                <a:gd name="T10" fmla="*/ 17 w 44"/>
                <a:gd name="T11" fmla="*/ 22 h 64"/>
                <a:gd name="T12" fmla="*/ 17 w 44"/>
                <a:gd name="T13" fmla="*/ 60 h 64"/>
                <a:gd name="T14" fmla="*/ 21 w 44"/>
                <a:gd name="T15" fmla="*/ 64 h 64"/>
                <a:gd name="T16" fmla="*/ 23 w 44"/>
                <a:gd name="T17" fmla="*/ 64 h 64"/>
                <a:gd name="T18" fmla="*/ 27 w 44"/>
                <a:gd name="T19" fmla="*/ 60 h 64"/>
                <a:gd name="T20" fmla="*/ 27 w 44"/>
                <a:gd name="T21" fmla="*/ 22 h 64"/>
                <a:gd name="T22" fmla="*/ 39 w 44"/>
                <a:gd name="T23" fmla="*/ 22 h 64"/>
                <a:gd name="T24" fmla="*/ 44 w 44"/>
                <a:gd name="T25" fmla="*/ 16 h 64"/>
                <a:gd name="T26" fmla="*/ 44 w 44"/>
                <a:gd name="T27" fmla="*/ 6 h 64"/>
                <a:gd name="T28" fmla="*/ 39 w 44"/>
                <a:gd name="T2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64">
                  <a:moveTo>
                    <a:pt x="3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3" y="22"/>
                    <a:pt x="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2"/>
                    <a:pt x="19" y="64"/>
                    <a:pt x="21" y="64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5" y="64"/>
                    <a:pt x="27" y="62"/>
                    <a:pt x="27" y="60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2"/>
                    <a:pt x="44" y="19"/>
                    <a:pt x="44" y="1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3"/>
                    <a:pt x="42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7" name="ïşľïḋe"/>
            <p:cNvSpPr/>
            <p:nvPr>
              <p:custDataLst>
                <p:tags r:id="rId151"/>
              </p:custDataLst>
            </p:nvPr>
          </p:nvSpPr>
          <p:spPr bwMode="auto">
            <a:xfrm flipH="1">
              <a:off x="3419207" y="2386952"/>
              <a:ext cx="302758" cy="286257"/>
            </a:xfrm>
            <a:custGeom>
              <a:avLst/>
              <a:gdLst>
                <a:gd name="T0" fmla="*/ 133 w 140"/>
                <a:gd name="T1" fmla="*/ 55 h 135"/>
                <a:gd name="T2" fmla="*/ 129 w 140"/>
                <a:gd name="T3" fmla="*/ 52 h 135"/>
                <a:gd name="T4" fmla="*/ 129 w 140"/>
                <a:gd name="T5" fmla="*/ 9 h 135"/>
                <a:gd name="T6" fmla="*/ 122 w 140"/>
                <a:gd name="T7" fmla="*/ 2 h 135"/>
                <a:gd name="T8" fmla="*/ 101 w 140"/>
                <a:gd name="T9" fmla="*/ 2 h 135"/>
                <a:gd name="T10" fmla="*/ 94 w 140"/>
                <a:gd name="T11" fmla="*/ 9 h 135"/>
                <a:gd name="T12" fmla="*/ 94 w 140"/>
                <a:gd name="T13" fmla="*/ 18 h 135"/>
                <a:gd name="T14" fmla="*/ 83 w 140"/>
                <a:gd name="T15" fmla="*/ 7 h 135"/>
                <a:gd name="T16" fmla="*/ 57 w 140"/>
                <a:gd name="T17" fmla="*/ 7 h 135"/>
                <a:gd name="T18" fmla="*/ 7 w 140"/>
                <a:gd name="T19" fmla="*/ 55 h 135"/>
                <a:gd name="T20" fmla="*/ 11 w 140"/>
                <a:gd name="T21" fmla="*/ 67 h 135"/>
                <a:gd name="T22" fmla="*/ 11 w 140"/>
                <a:gd name="T23" fmla="*/ 129 h 135"/>
                <a:gd name="T24" fmla="*/ 16 w 140"/>
                <a:gd name="T25" fmla="*/ 135 h 135"/>
                <a:gd name="T26" fmla="*/ 124 w 140"/>
                <a:gd name="T27" fmla="*/ 135 h 135"/>
                <a:gd name="T28" fmla="*/ 129 w 140"/>
                <a:gd name="T29" fmla="*/ 129 h 135"/>
                <a:gd name="T30" fmla="*/ 129 w 140"/>
                <a:gd name="T31" fmla="*/ 67 h 135"/>
                <a:gd name="T32" fmla="*/ 133 w 140"/>
                <a:gd name="T33" fmla="*/ 55 h 135"/>
                <a:gd name="T34" fmla="*/ 60 w 140"/>
                <a:gd name="T35" fmla="*/ 124 h 135"/>
                <a:gd name="T36" fmla="*/ 25 w 140"/>
                <a:gd name="T37" fmla="*/ 124 h 135"/>
                <a:gd name="T38" fmla="*/ 25 w 140"/>
                <a:gd name="T39" fmla="*/ 84 h 135"/>
                <a:gd name="T40" fmla="*/ 32 w 140"/>
                <a:gd name="T41" fmla="*/ 77 h 135"/>
                <a:gd name="T42" fmla="*/ 53 w 140"/>
                <a:gd name="T43" fmla="*/ 77 h 135"/>
                <a:gd name="T44" fmla="*/ 60 w 140"/>
                <a:gd name="T45" fmla="*/ 84 h 135"/>
                <a:gd name="T46" fmla="*/ 60 w 140"/>
                <a:gd name="T47" fmla="*/ 124 h 135"/>
                <a:gd name="T48" fmla="*/ 93 w 140"/>
                <a:gd name="T49" fmla="*/ 111 h 135"/>
                <a:gd name="T50" fmla="*/ 86 w 140"/>
                <a:gd name="T51" fmla="*/ 111 h 135"/>
                <a:gd name="T52" fmla="*/ 79 w 140"/>
                <a:gd name="T53" fmla="*/ 104 h 135"/>
                <a:gd name="T54" fmla="*/ 79 w 140"/>
                <a:gd name="T55" fmla="*/ 97 h 135"/>
                <a:gd name="T56" fmla="*/ 93 w 140"/>
                <a:gd name="T57" fmla="*/ 97 h 135"/>
                <a:gd name="T58" fmla="*/ 93 w 140"/>
                <a:gd name="T59" fmla="*/ 111 h 135"/>
                <a:gd name="T60" fmla="*/ 93 w 140"/>
                <a:gd name="T61" fmla="*/ 91 h 135"/>
                <a:gd name="T62" fmla="*/ 79 w 140"/>
                <a:gd name="T63" fmla="*/ 91 h 135"/>
                <a:gd name="T64" fmla="*/ 79 w 140"/>
                <a:gd name="T65" fmla="*/ 84 h 135"/>
                <a:gd name="T66" fmla="*/ 86 w 140"/>
                <a:gd name="T67" fmla="*/ 77 h 135"/>
                <a:gd name="T68" fmla="*/ 93 w 140"/>
                <a:gd name="T69" fmla="*/ 77 h 135"/>
                <a:gd name="T70" fmla="*/ 93 w 140"/>
                <a:gd name="T71" fmla="*/ 91 h 135"/>
                <a:gd name="T72" fmla="*/ 114 w 140"/>
                <a:gd name="T73" fmla="*/ 104 h 135"/>
                <a:gd name="T74" fmla="*/ 107 w 140"/>
                <a:gd name="T75" fmla="*/ 111 h 135"/>
                <a:gd name="T76" fmla="*/ 100 w 140"/>
                <a:gd name="T77" fmla="*/ 111 h 135"/>
                <a:gd name="T78" fmla="*/ 100 w 140"/>
                <a:gd name="T79" fmla="*/ 97 h 135"/>
                <a:gd name="T80" fmla="*/ 114 w 140"/>
                <a:gd name="T81" fmla="*/ 97 h 135"/>
                <a:gd name="T82" fmla="*/ 114 w 140"/>
                <a:gd name="T83" fmla="*/ 104 h 135"/>
                <a:gd name="T84" fmla="*/ 114 w 140"/>
                <a:gd name="T85" fmla="*/ 91 h 135"/>
                <a:gd name="T86" fmla="*/ 100 w 140"/>
                <a:gd name="T87" fmla="*/ 91 h 135"/>
                <a:gd name="T88" fmla="*/ 100 w 140"/>
                <a:gd name="T89" fmla="*/ 77 h 135"/>
                <a:gd name="T90" fmla="*/ 107 w 140"/>
                <a:gd name="T91" fmla="*/ 77 h 135"/>
                <a:gd name="T92" fmla="*/ 114 w 140"/>
                <a:gd name="T93" fmla="*/ 84 h 135"/>
                <a:gd name="T94" fmla="*/ 114 w 140"/>
                <a:gd name="T95" fmla="*/ 9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0" h="135">
                  <a:moveTo>
                    <a:pt x="133" y="55"/>
                  </a:moveTo>
                  <a:cubicBezTo>
                    <a:pt x="129" y="52"/>
                    <a:pt x="129" y="52"/>
                    <a:pt x="129" y="52"/>
                  </a:cubicBezTo>
                  <a:cubicBezTo>
                    <a:pt x="129" y="9"/>
                    <a:pt x="129" y="9"/>
                    <a:pt x="129" y="9"/>
                  </a:cubicBezTo>
                  <a:cubicBezTo>
                    <a:pt x="129" y="5"/>
                    <a:pt x="126" y="2"/>
                    <a:pt x="122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97" y="2"/>
                    <a:pt x="94" y="5"/>
                    <a:pt x="94" y="9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76" y="0"/>
                    <a:pt x="64" y="0"/>
                    <a:pt x="57" y="7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0" y="62"/>
                    <a:pt x="2" y="67"/>
                    <a:pt x="11" y="67"/>
                  </a:cubicBezTo>
                  <a:cubicBezTo>
                    <a:pt x="11" y="129"/>
                    <a:pt x="11" y="129"/>
                    <a:pt x="11" y="129"/>
                  </a:cubicBezTo>
                  <a:cubicBezTo>
                    <a:pt x="11" y="132"/>
                    <a:pt x="13" y="135"/>
                    <a:pt x="16" y="135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7" y="135"/>
                    <a:pt x="129" y="132"/>
                    <a:pt x="129" y="129"/>
                  </a:cubicBezTo>
                  <a:cubicBezTo>
                    <a:pt x="129" y="67"/>
                    <a:pt x="129" y="67"/>
                    <a:pt x="129" y="67"/>
                  </a:cubicBezTo>
                  <a:cubicBezTo>
                    <a:pt x="138" y="67"/>
                    <a:pt x="140" y="62"/>
                    <a:pt x="133" y="55"/>
                  </a:cubicBezTo>
                  <a:close/>
                  <a:moveTo>
                    <a:pt x="60" y="124"/>
                  </a:moveTo>
                  <a:cubicBezTo>
                    <a:pt x="25" y="124"/>
                    <a:pt x="25" y="124"/>
                    <a:pt x="25" y="12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0"/>
                    <a:pt x="28" y="77"/>
                    <a:pt x="32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7" y="77"/>
                    <a:pt x="60" y="80"/>
                    <a:pt x="60" y="84"/>
                  </a:cubicBezTo>
                  <a:lnTo>
                    <a:pt x="60" y="124"/>
                  </a:lnTo>
                  <a:close/>
                  <a:moveTo>
                    <a:pt x="93" y="111"/>
                  </a:moveTo>
                  <a:cubicBezTo>
                    <a:pt x="86" y="111"/>
                    <a:pt x="86" y="111"/>
                    <a:pt x="86" y="111"/>
                  </a:cubicBezTo>
                  <a:cubicBezTo>
                    <a:pt x="82" y="111"/>
                    <a:pt x="79" y="108"/>
                    <a:pt x="79" y="104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93" y="97"/>
                    <a:pt x="93" y="97"/>
                    <a:pt x="93" y="97"/>
                  </a:cubicBezTo>
                  <a:lnTo>
                    <a:pt x="93" y="111"/>
                  </a:lnTo>
                  <a:close/>
                  <a:moveTo>
                    <a:pt x="93" y="91"/>
                  </a:moveTo>
                  <a:cubicBezTo>
                    <a:pt x="79" y="91"/>
                    <a:pt x="79" y="91"/>
                    <a:pt x="79" y="91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79" y="80"/>
                    <a:pt x="82" y="77"/>
                    <a:pt x="86" y="77"/>
                  </a:cubicBezTo>
                  <a:cubicBezTo>
                    <a:pt x="93" y="77"/>
                    <a:pt x="93" y="77"/>
                    <a:pt x="93" y="77"/>
                  </a:cubicBezTo>
                  <a:lnTo>
                    <a:pt x="93" y="91"/>
                  </a:lnTo>
                  <a:close/>
                  <a:moveTo>
                    <a:pt x="114" y="104"/>
                  </a:moveTo>
                  <a:cubicBezTo>
                    <a:pt x="114" y="108"/>
                    <a:pt x="111" y="111"/>
                    <a:pt x="107" y="111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14" y="97"/>
                    <a:pt x="114" y="97"/>
                    <a:pt x="114" y="97"/>
                  </a:cubicBezTo>
                  <a:lnTo>
                    <a:pt x="114" y="104"/>
                  </a:lnTo>
                  <a:close/>
                  <a:moveTo>
                    <a:pt x="114" y="91"/>
                  </a:moveTo>
                  <a:cubicBezTo>
                    <a:pt x="100" y="91"/>
                    <a:pt x="100" y="91"/>
                    <a:pt x="100" y="91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11" y="77"/>
                    <a:pt x="114" y="80"/>
                    <a:pt x="114" y="84"/>
                  </a:cubicBezTo>
                  <a:lnTo>
                    <a:pt x="114" y="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87500"/>
            </a:bodyPr>
            <a:lstStyle/>
            <a:p>
              <a:pPr algn="ctr"/>
            </a:p>
          </p:txBody>
        </p:sp>
        <p:sp>
          <p:nvSpPr>
            <p:cNvPr id="258" name="îṩļïďê"/>
            <p:cNvSpPr/>
            <p:nvPr>
              <p:custDataLst>
                <p:tags r:id="rId152"/>
              </p:custDataLst>
            </p:nvPr>
          </p:nvSpPr>
          <p:spPr bwMode="auto">
            <a:xfrm flipH="1">
              <a:off x="3557832" y="2986575"/>
              <a:ext cx="41033" cy="81323"/>
            </a:xfrm>
            <a:custGeom>
              <a:avLst/>
              <a:gdLst>
                <a:gd name="T0" fmla="*/ 1 w 19"/>
                <a:gd name="T1" fmla="*/ 15 h 38"/>
                <a:gd name="T2" fmla="*/ 3 w 19"/>
                <a:gd name="T3" fmla="*/ 17 h 38"/>
                <a:gd name="T4" fmla="*/ 5 w 19"/>
                <a:gd name="T5" fmla="*/ 19 h 38"/>
                <a:gd name="T6" fmla="*/ 6 w 19"/>
                <a:gd name="T7" fmla="*/ 19 h 38"/>
                <a:gd name="T8" fmla="*/ 6 w 19"/>
                <a:gd name="T9" fmla="*/ 28 h 38"/>
                <a:gd name="T10" fmla="*/ 4 w 19"/>
                <a:gd name="T11" fmla="*/ 27 h 38"/>
                <a:gd name="T12" fmla="*/ 1 w 19"/>
                <a:gd name="T13" fmla="*/ 27 h 38"/>
                <a:gd name="T14" fmla="*/ 1 w 19"/>
                <a:gd name="T15" fmla="*/ 27 h 38"/>
                <a:gd name="T16" fmla="*/ 0 w 19"/>
                <a:gd name="T17" fmla="*/ 28 h 38"/>
                <a:gd name="T18" fmla="*/ 0 w 19"/>
                <a:gd name="T19" fmla="*/ 30 h 38"/>
                <a:gd name="T20" fmla="*/ 0 w 19"/>
                <a:gd name="T21" fmla="*/ 31 h 38"/>
                <a:gd name="T22" fmla="*/ 3 w 19"/>
                <a:gd name="T23" fmla="*/ 32 h 38"/>
                <a:gd name="T24" fmla="*/ 6 w 19"/>
                <a:gd name="T25" fmla="*/ 32 h 38"/>
                <a:gd name="T26" fmla="*/ 6 w 19"/>
                <a:gd name="T27" fmla="*/ 36 h 38"/>
                <a:gd name="T28" fmla="*/ 7 w 19"/>
                <a:gd name="T29" fmla="*/ 38 h 38"/>
                <a:gd name="T30" fmla="*/ 9 w 19"/>
                <a:gd name="T31" fmla="*/ 36 h 38"/>
                <a:gd name="T32" fmla="*/ 9 w 19"/>
                <a:gd name="T33" fmla="*/ 32 h 38"/>
                <a:gd name="T34" fmla="*/ 11 w 19"/>
                <a:gd name="T35" fmla="*/ 32 h 38"/>
                <a:gd name="T36" fmla="*/ 11 w 19"/>
                <a:gd name="T37" fmla="*/ 36 h 38"/>
                <a:gd name="T38" fmla="*/ 12 w 19"/>
                <a:gd name="T39" fmla="*/ 38 h 38"/>
                <a:gd name="T40" fmla="*/ 13 w 19"/>
                <a:gd name="T41" fmla="*/ 36 h 38"/>
                <a:gd name="T42" fmla="*/ 13 w 19"/>
                <a:gd name="T43" fmla="*/ 32 h 38"/>
                <a:gd name="T44" fmla="*/ 15 w 19"/>
                <a:gd name="T45" fmla="*/ 31 h 38"/>
                <a:gd name="T46" fmla="*/ 18 w 19"/>
                <a:gd name="T47" fmla="*/ 28 h 38"/>
                <a:gd name="T48" fmla="*/ 19 w 19"/>
                <a:gd name="T49" fmla="*/ 24 h 38"/>
                <a:gd name="T50" fmla="*/ 17 w 19"/>
                <a:gd name="T51" fmla="*/ 19 h 38"/>
                <a:gd name="T52" fmla="*/ 13 w 19"/>
                <a:gd name="T53" fmla="*/ 17 h 38"/>
                <a:gd name="T54" fmla="*/ 13 w 19"/>
                <a:gd name="T55" fmla="*/ 9 h 38"/>
                <a:gd name="T56" fmla="*/ 14 w 19"/>
                <a:gd name="T57" fmla="*/ 9 h 38"/>
                <a:gd name="T58" fmla="*/ 16 w 19"/>
                <a:gd name="T59" fmla="*/ 10 h 38"/>
                <a:gd name="T60" fmla="*/ 17 w 19"/>
                <a:gd name="T61" fmla="*/ 9 h 38"/>
                <a:gd name="T62" fmla="*/ 17 w 19"/>
                <a:gd name="T63" fmla="*/ 8 h 38"/>
                <a:gd name="T64" fmla="*/ 17 w 19"/>
                <a:gd name="T65" fmla="*/ 6 h 38"/>
                <a:gd name="T66" fmla="*/ 17 w 19"/>
                <a:gd name="T67" fmla="*/ 6 h 38"/>
                <a:gd name="T68" fmla="*/ 16 w 19"/>
                <a:gd name="T69" fmla="*/ 5 h 38"/>
                <a:gd name="T70" fmla="*/ 15 w 19"/>
                <a:gd name="T71" fmla="*/ 5 h 38"/>
                <a:gd name="T72" fmla="*/ 13 w 19"/>
                <a:gd name="T73" fmla="*/ 5 h 38"/>
                <a:gd name="T74" fmla="*/ 13 w 19"/>
                <a:gd name="T75" fmla="*/ 1 h 38"/>
                <a:gd name="T76" fmla="*/ 12 w 19"/>
                <a:gd name="T77" fmla="*/ 0 h 38"/>
                <a:gd name="T78" fmla="*/ 11 w 19"/>
                <a:gd name="T79" fmla="*/ 1 h 38"/>
                <a:gd name="T80" fmla="*/ 11 w 19"/>
                <a:gd name="T81" fmla="*/ 5 h 38"/>
                <a:gd name="T82" fmla="*/ 10 w 19"/>
                <a:gd name="T83" fmla="*/ 5 h 38"/>
                <a:gd name="T84" fmla="*/ 8 w 19"/>
                <a:gd name="T85" fmla="*/ 5 h 38"/>
                <a:gd name="T86" fmla="*/ 8 w 19"/>
                <a:gd name="T87" fmla="*/ 1 h 38"/>
                <a:gd name="T88" fmla="*/ 7 w 19"/>
                <a:gd name="T89" fmla="*/ 0 h 38"/>
                <a:gd name="T90" fmla="*/ 6 w 19"/>
                <a:gd name="T91" fmla="*/ 1 h 38"/>
                <a:gd name="T92" fmla="*/ 6 w 19"/>
                <a:gd name="T93" fmla="*/ 5 h 38"/>
                <a:gd name="T94" fmla="*/ 3 w 19"/>
                <a:gd name="T95" fmla="*/ 7 h 38"/>
                <a:gd name="T96" fmla="*/ 1 w 19"/>
                <a:gd name="T97" fmla="*/ 9 h 38"/>
                <a:gd name="T98" fmla="*/ 1 w 19"/>
                <a:gd name="T99" fmla="*/ 12 h 38"/>
                <a:gd name="T100" fmla="*/ 1 w 19"/>
                <a:gd name="T101" fmla="*/ 15 h 38"/>
                <a:gd name="T102" fmla="*/ 11 w 19"/>
                <a:gd name="T103" fmla="*/ 21 h 38"/>
                <a:gd name="T104" fmla="*/ 11 w 19"/>
                <a:gd name="T105" fmla="*/ 27 h 38"/>
                <a:gd name="T106" fmla="*/ 8 w 19"/>
                <a:gd name="T107" fmla="*/ 28 h 38"/>
                <a:gd name="T108" fmla="*/ 8 w 19"/>
                <a:gd name="T109" fmla="*/ 20 h 38"/>
                <a:gd name="T110" fmla="*/ 11 w 19"/>
                <a:gd name="T111" fmla="*/ 21 h 38"/>
                <a:gd name="T112" fmla="*/ 11 w 19"/>
                <a:gd name="T113" fmla="*/ 9 h 38"/>
                <a:gd name="T114" fmla="*/ 11 w 19"/>
                <a:gd name="T115" fmla="*/ 16 h 38"/>
                <a:gd name="T116" fmla="*/ 8 w 19"/>
                <a:gd name="T117" fmla="*/ 15 h 38"/>
                <a:gd name="T118" fmla="*/ 8 w 19"/>
                <a:gd name="T119" fmla="*/ 9 h 38"/>
                <a:gd name="T120" fmla="*/ 11 w 19"/>
                <a:gd name="T121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" h="38">
                  <a:moveTo>
                    <a:pt x="1" y="15"/>
                  </a:moveTo>
                  <a:cubicBezTo>
                    <a:pt x="2" y="16"/>
                    <a:pt x="2" y="17"/>
                    <a:pt x="3" y="17"/>
                  </a:cubicBezTo>
                  <a:cubicBezTo>
                    <a:pt x="4" y="18"/>
                    <a:pt x="5" y="18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5" y="28"/>
                    <a:pt x="5" y="28"/>
                    <a:pt x="4" y="27"/>
                  </a:cubicBezTo>
                  <a:cubicBezTo>
                    <a:pt x="3" y="27"/>
                    <a:pt x="2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1" y="31"/>
                    <a:pt x="2" y="31"/>
                    <a:pt x="3" y="32"/>
                  </a:cubicBezTo>
                  <a:cubicBezTo>
                    <a:pt x="4" y="32"/>
                    <a:pt x="5" y="32"/>
                    <a:pt x="6" y="32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7"/>
                    <a:pt x="7" y="38"/>
                    <a:pt x="7" y="38"/>
                  </a:cubicBezTo>
                  <a:cubicBezTo>
                    <a:pt x="8" y="38"/>
                    <a:pt x="9" y="37"/>
                    <a:pt x="9" y="36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10" y="32"/>
                    <a:pt x="11" y="32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7"/>
                    <a:pt x="12" y="38"/>
                    <a:pt x="12" y="38"/>
                  </a:cubicBezTo>
                  <a:cubicBezTo>
                    <a:pt x="13" y="38"/>
                    <a:pt x="13" y="37"/>
                    <a:pt x="13" y="36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1"/>
                    <a:pt x="15" y="31"/>
                    <a:pt x="15" y="31"/>
                  </a:cubicBezTo>
                  <a:cubicBezTo>
                    <a:pt x="16" y="30"/>
                    <a:pt x="17" y="29"/>
                    <a:pt x="18" y="28"/>
                  </a:cubicBezTo>
                  <a:cubicBezTo>
                    <a:pt x="18" y="27"/>
                    <a:pt x="19" y="26"/>
                    <a:pt x="19" y="24"/>
                  </a:cubicBezTo>
                  <a:cubicBezTo>
                    <a:pt x="19" y="22"/>
                    <a:pt x="18" y="21"/>
                    <a:pt x="17" y="19"/>
                  </a:cubicBezTo>
                  <a:cubicBezTo>
                    <a:pt x="16" y="19"/>
                    <a:pt x="15" y="18"/>
                    <a:pt x="13" y="17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4" y="9"/>
                    <a:pt x="14" y="9"/>
                  </a:cubicBezTo>
                  <a:cubicBezTo>
                    <a:pt x="15" y="9"/>
                    <a:pt x="15" y="10"/>
                    <a:pt x="16" y="10"/>
                  </a:cubicBezTo>
                  <a:cubicBezTo>
                    <a:pt x="16" y="10"/>
                    <a:pt x="16" y="10"/>
                    <a:pt x="17" y="9"/>
                  </a:cubicBezTo>
                  <a:cubicBezTo>
                    <a:pt x="17" y="9"/>
                    <a:pt x="17" y="8"/>
                    <a:pt x="17" y="8"/>
                  </a:cubicBezTo>
                  <a:cubicBezTo>
                    <a:pt x="17" y="7"/>
                    <a:pt x="17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0"/>
                    <a:pt x="12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5"/>
                    <a:pt x="9" y="5"/>
                    <a:pt x="8" y="5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4" y="6"/>
                    <a:pt x="3" y="7"/>
                  </a:cubicBezTo>
                  <a:cubicBezTo>
                    <a:pt x="2" y="8"/>
                    <a:pt x="2" y="8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3"/>
                    <a:pt x="1" y="14"/>
                    <a:pt x="1" y="15"/>
                  </a:cubicBezTo>
                  <a:close/>
                  <a:moveTo>
                    <a:pt x="11" y="21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10" y="28"/>
                    <a:pt x="9" y="28"/>
                    <a:pt x="8" y="2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1"/>
                    <a:pt x="10" y="21"/>
                    <a:pt x="11" y="21"/>
                  </a:cubicBezTo>
                  <a:close/>
                  <a:moveTo>
                    <a:pt x="11" y="9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6"/>
                    <a:pt x="9" y="15"/>
                    <a:pt x="8" y="15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10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59" name="íṩḻiḑê"/>
            <p:cNvSpPr/>
            <p:nvPr>
              <p:custDataLst>
                <p:tags r:id="rId153"/>
              </p:custDataLst>
            </p:nvPr>
          </p:nvSpPr>
          <p:spPr bwMode="auto">
            <a:xfrm flipH="1">
              <a:off x="3499055" y="2948624"/>
              <a:ext cx="160805" cy="235295"/>
            </a:xfrm>
            <a:custGeom>
              <a:avLst/>
              <a:gdLst>
                <a:gd name="T0" fmla="*/ 27 w 74"/>
                <a:gd name="T1" fmla="*/ 73 h 111"/>
                <a:gd name="T2" fmla="*/ 28 w 74"/>
                <a:gd name="T3" fmla="*/ 105 h 111"/>
                <a:gd name="T4" fmla="*/ 34 w 74"/>
                <a:gd name="T5" fmla="*/ 111 h 111"/>
                <a:gd name="T6" fmla="*/ 41 w 74"/>
                <a:gd name="T7" fmla="*/ 111 h 111"/>
                <a:gd name="T8" fmla="*/ 48 w 74"/>
                <a:gd name="T9" fmla="*/ 104 h 111"/>
                <a:gd name="T10" fmla="*/ 48 w 74"/>
                <a:gd name="T11" fmla="*/ 72 h 111"/>
                <a:gd name="T12" fmla="*/ 74 w 74"/>
                <a:gd name="T13" fmla="*/ 37 h 111"/>
                <a:gd name="T14" fmla="*/ 37 w 74"/>
                <a:gd name="T15" fmla="*/ 0 h 111"/>
                <a:gd name="T16" fmla="*/ 0 w 74"/>
                <a:gd name="T17" fmla="*/ 37 h 111"/>
                <a:gd name="T18" fmla="*/ 27 w 74"/>
                <a:gd name="T19" fmla="*/ 73 h 111"/>
                <a:gd name="T20" fmla="*/ 37 w 74"/>
                <a:gd name="T21" fmla="*/ 11 h 111"/>
                <a:gd name="T22" fmla="*/ 64 w 74"/>
                <a:gd name="T23" fmla="*/ 37 h 111"/>
                <a:gd name="T24" fmla="*/ 37 w 74"/>
                <a:gd name="T25" fmla="*/ 63 h 111"/>
                <a:gd name="T26" fmla="*/ 11 w 74"/>
                <a:gd name="T27" fmla="*/ 37 h 111"/>
                <a:gd name="T28" fmla="*/ 37 w 74"/>
                <a:gd name="T29" fmla="*/ 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111">
                  <a:moveTo>
                    <a:pt x="27" y="73"/>
                  </a:moveTo>
                  <a:cubicBezTo>
                    <a:pt x="28" y="105"/>
                    <a:pt x="28" y="105"/>
                    <a:pt x="28" y="105"/>
                  </a:cubicBezTo>
                  <a:cubicBezTo>
                    <a:pt x="28" y="108"/>
                    <a:pt x="31" y="111"/>
                    <a:pt x="34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5" y="111"/>
                    <a:pt x="48" y="108"/>
                    <a:pt x="48" y="10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63" y="68"/>
                    <a:pt x="74" y="54"/>
                    <a:pt x="74" y="37"/>
                  </a:cubicBezTo>
                  <a:cubicBezTo>
                    <a:pt x="74" y="16"/>
                    <a:pt x="5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4"/>
                    <a:pt x="12" y="68"/>
                    <a:pt x="27" y="73"/>
                  </a:cubicBezTo>
                  <a:close/>
                  <a:moveTo>
                    <a:pt x="37" y="11"/>
                  </a:moveTo>
                  <a:cubicBezTo>
                    <a:pt x="52" y="10"/>
                    <a:pt x="64" y="22"/>
                    <a:pt x="64" y="37"/>
                  </a:cubicBezTo>
                  <a:cubicBezTo>
                    <a:pt x="64" y="51"/>
                    <a:pt x="52" y="63"/>
                    <a:pt x="37" y="63"/>
                  </a:cubicBezTo>
                  <a:cubicBezTo>
                    <a:pt x="23" y="64"/>
                    <a:pt x="11" y="52"/>
                    <a:pt x="11" y="37"/>
                  </a:cubicBezTo>
                  <a:cubicBezTo>
                    <a:pt x="11" y="23"/>
                    <a:pt x="22" y="11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75000" lnSpcReduction="20000"/>
            </a:bodyPr>
            <a:lstStyle/>
            <a:p>
              <a:pPr algn="ctr"/>
            </a:p>
          </p:txBody>
        </p:sp>
        <p:sp>
          <p:nvSpPr>
            <p:cNvPr id="260" name="iŝľidè"/>
            <p:cNvSpPr/>
            <p:nvPr>
              <p:custDataLst>
                <p:tags r:id="rId154"/>
              </p:custDataLst>
            </p:nvPr>
          </p:nvSpPr>
          <p:spPr bwMode="auto">
            <a:xfrm flipH="1">
              <a:off x="3247312" y="2460685"/>
              <a:ext cx="140843" cy="212524"/>
            </a:xfrm>
            <a:custGeom>
              <a:avLst/>
              <a:gdLst>
                <a:gd name="T0" fmla="*/ 49 w 65"/>
                <a:gd name="T1" fmla="*/ 0 h 100"/>
                <a:gd name="T2" fmla="*/ 16 w 65"/>
                <a:gd name="T3" fmla="*/ 0 h 100"/>
                <a:gd name="T4" fmla="*/ 0 w 65"/>
                <a:gd name="T5" fmla="*/ 15 h 100"/>
                <a:gd name="T6" fmla="*/ 0 w 65"/>
                <a:gd name="T7" fmla="*/ 84 h 100"/>
                <a:gd name="T8" fmla="*/ 16 w 65"/>
                <a:gd name="T9" fmla="*/ 100 h 100"/>
                <a:gd name="T10" fmla="*/ 49 w 65"/>
                <a:gd name="T11" fmla="*/ 100 h 100"/>
                <a:gd name="T12" fmla="*/ 65 w 65"/>
                <a:gd name="T13" fmla="*/ 84 h 100"/>
                <a:gd name="T14" fmla="*/ 65 w 65"/>
                <a:gd name="T15" fmla="*/ 15 h 100"/>
                <a:gd name="T16" fmla="*/ 49 w 65"/>
                <a:gd name="T17" fmla="*/ 0 h 100"/>
                <a:gd name="T18" fmla="*/ 58 w 65"/>
                <a:gd name="T19" fmla="*/ 84 h 100"/>
                <a:gd name="T20" fmla="*/ 49 w 65"/>
                <a:gd name="T21" fmla="*/ 93 h 100"/>
                <a:gd name="T22" fmla="*/ 16 w 65"/>
                <a:gd name="T23" fmla="*/ 93 h 100"/>
                <a:gd name="T24" fmla="*/ 7 w 65"/>
                <a:gd name="T25" fmla="*/ 84 h 100"/>
                <a:gd name="T26" fmla="*/ 7 w 65"/>
                <a:gd name="T27" fmla="*/ 15 h 100"/>
                <a:gd name="T28" fmla="*/ 16 w 65"/>
                <a:gd name="T29" fmla="*/ 6 h 100"/>
                <a:gd name="T30" fmla="*/ 49 w 65"/>
                <a:gd name="T31" fmla="*/ 6 h 100"/>
                <a:gd name="T32" fmla="*/ 58 w 65"/>
                <a:gd name="T33" fmla="*/ 15 h 100"/>
                <a:gd name="T34" fmla="*/ 58 w 65"/>
                <a:gd name="T35" fmla="*/ 8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100">
                  <a:moveTo>
                    <a:pt x="49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93"/>
                    <a:pt x="7" y="100"/>
                    <a:pt x="16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58" y="100"/>
                    <a:pt x="65" y="93"/>
                    <a:pt x="65" y="84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7"/>
                    <a:pt x="58" y="0"/>
                    <a:pt x="49" y="0"/>
                  </a:cubicBezTo>
                  <a:close/>
                  <a:moveTo>
                    <a:pt x="58" y="84"/>
                  </a:moveTo>
                  <a:cubicBezTo>
                    <a:pt x="58" y="89"/>
                    <a:pt x="54" y="93"/>
                    <a:pt x="49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1" y="93"/>
                    <a:pt x="7" y="89"/>
                    <a:pt x="7" y="8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0"/>
                    <a:pt x="11" y="6"/>
                    <a:pt x="16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4" y="6"/>
                    <a:pt x="58" y="10"/>
                    <a:pt x="58" y="15"/>
                  </a:cubicBezTo>
                  <a:lnTo>
                    <a:pt x="58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</a:p>
          </p:txBody>
        </p:sp>
        <p:sp>
          <p:nvSpPr>
            <p:cNvPr id="261" name="ïṡḻîḋé"/>
            <p:cNvSpPr/>
            <p:nvPr>
              <p:custDataLst>
                <p:tags r:id="rId155"/>
              </p:custDataLst>
            </p:nvPr>
          </p:nvSpPr>
          <p:spPr bwMode="auto">
            <a:xfrm flipH="1">
              <a:off x="3306089" y="2622247"/>
              <a:ext cx="25507" cy="24939"/>
            </a:xfrm>
            <a:custGeom>
              <a:avLst/>
              <a:gdLst>
                <a:gd name="T0" fmla="*/ 10 w 12"/>
                <a:gd name="T1" fmla="*/ 0 h 12"/>
                <a:gd name="T2" fmla="*/ 3 w 12"/>
                <a:gd name="T3" fmla="*/ 0 h 12"/>
                <a:gd name="T4" fmla="*/ 0 w 12"/>
                <a:gd name="T5" fmla="*/ 3 h 12"/>
                <a:gd name="T6" fmla="*/ 0 w 12"/>
                <a:gd name="T7" fmla="*/ 9 h 12"/>
                <a:gd name="T8" fmla="*/ 3 w 12"/>
                <a:gd name="T9" fmla="*/ 12 h 12"/>
                <a:gd name="T10" fmla="*/ 10 w 12"/>
                <a:gd name="T11" fmla="*/ 12 h 12"/>
                <a:gd name="T12" fmla="*/ 12 w 12"/>
                <a:gd name="T13" fmla="*/ 9 h 12"/>
                <a:gd name="T14" fmla="*/ 12 w 12"/>
                <a:gd name="T15" fmla="*/ 3 h 12"/>
                <a:gd name="T16" fmla="*/ 10 w 12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1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3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2" y="11"/>
                    <a:pt x="12" y="9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2" name="i$lïḓè"/>
            <p:cNvSpPr/>
            <p:nvPr>
              <p:custDataLst>
                <p:tags r:id="rId156"/>
              </p:custDataLst>
            </p:nvPr>
          </p:nvSpPr>
          <p:spPr bwMode="auto">
            <a:xfrm flipH="1">
              <a:off x="3271710" y="2488877"/>
              <a:ext cx="93156" cy="122527"/>
            </a:xfrm>
            <a:custGeom>
              <a:avLst/>
              <a:gdLst>
                <a:gd name="T0" fmla="*/ 40 w 43"/>
                <a:gd name="T1" fmla="*/ 0 h 58"/>
                <a:gd name="T2" fmla="*/ 2 w 43"/>
                <a:gd name="T3" fmla="*/ 0 h 58"/>
                <a:gd name="T4" fmla="*/ 0 w 43"/>
                <a:gd name="T5" fmla="*/ 3 h 58"/>
                <a:gd name="T6" fmla="*/ 0 w 43"/>
                <a:gd name="T7" fmla="*/ 56 h 58"/>
                <a:gd name="T8" fmla="*/ 2 w 43"/>
                <a:gd name="T9" fmla="*/ 58 h 58"/>
                <a:gd name="T10" fmla="*/ 40 w 43"/>
                <a:gd name="T11" fmla="*/ 58 h 58"/>
                <a:gd name="T12" fmla="*/ 43 w 43"/>
                <a:gd name="T13" fmla="*/ 56 h 58"/>
                <a:gd name="T14" fmla="*/ 43 w 43"/>
                <a:gd name="T15" fmla="*/ 3 h 58"/>
                <a:gd name="T16" fmla="*/ 40 w 43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8">
                  <a:moveTo>
                    <a:pt x="4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7"/>
                    <a:pt x="1" y="58"/>
                    <a:pt x="2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2" y="58"/>
                    <a:pt x="43" y="57"/>
                    <a:pt x="43" y="56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1"/>
                    <a:pt x="42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3" name="ïṣľïḑê"/>
            <p:cNvSpPr/>
            <p:nvPr>
              <p:custDataLst>
                <p:tags r:id="rId157"/>
              </p:custDataLst>
            </p:nvPr>
          </p:nvSpPr>
          <p:spPr bwMode="auto">
            <a:xfrm flipH="1">
              <a:off x="3358212" y="1729861"/>
              <a:ext cx="233999" cy="290595"/>
            </a:xfrm>
            <a:custGeom>
              <a:avLst/>
              <a:gdLst>
                <a:gd name="T0" fmla="*/ 78 w 108"/>
                <a:gd name="T1" fmla="*/ 1 h 137"/>
                <a:gd name="T2" fmla="*/ 0 w 108"/>
                <a:gd name="T3" fmla="*/ 30 h 137"/>
                <a:gd name="T4" fmla="*/ 30 w 108"/>
                <a:gd name="T5" fmla="*/ 136 h 137"/>
                <a:gd name="T6" fmla="*/ 107 w 108"/>
                <a:gd name="T7" fmla="*/ 107 h 137"/>
                <a:gd name="T8" fmla="*/ 10 w 108"/>
                <a:gd name="T9" fmla="*/ 30 h 137"/>
                <a:gd name="T10" fmla="*/ 78 w 108"/>
                <a:gd name="T11" fmla="*/ 11 h 137"/>
                <a:gd name="T12" fmla="*/ 96 w 108"/>
                <a:gd name="T13" fmla="*/ 35 h 137"/>
                <a:gd name="T14" fmla="*/ 28 w 108"/>
                <a:gd name="T15" fmla="*/ 53 h 137"/>
                <a:gd name="T16" fmla="*/ 10 w 108"/>
                <a:gd name="T17" fmla="*/ 30 h 137"/>
                <a:gd name="T18" fmla="*/ 14 w 108"/>
                <a:gd name="T19" fmla="*/ 61 h 137"/>
                <a:gd name="T20" fmla="*/ 29 w 108"/>
                <a:gd name="T21" fmla="*/ 64 h 137"/>
                <a:gd name="T22" fmla="*/ 26 w 108"/>
                <a:gd name="T23" fmla="*/ 74 h 137"/>
                <a:gd name="T24" fmla="*/ 11 w 108"/>
                <a:gd name="T25" fmla="*/ 72 h 137"/>
                <a:gd name="T26" fmla="*/ 12 w 108"/>
                <a:gd name="T27" fmla="*/ 86 h 137"/>
                <a:gd name="T28" fmla="*/ 26 w 108"/>
                <a:gd name="T29" fmla="*/ 83 h 137"/>
                <a:gd name="T30" fmla="*/ 29 w 108"/>
                <a:gd name="T31" fmla="*/ 94 h 137"/>
                <a:gd name="T32" fmla="*/ 14 w 108"/>
                <a:gd name="T33" fmla="*/ 97 h 137"/>
                <a:gd name="T34" fmla="*/ 12 w 108"/>
                <a:gd name="T35" fmla="*/ 86 h 137"/>
                <a:gd name="T36" fmla="*/ 15 w 108"/>
                <a:gd name="T37" fmla="*/ 119 h 137"/>
                <a:gd name="T38" fmla="*/ 12 w 108"/>
                <a:gd name="T39" fmla="*/ 108 h 137"/>
                <a:gd name="T40" fmla="*/ 27 w 108"/>
                <a:gd name="T41" fmla="*/ 105 h 137"/>
                <a:gd name="T42" fmla="*/ 30 w 108"/>
                <a:gd name="T43" fmla="*/ 116 h 137"/>
                <a:gd name="T44" fmla="*/ 34 w 108"/>
                <a:gd name="T45" fmla="*/ 64 h 137"/>
                <a:gd name="T46" fmla="*/ 48 w 108"/>
                <a:gd name="T47" fmla="*/ 61 h 137"/>
                <a:gd name="T48" fmla="*/ 51 w 108"/>
                <a:gd name="T49" fmla="*/ 71 h 137"/>
                <a:gd name="T50" fmla="*/ 36 w 108"/>
                <a:gd name="T51" fmla="*/ 74 h 137"/>
                <a:gd name="T52" fmla="*/ 34 w 108"/>
                <a:gd name="T53" fmla="*/ 64 h 137"/>
                <a:gd name="T54" fmla="*/ 37 w 108"/>
                <a:gd name="T55" fmla="*/ 83 h 137"/>
                <a:gd name="T56" fmla="*/ 51 w 108"/>
                <a:gd name="T57" fmla="*/ 85 h 137"/>
                <a:gd name="T58" fmla="*/ 49 w 108"/>
                <a:gd name="T59" fmla="*/ 96 h 137"/>
                <a:gd name="T60" fmla="*/ 34 w 108"/>
                <a:gd name="T61" fmla="*/ 94 h 137"/>
                <a:gd name="T62" fmla="*/ 50 w 108"/>
                <a:gd name="T63" fmla="*/ 118 h 137"/>
                <a:gd name="T64" fmla="*/ 35 w 108"/>
                <a:gd name="T65" fmla="*/ 116 h 137"/>
                <a:gd name="T66" fmla="*/ 37 w 108"/>
                <a:gd name="T67" fmla="*/ 105 h 137"/>
                <a:gd name="T68" fmla="*/ 52 w 108"/>
                <a:gd name="T69" fmla="*/ 107 h 137"/>
                <a:gd name="T70" fmla="*/ 50 w 108"/>
                <a:gd name="T71" fmla="*/ 118 h 137"/>
                <a:gd name="T72" fmla="*/ 59 w 108"/>
                <a:gd name="T73" fmla="*/ 60 h 137"/>
                <a:gd name="T74" fmla="*/ 74 w 108"/>
                <a:gd name="T75" fmla="*/ 63 h 137"/>
                <a:gd name="T76" fmla="*/ 71 w 108"/>
                <a:gd name="T77" fmla="*/ 73 h 137"/>
                <a:gd name="T78" fmla="*/ 56 w 108"/>
                <a:gd name="T79" fmla="*/ 71 h 137"/>
                <a:gd name="T80" fmla="*/ 57 w 108"/>
                <a:gd name="T81" fmla="*/ 85 h 137"/>
                <a:gd name="T82" fmla="*/ 71 w 108"/>
                <a:gd name="T83" fmla="*/ 82 h 137"/>
                <a:gd name="T84" fmla="*/ 74 w 108"/>
                <a:gd name="T85" fmla="*/ 93 h 137"/>
                <a:gd name="T86" fmla="*/ 59 w 108"/>
                <a:gd name="T87" fmla="*/ 96 h 137"/>
                <a:gd name="T88" fmla="*/ 57 w 108"/>
                <a:gd name="T89" fmla="*/ 85 h 137"/>
                <a:gd name="T90" fmla="*/ 60 w 108"/>
                <a:gd name="T91" fmla="*/ 118 h 137"/>
                <a:gd name="T92" fmla="*/ 57 w 108"/>
                <a:gd name="T93" fmla="*/ 107 h 137"/>
                <a:gd name="T94" fmla="*/ 72 w 108"/>
                <a:gd name="T95" fmla="*/ 104 h 137"/>
                <a:gd name="T96" fmla="*/ 75 w 108"/>
                <a:gd name="T97" fmla="*/ 115 h 137"/>
                <a:gd name="T98" fmla="*/ 79 w 108"/>
                <a:gd name="T99" fmla="*/ 63 h 137"/>
                <a:gd name="T100" fmla="*/ 93 w 108"/>
                <a:gd name="T101" fmla="*/ 60 h 137"/>
                <a:gd name="T102" fmla="*/ 96 w 108"/>
                <a:gd name="T103" fmla="*/ 70 h 137"/>
                <a:gd name="T104" fmla="*/ 81 w 108"/>
                <a:gd name="T105" fmla="*/ 73 h 137"/>
                <a:gd name="T106" fmla="*/ 79 w 108"/>
                <a:gd name="T107" fmla="*/ 63 h 137"/>
                <a:gd name="T108" fmla="*/ 82 w 108"/>
                <a:gd name="T109" fmla="*/ 82 h 137"/>
                <a:gd name="T110" fmla="*/ 96 w 108"/>
                <a:gd name="T111" fmla="*/ 84 h 137"/>
                <a:gd name="T112" fmla="*/ 94 w 108"/>
                <a:gd name="T113" fmla="*/ 95 h 137"/>
                <a:gd name="T114" fmla="*/ 79 w 108"/>
                <a:gd name="T115" fmla="*/ 93 h 137"/>
                <a:gd name="T116" fmla="*/ 95 w 108"/>
                <a:gd name="T117" fmla="*/ 117 h 137"/>
                <a:gd name="T118" fmla="*/ 80 w 108"/>
                <a:gd name="T119" fmla="*/ 115 h 137"/>
                <a:gd name="T120" fmla="*/ 82 w 108"/>
                <a:gd name="T121" fmla="*/ 104 h 137"/>
                <a:gd name="T122" fmla="*/ 97 w 108"/>
                <a:gd name="T123" fmla="*/ 106 h 137"/>
                <a:gd name="T124" fmla="*/ 95 w 108"/>
                <a:gd name="T125" fmla="*/ 11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8" h="137">
                  <a:moveTo>
                    <a:pt x="106" y="27"/>
                  </a:moveTo>
                  <a:cubicBezTo>
                    <a:pt x="105" y="12"/>
                    <a:pt x="93" y="0"/>
                    <a:pt x="78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12" y="2"/>
                    <a:pt x="0" y="15"/>
                    <a:pt x="0" y="30"/>
                  </a:cubicBezTo>
                  <a:cubicBezTo>
                    <a:pt x="2" y="110"/>
                    <a:pt x="2" y="110"/>
                    <a:pt x="2" y="110"/>
                  </a:cubicBezTo>
                  <a:cubicBezTo>
                    <a:pt x="2" y="125"/>
                    <a:pt x="15" y="137"/>
                    <a:pt x="30" y="136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96" y="135"/>
                    <a:pt x="108" y="122"/>
                    <a:pt x="107" y="107"/>
                  </a:cubicBezTo>
                  <a:lnTo>
                    <a:pt x="106" y="27"/>
                  </a:lnTo>
                  <a:close/>
                  <a:moveTo>
                    <a:pt x="10" y="30"/>
                  </a:moveTo>
                  <a:cubicBezTo>
                    <a:pt x="10" y="20"/>
                    <a:pt x="18" y="12"/>
                    <a:pt x="27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1"/>
                    <a:pt x="95" y="18"/>
                    <a:pt x="95" y="28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44"/>
                    <a:pt x="88" y="52"/>
                    <a:pt x="79" y="52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18" y="53"/>
                    <a:pt x="11" y="46"/>
                    <a:pt x="10" y="36"/>
                  </a:cubicBezTo>
                  <a:lnTo>
                    <a:pt x="10" y="30"/>
                  </a:lnTo>
                  <a:close/>
                  <a:moveTo>
                    <a:pt x="11" y="64"/>
                  </a:moveTo>
                  <a:cubicBezTo>
                    <a:pt x="11" y="63"/>
                    <a:pt x="12" y="61"/>
                    <a:pt x="14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7" y="61"/>
                    <a:pt x="28" y="62"/>
                    <a:pt x="29" y="64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3"/>
                    <a:pt x="28" y="74"/>
                    <a:pt x="26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2" y="75"/>
                    <a:pt x="11" y="74"/>
                    <a:pt x="11" y="72"/>
                  </a:cubicBezTo>
                  <a:lnTo>
                    <a:pt x="11" y="64"/>
                  </a:lnTo>
                  <a:close/>
                  <a:moveTo>
                    <a:pt x="12" y="86"/>
                  </a:moveTo>
                  <a:cubicBezTo>
                    <a:pt x="12" y="85"/>
                    <a:pt x="13" y="83"/>
                    <a:pt x="14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8" y="83"/>
                    <a:pt x="29" y="84"/>
                    <a:pt x="29" y="86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29" y="95"/>
                    <a:pt x="28" y="96"/>
                    <a:pt x="27" y="96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3" y="97"/>
                    <a:pt x="12" y="96"/>
                    <a:pt x="12" y="94"/>
                  </a:cubicBezTo>
                  <a:lnTo>
                    <a:pt x="12" y="86"/>
                  </a:lnTo>
                  <a:close/>
                  <a:moveTo>
                    <a:pt x="27" y="118"/>
                  </a:moveTo>
                  <a:cubicBezTo>
                    <a:pt x="15" y="119"/>
                    <a:pt x="15" y="119"/>
                    <a:pt x="15" y="119"/>
                  </a:cubicBezTo>
                  <a:cubicBezTo>
                    <a:pt x="13" y="119"/>
                    <a:pt x="12" y="118"/>
                    <a:pt x="12" y="116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07"/>
                    <a:pt x="13" y="105"/>
                    <a:pt x="15" y="105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8" y="105"/>
                    <a:pt x="29" y="106"/>
                    <a:pt x="29" y="108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7"/>
                    <a:pt x="29" y="118"/>
                    <a:pt x="27" y="118"/>
                  </a:cubicBezTo>
                  <a:close/>
                  <a:moveTo>
                    <a:pt x="34" y="64"/>
                  </a:moveTo>
                  <a:cubicBezTo>
                    <a:pt x="34" y="62"/>
                    <a:pt x="35" y="61"/>
                    <a:pt x="36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0" y="61"/>
                    <a:pt x="51" y="62"/>
                    <a:pt x="51" y="63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3"/>
                    <a:pt x="50" y="74"/>
                    <a:pt x="49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4"/>
                    <a:pt x="34" y="73"/>
                    <a:pt x="34" y="72"/>
                  </a:cubicBezTo>
                  <a:lnTo>
                    <a:pt x="34" y="64"/>
                  </a:lnTo>
                  <a:close/>
                  <a:moveTo>
                    <a:pt x="34" y="86"/>
                  </a:moveTo>
                  <a:cubicBezTo>
                    <a:pt x="34" y="84"/>
                    <a:pt x="35" y="83"/>
                    <a:pt x="37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50" y="83"/>
                    <a:pt x="51" y="84"/>
                    <a:pt x="51" y="85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5"/>
                    <a:pt x="51" y="96"/>
                    <a:pt x="49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5" y="96"/>
                    <a:pt x="34" y="95"/>
                    <a:pt x="34" y="94"/>
                  </a:cubicBezTo>
                  <a:lnTo>
                    <a:pt x="34" y="86"/>
                  </a:lnTo>
                  <a:close/>
                  <a:moveTo>
                    <a:pt x="50" y="118"/>
                  </a:moveTo>
                  <a:cubicBezTo>
                    <a:pt x="37" y="118"/>
                    <a:pt x="37" y="118"/>
                    <a:pt x="37" y="118"/>
                  </a:cubicBezTo>
                  <a:cubicBezTo>
                    <a:pt x="36" y="118"/>
                    <a:pt x="35" y="117"/>
                    <a:pt x="35" y="116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4" y="106"/>
                    <a:pt x="36" y="105"/>
                    <a:pt x="37" y="105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51" y="105"/>
                    <a:pt x="52" y="106"/>
                    <a:pt x="52" y="107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52" y="117"/>
                    <a:pt x="51" y="118"/>
                    <a:pt x="50" y="118"/>
                  </a:cubicBezTo>
                  <a:close/>
                  <a:moveTo>
                    <a:pt x="56" y="63"/>
                  </a:moveTo>
                  <a:cubicBezTo>
                    <a:pt x="56" y="62"/>
                    <a:pt x="57" y="60"/>
                    <a:pt x="59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2" y="60"/>
                    <a:pt x="73" y="61"/>
                    <a:pt x="74" y="63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2"/>
                    <a:pt x="73" y="73"/>
                    <a:pt x="71" y="73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7" y="74"/>
                    <a:pt x="56" y="73"/>
                    <a:pt x="56" y="71"/>
                  </a:cubicBezTo>
                  <a:lnTo>
                    <a:pt x="56" y="63"/>
                  </a:lnTo>
                  <a:close/>
                  <a:moveTo>
                    <a:pt x="57" y="85"/>
                  </a:moveTo>
                  <a:cubicBezTo>
                    <a:pt x="56" y="84"/>
                    <a:pt x="58" y="82"/>
                    <a:pt x="59" y="82"/>
                  </a:cubicBezTo>
                  <a:cubicBezTo>
                    <a:pt x="71" y="82"/>
                    <a:pt x="71" y="82"/>
                    <a:pt x="71" y="82"/>
                  </a:cubicBezTo>
                  <a:cubicBezTo>
                    <a:pt x="73" y="82"/>
                    <a:pt x="74" y="83"/>
                    <a:pt x="74" y="85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4" y="94"/>
                    <a:pt x="73" y="95"/>
                    <a:pt x="72" y="95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8" y="96"/>
                    <a:pt x="57" y="95"/>
                    <a:pt x="57" y="93"/>
                  </a:cubicBezTo>
                  <a:lnTo>
                    <a:pt x="57" y="85"/>
                  </a:lnTo>
                  <a:close/>
                  <a:moveTo>
                    <a:pt x="72" y="117"/>
                  </a:moveTo>
                  <a:cubicBezTo>
                    <a:pt x="60" y="118"/>
                    <a:pt x="60" y="118"/>
                    <a:pt x="60" y="118"/>
                  </a:cubicBezTo>
                  <a:cubicBezTo>
                    <a:pt x="58" y="118"/>
                    <a:pt x="57" y="117"/>
                    <a:pt x="57" y="11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7" y="106"/>
                    <a:pt x="58" y="104"/>
                    <a:pt x="60" y="104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3" y="104"/>
                    <a:pt x="74" y="105"/>
                    <a:pt x="74" y="107"/>
                  </a:cubicBezTo>
                  <a:cubicBezTo>
                    <a:pt x="75" y="115"/>
                    <a:pt x="75" y="115"/>
                    <a:pt x="75" y="115"/>
                  </a:cubicBezTo>
                  <a:cubicBezTo>
                    <a:pt x="75" y="116"/>
                    <a:pt x="74" y="117"/>
                    <a:pt x="72" y="117"/>
                  </a:cubicBezTo>
                  <a:close/>
                  <a:moveTo>
                    <a:pt x="79" y="63"/>
                  </a:moveTo>
                  <a:cubicBezTo>
                    <a:pt x="78" y="61"/>
                    <a:pt x="80" y="60"/>
                    <a:pt x="81" y="60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5" y="60"/>
                    <a:pt x="96" y="61"/>
                    <a:pt x="96" y="62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2"/>
                    <a:pt x="95" y="73"/>
                    <a:pt x="94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0" y="73"/>
                    <a:pt x="79" y="72"/>
                    <a:pt x="79" y="71"/>
                  </a:cubicBezTo>
                  <a:lnTo>
                    <a:pt x="79" y="63"/>
                  </a:lnTo>
                  <a:close/>
                  <a:moveTo>
                    <a:pt x="79" y="85"/>
                  </a:moveTo>
                  <a:cubicBezTo>
                    <a:pt x="79" y="83"/>
                    <a:pt x="80" y="82"/>
                    <a:pt x="82" y="8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5" y="82"/>
                    <a:pt x="96" y="83"/>
                    <a:pt x="96" y="8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7" y="94"/>
                    <a:pt x="96" y="95"/>
                    <a:pt x="94" y="95"/>
                  </a:cubicBezTo>
                  <a:cubicBezTo>
                    <a:pt x="82" y="95"/>
                    <a:pt x="82" y="95"/>
                    <a:pt x="82" y="95"/>
                  </a:cubicBezTo>
                  <a:cubicBezTo>
                    <a:pt x="80" y="95"/>
                    <a:pt x="79" y="94"/>
                    <a:pt x="79" y="93"/>
                  </a:cubicBezTo>
                  <a:lnTo>
                    <a:pt x="79" y="85"/>
                  </a:lnTo>
                  <a:close/>
                  <a:moveTo>
                    <a:pt x="95" y="117"/>
                  </a:moveTo>
                  <a:cubicBezTo>
                    <a:pt x="82" y="117"/>
                    <a:pt x="82" y="117"/>
                    <a:pt x="82" y="117"/>
                  </a:cubicBezTo>
                  <a:cubicBezTo>
                    <a:pt x="81" y="117"/>
                    <a:pt x="80" y="116"/>
                    <a:pt x="80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9" y="105"/>
                    <a:pt x="81" y="104"/>
                    <a:pt x="82" y="104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6" y="104"/>
                    <a:pt x="97" y="105"/>
                    <a:pt x="97" y="106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6"/>
                    <a:pt x="96" y="117"/>
                    <a:pt x="95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264" name="ïšļíḓe"/>
            <p:cNvSpPr/>
            <p:nvPr>
              <p:custDataLst>
                <p:tags r:id="rId158"/>
              </p:custDataLst>
            </p:nvPr>
          </p:nvSpPr>
          <p:spPr bwMode="auto">
            <a:xfrm flipH="1">
              <a:off x="3483529" y="1765643"/>
              <a:ext cx="72085" cy="68311"/>
            </a:xfrm>
            <a:custGeom>
              <a:avLst/>
              <a:gdLst>
                <a:gd name="T0" fmla="*/ 28 w 33"/>
                <a:gd name="T1" fmla="*/ 11 h 32"/>
                <a:gd name="T2" fmla="*/ 21 w 33"/>
                <a:gd name="T3" fmla="*/ 11 h 32"/>
                <a:gd name="T4" fmla="*/ 21 w 33"/>
                <a:gd name="T5" fmla="*/ 4 h 32"/>
                <a:gd name="T6" fmla="*/ 16 w 33"/>
                <a:gd name="T7" fmla="*/ 0 h 32"/>
                <a:gd name="T8" fmla="*/ 12 w 33"/>
                <a:gd name="T9" fmla="*/ 4 h 32"/>
                <a:gd name="T10" fmla="*/ 12 w 33"/>
                <a:gd name="T11" fmla="*/ 11 h 32"/>
                <a:gd name="T12" fmla="*/ 5 w 33"/>
                <a:gd name="T13" fmla="*/ 12 h 32"/>
                <a:gd name="T14" fmla="*/ 0 w 33"/>
                <a:gd name="T15" fmla="*/ 16 h 32"/>
                <a:gd name="T16" fmla="*/ 5 w 33"/>
                <a:gd name="T17" fmla="*/ 21 h 32"/>
                <a:gd name="T18" fmla="*/ 12 w 33"/>
                <a:gd name="T19" fmla="*/ 21 h 32"/>
                <a:gd name="T20" fmla="*/ 12 w 33"/>
                <a:gd name="T21" fmla="*/ 28 h 32"/>
                <a:gd name="T22" fmla="*/ 17 w 33"/>
                <a:gd name="T23" fmla="*/ 32 h 32"/>
                <a:gd name="T24" fmla="*/ 21 w 33"/>
                <a:gd name="T25" fmla="*/ 28 h 32"/>
                <a:gd name="T26" fmla="*/ 21 w 33"/>
                <a:gd name="T27" fmla="*/ 20 h 32"/>
                <a:gd name="T28" fmla="*/ 28 w 33"/>
                <a:gd name="T29" fmla="*/ 20 h 32"/>
                <a:gd name="T30" fmla="*/ 33 w 33"/>
                <a:gd name="T31" fmla="*/ 16 h 32"/>
                <a:gd name="T32" fmla="*/ 28 w 33"/>
                <a:gd name="T33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32">
                  <a:moveTo>
                    <a:pt x="28" y="11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2"/>
                    <a:pt x="19" y="0"/>
                    <a:pt x="16" y="0"/>
                  </a:cubicBezTo>
                  <a:cubicBezTo>
                    <a:pt x="13" y="0"/>
                    <a:pt x="11" y="2"/>
                    <a:pt x="12" y="4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14"/>
                    <a:pt x="0" y="16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0"/>
                    <a:pt x="14" y="32"/>
                    <a:pt x="17" y="32"/>
                  </a:cubicBezTo>
                  <a:cubicBezTo>
                    <a:pt x="19" y="32"/>
                    <a:pt x="21" y="30"/>
                    <a:pt x="21" y="28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31" y="20"/>
                    <a:pt x="33" y="18"/>
                    <a:pt x="33" y="16"/>
                  </a:cubicBezTo>
                  <a:cubicBezTo>
                    <a:pt x="33" y="13"/>
                    <a:pt x="30" y="11"/>
                    <a:pt x="2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5" name="ïṣľíḑé"/>
            <p:cNvSpPr/>
            <p:nvPr>
              <p:custDataLst>
                <p:tags r:id="rId159"/>
              </p:custDataLst>
            </p:nvPr>
          </p:nvSpPr>
          <p:spPr bwMode="auto">
            <a:xfrm flipH="1">
              <a:off x="3401463" y="1787330"/>
              <a:ext cx="69867" cy="20602"/>
            </a:xfrm>
            <a:custGeom>
              <a:avLst/>
              <a:gdLst>
                <a:gd name="T0" fmla="*/ 28 w 32"/>
                <a:gd name="T1" fmla="*/ 0 h 10"/>
                <a:gd name="T2" fmla="*/ 4 w 32"/>
                <a:gd name="T3" fmla="*/ 1 h 10"/>
                <a:gd name="T4" fmla="*/ 0 w 32"/>
                <a:gd name="T5" fmla="*/ 5 h 10"/>
                <a:gd name="T6" fmla="*/ 4 w 32"/>
                <a:gd name="T7" fmla="*/ 10 h 10"/>
                <a:gd name="T8" fmla="*/ 28 w 32"/>
                <a:gd name="T9" fmla="*/ 9 h 10"/>
                <a:gd name="T10" fmla="*/ 32 w 32"/>
                <a:gd name="T11" fmla="*/ 5 h 10"/>
                <a:gd name="T12" fmla="*/ 28 w 3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0">
                  <a:moveTo>
                    <a:pt x="28" y="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0" y="3"/>
                    <a:pt x="0" y="5"/>
                  </a:cubicBezTo>
                  <a:cubicBezTo>
                    <a:pt x="0" y="8"/>
                    <a:pt x="2" y="10"/>
                    <a:pt x="4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0" y="9"/>
                    <a:pt x="32" y="7"/>
                    <a:pt x="32" y="5"/>
                  </a:cubicBezTo>
                  <a:cubicBezTo>
                    <a:pt x="32" y="2"/>
                    <a:pt x="30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6" name="îŝḻïdê"/>
            <p:cNvSpPr/>
            <p:nvPr>
              <p:custDataLst>
                <p:tags r:id="rId160"/>
              </p:custDataLst>
            </p:nvPr>
          </p:nvSpPr>
          <p:spPr bwMode="auto">
            <a:xfrm flipH="1">
              <a:off x="3796268" y="2946455"/>
              <a:ext cx="156369" cy="237464"/>
            </a:xfrm>
            <a:custGeom>
              <a:avLst/>
              <a:gdLst>
                <a:gd name="T0" fmla="*/ 55 w 72"/>
                <a:gd name="T1" fmla="*/ 0 h 112"/>
                <a:gd name="T2" fmla="*/ 17 w 72"/>
                <a:gd name="T3" fmla="*/ 0 h 112"/>
                <a:gd name="T4" fmla="*/ 0 w 72"/>
                <a:gd name="T5" fmla="*/ 17 h 112"/>
                <a:gd name="T6" fmla="*/ 0 w 72"/>
                <a:gd name="T7" fmla="*/ 94 h 112"/>
                <a:gd name="T8" fmla="*/ 17 w 72"/>
                <a:gd name="T9" fmla="*/ 112 h 112"/>
                <a:gd name="T10" fmla="*/ 55 w 72"/>
                <a:gd name="T11" fmla="*/ 112 h 112"/>
                <a:gd name="T12" fmla="*/ 72 w 72"/>
                <a:gd name="T13" fmla="*/ 94 h 112"/>
                <a:gd name="T14" fmla="*/ 72 w 72"/>
                <a:gd name="T15" fmla="*/ 17 h 112"/>
                <a:gd name="T16" fmla="*/ 55 w 72"/>
                <a:gd name="T17" fmla="*/ 0 h 112"/>
                <a:gd name="T18" fmla="*/ 64 w 72"/>
                <a:gd name="T19" fmla="*/ 94 h 112"/>
                <a:gd name="T20" fmla="*/ 55 w 72"/>
                <a:gd name="T21" fmla="*/ 104 h 112"/>
                <a:gd name="T22" fmla="*/ 17 w 72"/>
                <a:gd name="T23" fmla="*/ 104 h 112"/>
                <a:gd name="T24" fmla="*/ 8 w 72"/>
                <a:gd name="T25" fmla="*/ 94 h 112"/>
                <a:gd name="T26" fmla="*/ 8 w 72"/>
                <a:gd name="T27" fmla="*/ 17 h 112"/>
                <a:gd name="T28" fmla="*/ 17 w 72"/>
                <a:gd name="T29" fmla="*/ 8 h 112"/>
                <a:gd name="T30" fmla="*/ 55 w 72"/>
                <a:gd name="T31" fmla="*/ 8 h 112"/>
                <a:gd name="T32" fmla="*/ 64 w 72"/>
                <a:gd name="T33" fmla="*/ 17 h 112"/>
                <a:gd name="T34" fmla="*/ 64 w 72"/>
                <a:gd name="T35" fmla="*/ 9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112">
                  <a:moveTo>
                    <a:pt x="55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104"/>
                    <a:pt x="8" y="112"/>
                    <a:pt x="17" y="112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64" y="112"/>
                    <a:pt x="72" y="104"/>
                    <a:pt x="72" y="94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8"/>
                    <a:pt x="64" y="0"/>
                    <a:pt x="55" y="0"/>
                  </a:cubicBezTo>
                  <a:close/>
                  <a:moveTo>
                    <a:pt x="64" y="94"/>
                  </a:moveTo>
                  <a:cubicBezTo>
                    <a:pt x="64" y="100"/>
                    <a:pt x="60" y="104"/>
                    <a:pt x="55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104"/>
                    <a:pt x="8" y="100"/>
                    <a:pt x="8" y="94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60" y="8"/>
                    <a:pt x="64" y="12"/>
                    <a:pt x="64" y="17"/>
                  </a:cubicBezTo>
                  <a:lnTo>
                    <a:pt x="64" y="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75000" lnSpcReduction="20000"/>
            </a:bodyPr>
            <a:lstStyle/>
            <a:p>
              <a:pPr algn="ctr"/>
            </a:p>
          </p:txBody>
        </p:sp>
        <p:sp>
          <p:nvSpPr>
            <p:cNvPr id="267" name="isliḑé"/>
            <p:cNvSpPr/>
            <p:nvPr>
              <p:custDataLst>
                <p:tags r:id="rId161"/>
              </p:custDataLst>
            </p:nvPr>
          </p:nvSpPr>
          <p:spPr bwMode="auto">
            <a:xfrm flipH="1">
              <a:off x="3859481" y="3126451"/>
              <a:ext cx="29943" cy="28192"/>
            </a:xfrm>
            <a:custGeom>
              <a:avLst/>
              <a:gdLst>
                <a:gd name="T0" fmla="*/ 11 w 14"/>
                <a:gd name="T1" fmla="*/ 0 h 13"/>
                <a:gd name="T2" fmla="*/ 3 w 14"/>
                <a:gd name="T3" fmla="*/ 0 h 13"/>
                <a:gd name="T4" fmla="*/ 0 w 14"/>
                <a:gd name="T5" fmla="*/ 3 h 13"/>
                <a:gd name="T6" fmla="*/ 0 w 14"/>
                <a:gd name="T7" fmla="*/ 10 h 13"/>
                <a:gd name="T8" fmla="*/ 3 w 14"/>
                <a:gd name="T9" fmla="*/ 13 h 13"/>
                <a:gd name="T10" fmla="*/ 11 w 14"/>
                <a:gd name="T11" fmla="*/ 13 h 13"/>
                <a:gd name="T12" fmla="*/ 14 w 14"/>
                <a:gd name="T13" fmla="*/ 10 h 13"/>
                <a:gd name="T14" fmla="*/ 14 w 14"/>
                <a:gd name="T15" fmla="*/ 3 h 13"/>
                <a:gd name="T16" fmla="*/ 11 w 1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3">
                  <a:moveTo>
                    <a:pt x="1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2" y="13"/>
                    <a:pt x="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4" y="12"/>
                    <a:pt x="14" y="1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2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8" name="îṡḷîḍe"/>
            <p:cNvSpPr/>
            <p:nvPr>
              <p:custDataLst>
                <p:tags r:id="rId162"/>
              </p:custDataLst>
            </p:nvPr>
          </p:nvSpPr>
          <p:spPr bwMode="auto">
            <a:xfrm flipH="1">
              <a:off x="3821775" y="2977900"/>
              <a:ext cx="104246" cy="138791"/>
            </a:xfrm>
            <a:custGeom>
              <a:avLst/>
              <a:gdLst>
                <a:gd name="T0" fmla="*/ 45 w 48"/>
                <a:gd name="T1" fmla="*/ 0 h 65"/>
                <a:gd name="T2" fmla="*/ 3 w 48"/>
                <a:gd name="T3" fmla="*/ 0 h 65"/>
                <a:gd name="T4" fmla="*/ 0 w 48"/>
                <a:gd name="T5" fmla="*/ 3 h 65"/>
                <a:gd name="T6" fmla="*/ 0 w 48"/>
                <a:gd name="T7" fmla="*/ 62 h 65"/>
                <a:gd name="T8" fmla="*/ 3 w 48"/>
                <a:gd name="T9" fmla="*/ 65 h 65"/>
                <a:gd name="T10" fmla="*/ 45 w 48"/>
                <a:gd name="T11" fmla="*/ 65 h 65"/>
                <a:gd name="T12" fmla="*/ 48 w 48"/>
                <a:gd name="T13" fmla="*/ 62 h 65"/>
                <a:gd name="T14" fmla="*/ 48 w 48"/>
                <a:gd name="T15" fmla="*/ 3 h 65"/>
                <a:gd name="T16" fmla="*/ 45 w 48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65">
                  <a:moveTo>
                    <a:pt x="4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2" y="65"/>
                    <a:pt x="3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7" y="65"/>
                    <a:pt x="48" y="63"/>
                    <a:pt x="48" y="62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7" y="0"/>
                    <a:pt x="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69" name="îślíḋè"/>
            <p:cNvSpPr/>
            <p:nvPr>
              <p:custDataLst>
                <p:tags r:id="rId163"/>
              </p:custDataLst>
            </p:nvPr>
          </p:nvSpPr>
          <p:spPr bwMode="auto">
            <a:xfrm flipH="1">
              <a:off x="3757453" y="3186088"/>
              <a:ext cx="125317" cy="119274"/>
            </a:xfrm>
            <a:custGeom>
              <a:avLst/>
              <a:gdLst>
                <a:gd name="T0" fmla="*/ 55 w 58"/>
                <a:gd name="T1" fmla="*/ 17 h 56"/>
                <a:gd name="T2" fmla="*/ 43 w 58"/>
                <a:gd name="T3" fmla="*/ 4 h 56"/>
                <a:gd name="T4" fmla="*/ 31 w 58"/>
                <a:gd name="T5" fmla="*/ 3 h 56"/>
                <a:gd name="T6" fmla="*/ 4 w 58"/>
                <a:gd name="T7" fmla="*/ 27 h 56"/>
                <a:gd name="T8" fmla="*/ 3 w 58"/>
                <a:gd name="T9" fmla="*/ 39 h 56"/>
                <a:gd name="T10" fmla="*/ 15 w 58"/>
                <a:gd name="T11" fmla="*/ 52 h 56"/>
                <a:gd name="T12" fmla="*/ 26 w 58"/>
                <a:gd name="T13" fmla="*/ 53 h 56"/>
                <a:gd name="T14" fmla="*/ 54 w 58"/>
                <a:gd name="T15" fmla="*/ 29 h 56"/>
                <a:gd name="T16" fmla="*/ 55 w 58"/>
                <a:gd name="T17" fmla="*/ 17 h 56"/>
                <a:gd name="T18" fmla="*/ 24 w 58"/>
                <a:gd name="T19" fmla="*/ 50 h 56"/>
                <a:gd name="T20" fmla="*/ 17 w 58"/>
                <a:gd name="T21" fmla="*/ 50 h 56"/>
                <a:gd name="T22" fmla="*/ 6 w 58"/>
                <a:gd name="T23" fmla="*/ 36 h 56"/>
                <a:gd name="T24" fmla="*/ 6 w 58"/>
                <a:gd name="T25" fmla="*/ 30 h 56"/>
                <a:gd name="T26" fmla="*/ 34 w 58"/>
                <a:gd name="T27" fmla="*/ 6 h 56"/>
                <a:gd name="T28" fmla="*/ 40 w 58"/>
                <a:gd name="T29" fmla="*/ 6 h 56"/>
                <a:gd name="T30" fmla="*/ 52 w 58"/>
                <a:gd name="T31" fmla="*/ 19 h 56"/>
                <a:gd name="T32" fmla="*/ 51 w 58"/>
                <a:gd name="T33" fmla="*/ 26 h 56"/>
                <a:gd name="T34" fmla="*/ 24 w 58"/>
                <a:gd name="T35" fmla="*/ 5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" h="56">
                  <a:moveTo>
                    <a:pt x="55" y="17"/>
                  </a:moveTo>
                  <a:cubicBezTo>
                    <a:pt x="43" y="4"/>
                    <a:pt x="43" y="4"/>
                    <a:pt x="43" y="4"/>
                  </a:cubicBezTo>
                  <a:cubicBezTo>
                    <a:pt x="40" y="0"/>
                    <a:pt x="35" y="0"/>
                    <a:pt x="31" y="3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30"/>
                    <a:pt x="0" y="35"/>
                    <a:pt x="3" y="3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8" y="55"/>
                    <a:pt x="23" y="56"/>
                    <a:pt x="26" y="53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7" y="26"/>
                    <a:pt x="58" y="20"/>
                    <a:pt x="55" y="17"/>
                  </a:cubicBezTo>
                  <a:close/>
                  <a:moveTo>
                    <a:pt x="24" y="50"/>
                  </a:moveTo>
                  <a:cubicBezTo>
                    <a:pt x="22" y="52"/>
                    <a:pt x="19" y="52"/>
                    <a:pt x="17" y="50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4"/>
                    <a:pt x="4" y="31"/>
                    <a:pt x="6" y="3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6" y="4"/>
                    <a:pt x="39" y="4"/>
                    <a:pt x="40" y="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4" y="21"/>
                    <a:pt x="53" y="24"/>
                    <a:pt x="51" y="26"/>
                  </a:cubicBezTo>
                  <a:lnTo>
                    <a:pt x="24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0" name="ïṥḷïḓé"/>
            <p:cNvSpPr/>
            <p:nvPr>
              <p:custDataLst>
                <p:tags r:id="rId164"/>
              </p:custDataLst>
            </p:nvPr>
          </p:nvSpPr>
          <p:spPr bwMode="auto">
            <a:xfrm flipH="1">
              <a:off x="3839519" y="3260905"/>
              <a:ext cx="17744" cy="16265"/>
            </a:xfrm>
            <a:custGeom>
              <a:avLst/>
              <a:gdLst>
                <a:gd name="T0" fmla="*/ 8 w 8"/>
                <a:gd name="T1" fmla="*/ 3 h 8"/>
                <a:gd name="T2" fmla="*/ 5 w 8"/>
                <a:gd name="T3" fmla="*/ 1 h 8"/>
                <a:gd name="T4" fmla="*/ 3 w 8"/>
                <a:gd name="T5" fmla="*/ 0 h 8"/>
                <a:gd name="T6" fmla="*/ 1 w 8"/>
                <a:gd name="T7" fmla="*/ 3 h 8"/>
                <a:gd name="T8" fmla="*/ 1 w 8"/>
                <a:gd name="T9" fmla="*/ 5 h 8"/>
                <a:gd name="T10" fmla="*/ 3 w 8"/>
                <a:gd name="T11" fmla="*/ 8 h 8"/>
                <a:gd name="T12" fmla="*/ 5 w 8"/>
                <a:gd name="T13" fmla="*/ 8 h 8"/>
                <a:gd name="T14" fmla="*/ 8 w 8"/>
                <a:gd name="T15" fmla="*/ 5 h 8"/>
                <a:gd name="T16" fmla="*/ 8 w 8"/>
                <a:gd name="T1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8" y="3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4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1" name="iŝļîḋe"/>
            <p:cNvSpPr/>
            <p:nvPr>
              <p:custDataLst>
                <p:tags r:id="rId165"/>
              </p:custDataLst>
            </p:nvPr>
          </p:nvSpPr>
          <p:spPr bwMode="auto">
            <a:xfrm flipH="1">
              <a:off x="3771870" y="3201268"/>
              <a:ext cx="83175" cy="75902"/>
            </a:xfrm>
            <a:custGeom>
              <a:avLst/>
              <a:gdLst>
                <a:gd name="T0" fmla="*/ 37 w 38"/>
                <a:gd name="T1" fmla="*/ 16 h 36"/>
                <a:gd name="T2" fmla="*/ 24 w 38"/>
                <a:gd name="T3" fmla="*/ 1 h 36"/>
                <a:gd name="T4" fmla="*/ 22 w 38"/>
                <a:gd name="T5" fmla="*/ 0 h 36"/>
                <a:gd name="T6" fmla="*/ 1 w 38"/>
                <a:gd name="T7" fmla="*/ 19 h 36"/>
                <a:gd name="T8" fmla="*/ 1 w 38"/>
                <a:gd name="T9" fmla="*/ 21 h 36"/>
                <a:gd name="T10" fmla="*/ 14 w 38"/>
                <a:gd name="T11" fmla="*/ 36 h 36"/>
                <a:gd name="T12" fmla="*/ 16 w 38"/>
                <a:gd name="T13" fmla="*/ 36 h 36"/>
                <a:gd name="T14" fmla="*/ 37 w 38"/>
                <a:gd name="T15" fmla="*/ 17 h 36"/>
                <a:gd name="T16" fmla="*/ 37 w 38"/>
                <a:gd name="T17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6">
                  <a:moveTo>
                    <a:pt x="37" y="16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36"/>
                    <a:pt x="16" y="36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6"/>
                    <a:pt x="37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2" name="íṧļîḓè"/>
            <p:cNvSpPr/>
            <p:nvPr>
              <p:custDataLst>
                <p:tags r:id="rId166"/>
              </p:custDataLst>
            </p:nvPr>
          </p:nvSpPr>
          <p:spPr bwMode="auto">
            <a:xfrm flipH="1">
              <a:off x="3140848" y="1861063"/>
              <a:ext cx="69867" cy="93251"/>
            </a:xfrm>
            <a:custGeom>
              <a:avLst/>
              <a:gdLst>
                <a:gd name="T0" fmla="*/ 0 w 63"/>
                <a:gd name="T1" fmla="*/ 74 h 86"/>
                <a:gd name="T2" fmla="*/ 10 w 63"/>
                <a:gd name="T3" fmla="*/ 84 h 86"/>
                <a:gd name="T4" fmla="*/ 63 w 63"/>
                <a:gd name="T5" fmla="*/ 86 h 86"/>
                <a:gd name="T6" fmla="*/ 63 w 63"/>
                <a:gd name="T7" fmla="*/ 0 h 86"/>
                <a:gd name="T8" fmla="*/ 0 w 63"/>
                <a:gd name="T9" fmla="*/ 0 h 86"/>
                <a:gd name="T10" fmla="*/ 0 w 63"/>
                <a:gd name="T11" fmla="*/ 74 h 86"/>
                <a:gd name="T12" fmla="*/ 18 w 63"/>
                <a:gd name="T13" fmla="*/ 78 h 86"/>
                <a:gd name="T14" fmla="*/ 12 w 63"/>
                <a:gd name="T15" fmla="*/ 78 h 86"/>
                <a:gd name="T16" fmla="*/ 12 w 63"/>
                <a:gd name="T17" fmla="*/ 65 h 86"/>
                <a:gd name="T18" fmla="*/ 18 w 63"/>
                <a:gd name="T19" fmla="*/ 65 h 86"/>
                <a:gd name="T20" fmla="*/ 18 w 63"/>
                <a:gd name="T21" fmla="*/ 78 h 86"/>
                <a:gd name="T22" fmla="*/ 29 w 63"/>
                <a:gd name="T23" fmla="*/ 78 h 86"/>
                <a:gd name="T24" fmla="*/ 24 w 63"/>
                <a:gd name="T25" fmla="*/ 78 h 86"/>
                <a:gd name="T26" fmla="*/ 24 w 63"/>
                <a:gd name="T27" fmla="*/ 65 h 86"/>
                <a:gd name="T28" fmla="*/ 29 w 63"/>
                <a:gd name="T29" fmla="*/ 65 h 86"/>
                <a:gd name="T30" fmla="*/ 29 w 63"/>
                <a:gd name="T31" fmla="*/ 78 h 86"/>
                <a:gd name="T32" fmla="*/ 43 w 63"/>
                <a:gd name="T33" fmla="*/ 78 h 86"/>
                <a:gd name="T34" fmla="*/ 37 w 63"/>
                <a:gd name="T35" fmla="*/ 78 h 86"/>
                <a:gd name="T36" fmla="*/ 37 w 63"/>
                <a:gd name="T37" fmla="*/ 65 h 86"/>
                <a:gd name="T38" fmla="*/ 43 w 63"/>
                <a:gd name="T39" fmla="*/ 65 h 86"/>
                <a:gd name="T40" fmla="*/ 43 w 63"/>
                <a:gd name="T41" fmla="*/ 78 h 86"/>
                <a:gd name="T42" fmla="*/ 55 w 63"/>
                <a:gd name="T43" fmla="*/ 78 h 86"/>
                <a:gd name="T44" fmla="*/ 49 w 63"/>
                <a:gd name="T45" fmla="*/ 78 h 86"/>
                <a:gd name="T46" fmla="*/ 49 w 63"/>
                <a:gd name="T47" fmla="*/ 65 h 86"/>
                <a:gd name="T48" fmla="*/ 55 w 63"/>
                <a:gd name="T49" fmla="*/ 65 h 86"/>
                <a:gd name="T50" fmla="*/ 55 w 63"/>
                <a:gd name="T51" fmla="*/ 78 h 86"/>
                <a:gd name="T52" fmla="*/ 10 w 63"/>
                <a:gd name="T53" fmla="*/ 8 h 86"/>
                <a:gd name="T54" fmla="*/ 55 w 63"/>
                <a:gd name="T55" fmla="*/ 8 h 86"/>
                <a:gd name="T56" fmla="*/ 55 w 63"/>
                <a:gd name="T57" fmla="*/ 22 h 86"/>
                <a:gd name="T58" fmla="*/ 10 w 63"/>
                <a:gd name="T59" fmla="*/ 22 h 86"/>
                <a:gd name="T60" fmla="*/ 10 w 63"/>
                <a:gd name="T61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3" h="86">
                  <a:moveTo>
                    <a:pt x="0" y="74"/>
                  </a:moveTo>
                  <a:lnTo>
                    <a:pt x="10" y="84"/>
                  </a:lnTo>
                  <a:lnTo>
                    <a:pt x="63" y="8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74"/>
                  </a:lnTo>
                  <a:close/>
                  <a:moveTo>
                    <a:pt x="18" y="78"/>
                  </a:moveTo>
                  <a:lnTo>
                    <a:pt x="12" y="78"/>
                  </a:lnTo>
                  <a:lnTo>
                    <a:pt x="12" y="65"/>
                  </a:lnTo>
                  <a:lnTo>
                    <a:pt x="18" y="65"/>
                  </a:lnTo>
                  <a:lnTo>
                    <a:pt x="18" y="78"/>
                  </a:lnTo>
                  <a:close/>
                  <a:moveTo>
                    <a:pt x="29" y="78"/>
                  </a:moveTo>
                  <a:lnTo>
                    <a:pt x="24" y="78"/>
                  </a:lnTo>
                  <a:lnTo>
                    <a:pt x="24" y="65"/>
                  </a:lnTo>
                  <a:lnTo>
                    <a:pt x="29" y="65"/>
                  </a:lnTo>
                  <a:lnTo>
                    <a:pt x="29" y="78"/>
                  </a:lnTo>
                  <a:close/>
                  <a:moveTo>
                    <a:pt x="43" y="78"/>
                  </a:moveTo>
                  <a:lnTo>
                    <a:pt x="37" y="78"/>
                  </a:lnTo>
                  <a:lnTo>
                    <a:pt x="37" y="65"/>
                  </a:lnTo>
                  <a:lnTo>
                    <a:pt x="43" y="65"/>
                  </a:lnTo>
                  <a:lnTo>
                    <a:pt x="43" y="78"/>
                  </a:lnTo>
                  <a:close/>
                  <a:moveTo>
                    <a:pt x="55" y="78"/>
                  </a:moveTo>
                  <a:lnTo>
                    <a:pt x="49" y="78"/>
                  </a:lnTo>
                  <a:lnTo>
                    <a:pt x="49" y="65"/>
                  </a:lnTo>
                  <a:lnTo>
                    <a:pt x="55" y="65"/>
                  </a:lnTo>
                  <a:lnTo>
                    <a:pt x="55" y="78"/>
                  </a:lnTo>
                  <a:close/>
                  <a:moveTo>
                    <a:pt x="10" y="8"/>
                  </a:moveTo>
                  <a:lnTo>
                    <a:pt x="55" y="8"/>
                  </a:lnTo>
                  <a:lnTo>
                    <a:pt x="55" y="22"/>
                  </a:lnTo>
                  <a:lnTo>
                    <a:pt x="10" y="22"/>
                  </a:lnTo>
                  <a:lnTo>
                    <a:pt x="1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3" name="îṧlïḓè"/>
            <p:cNvSpPr/>
            <p:nvPr>
              <p:custDataLst>
                <p:tags r:id="rId167"/>
              </p:custDataLst>
            </p:nvPr>
          </p:nvSpPr>
          <p:spPr bwMode="auto">
            <a:xfrm flipH="1">
              <a:off x="3360430" y="1443604"/>
              <a:ext cx="54341" cy="71564"/>
            </a:xfrm>
            <a:custGeom>
              <a:avLst/>
              <a:gdLst>
                <a:gd name="T0" fmla="*/ 49 w 49"/>
                <a:gd name="T1" fmla="*/ 10 h 66"/>
                <a:gd name="T2" fmla="*/ 43 w 49"/>
                <a:gd name="T3" fmla="*/ 0 h 66"/>
                <a:gd name="T4" fmla="*/ 0 w 49"/>
                <a:gd name="T5" fmla="*/ 0 h 66"/>
                <a:gd name="T6" fmla="*/ 0 w 49"/>
                <a:gd name="T7" fmla="*/ 66 h 66"/>
                <a:gd name="T8" fmla="*/ 49 w 49"/>
                <a:gd name="T9" fmla="*/ 66 h 66"/>
                <a:gd name="T10" fmla="*/ 49 w 49"/>
                <a:gd name="T11" fmla="*/ 10 h 66"/>
                <a:gd name="T12" fmla="*/ 36 w 49"/>
                <a:gd name="T13" fmla="*/ 6 h 66"/>
                <a:gd name="T14" fmla="*/ 41 w 49"/>
                <a:gd name="T15" fmla="*/ 6 h 66"/>
                <a:gd name="T16" fmla="*/ 41 w 49"/>
                <a:gd name="T17" fmla="*/ 15 h 66"/>
                <a:gd name="T18" fmla="*/ 36 w 49"/>
                <a:gd name="T19" fmla="*/ 15 h 66"/>
                <a:gd name="T20" fmla="*/ 36 w 49"/>
                <a:gd name="T21" fmla="*/ 6 h 66"/>
                <a:gd name="T22" fmla="*/ 26 w 49"/>
                <a:gd name="T23" fmla="*/ 6 h 66"/>
                <a:gd name="T24" fmla="*/ 32 w 49"/>
                <a:gd name="T25" fmla="*/ 6 h 66"/>
                <a:gd name="T26" fmla="*/ 32 w 49"/>
                <a:gd name="T27" fmla="*/ 15 h 66"/>
                <a:gd name="T28" fmla="*/ 26 w 49"/>
                <a:gd name="T29" fmla="*/ 15 h 66"/>
                <a:gd name="T30" fmla="*/ 26 w 49"/>
                <a:gd name="T31" fmla="*/ 6 h 66"/>
                <a:gd name="T32" fmla="*/ 16 w 49"/>
                <a:gd name="T33" fmla="*/ 6 h 66"/>
                <a:gd name="T34" fmla="*/ 22 w 49"/>
                <a:gd name="T35" fmla="*/ 6 h 66"/>
                <a:gd name="T36" fmla="*/ 20 w 49"/>
                <a:gd name="T37" fmla="*/ 15 h 66"/>
                <a:gd name="T38" fmla="*/ 16 w 49"/>
                <a:gd name="T39" fmla="*/ 15 h 66"/>
                <a:gd name="T40" fmla="*/ 16 w 49"/>
                <a:gd name="T41" fmla="*/ 6 h 66"/>
                <a:gd name="T42" fmla="*/ 6 w 49"/>
                <a:gd name="T43" fmla="*/ 6 h 66"/>
                <a:gd name="T44" fmla="*/ 12 w 49"/>
                <a:gd name="T45" fmla="*/ 6 h 66"/>
                <a:gd name="T46" fmla="*/ 12 w 49"/>
                <a:gd name="T47" fmla="*/ 15 h 66"/>
                <a:gd name="T48" fmla="*/ 6 w 49"/>
                <a:gd name="T49" fmla="*/ 15 h 66"/>
                <a:gd name="T50" fmla="*/ 6 w 49"/>
                <a:gd name="T51" fmla="*/ 6 h 66"/>
                <a:gd name="T52" fmla="*/ 41 w 49"/>
                <a:gd name="T53" fmla="*/ 60 h 66"/>
                <a:gd name="T54" fmla="*/ 6 w 49"/>
                <a:gd name="T55" fmla="*/ 60 h 66"/>
                <a:gd name="T56" fmla="*/ 6 w 49"/>
                <a:gd name="T57" fmla="*/ 49 h 66"/>
                <a:gd name="T58" fmla="*/ 41 w 49"/>
                <a:gd name="T59" fmla="*/ 51 h 66"/>
                <a:gd name="T60" fmla="*/ 41 w 49"/>
                <a:gd name="T6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66">
                  <a:moveTo>
                    <a:pt x="49" y="10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49" y="66"/>
                  </a:lnTo>
                  <a:lnTo>
                    <a:pt x="49" y="10"/>
                  </a:lnTo>
                  <a:close/>
                  <a:moveTo>
                    <a:pt x="36" y="6"/>
                  </a:moveTo>
                  <a:lnTo>
                    <a:pt x="41" y="6"/>
                  </a:lnTo>
                  <a:lnTo>
                    <a:pt x="41" y="15"/>
                  </a:lnTo>
                  <a:lnTo>
                    <a:pt x="36" y="15"/>
                  </a:lnTo>
                  <a:lnTo>
                    <a:pt x="36" y="6"/>
                  </a:lnTo>
                  <a:close/>
                  <a:moveTo>
                    <a:pt x="26" y="6"/>
                  </a:moveTo>
                  <a:lnTo>
                    <a:pt x="32" y="6"/>
                  </a:lnTo>
                  <a:lnTo>
                    <a:pt x="32" y="15"/>
                  </a:lnTo>
                  <a:lnTo>
                    <a:pt x="26" y="15"/>
                  </a:lnTo>
                  <a:lnTo>
                    <a:pt x="26" y="6"/>
                  </a:lnTo>
                  <a:close/>
                  <a:moveTo>
                    <a:pt x="16" y="6"/>
                  </a:moveTo>
                  <a:lnTo>
                    <a:pt x="22" y="6"/>
                  </a:lnTo>
                  <a:lnTo>
                    <a:pt x="20" y="15"/>
                  </a:lnTo>
                  <a:lnTo>
                    <a:pt x="16" y="15"/>
                  </a:lnTo>
                  <a:lnTo>
                    <a:pt x="16" y="6"/>
                  </a:lnTo>
                  <a:close/>
                  <a:moveTo>
                    <a:pt x="6" y="6"/>
                  </a:moveTo>
                  <a:lnTo>
                    <a:pt x="12" y="6"/>
                  </a:lnTo>
                  <a:lnTo>
                    <a:pt x="12" y="15"/>
                  </a:lnTo>
                  <a:lnTo>
                    <a:pt x="6" y="15"/>
                  </a:lnTo>
                  <a:lnTo>
                    <a:pt x="6" y="6"/>
                  </a:lnTo>
                  <a:close/>
                  <a:moveTo>
                    <a:pt x="41" y="60"/>
                  </a:moveTo>
                  <a:lnTo>
                    <a:pt x="6" y="60"/>
                  </a:lnTo>
                  <a:lnTo>
                    <a:pt x="6" y="49"/>
                  </a:lnTo>
                  <a:lnTo>
                    <a:pt x="41" y="51"/>
                  </a:lnTo>
                  <a:lnTo>
                    <a:pt x="41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4" name="í$líďè"/>
            <p:cNvSpPr/>
            <p:nvPr>
              <p:custDataLst>
                <p:tags r:id="rId168"/>
              </p:custDataLst>
            </p:nvPr>
          </p:nvSpPr>
          <p:spPr bwMode="auto">
            <a:xfrm flipH="1">
              <a:off x="3126431" y="1980337"/>
              <a:ext cx="270596" cy="160478"/>
            </a:xfrm>
            <a:custGeom>
              <a:avLst/>
              <a:gdLst>
                <a:gd name="T0" fmla="*/ 18 w 244"/>
                <a:gd name="T1" fmla="*/ 76 h 148"/>
                <a:gd name="T2" fmla="*/ 18 w 244"/>
                <a:gd name="T3" fmla="*/ 52 h 148"/>
                <a:gd name="T4" fmla="*/ 76 w 244"/>
                <a:gd name="T5" fmla="*/ 25 h 148"/>
                <a:gd name="T6" fmla="*/ 76 w 244"/>
                <a:gd name="T7" fmla="*/ 76 h 148"/>
                <a:gd name="T8" fmla="*/ 84 w 244"/>
                <a:gd name="T9" fmla="*/ 76 h 148"/>
                <a:gd name="T10" fmla="*/ 84 w 244"/>
                <a:gd name="T11" fmla="*/ 52 h 148"/>
                <a:gd name="T12" fmla="*/ 143 w 244"/>
                <a:gd name="T13" fmla="*/ 25 h 148"/>
                <a:gd name="T14" fmla="*/ 143 w 244"/>
                <a:gd name="T15" fmla="*/ 76 h 148"/>
                <a:gd name="T16" fmla="*/ 162 w 244"/>
                <a:gd name="T17" fmla="*/ 76 h 148"/>
                <a:gd name="T18" fmla="*/ 162 w 244"/>
                <a:gd name="T19" fmla="*/ 0 h 148"/>
                <a:gd name="T20" fmla="*/ 188 w 244"/>
                <a:gd name="T21" fmla="*/ 0 h 148"/>
                <a:gd name="T22" fmla="*/ 188 w 244"/>
                <a:gd name="T23" fmla="*/ 76 h 148"/>
                <a:gd name="T24" fmla="*/ 197 w 244"/>
                <a:gd name="T25" fmla="*/ 76 h 148"/>
                <a:gd name="T26" fmla="*/ 197 w 244"/>
                <a:gd name="T27" fmla="*/ 0 h 148"/>
                <a:gd name="T28" fmla="*/ 223 w 244"/>
                <a:gd name="T29" fmla="*/ 0 h 148"/>
                <a:gd name="T30" fmla="*/ 223 w 244"/>
                <a:gd name="T31" fmla="*/ 76 h 148"/>
                <a:gd name="T32" fmla="*/ 244 w 244"/>
                <a:gd name="T33" fmla="*/ 76 h 148"/>
                <a:gd name="T34" fmla="*/ 244 w 244"/>
                <a:gd name="T35" fmla="*/ 148 h 148"/>
                <a:gd name="T36" fmla="*/ 0 w 244"/>
                <a:gd name="T37" fmla="*/ 148 h 148"/>
                <a:gd name="T38" fmla="*/ 0 w 244"/>
                <a:gd name="T39" fmla="*/ 76 h 148"/>
                <a:gd name="T40" fmla="*/ 18 w 244"/>
                <a:gd name="T41" fmla="*/ 7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4" h="148">
                  <a:moveTo>
                    <a:pt x="18" y="76"/>
                  </a:moveTo>
                  <a:lnTo>
                    <a:pt x="18" y="52"/>
                  </a:lnTo>
                  <a:lnTo>
                    <a:pt x="76" y="25"/>
                  </a:lnTo>
                  <a:lnTo>
                    <a:pt x="76" y="76"/>
                  </a:lnTo>
                  <a:lnTo>
                    <a:pt x="84" y="76"/>
                  </a:lnTo>
                  <a:lnTo>
                    <a:pt x="84" y="52"/>
                  </a:lnTo>
                  <a:lnTo>
                    <a:pt x="143" y="25"/>
                  </a:lnTo>
                  <a:lnTo>
                    <a:pt x="143" y="76"/>
                  </a:lnTo>
                  <a:lnTo>
                    <a:pt x="162" y="76"/>
                  </a:lnTo>
                  <a:lnTo>
                    <a:pt x="162" y="0"/>
                  </a:lnTo>
                  <a:lnTo>
                    <a:pt x="188" y="0"/>
                  </a:lnTo>
                  <a:lnTo>
                    <a:pt x="188" y="76"/>
                  </a:lnTo>
                  <a:lnTo>
                    <a:pt x="197" y="76"/>
                  </a:lnTo>
                  <a:lnTo>
                    <a:pt x="197" y="0"/>
                  </a:lnTo>
                  <a:lnTo>
                    <a:pt x="223" y="0"/>
                  </a:lnTo>
                  <a:lnTo>
                    <a:pt x="223" y="76"/>
                  </a:lnTo>
                  <a:lnTo>
                    <a:pt x="244" y="76"/>
                  </a:lnTo>
                  <a:lnTo>
                    <a:pt x="244" y="148"/>
                  </a:lnTo>
                  <a:lnTo>
                    <a:pt x="0" y="148"/>
                  </a:lnTo>
                  <a:lnTo>
                    <a:pt x="0" y="76"/>
                  </a:lnTo>
                  <a:lnTo>
                    <a:pt x="18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35000" lnSpcReduction="20000"/>
            </a:bodyPr>
            <a:lstStyle/>
            <a:p>
              <a:pPr algn="ctr"/>
            </a:p>
          </p:txBody>
        </p:sp>
        <p:sp>
          <p:nvSpPr>
            <p:cNvPr id="275" name="íśľîḋé"/>
            <p:cNvSpPr/>
            <p:nvPr>
              <p:custDataLst>
                <p:tags r:id="rId169"/>
              </p:custDataLst>
            </p:nvPr>
          </p:nvSpPr>
          <p:spPr bwMode="auto">
            <a:xfrm flipH="1">
              <a:off x="4155584" y="3135125"/>
              <a:ext cx="65431" cy="32529"/>
            </a:xfrm>
            <a:custGeom>
              <a:avLst/>
              <a:gdLst>
                <a:gd name="T0" fmla="*/ 30 w 30"/>
                <a:gd name="T1" fmla="*/ 0 h 15"/>
                <a:gd name="T2" fmla="*/ 17 w 30"/>
                <a:gd name="T3" fmla="*/ 0 h 15"/>
                <a:gd name="T4" fmla="*/ 0 w 30"/>
                <a:gd name="T5" fmla="*/ 15 h 15"/>
                <a:gd name="T6" fmla="*/ 30 w 30"/>
                <a:gd name="T7" fmla="*/ 15 h 15"/>
                <a:gd name="T8" fmla="*/ 30 w 3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cubicBezTo>
                    <a:pt x="30" y="0"/>
                    <a:pt x="28" y="0"/>
                    <a:pt x="17" y="0"/>
                  </a:cubicBezTo>
                  <a:cubicBezTo>
                    <a:pt x="5" y="0"/>
                    <a:pt x="0" y="15"/>
                    <a:pt x="0" y="15"/>
                  </a:cubicBezTo>
                  <a:cubicBezTo>
                    <a:pt x="30" y="15"/>
                    <a:pt x="30" y="15"/>
                    <a:pt x="30" y="15"/>
                  </a:cubicBezTo>
                  <a:lnTo>
                    <a:pt x="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6" name="i$ľîďê"/>
            <p:cNvSpPr/>
            <p:nvPr>
              <p:custDataLst>
                <p:tags r:id="rId170"/>
              </p:custDataLst>
            </p:nvPr>
          </p:nvSpPr>
          <p:spPr bwMode="auto">
            <a:xfrm flipH="1">
              <a:off x="4039139" y="3173076"/>
              <a:ext cx="225127" cy="66143"/>
            </a:xfrm>
            <a:custGeom>
              <a:avLst/>
              <a:gdLst>
                <a:gd name="T0" fmla="*/ 102 w 104"/>
                <a:gd name="T1" fmla="*/ 24 h 31"/>
                <a:gd name="T2" fmla="*/ 102 w 104"/>
                <a:gd name="T3" fmla="*/ 21 h 31"/>
                <a:gd name="T4" fmla="*/ 102 w 104"/>
                <a:gd name="T5" fmla="*/ 9 h 31"/>
                <a:gd name="T6" fmla="*/ 92 w 104"/>
                <a:gd name="T7" fmla="*/ 0 h 31"/>
                <a:gd name="T8" fmla="*/ 12 w 104"/>
                <a:gd name="T9" fmla="*/ 0 h 31"/>
                <a:gd name="T10" fmla="*/ 3 w 104"/>
                <a:gd name="T11" fmla="*/ 9 h 31"/>
                <a:gd name="T12" fmla="*/ 3 w 104"/>
                <a:gd name="T13" fmla="*/ 21 h 31"/>
                <a:gd name="T14" fmla="*/ 3 w 104"/>
                <a:gd name="T15" fmla="*/ 22 h 31"/>
                <a:gd name="T16" fmla="*/ 0 w 104"/>
                <a:gd name="T17" fmla="*/ 26 h 31"/>
                <a:gd name="T18" fmla="*/ 3 w 104"/>
                <a:gd name="T19" fmla="*/ 29 h 31"/>
                <a:gd name="T20" fmla="*/ 7 w 104"/>
                <a:gd name="T21" fmla="*/ 29 h 31"/>
                <a:gd name="T22" fmla="*/ 12 w 104"/>
                <a:gd name="T23" fmla="*/ 31 h 31"/>
                <a:gd name="T24" fmla="*/ 14 w 104"/>
                <a:gd name="T25" fmla="*/ 31 h 31"/>
                <a:gd name="T26" fmla="*/ 13 w 104"/>
                <a:gd name="T27" fmla="*/ 27 h 31"/>
                <a:gd name="T28" fmla="*/ 25 w 104"/>
                <a:gd name="T29" fmla="*/ 15 h 31"/>
                <a:gd name="T30" fmla="*/ 36 w 104"/>
                <a:gd name="T31" fmla="*/ 27 h 31"/>
                <a:gd name="T32" fmla="*/ 35 w 104"/>
                <a:gd name="T33" fmla="*/ 31 h 31"/>
                <a:gd name="T34" fmla="*/ 68 w 104"/>
                <a:gd name="T35" fmla="*/ 31 h 31"/>
                <a:gd name="T36" fmla="*/ 67 w 104"/>
                <a:gd name="T37" fmla="*/ 27 h 31"/>
                <a:gd name="T38" fmla="*/ 79 w 104"/>
                <a:gd name="T39" fmla="*/ 15 h 31"/>
                <a:gd name="T40" fmla="*/ 91 w 104"/>
                <a:gd name="T41" fmla="*/ 27 h 31"/>
                <a:gd name="T42" fmla="*/ 90 w 104"/>
                <a:gd name="T43" fmla="*/ 31 h 31"/>
                <a:gd name="T44" fmla="*/ 92 w 104"/>
                <a:gd name="T45" fmla="*/ 31 h 31"/>
                <a:gd name="T46" fmla="*/ 98 w 104"/>
                <a:gd name="T47" fmla="*/ 29 h 31"/>
                <a:gd name="T48" fmla="*/ 99 w 104"/>
                <a:gd name="T49" fmla="*/ 29 h 31"/>
                <a:gd name="T50" fmla="*/ 101 w 104"/>
                <a:gd name="T51" fmla="*/ 29 h 31"/>
                <a:gd name="T52" fmla="*/ 104 w 104"/>
                <a:gd name="T53" fmla="*/ 26 h 31"/>
                <a:gd name="T54" fmla="*/ 102 w 104"/>
                <a:gd name="T55" fmla="*/ 24 h 31"/>
                <a:gd name="T56" fmla="*/ 5 w 104"/>
                <a:gd name="T57" fmla="*/ 19 h 31"/>
                <a:gd name="T58" fmla="*/ 4 w 104"/>
                <a:gd name="T59" fmla="*/ 14 h 31"/>
                <a:gd name="T60" fmla="*/ 5 w 104"/>
                <a:gd name="T61" fmla="*/ 10 h 31"/>
                <a:gd name="T62" fmla="*/ 6 w 104"/>
                <a:gd name="T63" fmla="*/ 14 h 31"/>
                <a:gd name="T64" fmla="*/ 5 w 104"/>
                <a:gd name="T65" fmla="*/ 19 h 31"/>
                <a:gd name="T66" fmla="*/ 47 w 104"/>
                <a:gd name="T67" fmla="*/ 7 h 31"/>
                <a:gd name="T68" fmla="*/ 46 w 104"/>
                <a:gd name="T69" fmla="*/ 8 h 31"/>
                <a:gd name="T70" fmla="*/ 38 w 104"/>
                <a:gd name="T71" fmla="*/ 8 h 31"/>
                <a:gd name="T72" fmla="*/ 37 w 104"/>
                <a:gd name="T73" fmla="*/ 7 h 31"/>
                <a:gd name="T74" fmla="*/ 37 w 104"/>
                <a:gd name="T75" fmla="*/ 6 h 31"/>
                <a:gd name="T76" fmla="*/ 38 w 104"/>
                <a:gd name="T77" fmla="*/ 5 h 31"/>
                <a:gd name="T78" fmla="*/ 46 w 104"/>
                <a:gd name="T79" fmla="*/ 5 h 31"/>
                <a:gd name="T80" fmla="*/ 47 w 104"/>
                <a:gd name="T81" fmla="*/ 6 h 31"/>
                <a:gd name="T82" fmla="*/ 47 w 104"/>
                <a:gd name="T83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4" h="31">
                  <a:moveTo>
                    <a:pt x="102" y="24"/>
                  </a:moveTo>
                  <a:cubicBezTo>
                    <a:pt x="102" y="23"/>
                    <a:pt x="102" y="22"/>
                    <a:pt x="102" y="21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4"/>
                    <a:pt x="98" y="0"/>
                    <a:pt x="9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0"/>
                    <a:pt x="3" y="4"/>
                    <a:pt x="3" y="9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1" y="23"/>
                    <a:pt x="0" y="24"/>
                    <a:pt x="0" y="26"/>
                  </a:cubicBezTo>
                  <a:cubicBezTo>
                    <a:pt x="0" y="28"/>
                    <a:pt x="1" y="29"/>
                    <a:pt x="3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30"/>
                    <a:pt x="10" y="31"/>
                    <a:pt x="12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29"/>
                    <a:pt x="13" y="28"/>
                    <a:pt x="13" y="27"/>
                  </a:cubicBezTo>
                  <a:cubicBezTo>
                    <a:pt x="13" y="20"/>
                    <a:pt x="18" y="15"/>
                    <a:pt x="25" y="15"/>
                  </a:cubicBezTo>
                  <a:cubicBezTo>
                    <a:pt x="31" y="15"/>
                    <a:pt x="36" y="20"/>
                    <a:pt x="36" y="27"/>
                  </a:cubicBezTo>
                  <a:cubicBezTo>
                    <a:pt x="36" y="28"/>
                    <a:pt x="36" y="29"/>
                    <a:pt x="35" y="31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7" y="28"/>
                    <a:pt x="67" y="27"/>
                  </a:cubicBezTo>
                  <a:cubicBezTo>
                    <a:pt x="67" y="20"/>
                    <a:pt x="73" y="15"/>
                    <a:pt x="79" y="15"/>
                  </a:cubicBezTo>
                  <a:cubicBezTo>
                    <a:pt x="85" y="15"/>
                    <a:pt x="91" y="20"/>
                    <a:pt x="91" y="27"/>
                  </a:cubicBezTo>
                  <a:cubicBezTo>
                    <a:pt x="91" y="28"/>
                    <a:pt x="90" y="29"/>
                    <a:pt x="90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5" y="31"/>
                    <a:pt x="97" y="30"/>
                    <a:pt x="98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3" y="29"/>
                    <a:pt x="104" y="27"/>
                    <a:pt x="104" y="26"/>
                  </a:cubicBezTo>
                  <a:cubicBezTo>
                    <a:pt x="104" y="25"/>
                    <a:pt x="103" y="24"/>
                    <a:pt x="102" y="24"/>
                  </a:cubicBezTo>
                  <a:close/>
                  <a:moveTo>
                    <a:pt x="5" y="19"/>
                  </a:moveTo>
                  <a:cubicBezTo>
                    <a:pt x="5" y="19"/>
                    <a:pt x="4" y="17"/>
                    <a:pt x="4" y="14"/>
                  </a:cubicBezTo>
                  <a:cubicBezTo>
                    <a:pt x="4" y="12"/>
                    <a:pt x="5" y="10"/>
                    <a:pt x="5" y="10"/>
                  </a:cubicBezTo>
                  <a:cubicBezTo>
                    <a:pt x="6" y="10"/>
                    <a:pt x="6" y="12"/>
                    <a:pt x="6" y="14"/>
                  </a:cubicBezTo>
                  <a:cubicBezTo>
                    <a:pt x="6" y="17"/>
                    <a:pt x="6" y="19"/>
                    <a:pt x="5" y="19"/>
                  </a:cubicBezTo>
                  <a:close/>
                  <a:moveTo>
                    <a:pt x="47" y="7"/>
                  </a:moveTo>
                  <a:cubicBezTo>
                    <a:pt x="47" y="8"/>
                    <a:pt x="46" y="8"/>
                    <a:pt x="46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7" y="8"/>
                    <a:pt x="37" y="8"/>
                    <a:pt x="37" y="7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5"/>
                    <a:pt x="37" y="5"/>
                    <a:pt x="38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7" y="5"/>
                    <a:pt x="47" y="6"/>
                  </a:cubicBezTo>
                  <a:lnTo>
                    <a:pt x="47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7" name="is1îḋé"/>
            <p:cNvSpPr/>
            <p:nvPr>
              <p:custDataLst>
                <p:tags r:id="rId171"/>
              </p:custDataLst>
            </p:nvPr>
          </p:nvSpPr>
          <p:spPr bwMode="auto">
            <a:xfrm flipH="1">
              <a:off x="4191072" y="3209942"/>
              <a:ext cx="41033" cy="40119"/>
            </a:xfrm>
            <a:custGeom>
              <a:avLst/>
              <a:gdLst>
                <a:gd name="T0" fmla="*/ 10 w 19"/>
                <a:gd name="T1" fmla="*/ 0 h 19"/>
                <a:gd name="T2" fmla="*/ 0 w 19"/>
                <a:gd name="T3" fmla="*/ 10 h 19"/>
                <a:gd name="T4" fmla="*/ 10 w 19"/>
                <a:gd name="T5" fmla="*/ 19 h 19"/>
                <a:gd name="T6" fmla="*/ 19 w 19"/>
                <a:gd name="T7" fmla="*/ 10 h 19"/>
                <a:gd name="T8" fmla="*/ 10 w 19"/>
                <a:gd name="T9" fmla="*/ 0 h 19"/>
                <a:gd name="T10" fmla="*/ 10 w 19"/>
                <a:gd name="T11" fmla="*/ 14 h 19"/>
                <a:gd name="T12" fmla="*/ 5 w 19"/>
                <a:gd name="T13" fmla="*/ 10 h 19"/>
                <a:gd name="T14" fmla="*/ 10 w 19"/>
                <a:gd name="T15" fmla="*/ 5 h 19"/>
                <a:gd name="T16" fmla="*/ 14 w 19"/>
                <a:gd name="T17" fmla="*/ 10 h 19"/>
                <a:gd name="T18" fmla="*/ 10 w 19"/>
                <a:gd name="T1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10" y="19"/>
                  </a:cubicBezTo>
                  <a:cubicBezTo>
                    <a:pt x="15" y="19"/>
                    <a:pt x="19" y="15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lose/>
                  <a:moveTo>
                    <a:pt x="10" y="14"/>
                  </a:moveTo>
                  <a:cubicBezTo>
                    <a:pt x="7" y="14"/>
                    <a:pt x="5" y="12"/>
                    <a:pt x="5" y="10"/>
                  </a:cubicBezTo>
                  <a:cubicBezTo>
                    <a:pt x="5" y="7"/>
                    <a:pt x="7" y="5"/>
                    <a:pt x="10" y="5"/>
                  </a:cubicBezTo>
                  <a:cubicBezTo>
                    <a:pt x="12" y="5"/>
                    <a:pt x="14" y="7"/>
                    <a:pt x="14" y="10"/>
                  </a:cubicBezTo>
                  <a:cubicBezTo>
                    <a:pt x="14" y="12"/>
                    <a:pt x="12" y="14"/>
                    <a:pt x="1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8" name="ísļïḓé"/>
            <p:cNvSpPr/>
            <p:nvPr>
              <p:custDataLst>
                <p:tags r:id="rId172"/>
              </p:custDataLst>
            </p:nvPr>
          </p:nvSpPr>
          <p:spPr bwMode="auto">
            <a:xfrm flipH="1">
              <a:off x="4073518" y="3209942"/>
              <a:ext cx="38815" cy="40119"/>
            </a:xfrm>
            <a:custGeom>
              <a:avLst/>
              <a:gdLst>
                <a:gd name="T0" fmla="*/ 9 w 18"/>
                <a:gd name="T1" fmla="*/ 0 h 19"/>
                <a:gd name="T2" fmla="*/ 0 w 18"/>
                <a:gd name="T3" fmla="*/ 10 h 19"/>
                <a:gd name="T4" fmla="*/ 9 w 18"/>
                <a:gd name="T5" fmla="*/ 19 h 19"/>
                <a:gd name="T6" fmla="*/ 18 w 18"/>
                <a:gd name="T7" fmla="*/ 10 h 19"/>
                <a:gd name="T8" fmla="*/ 9 w 18"/>
                <a:gd name="T9" fmla="*/ 0 h 19"/>
                <a:gd name="T10" fmla="*/ 9 w 18"/>
                <a:gd name="T11" fmla="*/ 14 h 19"/>
                <a:gd name="T12" fmla="*/ 5 w 18"/>
                <a:gd name="T13" fmla="*/ 10 h 19"/>
                <a:gd name="T14" fmla="*/ 9 w 18"/>
                <a:gd name="T15" fmla="*/ 5 h 19"/>
                <a:gd name="T16" fmla="*/ 13 w 18"/>
                <a:gd name="T17" fmla="*/ 10 h 19"/>
                <a:gd name="T18" fmla="*/ 9 w 18"/>
                <a:gd name="T1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9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14" y="19"/>
                    <a:pt x="18" y="15"/>
                    <a:pt x="18" y="10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4"/>
                  </a:moveTo>
                  <a:cubicBezTo>
                    <a:pt x="7" y="14"/>
                    <a:pt x="5" y="12"/>
                    <a:pt x="5" y="10"/>
                  </a:cubicBezTo>
                  <a:cubicBezTo>
                    <a:pt x="5" y="7"/>
                    <a:pt x="7" y="5"/>
                    <a:pt x="9" y="5"/>
                  </a:cubicBezTo>
                  <a:cubicBezTo>
                    <a:pt x="11" y="5"/>
                    <a:pt x="13" y="7"/>
                    <a:pt x="13" y="10"/>
                  </a:cubicBezTo>
                  <a:cubicBezTo>
                    <a:pt x="13" y="12"/>
                    <a:pt x="11" y="14"/>
                    <a:pt x="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79" name="išḻíḍé"/>
            <p:cNvSpPr/>
            <p:nvPr>
              <p:custDataLst>
                <p:tags r:id="rId173"/>
              </p:custDataLst>
            </p:nvPr>
          </p:nvSpPr>
          <p:spPr bwMode="auto">
            <a:xfrm flipH="1">
              <a:off x="3469112" y="4320274"/>
              <a:ext cx="97592" cy="46625"/>
            </a:xfrm>
            <a:custGeom>
              <a:avLst/>
              <a:gdLst>
                <a:gd name="T0" fmla="*/ 45 w 45"/>
                <a:gd name="T1" fmla="*/ 0 h 22"/>
                <a:gd name="T2" fmla="*/ 25 w 45"/>
                <a:gd name="T3" fmla="*/ 0 h 22"/>
                <a:gd name="T4" fmla="*/ 0 w 45"/>
                <a:gd name="T5" fmla="*/ 22 h 22"/>
                <a:gd name="T6" fmla="*/ 45 w 45"/>
                <a:gd name="T7" fmla="*/ 22 h 22"/>
                <a:gd name="T8" fmla="*/ 45 w 4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2">
                  <a:moveTo>
                    <a:pt x="45" y="0"/>
                  </a:moveTo>
                  <a:cubicBezTo>
                    <a:pt x="45" y="0"/>
                    <a:pt x="43" y="0"/>
                    <a:pt x="25" y="0"/>
                  </a:cubicBezTo>
                  <a:cubicBezTo>
                    <a:pt x="7" y="0"/>
                    <a:pt x="0" y="22"/>
                    <a:pt x="0" y="22"/>
                  </a:cubicBezTo>
                  <a:cubicBezTo>
                    <a:pt x="45" y="22"/>
                    <a:pt x="45" y="22"/>
                    <a:pt x="45" y="22"/>
                  </a:cubicBez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0" name="íṥḻidê"/>
            <p:cNvSpPr/>
            <p:nvPr>
              <p:custDataLst>
                <p:tags r:id="rId174"/>
              </p:custDataLst>
            </p:nvPr>
          </p:nvSpPr>
          <p:spPr bwMode="auto">
            <a:xfrm flipH="1">
              <a:off x="3290563" y="4375574"/>
              <a:ext cx="342682" cy="99756"/>
            </a:xfrm>
            <a:custGeom>
              <a:avLst/>
              <a:gdLst>
                <a:gd name="T0" fmla="*/ 155 w 158"/>
                <a:gd name="T1" fmla="*/ 37 h 47"/>
                <a:gd name="T2" fmla="*/ 156 w 158"/>
                <a:gd name="T3" fmla="*/ 33 h 47"/>
                <a:gd name="T4" fmla="*/ 156 w 158"/>
                <a:gd name="T5" fmla="*/ 15 h 47"/>
                <a:gd name="T6" fmla="*/ 141 w 158"/>
                <a:gd name="T7" fmla="*/ 0 h 47"/>
                <a:gd name="T8" fmla="*/ 19 w 158"/>
                <a:gd name="T9" fmla="*/ 0 h 47"/>
                <a:gd name="T10" fmla="*/ 4 w 158"/>
                <a:gd name="T11" fmla="*/ 15 h 47"/>
                <a:gd name="T12" fmla="*/ 4 w 158"/>
                <a:gd name="T13" fmla="*/ 33 h 47"/>
                <a:gd name="T14" fmla="*/ 4 w 158"/>
                <a:gd name="T15" fmla="*/ 35 h 47"/>
                <a:gd name="T16" fmla="*/ 0 w 158"/>
                <a:gd name="T17" fmla="*/ 40 h 47"/>
                <a:gd name="T18" fmla="*/ 5 w 158"/>
                <a:gd name="T19" fmla="*/ 45 h 47"/>
                <a:gd name="T20" fmla="*/ 11 w 158"/>
                <a:gd name="T21" fmla="*/ 45 h 47"/>
                <a:gd name="T22" fmla="*/ 19 w 158"/>
                <a:gd name="T23" fmla="*/ 47 h 47"/>
                <a:gd name="T24" fmla="*/ 21 w 158"/>
                <a:gd name="T25" fmla="*/ 47 h 47"/>
                <a:gd name="T26" fmla="*/ 20 w 158"/>
                <a:gd name="T27" fmla="*/ 41 h 47"/>
                <a:gd name="T28" fmla="*/ 37 w 158"/>
                <a:gd name="T29" fmla="*/ 24 h 47"/>
                <a:gd name="T30" fmla="*/ 55 w 158"/>
                <a:gd name="T31" fmla="*/ 41 h 47"/>
                <a:gd name="T32" fmla="*/ 54 w 158"/>
                <a:gd name="T33" fmla="*/ 47 h 47"/>
                <a:gd name="T34" fmla="*/ 104 w 158"/>
                <a:gd name="T35" fmla="*/ 47 h 47"/>
                <a:gd name="T36" fmla="*/ 103 w 158"/>
                <a:gd name="T37" fmla="*/ 41 h 47"/>
                <a:gd name="T38" fmla="*/ 120 w 158"/>
                <a:gd name="T39" fmla="*/ 24 h 47"/>
                <a:gd name="T40" fmla="*/ 138 w 158"/>
                <a:gd name="T41" fmla="*/ 41 h 47"/>
                <a:gd name="T42" fmla="*/ 137 w 158"/>
                <a:gd name="T43" fmla="*/ 47 h 47"/>
                <a:gd name="T44" fmla="*/ 141 w 158"/>
                <a:gd name="T45" fmla="*/ 47 h 47"/>
                <a:gd name="T46" fmla="*/ 150 w 158"/>
                <a:gd name="T47" fmla="*/ 44 h 47"/>
                <a:gd name="T48" fmla="*/ 151 w 158"/>
                <a:gd name="T49" fmla="*/ 44 h 47"/>
                <a:gd name="T50" fmla="*/ 154 w 158"/>
                <a:gd name="T51" fmla="*/ 44 h 47"/>
                <a:gd name="T52" fmla="*/ 158 w 158"/>
                <a:gd name="T53" fmla="*/ 40 h 47"/>
                <a:gd name="T54" fmla="*/ 155 w 158"/>
                <a:gd name="T55" fmla="*/ 37 h 47"/>
                <a:gd name="T56" fmla="*/ 8 w 158"/>
                <a:gd name="T57" fmla="*/ 29 h 47"/>
                <a:gd name="T58" fmla="*/ 6 w 158"/>
                <a:gd name="T59" fmla="*/ 22 h 47"/>
                <a:gd name="T60" fmla="*/ 8 w 158"/>
                <a:gd name="T61" fmla="*/ 15 h 47"/>
                <a:gd name="T62" fmla="*/ 9 w 158"/>
                <a:gd name="T63" fmla="*/ 22 h 47"/>
                <a:gd name="T64" fmla="*/ 8 w 158"/>
                <a:gd name="T65" fmla="*/ 29 h 47"/>
                <a:gd name="T66" fmla="*/ 71 w 158"/>
                <a:gd name="T67" fmla="*/ 12 h 47"/>
                <a:gd name="T68" fmla="*/ 70 w 158"/>
                <a:gd name="T69" fmla="*/ 13 h 47"/>
                <a:gd name="T70" fmla="*/ 57 w 158"/>
                <a:gd name="T71" fmla="*/ 13 h 47"/>
                <a:gd name="T72" fmla="*/ 56 w 158"/>
                <a:gd name="T73" fmla="*/ 12 h 47"/>
                <a:gd name="T74" fmla="*/ 56 w 158"/>
                <a:gd name="T75" fmla="*/ 10 h 47"/>
                <a:gd name="T76" fmla="*/ 57 w 158"/>
                <a:gd name="T77" fmla="*/ 8 h 47"/>
                <a:gd name="T78" fmla="*/ 70 w 158"/>
                <a:gd name="T79" fmla="*/ 8 h 47"/>
                <a:gd name="T80" fmla="*/ 71 w 158"/>
                <a:gd name="T81" fmla="*/ 10 h 47"/>
                <a:gd name="T82" fmla="*/ 71 w 158"/>
                <a:gd name="T83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" h="47">
                  <a:moveTo>
                    <a:pt x="155" y="37"/>
                  </a:moveTo>
                  <a:cubicBezTo>
                    <a:pt x="155" y="35"/>
                    <a:pt x="156" y="34"/>
                    <a:pt x="156" y="33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7"/>
                    <a:pt x="149" y="0"/>
                    <a:pt x="14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0" y="0"/>
                    <a:pt x="4" y="7"/>
                    <a:pt x="4" y="15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4"/>
                    <a:pt x="4" y="35"/>
                  </a:cubicBezTo>
                  <a:cubicBezTo>
                    <a:pt x="1" y="35"/>
                    <a:pt x="0" y="37"/>
                    <a:pt x="0" y="40"/>
                  </a:cubicBezTo>
                  <a:cubicBezTo>
                    <a:pt x="0" y="43"/>
                    <a:pt x="2" y="45"/>
                    <a:pt x="5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3" y="47"/>
                    <a:pt x="16" y="47"/>
                    <a:pt x="19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0" y="46"/>
                    <a:pt x="20" y="44"/>
                    <a:pt x="20" y="41"/>
                  </a:cubicBezTo>
                  <a:cubicBezTo>
                    <a:pt x="20" y="32"/>
                    <a:pt x="27" y="24"/>
                    <a:pt x="37" y="24"/>
                  </a:cubicBezTo>
                  <a:cubicBezTo>
                    <a:pt x="47" y="24"/>
                    <a:pt x="55" y="32"/>
                    <a:pt x="55" y="41"/>
                  </a:cubicBezTo>
                  <a:cubicBezTo>
                    <a:pt x="55" y="44"/>
                    <a:pt x="55" y="46"/>
                    <a:pt x="5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3" y="46"/>
                    <a:pt x="103" y="44"/>
                    <a:pt x="103" y="41"/>
                  </a:cubicBezTo>
                  <a:cubicBezTo>
                    <a:pt x="103" y="32"/>
                    <a:pt x="111" y="24"/>
                    <a:pt x="120" y="24"/>
                  </a:cubicBezTo>
                  <a:cubicBezTo>
                    <a:pt x="130" y="24"/>
                    <a:pt x="138" y="32"/>
                    <a:pt x="138" y="41"/>
                  </a:cubicBezTo>
                  <a:cubicBezTo>
                    <a:pt x="138" y="44"/>
                    <a:pt x="138" y="46"/>
                    <a:pt x="137" y="47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44" y="47"/>
                    <a:pt x="147" y="46"/>
                    <a:pt x="150" y="44"/>
                  </a:cubicBezTo>
                  <a:cubicBezTo>
                    <a:pt x="150" y="44"/>
                    <a:pt x="150" y="44"/>
                    <a:pt x="151" y="44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7" y="44"/>
                    <a:pt x="158" y="43"/>
                    <a:pt x="158" y="40"/>
                  </a:cubicBezTo>
                  <a:cubicBezTo>
                    <a:pt x="158" y="38"/>
                    <a:pt x="157" y="37"/>
                    <a:pt x="155" y="37"/>
                  </a:cubicBezTo>
                  <a:close/>
                  <a:moveTo>
                    <a:pt x="8" y="29"/>
                  </a:moveTo>
                  <a:cubicBezTo>
                    <a:pt x="7" y="29"/>
                    <a:pt x="6" y="26"/>
                    <a:pt x="6" y="22"/>
                  </a:cubicBezTo>
                  <a:cubicBezTo>
                    <a:pt x="6" y="18"/>
                    <a:pt x="7" y="15"/>
                    <a:pt x="8" y="15"/>
                  </a:cubicBezTo>
                  <a:cubicBezTo>
                    <a:pt x="9" y="15"/>
                    <a:pt x="9" y="18"/>
                    <a:pt x="9" y="22"/>
                  </a:cubicBezTo>
                  <a:cubicBezTo>
                    <a:pt x="9" y="26"/>
                    <a:pt x="9" y="29"/>
                    <a:pt x="8" y="29"/>
                  </a:cubicBezTo>
                  <a:close/>
                  <a:moveTo>
                    <a:pt x="71" y="12"/>
                  </a:moveTo>
                  <a:cubicBezTo>
                    <a:pt x="71" y="13"/>
                    <a:pt x="71" y="13"/>
                    <a:pt x="70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6" y="13"/>
                    <a:pt x="56" y="13"/>
                    <a:pt x="56" y="12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9"/>
                    <a:pt x="56" y="8"/>
                    <a:pt x="57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1" y="9"/>
                    <a:pt x="71" y="10"/>
                  </a:cubicBezTo>
                  <a:lnTo>
                    <a:pt x="7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1" name="îṧļiḍé"/>
            <p:cNvSpPr/>
            <p:nvPr>
              <p:custDataLst>
                <p:tags r:id="rId175"/>
              </p:custDataLst>
            </p:nvPr>
          </p:nvSpPr>
          <p:spPr bwMode="auto">
            <a:xfrm flipH="1">
              <a:off x="3521235" y="4433042"/>
              <a:ext cx="62104" cy="61806"/>
            </a:xfrm>
            <a:custGeom>
              <a:avLst/>
              <a:gdLst>
                <a:gd name="T0" fmla="*/ 14 w 29"/>
                <a:gd name="T1" fmla="*/ 0 h 29"/>
                <a:gd name="T2" fmla="*/ 0 w 29"/>
                <a:gd name="T3" fmla="*/ 14 h 29"/>
                <a:gd name="T4" fmla="*/ 14 w 29"/>
                <a:gd name="T5" fmla="*/ 29 h 29"/>
                <a:gd name="T6" fmla="*/ 29 w 29"/>
                <a:gd name="T7" fmla="*/ 14 h 29"/>
                <a:gd name="T8" fmla="*/ 14 w 29"/>
                <a:gd name="T9" fmla="*/ 0 h 29"/>
                <a:gd name="T10" fmla="*/ 14 w 29"/>
                <a:gd name="T11" fmla="*/ 21 h 29"/>
                <a:gd name="T12" fmla="*/ 8 w 29"/>
                <a:gd name="T13" fmla="*/ 14 h 29"/>
                <a:gd name="T14" fmla="*/ 14 w 29"/>
                <a:gd name="T15" fmla="*/ 8 h 29"/>
                <a:gd name="T16" fmla="*/ 21 w 29"/>
                <a:gd name="T17" fmla="*/ 14 h 29"/>
                <a:gd name="T18" fmla="*/ 14 w 29"/>
                <a:gd name="T1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22" y="29"/>
                    <a:pt x="29" y="22"/>
                    <a:pt x="29" y="14"/>
                  </a:cubicBezTo>
                  <a:cubicBezTo>
                    <a:pt x="29" y="6"/>
                    <a:pt x="22" y="0"/>
                    <a:pt x="14" y="0"/>
                  </a:cubicBezTo>
                  <a:close/>
                  <a:moveTo>
                    <a:pt x="14" y="21"/>
                  </a:moveTo>
                  <a:cubicBezTo>
                    <a:pt x="11" y="21"/>
                    <a:pt x="8" y="18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18" y="8"/>
                    <a:pt x="21" y="11"/>
                    <a:pt x="21" y="14"/>
                  </a:cubicBezTo>
                  <a:cubicBezTo>
                    <a:pt x="21" y="18"/>
                    <a:pt x="18" y="21"/>
                    <a:pt x="1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2" name="iSḷíḓé"/>
            <p:cNvSpPr/>
            <p:nvPr>
              <p:custDataLst>
                <p:tags r:id="rId176"/>
              </p:custDataLst>
            </p:nvPr>
          </p:nvSpPr>
          <p:spPr bwMode="auto">
            <a:xfrm flipH="1">
              <a:off x="3340468" y="4433042"/>
              <a:ext cx="63213" cy="61806"/>
            </a:xfrm>
            <a:custGeom>
              <a:avLst/>
              <a:gdLst>
                <a:gd name="T0" fmla="*/ 14 w 29"/>
                <a:gd name="T1" fmla="*/ 0 h 29"/>
                <a:gd name="T2" fmla="*/ 0 w 29"/>
                <a:gd name="T3" fmla="*/ 14 h 29"/>
                <a:gd name="T4" fmla="*/ 14 w 29"/>
                <a:gd name="T5" fmla="*/ 29 h 29"/>
                <a:gd name="T6" fmla="*/ 29 w 29"/>
                <a:gd name="T7" fmla="*/ 14 h 29"/>
                <a:gd name="T8" fmla="*/ 14 w 29"/>
                <a:gd name="T9" fmla="*/ 0 h 29"/>
                <a:gd name="T10" fmla="*/ 14 w 29"/>
                <a:gd name="T11" fmla="*/ 21 h 29"/>
                <a:gd name="T12" fmla="*/ 8 w 29"/>
                <a:gd name="T13" fmla="*/ 14 h 29"/>
                <a:gd name="T14" fmla="*/ 14 w 29"/>
                <a:gd name="T15" fmla="*/ 8 h 29"/>
                <a:gd name="T16" fmla="*/ 21 w 29"/>
                <a:gd name="T17" fmla="*/ 14 h 29"/>
                <a:gd name="T18" fmla="*/ 14 w 29"/>
                <a:gd name="T1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22" y="29"/>
                    <a:pt x="29" y="22"/>
                    <a:pt x="29" y="14"/>
                  </a:cubicBezTo>
                  <a:cubicBezTo>
                    <a:pt x="29" y="6"/>
                    <a:pt x="22" y="0"/>
                    <a:pt x="14" y="0"/>
                  </a:cubicBezTo>
                  <a:close/>
                  <a:moveTo>
                    <a:pt x="14" y="21"/>
                  </a:moveTo>
                  <a:cubicBezTo>
                    <a:pt x="11" y="21"/>
                    <a:pt x="8" y="18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18" y="8"/>
                    <a:pt x="21" y="11"/>
                    <a:pt x="21" y="14"/>
                  </a:cubicBezTo>
                  <a:cubicBezTo>
                    <a:pt x="21" y="18"/>
                    <a:pt x="18" y="21"/>
                    <a:pt x="1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3" name="iŝ1îdé"/>
            <p:cNvSpPr/>
            <p:nvPr>
              <p:custDataLst>
                <p:tags r:id="rId177"/>
              </p:custDataLst>
            </p:nvPr>
          </p:nvSpPr>
          <p:spPr bwMode="auto">
            <a:xfrm flipH="1">
              <a:off x="4325262" y="3951609"/>
              <a:ext cx="97592" cy="46625"/>
            </a:xfrm>
            <a:custGeom>
              <a:avLst/>
              <a:gdLst>
                <a:gd name="T0" fmla="*/ 45 w 45"/>
                <a:gd name="T1" fmla="*/ 0 h 22"/>
                <a:gd name="T2" fmla="*/ 25 w 45"/>
                <a:gd name="T3" fmla="*/ 0 h 22"/>
                <a:gd name="T4" fmla="*/ 0 w 45"/>
                <a:gd name="T5" fmla="*/ 22 h 22"/>
                <a:gd name="T6" fmla="*/ 45 w 45"/>
                <a:gd name="T7" fmla="*/ 22 h 22"/>
                <a:gd name="T8" fmla="*/ 45 w 4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2">
                  <a:moveTo>
                    <a:pt x="45" y="0"/>
                  </a:moveTo>
                  <a:cubicBezTo>
                    <a:pt x="45" y="0"/>
                    <a:pt x="43" y="0"/>
                    <a:pt x="25" y="0"/>
                  </a:cubicBezTo>
                  <a:cubicBezTo>
                    <a:pt x="7" y="0"/>
                    <a:pt x="0" y="22"/>
                    <a:pt x="0" y="22"/>
                  </a:cubicBezTo>
                  <a:cubicBezTo>
                    <a:pt x="45" y="22"/>
                    <a:pt x="45" y="22"/>
                    <a:pt x="45" y="22"/>
                  </a:cubicBez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4" name="ïṣļïḑè"/>
            <p:cNvSpPr/>
            <p:nvPr>
              <p:custDataLst>
                <p:tags r:id="rId178"/>
              </p:custDataLst>
            </p:nvPr>
          </p:nvSpPr>
          <p:spPr bwMode="auto">
            <a:xfrm flipH="1">
              <a:off x="4377385" y="4064378"/>
              <a:ext cx="63213" cy="60721"/>
            </a:xfrm>
            <a:custGeom>
              <a:avLst/>
              <a:gdLst>
                <a:gd name="T0" fmla="*/ 14 w 29"/>
                <a:gd name="T1" fmla="*/ 0 h 29"/>
                <a:gd name="T2" fmla="*/ 0 w 29"/>
                <a:gd name="T3" fmla="*/ 14 h 29"/>
                <a:gd name="T4" fmla="*/ 14 w 29"/>
                <a:gd name="T5" fmla="*/ 29 h 29"/>
                <a:gd name="T6" fmla="*/ 29 w 29"/>
                <a:gd name="T7" fmla="*/ 14 h 29"/>
                <a:gd name="T8" fmla="*/ 14 w 29"/>
                <a:gd name="T9" fmla="*/ 0 h 29"/>
                <a:gd name="T10" fmla="*/ 14 w 29"/>
                <a:gd name="T11" fmla="*/ 21 h 29"/>
                <a:gd name="T12" fmla="*/ 8 w 29"/>
                <a:gd name="T13" fmla="*/ 14 h 29"/>
                <a:gd name="T14" fmla="*/ 14 w 29"/>
                <a:gd name="T15" fmla="*/ 8 h 29"/>
                <a:gd name="T16" fmla="*/ 21 w 29"/>
                <a:gd name="T17" fmla="*/ 14 h 29"/>
                <a:gd name="T18" fmla="*/ 14 w 29"/>
                <a:gd name="T1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22" y="29"/>
                    <a:pt x="29" y="22"/>
                    <a:pt x="29" y="14"/>
                  </a:cubicBezTo>
                  <a:cubicBezTo>
                    <a:pt x="29" y="6"/>
                    <a:pt x="22" y="0"/>
                    <a:pt x="14" y="0"/>
                  </a:cubicBezTo>
                  <a:close/>
                  <a:moveTo>
                    <a:pt x="14" y="21"/>
                  </a:moveTo>
                  <a:cubicBezTo>
                    <a:pt x="11" y="21"/>
                    <a:pt x="8" y="18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18" y="8"/>
                    <a:pt x="21" y="11"/>
                    <a:pt x="21" y="14"/>
                  </a:cubicBezTo>
                  <a:cubicBezTo>
                    <a:pt x="21" y="18"/>
                    <a:pt x="18" y="21"/>
                    <a:pt x="1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5" name="îṧḷïḋè"/>
            <p:cNvSpPr/>
            <p:nvPr>
              <p:custDataLst>
                <p:tags r:id="rId179"/>
              </p:custDataLst>
            </p:nvPr>
          </p:nvSpPr>
          <p:spPr bwMode="auto">
            <a:xfrm flipH="1">
              <a:off x="4197726" y="4064378"/>
              <a:ext cx="62104" cy="60721"/>
            </a:xfrm>
            <a:custGeom>
              <a:avLst/>
              <a:gdLst>
                <a:gd name="T0" fmla="*/ 14 w 29"/>
                <a:gd name="T1" fmla="*/ 0 h 29"/>
                <a:gd name="T2" fmla="*/ 0 w 29"/>
                <a:gd name="T3" fmla="*/ 14 h 29"/>
                <a:gd name="T4" fmla="*/ 14 w 29"/>
                <a:gd name="T5" fmla="*/ 29 h 29"/>
                <a:gd name="T6" fmla="*/ 29 w 29"/>
                <a:gd name="T7" fmla="*/ 14 h 29"/>
                <a:gd name="T8" fmla="*/ 14 w 29"/>
                <a:gd name="T9" fmla="*/ 0 h 29"/>
                <a:gd name="T10" fmla="*/ 14 w 29"/>
                <a:gd name="T11" fmla="*/ 21 h 29"/>
                <a:gd name="T12" fmla="*/ 8 w 29"/>
                <a:gd name="T13" fmla="*/ 14 h 29"/>
                <a:gd name="T14" fmla="*/ 14 w 29"/>
                <a:gd name="T15" fmla="*/ 8 h 29"/>
                <a:gd name="T16" fmla="*/ 21 w 29"/>
                <a:gd name="T17" fmla="*/ 14 h 29"/>
                <a:gd name="T18" fmla="*/ 14 w 29"/>
                <a:gd name="T1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22" y="29"/>
                    <a:pt x="29" y="22"/>
                    <a:pt x="29" y="14"/>
                  </a:cubicBezTo>
                  <a:cubicBezTo>
                    <a:pt x="29" y="6"/>
                    <a:pt x="22" y="0"/>
                    <a:pt x="14" y="0"/>
                  </a:cubicBezTo>
                  <a:close/>
                  <a:moveTo>
                    <a:pt x="14" y="21"/>
                  </a:moveTo>
                  <a:cubicBezTo>
                    <a:pt x="11" y="21"/>
                    <a:pt x="8" y="18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18" y="8"/>
                    <a:pt x="21" y="11"/>
                    <a:pt x="21" y="14"/>
                  </a:cubicBezTo>
                  <a:cubicBezTo>
                    <a:pt x="21" y="18"/>
                    <a:pt x="18" y="21"/>
                    <a:pt x="1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6" name="iS1ídè"/>
            <p:cNvSpPr/>
            <p:nvPr>
              <p:custDataLst>
                <p:tags r:id="rId180"/>
              </p:custDataLst>
            </p:nvPr>
          </p:nvSpPr>
          <p:spPr bwMode="auto">
            <a:xfrm flipH="1">
              <a:off x="3043255" y="2611404"/>
              <a:ext cx="78739" cy="63974"/>
            </a:xfrm>
            <a:custGeom>
              <a:avLst/>
              <a:gdLst>
                <a:gd name="T0" fmla="*/ 30 w 36"/>
                <a:gd name="T1" fmla="*/ 5 h 30"/>
                <a:gd name="T2" fmla="*/ 30 w 36"/>
                <a:gd name="T3" fmla="*/ 5 h 30"/>
                <a:gd name="T4" fmla="*/ 30 w 36"/>
                <a:gd name="T5" fmla="*/ 4 h 30"/>
                <a:gd name="T6" fmla="*/ 27 w 36"/>
                <a:gd name="T7" fmla="*/ 4 h 30"/>
                <a:gd name="T8" fmla="*/ 26 w 36"/>
                <a:gd name="T9" fmla="*/ 5 h 30"/>
                <a:gd name="T10" fmla="*/ 24 w 36"/>
                <a:gd name="T11" fmla="*/ 5 h 30"/>
                <a:gd name="T12" fmla="*/ 24 w 36"/>
                <a:gd name="T13" fmla="*/ 3 h 30"/>
                <a:gd name="T14" fmla="*/ 20 w 36"/>
                <a:gd name="T15" fmla="*/ 0 h 30"/>
                <a:gd name="T16" fmla="*/ 17 w 36"/>
                <a:gd name="T17" fmla="*/ 0 h 30"/>
                <a:gd name="T18" fmla="*/ 12 w 36"/>
                <a:gd name="T19" fmla="*/ 3 h 30"/>
                <a:gd name="T20" fmla="*/ 12 w 36"/>
                <a:gd name="T21" fmla="*/ 6 h 30"/>
                <a:gd name="T22" fmla="*/ 10 w 36"/>
                <a:gd name="T23" fmla="*/ 6 h 30"/>
                <a:gd name="T24" fmla="*/ 10 w 36"/>
                <a:gd name="T25" fmla="*/ 5 h 30"/>
                <a:gd name="T26" fmla="*/ 7 w 36"/>
                <a:gd name="T27" fmla="*/ 5 h 30"/>
                <a:gd name="T28" fmla="*/ 6 w 36"/>
                <a:gd name="T29" fmla="*/ 6 h 30"/>
                <a:gd name="T30" fmla="*/ 6 w 36"/>
                <a:gd name="T31" fmla="*/ 6 h 30"/>
                <a:gd name="T32" fmla="*/ 1 w 36"/>
                <a:gd name="T33" fmla="*/ 12 h 30"/>
                <a:gd name="T34" fmla="*/ 1 w 36"/>
                <a:gd name="T35" fmla="*/ 24 h 30"/>
                <a:gd name="T36" fmla="*/ 7 w 36"/>
                <a:gd name="T37" fmla="*/ 30 h 30"/>
                <a:gd name="T38" fmla="*/ 30 w 36"/>
                <a:gd name="T39" fmla="*/ 30 h 30"/>
                <a:gd name="T40" fmla="*/ 36 w 36"/>
                <a:gd name="T41" fmla="*/ 23 h 30"/>
                <a:gd name="T42" fmla="*/ 36 w 36"/>
                <a:gd name="T43" fmla="*/ 11 h 30"/>
                <a:gd name="T44" fmla="*/ 30 w 36"/>
                <a:gd name="T45" fmla="*/ 5 h 30"/>
                <a:gd name="T46" fmla="*/ 14 w 36"/>
                <a:gd name="T47" fmla="*/ 3 h 30"/>
                <a:gd name="T48" fmla="*/ 17 w 36"/>
                <a:gd name="T49" fmla="*/ 2 h 30"/>
                <a:gd name="T50" fmla="*/ 20 w 36"/>
                <a:gd name="T51" fmla="*/ 2 h 30"/>
                <a:gd name="T52" fmla="*/ 22 w 36"/>
                <a:gd name="T53" fmla="*/ 3 h 30"/>
                <a:gd name="T54" fmla="*/ 22 w 36"/>
                <a:gd name="T55" fmla="*/ 5 h 30"/>
                <a:gd name="T56" fmla="*/ 14 w 36"/>
                <a:gd name="T57" fmla="*/ 6 h 30"/>
                <a:gd name="T58" fmla="*/ 14 w 36"/>
                <a:gd name="T5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30">
                  <a:moveTo>
                    <a:pt x="30" y="5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4"/>
                    <a:pt x="30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5"/>
                    <a:pt x="26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0"/>
                    <a:pt x="12" y="1"/>
                    <a:pt x="12" y="3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3" y="6"/>
                    <a:pt x="0" y="9"/>
                    <a:pt x="1" y="1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7"/>
                    <a:pt x="4" y="30"/>
                    <a:pt x="7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3" y="29"/>
                    <a:pt x="36" y="27"/>
                    <a:pt x="36" y="23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8"/>
                    <a:pt x="33" y="6"/>
                    <a:pt x="30" y="5"/>
                  </a:cubicBezTo>
                  <a:close/>
                  <a:moveTo>
                    <a:pt x="14" y="3"/>
                  </a:moveTo>
                  <a:cubicBezTo>
                    <a:pt x="14" y="3"/>
                    <a:pt x="14" y="2"/>
                    <a:pt x="17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2" y="2"/>
                    <a:pt x="22" y="3"/>
                    <a:pt x="22" y="3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4" y="6"/>
                    <a:pt x="14" y="6"/>
                    <a:pt x="14" y="6"/>
                  </a:cubicBez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7" name="ïṡḷiḓé"/>
            <p:cNvSpPr/>
            <p:nvPr>
              <p:custDataLst>
                <p:tags r:id="rId181"/>
              </p:custDataLst>
            </p:nvPr>
          </p:nvSpPr>
          <p:spPr bwMode="auto">
            <a:xfrm flipH="1">
              <a:off x="2843635" y="2698149"/>
              <a:ext cx="78739" cy="63974"/>
            </a:xfrm>
            <a:custGeom>
              <a:avLst/>
              <a:gdLst>
                <a:gd name="T0" fmla="*/ 30 w 36"/>
                <a:gd name="T1" fmla="*/ 5 h 30"/>
                <a:gd name="T2" fmla="*/ 30 w 36"/>
                <a:gd name="T3" fmla="*/ 5 h 30"/>
                <a:gd name="T4" fmla="*/ 29 w 36"/>
                <a:gd name="T5" fmla="*/ 5 h 30"/>
                <a:gd name="T6" fmla="*/ 26 w 36"/>
                <a:gd name="T7" fmla="*/ 5 h 30"/>
                <a:gd name="T8" fmla="*/ 25 w 36"/>
                <a:gd name="T9" fmla="*/ 5 h 30"/>
                <a:gd name="T10" fmla="*/ 24 w 36"/>
                <a:gd name="T11" fmla="*/ 5 h 30"/>
                <a:gd name="T12" fmla="*/ 24 w 36"/>
                <a:gd name="T13" fmla="*/ 3 h 30"/>
                <a:gd name="T14" fmla="*/ 19 w 36"/>
                <a:gd name="T15" fmla="*/ 0 h 30"/>
                <a:gd name="T16" fmla="*/ 16 w 36"/>
                <a:gd name="T17" fmla="*/ 0 h 30"/>
                <a:gd name="T18" fmla="*/ 12 w 36"/>
                <a:gd name="T19" fmla="*/ 3 h 30"/>
                <a:gd name="T20" fmla="*/ 12 w 36"/>
                <a:gd name="T21" fmla="*/ 6 h 30"/>
                <a:gd name="T22" fmla="*/ 10 w 36"/>
                <a:gd name="T23" fmla="*/ 6 h 30"/>
                <a:gd name="T24" fmla="*/ 9 w 36"/>
                <a:gd name="T25" fmla="*/ 5 h 30"/>
                <a:gd name="T26" fmla="*/ 6 w 36"/>
                <a:gd name="T27" fmla="*/ 5 h 30"/>
                <a:gd name="T28" fmla="*/ 5 w 36"/>
                <a:gd name="T29" fmla="*/ 6 h 30"/>
                <a:gd name="T30" fmla="*/ 5 w 36"/>
                <a:gd name="T31" fmla="*/ 6 h 30"/>
                <a:gd name="T32" fmla="*/ 0 w 36"/>
                <a:gd name="T33" fmla="*/ 12 h 30"/>
                <a:gd name="T34" fmla="*/ 0 w 36"/>
                <a:gd name="T35" fmla="*/ 24 h 30"/>
                <a:gd name="T36" fmla="*/ 7 w 36"/>
                <a:gd name="T37" fmla="*/ 30 h 30"/>
                <a:gd name="T38" fmla="*/ 29 w 36"/>
                <a:gd name="T39" fmla="*/ 30 h 30"/>
                <a:gd name="T40" fmla="*/ 36 w 36"/>
                <a:gd name="T41" fmla="*/ 23 h 30"/>
                <a:gd name="T42" fmla="*/ 35 w 36"/>
                <a:gd name="T43" fmla="*/ 11 h 30"/>
                <a:gd name="T44" fmla="*/ 30 w 36"/>
                <a:gd name="T45" fmla="*/ 5 h 30"/>
                <a:gd name="T46" fmla="*/ 14 w 36"/>
                <a:gd name="T47" fmla="*/ 3 h 30"/>
                <a:gd name="T48" fmla="*/ 16 w 36"/>
                <a:gd name="T49" fmla="*/ 2 h 30"/>
                <a:gd name="T50" fmla="*/ 19 w 36"/>
                <a:gd name="T51" fmla="*/ 2 h 30"/>
                <a:gd name="T52" fmla="*/ 22 w 36"/>
                <a:gd name="T53" fmla="*/ 3 h 30"/>
                <a:gd name="T54" fmla="*/ 22 w 36"/>
                <a:gd name="T55" fmla="*/ 5 h 30"/>
                <a:gd name="T56" fmla="*/ 14 w 36"/>
                <a:gd name="T57" fmla="*/ 6 h 30"/>
                <a:gd name="T58" fmla="*/ 14 w 36"/>
                <a:gd name="T59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30">
                  <a:moveTo>
                    <a:pt x="30" y="5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5" y="5"/>
                    <a:pt x="25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2" y="0"/>
                    <a:pt x="1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1"/>
                    <a:pt x="12" y="3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5" y="5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6"/>
                    <a:pt x="0" y="9"/>
                    <a:pt x="0" y="1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7"/>
                    <a:pt x="3" y="30"/>
                    <a:pt x="7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33" y="30"/>
                    <a:pt x="36" y="27"/>
                    <a:pt x="36" y="23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8"/>
                    <a:pt x="33" y="6"/>
                    <a:pt x="30" y="5"/>
                  </a:cubicBezTo>
                  <a:close/>
                  <a:moveTo>
                    <a:pt x="14" y="3"/>
                  </a:moveTo>
                  <a:cubicBezTo>
                    <a:pt x="14" y="3"/>
                    <a:pt x="14" y="2"/>
                    <a:pt x="16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2"/>
                    <a:pt x="22" y="3"/>
                    <a:pt x="22" y="3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4" y="6"/>
                    <a:pt x="14" y="6"/>
                    <a:pt x="14" y="6"/>
                  </a:cubicBez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8" name="îŝlídê"/>
            <p:cNvSpPr/>
            <p:nvPr>
              <p:custDataLst>
                <p:tags r:id="rId182"/>
              </p:custDataLst>
            </p:nvPr>
          </p:nvSpPr>
          <p:spPr bwMode="auto">
            <a:xfrm flipH="1">
              <a:off x="3446932" y="3092837"/>
              <a:ext cx="84284" cy="82407"/>
            </a:xfrm>
            <a:custGeom>
              <a:avLst/>
              <a:gdLst>
                <a:gd name="T0" fmla="*/ 37 w 39"/>
                <a:gd name="T1" fmla="*/ 15 h 39"/>
                <a:gd name="T2" fmla="*/ 34 w 39"/>
                <a:gd name="T3" fmla="*/ 15 h 39"/>
                <a:gd name="T4" fmla="*/ 33 w 39"/>
                <a:gd name="T5" fmla="*/ 13 h 39"/>
                <a:gd name="T6" fmla="*/ 35 w 39"/>
                <a:gd name="T7" fmla="*/ 10 h 39"/>
                <a:gd name="T8" fmla="*/ 35 w 39"/>
                <a:gd name="T9" fmla="*/ 7 h 39"/>
                <a:gd name="T10" fmla="*/ 32 w 39"/>
                <a:gd name="T11" fmla="*/ 4 h 39"/>
                <a:gd name="T12" fmla="*/ 28 w 39"/>
                <a:gd name="T13" fmla="*/ 4 h 39"/>
                <a:gd name="T14" fmla="*/ 26 w 39"/>
                <a:gd name="T15" fmla="*/ 6 h 39"/>
                <a:gd name="T16" fmla="*/ 24 w 39"/>
                <a:gd name="T17" fmla="*/ 5 h 39"/>
                <a:gd name="T18" fmla="*/ 24 w 39"/>
                <a:gd name="T19" fmla="*/ 3 h 39"/>
                <a:gd name="T20" fmla="*/ 21 w 39"/>
                <a:gd name="T21" fmla="*/ 0 h 39"/>
                <a:gd name="T22" fmla="*/ 18 w 39"/>
                <a:gd name="T23" fmla="*/ 0 h 39"/>
                <a:gd name="T24" fmla="*/ 15 w 39"/>
                <a:gd name="T25" fmla="*/ 3 h 39"/>
                <a:gd name="T26" fmla="*/ 15 w 39"/>
                <a:gd name="T27" fmla="*/ 5 h 39"/>
                <a:gd name="T28" fmla="*/ 12 w 39"/>
                <a:gd name="T29" fmla="*/ 7 h 39"/>
                <a:gd name="T30" fmla="*/ 10 w 39"/>
                <a:gd name="T31" fmla="*/ 5 h 39"/>
                <a:gd name="T32" fmla="*/ 7 w 39"/>
                <a:gd name="T33" fmla="*/ 5 h 39"/>
                <a:gd name="T34" fmla="*/ 4 w 39"/>
                <a:gd name="T35" fmla="*/ 7 h 39"/>
                <a:gd name="T36" fmla="*/ 4 w 39"/>
                <a:gd name="T37" fmla="*/ 11 h 39"/>
                <a:gd name="T38" fmla="*/ 6 w 39"/>
                <a:gd name="T39" fmla="*/ 13 h 39"/>
                <a:gd name="T40" fmla="*/ 5 w 39"/>
                <a:gd name="T41" fmla="*/ 15 h 39"/>
                <a:gd name="T42" fmla="*/ 3 w 39"/>
                <a:gd name="T43" fmla="*/ 16 h 39"/>
                <a:gd name="T44" fmla="*/ 0 w 39"/>
                <a:gd name="T45" fmla="*/ 18 h 39"/>
                <a:gd name="T46" fmla="*/ 0 w 39"/>
                <a:gd name="T47" fmla="*/ 21 h 39"/>
                <a:gd name="T48" fmla="*/ 3 w 39"/>
                <a:gd name="T49" fmla="*/ 24 h 39"/>
                <a:gd name="T50" fmla="*/ 5 w 39"/>
                <a:gd name="T51" fmla="*/ 24 h 39"/>
                <a:gd name="T52" fmla="*/ 6 w 39"/>
                <a:gd name="T53" fmla="*/ 27 h 39"/>
                <a:gd name="T54" fmla="*/ 5 w 39"/>
                <a:gd name="T55" fmla="*/ 29 h 39"/>
                <a:gd name="T56" fmla="*/ 5 w 39"/>
                <a:gd name="T57" fmla="*/ 33 h 39"/>
                <a:gd name="T58" fmla="*/ 7 w 39"/>
                <a:gd name="T59" fmla="*/ 35 h 39"/>
                <a:gd name="T60" fmla="*/ 11 w 39"/>
                <a:gd name="T61" fmla="*/ 35 h 39"/>
                <a:gd name="T62" fmla="*/ 12 w 39"/>
                <a:gd name="T63" fmla="*/ 33 h 39"/>
                <a:gd name="T64" fmla="*/ 15 w 39"/>
                <a:gd name="T65" fmla="*/ 34 h 39"/>
                <a:gd name="T66" fmla="*/ 16 w 39"/>
                <a:gd name="T67" fmla="*/ 37 h 39"/>
                <a:gd name="T68" fmla="*/ 18 w 39"/>
                <a:gd name="T69" fmla="*/ 39 h 39"/>
                <a:gd name="T70" fmla="*/ 21 w 39"/>
                <a:gd name="T71" fmla="*/ 39 h 39"/>
                <a:gd name="T72" fmla="*/ 24 w 39"/>
                <a:gd name="T73" fmla="*/ 37 h 39"/>
                <a:gd name="T74" fmla="*/ 24 w 39"/>
                <a:gd name="T75" fmla="*/ 34 h 39"/>
                <a:gd name="T76" fmla="*/ 27 w 39"/>
                <a:gd name="T77" fmla="*/ 33 h 39"/>
                <a:gd name="T78" fmla="*/ 29 w 39"/>
                <a:gd name="T79" fmla="*/ 35 h 39"/>
                <a:gd name="T80" fmla="*/ 33 w 39"/>
                <a:gd name="T81" fmla="*/ 35 h 39"/>
                <a:gd name="T82" fmla="*/ 35 w 39"/>
                <a:gd name="T83" fmla="*/ 32 h 39"/>
                <a:gd name="T84" fmla="*/ 35 w 39"/>
                <a:gd name="T85" fmla="*/ 28 h 39"/>
                <a:gd name="T86" fmla="*/ 33 w 39"/>
                <a:gd name="T87" fmla="*/ 26 h 39"/>
                <a:gd name="T88" fmla="*/ 34 w 39"/>
                <a:gd name="T89" fmla="*/ 24 h 39"/>
                <a:gd name="T90" fmla="*/ 37 w 39"/>
                <a:gd name="T91" fmla="*/ 24 h 39"/>
                <a:gd name="T92" fmla="*/ 39 w 39"/>
                <a:gd name="T93" fmla="*/ 21 h 39"/>
                <a:gd name="T94" fmla="*/ 39 w 39"/>
                <a:gd name="T95" fmla="*/ 18 h 39"/>
                <a:gd name="T96" fmla="*/ 37 w 39"/>
                <a:gd name="T97" fmla="*/ 15 h 39"/>
                <a:gd name="T98" fmla="*/ 25 w 39"/>
                <a:gd name="T99" fmla="*/ 25 h 39"/>
                <a:gd name="T100" fmla="*/ 14 w 39"/>
                <a:gd name="T101" fmla="*/ 25 h 39"/>
                <a:gd name="T102" fmla="*/ 14 w 39"/>
                <a:gd name="T103" fmla="*/ 15 h 39"/>
                <a:gd name="T104" fmla="*/ 25 w 39"/>
                <a:gd name="T105" fmla="*/ 14 h 39"/>
                <a:gd name="T106" fmla="*/ 25 w 39"/>
                <a:gd name="T107" fmla="*/ 2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9" h="39">
                  <a:moveTo>
                    <a:pt x="37" y="15"/>
                  </a:moveTo>
                  <a:cubicBezTo>
                    <a:pt x="34" y="15"/>
                    <a:pt x="34" y="15"/>
                    <a:pt x="34" y="15"/>
                  </a:cubicBezTo>
                  <a:cubicBezTo>
                    <a:pt x="33" y="14"/>
                    <a:pt x="33" y="13"/>
                    <a:pt x="33" y="13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9"/>
                    <a:pt x="36" y="8"/>
                    <a:pt x="35" y="7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1" y="3"/>
                    <a:pt x="29" y="3"/>
                    <a:pt x="28" y="4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4" y="5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2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5" y="1"/>
                    <a:pt x="15" y="3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6"/>
                    <a:pt x="13" y="6"/>
                    <a:pt x="12" y="7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4"/>
                    <a:pt x="8" y="4"/>
                    <a:pt x="7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3" y="10"/>
                    <a:pt x="4" y="11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5" y="14"/>
                    <a:pt x="5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1" y="24"/>
                    <a:pt x="3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6" y="26"/>
                    <a:pt x="6" y="27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30"/>
                    <a:pt x="4" y="32"/>
                    <a:pt x="5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6"/>
                    <a:pt x="10" y="36"/>
                    <a:pt x="11" y="35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3" y="34"/>
                    <a:pt x="14" y="34"/>
                    <a:pt x="15" y="34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8"/>
                    <a:pt x="17" y="39"/>
                    <a:pt x="18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3" y="39"/>
                    <a:pt x="24" y="38"/>
                    <a:pt x="24" y="3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30" y="36"/>
                    <a:pt x="32" y="36"/>
                    <a:pt x="33" y="35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6" y="31"/>
                    <a:pt x="36" y="29"/>
                    <a:pt x="35" y="28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4" y="25"/>
                    <a:pt x="34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9" y="22"/>
                    <a:pt x="39" y="21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6"/>
                    <a:pt x="38" y="15"/>
                    <a:pt x="37" y="15"/>
                  </a:cubicBezTo>
                  <a:close/>
                  <a:moveTo>
                    <a:pt x="25" y="25"/>
                  </a:moveTo>
                  <a:cubicBezTo>
                    <a:pt x="22" y="28"/>
                    <a:pt x="17" y="28"/>
                    <a:pt x="14" y="25"/>
                  </a:cubicBezTo>
                  <a:cubicBezTo>
                    <a:pt x="11" y="22"/>
                    <a:pt x="11" y="18"/>
                    <a:pt x="14" y="15"/>
                  </a:cubicBezTo>
                  <a:cubicBezTo>
                    <a:pt x="17" y="12"/>
                    <a:pt x="22" y="12"/>
                    <a:pt x="25" y="14"/>
                  </a:cubicBezTo>
                  <a:cubicBezTo>
                    <a:pt x="28" y="17"/>
                    <a:pt x="28" y="22"/>
                    <a:pt x="25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89" name="íṧļiḍè"/>
            <p:cNvSpPr/>
            <p:nvPr>
              <p:custDataLst>
                <p:tags r:id="rId183"/>
              </p:custDataLst>
            </p:nvPr>
          </p:nvSpPr>
          <p:spPr bwMode="auto">
            <a:xfrm flipH="1">
              <a:off x="3998106" y="3343312"/>
              <a:ext cx="68758" cy="67227"/>
            </a:xfrm>
            <a:custGeom>
              <a:avLst/>
              <a:gdLst>
                <a:gd name="T0" fmla="*/ 29 w 32"/>
                <a:gd name="T1" fmla="*/ 12 h 32"/>
                <a:gd name="T2" fmla="*/ 27 w 32"/>
                <a:gd name="T3" fmla="*/ 12 h 32"/>
                <a:gd name="T4" fmla="*/ 26 w 32"/>
                <a:gd name="T5" fmla="*/ 10 h 32"/>
                <a:gd name="T6" fmla="*/ 28 w 32"/>
                <a:gd name="T7" fmla="*/ 9 h 32"/>
                <a:gd name="T8" fmla="*/ 28 w 32"/>
                <a:gd name="T9" fmla="*/ 5 h 32"/>
                <a:gd name="T10" fmla="*/ 26 w 32"/>
                <a:gd name="T11" fmla="*/ 4 h 32"/>
                <a:gd name="T12" fmla="*/ 23 w 32"/>
                <a:gd name="T13" fmla="*/ 4 h 32"/>
                <a:gd name="T14" fmla="*/ 21 w 32"/>
                <a:gd name="T15" fmla="*/ 5 h 32"/>
                <a:gd name="T16" fmla="*/ 19 w 32"/>
                <a:gd name="T17" fmla="*/ 5 h 32"/>
                <a:gd name="T18" fmla="*/ 19 w 32"/>
                <a:gd name="T19" fmla="*/ 2 h 32"/>
                <a:gd name="T20" fmla="*/ 17 w 32"/>
                <a:gd name="T21" fmla="*/ 0 h 32"/>
                <a:gd name="T22" fmla="*/ 14 w 32"/>
                <a:gd name="T23" fmla="*/ 0 h 32"/>
                <a:gd name="T24" fmla="*/ 12 w 32"/>
                <a:gd name="T25" fmla="*/ 2 h 32"/>
                <a:gd name="T26" fmla="*/ 12 w 32"/>
                <a:gd name="T27" fmla="*/ 5 h 32"/>
                <a:gd name="T28" fmla="*/ 10 w 32"/>
                <a:gd name="T29" fmla="*/ 6 h 32"/>
                <a:gd name="T30" fmla="*/ 9 w 32"/>
                <a:gd name="T31" fmla="*/ 4 h 32"/>
                <a:gd name="T32" fmla="*/ 5 w 32"/>
                <a:gd name="T33" fmla="*/ 4 h 32"/>
                <a:gd name="T34" fmla="*/ 4 w 32"/>
                <a:gd name="T35" fmla="*/ 6 h 32"/>
                <a:gd name="T36" fmla="*/ 4 w 32"/>
                <a:gd name="T37" fmla="*/ 9 h 32"/>
                <a:gd name="T38" fmla="*/ 5 w 32"/>
                <a:gd name="T39" fmla="*/ 10 h 32"/>
                <a:gd name="T40" fmla="*/ 4 w 32"/>
                <a:gd name="T41" fmla="*/ 13 h 32"/>
                <a:gd name="T42" fmla="*/ 2 w 32"/>
                <a:gd name="T43" fmla="*/ 13 h 32"/>
                <a:gd name="T44" fmla="*/ 0 w 32"/>
                <a:gd name="T45" fmla="*/ 15 h 32"/>
                <a:gd name="T46" fmla="*/ 0 w 32"/>
                <a:gd name="T47" fmla="*/ 17 h 32"/>
                <a:gd name="T48" fmla="*/ 2 w 32"/>
                <a:gd name="T49" fmla="*/ 20 h 32"/>
                <a:gd name="T50" fmla="*/ 4 w 32"/>
                <a:gd name="T51" fmla="*/ 20 h 32"/>
                <a:gd name="T52" fmla="*/ 5 w 32"/>
                <a:gd name="T53" fmla="*/ 22 h 32"/>
                <a:gd name="T54" fmla="*/ 4 w 32"/>
                <a:gd name="T55" fmla="*/ 23 h 32"/>
                <a:gd name="T56" fmla="*/ 4 w 32"/>
                <a:gd name="T57" fmla="*/ 26 h 32"/>
                <a:gd name="T58" fmla="*/ 6 w 32"/>
                <a:gd name="T59" fmla="*/ 28 h 32"/>
                <a:gd name="T60" fmla="*/ 9 w 32"/>
                <a:gd name="T61" fmla="*/ 28 h 32"/>
                <a:gd name="T62" fmla="*/ 10 w 32"/>
                <a:gd name="T63" fmla="*/ 27 h 32"/>
                <a:gd name="T64" fmla="*/ 13 w 32"/>
                <a:gd name="T65" fmla="*/ 28 h 32"/>
                <a:gd name="T66" fmla="*/ 13 w 32"/>
                <a:gd name="T67" fmla="*/ 30 h 32"/>
                <a:gd name="T68" fmla="*/ 15 w 32"/>
                <a:gd name="T69" fmla="*/ 32 h 32"/>
                <a:gd name="T70" fmla="*/ 17 w 32"/>
                <a:gd name="T71" fmla="*/ 32 h 32"/>
                <a:gd name="T72" fmla="*/ 20 w 32"/>
                <a:gd name="T73" fmla="*/ 29 h 32"/>
                <a:gd name="T74" fmla="*/ 20 w 32"/>
                <a:gd name="T75" fmla="*/ 27 h 32"/>
                <a:gd name="T76" fmla="*/ 22 w 32"/>
                <a:gd name="T77" fmla="*/ 26 h 32"/>
                <a:gd name="T78" fmla="*/ 23 w 32"/>
                <a:gd name="T79" fmla="*/ 28 h 32"/>
                <a:gd name="T80" fmla="*/ 26 w 32"/>
                <a:gd name="T81" fmla="*/ 28 h 32"/>
                <a:gd name="T82" fmla="*/ 28 w 32"/>
                <a:gd name="T83" fmla="*/ 26 h 32"/>
                <a:gd name="T84" fmla="*/ 28 w 32"/>
                <a:gd name="T85" fmla="*/ 23 h 32"/>
                <a:gd name="T86" fmla="*/ 26 w 32"/>
                <a:gd name="T87" fmla="*/ 21 h 32"/>
                <a:gd name="T88" fmla="*/ 27 w 32"/>
                <a:gd name="T89" fmla="*/ 19 h 32"/>
                <a:gd name="T90" fmla="*/ 30 w 32"/>
                <a:gd name="T91" fmla="*/ 19 h 32"/>
                <a:gd name="T92" fmla="*/ 32 w 32"/>
                <a:gd name="T93" fmla="*/ 17 h 32"/>
                <a:gd name="T94" fmla="*/ 32 w 32"/>
                <a:gd name="T95" fmla="*/ 14 h 32"/>
                <a:gd name="T96" fmla="*/ 29 w 32"/>
                <a:gd name="T97" fmla="*/ 12 h 32"/>
                <a:gd name="T98" fmla="*/ 20 w 32"/>
                <a:gd name="T99" fmla="*/ 20 h 32"/>
                <a:gd name="T100" fmla="*/ 12 w 32"/>
                <a:gd name="T101" fmla="*/ 20 h 32"/>
                <a:gd name="T102" fmla="*/ 11 w 32"/>
                <a:gd name="T103" fmla="*/ 12 h 32"/>
                <a:gd name="T104" fmla="*/ 20 w 32"/>
                <a:gd name="T105" fmla="*/ 12 h 32"/>
                <a:gd name="T106" fmla="*/ 20 w 32"/>
                <a:gd name="T107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" h="32">
                  <a:moveTo>
                    <a:pt x="29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1"/>
                    <a:pt x="26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9" y="8"/>
                    <a:pt x="29" y="6"/>
                    <a:pt x="28" y="5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3"/>
                    <a:pt x="24" y="3"/>
                    <a:pt x="23" y="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0" y="5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1"/>
                    <a:pt x="12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5"/>
                    <a:pt x="10" y="6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3"/>
                    <a:pt x="6" y="3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2"/>
                    <a:pt x="4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5" y="20"/>
                    <a:pt x="5" y="21"/>
                    <a:pt x="5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4"/>
                    <a:pt x="3" y="26"/>
                    <a:pt x="4" y="2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29"/>
                    <a:pt x="8" y="29"/>
                    <a:pt x="9" y="2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7"/>
                    <a:pt x="12" y="27"/>
                    <a:pt x="13" y="28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1"/>
                    <a:pt x="14" y="32"/>
                    <a:pt x="15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9" y="32"/>
                    <a:pt x="20" y="31"/>
                    <a:pt x="20" y="2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1" y="27"/>
                    <a:pt x="22" y="26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4" y="29"/>
                    <a:pt x="25" y="29"/>
                    <a:pt x="26" y="28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9" y="25"/>
                    <a:pt x="29" y="24"/>
                    <a:pt x="28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0"/>
                    <a:pt x="27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1" y="19"/>
                    <a:pt x="32" y="18"/>
                    <a:pt x="32" y="17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3"/>
                    <a:pt x="31" y="12"/>
                    <a:pt x="29" y="12"/>
                  </a:cubicBezTo>
                  <a:close/>
                  <a:moveTo>
                    <a:pt x="20" y="20"/>
                  </a:moveTo>
                  <a:cubicBezTo>
                    <a:pt x="18" y="23"/>
                    <a:pt x="14" y="23"/>
                    <a:pt x="12" y="20"/>
                  </a:cubicBezTo>
                  <a:cubicBezTo>
                    <a:pt x="9" y="18"/>
                    <a:pt x="9" y="14"/>
                    <a:pt x="11" y="12"/>
                  </a:cubicBezTo>
                  <a:cubicBezTo>
                    <a:pt x="14" y="10"/>
                    <a:pt x="18" y="10"/>
                    <a:pt x="20" y="12"/>
                  </a:cubicBezTo>
                  <a:cubicBezTo>
                    <a:pt x="22" y="14"/>
                    <a:pt x="22" y="18"/>
                    <a:pt x="20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0" name="íŝlíḍé"/>
            <p:cNvSpPr/>
            <p:nvPr>
              <p:custDataLst>
                <p:tags r:id="rId184"/>
              </p:custDataLst>
            </p:nvPr>
          </p:nvSpPr>
          <p:spPr bwMode="auto">
            <a:xfrm flipH="1">
              <a:off x="2874687" y="2386952"/>
              <a:ext cx="60995" cy="59637"/>
            </a:xfrm>
            <a:custGeom>
              <a:avLst/>
              <a:gdLst>
                <a:gd name="T0" fmla="*/ 26 w 28"/>
                <a:gd name="T1" fmla="*/ 16 h 28"/>
                <a:gd name="T2" fmla="*/ 24 w 28"/>
                <a:gd name="T3" fmla="*/ 15 h 28"/>
                <a:gd name="T4" fmla="*/ 24 w 28"/>
                <a:gd name="T5" fmla="*/ 13 h 28"/>
                <a:gd name="T6" fmla="*/ 26 w 28"/>
                <a:gd name="T7" fmla="*/ 12 h 28"/>
                <a:gd name="T8" fmla="*/ 27 w 28"/>
                <a:gd name="T9" fmla="*/ 9 h 28"/>
                <a:gd name="T10" fmla="*/ 26 w 28"/>
                <a:gd name="T11" fmla="*/ 7 h 28"/>
                <a:gd name="T12" fmla="*/ 24 w 28"/>
                <a:gd name="T13" fmla="*/ 6 h 28"/>
                <a:gd name="T14" fmla="*/ 22 w 28"/>
                <a:gd name="T15" fmla="*/ 7 h 28"/>
                <a:gd name="T16" fmla="*/ 20 w 28"/>
                <a:gd name="T17" fmla="*/ 6 h 28"/>
                <a:gd name="T18" fmla="*/ 21 w 28"/>
                <a:gd name="T19" fmla="*/ 4 h 28"/>
                <a:gd name="T20" fmla="*/ 20 w 28"/>
                <a:gd name="T21" fmla="*/ 2 h 28"/>
                <a:gd name="T22" fmla="*/ 18 w 28"/>
                <a:gd name="T23" fmla="*/ 1 h 28"/>
                <a:gd name="T24" fmla="*/ 15 w 28"/>
                <a:gd name="T25" fmla="*/ 2 h 28"/>
                <a:gd name="T26" fmla="*/ 15 w 28"/>
                <a:gd name="T27" fmla="*/ 4 h 28"/>
                <a:gd name="T28" fmla="*/ 13 w 28"/>
                <a:gd name="T29" fmla="*/ 4 h 28"/>
                <a:gd name="T30" fmla="*/ 12 w 28"/>
                <a:gd name="T31" fmla="*/ 2 h 28"/>
                <a:gd name="T32" fmla="*/ 9 w 28"/>
                <a:gd name="T33" fmla="*/ 1 h 28"/>
                <a:gd name="T34" fmla="*/ 7 w 28"/>
                <a:gd name="T35" fmla="*/ 2 h 28"/>
                <a:gd name="T36" fmla="*/ 6 w 28"/>
                <a:gd name="T37" fmla="*/ 4 h 28"/>
                <a:gd name="T38" fmla="*/ 7 w 28"/>
                <a:gd name="T39" fmla="*/ 6 h 28"/>
                <a:gd name="T40" fmla="*/ 6 w 28"/>
                <a:gd name="T41" fmla="*/ 7 h 28"/>
                <a:gd name="T42" fmla="*/ 4 w 28"/>
                <a:gd name="T43" fmla="*/ 7 h 28"/>
                <a:gd name="T44" fmla="*/ 1 w 28"/>
                <a:gd name="T45" fmla="*/ 8 h 28"/>
                <a:gd name="T46" fmla="*/ 1 w 28"/>
                <a:gd name="T47" fmla="*/ 10 h 28"/>
                <a:gd name="T48" fmla="*/ 2 w 28"/>
                <a:gd name="T49" fmla="*/ 12 h 28"/>
                <a:gd name="T50" fmla="*/ 3 w 28"/>
                <a:gd name="T51" fmla="*/ 13 h 28"/>
                <a:gd name="T52" fmla="*/ 3 w 28"/>
                <a:gd name="T53" fmla="*/ 15 h 28"/>
                <a:gd name="T54" fmla="*/ 2 w 28"/>
                <a:gd name="T55" fmla="*/ 16 h 28"/>
                <a:gd name="T56" fmla="*/ 1 w 28"/>
                <a:gd name="T57" fmla="*/ 19 h 28"/>
                <a:gd name="T58" fmla="*/ 2 w 28"/>
                <a:gd name="T59" fmla="*/ 21 h 28"/>
                <a:gd name="T60" fmla="*/ 4 w 28"/>
                <a:gd name="T61" fmla="*/ 22 h 28"/>
                <a:gd name="T62" fmla="*/ 6 w 28"/>
                <a:gd name="T63" fmla="*/ 21 h 28"/>
                <a:gd name="T64" fmla="*/ 7 w 28"/>
                <a:gd name="T65" fmla="*/ 22 h 28"/>
                <a:gd name="T66" fmla="*/ 7 w 28"/>
                <a:gd name="T67" fmla="*/ 24 h 28"/>
                <a:gd name="T68" fmla="*/ 8 w 28"/>
                <a:gd name="T69" fmla="*/ 26 h 28"/>
                <a:gd name="T70" fmla="*/ 10 w 28"/>
                <a:gd name="T71" fmla="*/ 27 h 28"/>
                <a:gd name="T72" fmla="*/ 12 w 28"/>
                <a:gd name="T73" fmla="*/ 26 h 28"/>
                <a:gd name="T74" fmla="*/ 13 w 28"/>
                <a:gd name="T75" fmla="*/ 25 h 28"/>
                <a:gd name="T76" fmla="*/ 15 w 28"/>
                <a:gd name="T77" fmla="*/ 24 h 28"/>
                <a:gd name="T78" fmla="*/ 16 w 28"/>
                <a:gd name="T79" fmla="*/ 26 h 28"/>
                <a:gd name="T80" fmla="*/ 19 w 28"/>
                <a:gd name="T81" fmla="*/ 27 h 28"/>
                <a:gd name="T82" fmla="*/ 21 w 28"/>
                <a:gd name="T83" fmla="*/ 26 h 28"/>
                <a:gd name="T84" fmla="*/ 22 w 28"/>
                <a:gd name="T85" fmla="*/ 24 h 28"/>
                <a:gd name="T86" fmla="*/ 21 w 28"/>
                <a:gd name="T87" fmla="*/ 22 h 28"/>
                <a:gd name="T88" fmla="*/ 22 w 28"/>
                <a:gd name="T89" fmla="*/ 20 h 28"/>
                <a:gd name="T90" fmla="*/ 24 w 28"/>
                <a:gd name="T91" fmla="*/ 21 h 28"/>
                <a:gd name="T92" fmla="*/ 26 w 28"/>
                <a:gd name="T93" fmla="*/ 20 h 28"/>
                <a:gd name="T94" fmla="*/ 27 w 28"/>
                <a:gd name="T95" fmla="*/ 18 h 28"/>
                <a:gd name="T96" fmla="*/ 26 w 28"/>
                <a:gd name="T97" fmla="*/ 16 h 28"/>
                <a:gd name="T98" fmla="*/ 16 w 28"/>
                <a:gd name="T99" fmla="*/ 19 h 28"/>
                <a:gd name="T100" fmla="*/ 9 w 28"/>
                <a:gd name="T101" fmla="*/ 16 h 28"/>
                <a:gd name="T102" fmla="*/ 12 w 28"/>
                <a:gd name="T103" fmla="*/ 9 h 28"/>
                <a:gd name="T104" fmla="*/ 19 w 28"/>
                <a:gd name="T105" fmla="*/ 12 h 28"/>
                <a:gd name="T106" fmla="*/ 16 w 28"/>
                <a:gd name="T10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" h="28">
                  <a:moveTo>
                    <a:pt x="26" y="16"/>
                  </a:move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4" y="13"/>
                    <a:pt x="24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0"/>
                    <a:pt x="27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6"/>
                    <a:pt x="20" y="6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2" y="3"/>
                    <a:pt x="21" y="2"/>
                    <a:pt x="20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7"/>
                    <a:pt x="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2" y="7"/>
                    <a:pt x="1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8"/>
                    <a:pt x="1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2"/>
                    <a:pt x="3" y="22"/>
                    <a:pt x="4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2"/>
                    <a:pt x="7" y="22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5"/>
                    <a:pt x="7" y="26"/>
                    <a:pt x="8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8"/>
                    <a:pt x="12" y="27"/>
                    <a:pt x="12" y="26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5" y="25"/>
                    <a:pt x="15" y="24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8" y="28"/>
                    <a:pt x="19" y="27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2" y="25"/>
                    <a:pt x="22" y="2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1"/>
                    <a:pt x="22" y="21"/>
                    <a:pt x="22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2"/>
                    <a:pt x="26" y="21"/>
                    <a:pt x="26" y="20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8" y="17"/>
                    <a:pt x="27" y="16"/>
                    <a:pt x="26" y="16"/>
                  </a:cubicBezTo>
                  <a:close/>
                  <a:moveTo>
                    <a:pt x="16" y="19"/>
                  </a:moveTo>
                  <a:cubicBezTo>
                    <a:pt x="13" y="20"/>
                    <a:pt x="10" y="19"/>
                    <a:pt x="9" y="16"/>
                  </a:cubicBezTo>
                  <a:cubicBezTo>
                    <a:pt x="8" y="14"/>
                    <a:pt x="9" y="10"/>
                    <a:pt x="12" y="9"/>
                  </a:cubicBezTo>
                  <a:cubicBezTo>
                    <a:pt x="14" y="8"/>
                    <a:pt x="17" y="9"/>
                    <a:pt x="19" y="12"/>
                  </a:cubicBezTo>
                  <a:cubicBezTo>
                    <a:pt x="20" y="15"/>
                    <a:pt x="19" y="18"/>
                    <a:pt x="16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1" name="ï$ḷíḋé"/>
            <p:cNvSpPr/>
            <p:nvPr>
              <p:custDataLst>
                <p:tags r:id="rId185"/>
              </p:custDataLst>
            </p:nvPr>
          </p:nvSpPr>
          <p:spPr bwMode="auto">
            <a:xfrm flipH="1">
              <a:off x="4104570" y="3729326"/>
              <a:ext cx="57668" cy="56384"/>
            </a:xfrm>
            <a:custGeom>
              <a:avLst/>
              <a:gdLst>
                <a:gd name="T0" fmla="*/ 25 w 27"/>
                <a:gd name="T1" fmla="*/ 15 h 27"/>
                <a:gd name="T2" fmla="*/ 24 w 27"/>
                <a:gd name="T3" fmla="*/ 15 h 27"/>
                <a:gd name="T4" fmla="*/ 23 w 27"/>
                <a:gd name="T5" fmla="*/ 13 h 27"/>
                <a:gd name="T6" fmla="*/ 25 w 27"/>
                <a:gd name="T7" fmla="*/ 12 h 27"/>
                <a:gd name="T8" fmla="*/ 26 w 27"/>
                <a:gd name="T9" fmla="*/ 9 h 27"/>
                <a:gd name="T10" fmla="*/ 26 w 27"/>
                <a:gd name="T11" fmla="*/ 7 h 27"/>
                <a:gd name="T12" fmla="*/ 23 w 27"/>
                <a:gd name="T13" fmla="*/ 6 h 27"/>
                <a:gd name="T14" fmla="*/ 21 w 27"/>
                <a:gd name="T15" fmla="*/ 7 h 27"/>
                <a:gd name="T16" fmla="*/ 20 w 27"/>
                <a:gd name="T17" fmla="*/ 6 h 27"/>
                <a:gd name="T18" fmla="*/ 20 w 27"/>
                <a:gd name="T19" fmla="*/ 4 h 27"/>
                <a:gd name="T20" fmla="*/ 19 w 27"/>
                <a:gd name="T21" fmla="*/ 1 h 27"/>
                <a:gd name="T22" fmla="*/ 17 w 27"/>
                <a:gd name="T23" fmla="*/ 0 h 27"/>
                <a:gd name="T24" fmla="*/ 15 w 27"/>
                <a:gd name="T25" fmla="*/ 2 h 27"/>
                <a:gd name="T26" fmla="*/ 14 w 27"/>
                <a:gd name="T27" fmla="*/ 3 h 27"/>
                <a:gd name="T28" fmla="*/ 12 w 27"/>
                <a:gd name="T29" fmla="*/ 3 h 27"/>
                <a:gd name="T30" fmla="*/ 11 w 27"/>
                <a:gd name="T31" fmla="*/ 2 h 27"/>
                <a:gd name="T32" fmla="*/ 9 w 27"/>
                <a:gd name="T33" fmla="*/ 1 h 27"/>
                <a:gd name="T34" fmla="*/ 7 w 27"/>
                <a:gd name="T35" fmla="*/ 2 h 27"/>
                <a:gd name="T36" fmla="*/ 6 w 27"/>
                <a:gd name="T37" fmla="*/ 4 h 27"/>
                <a:gd name="T38" fmla="*/ 6 w 27"/>
                <a:gd name="T39" fmla="*/ 6 h 27"/>
                <a:gd name="T40" fmla="*/ 5 w 27"/>
                <a:gd name="T41" fmla="*/ 7 h 27"/>
                <a:gd name="T42" fmla="*/ 3 w 27"/>
                <a:gd name="T43" fmla="*/ 7 h 27"/>
                <a:gd name="T44" fmla="*/ 1 w 27"/>
                <a:gd name="T45" fmla="*/ 8 h 27"/>
                <a:gd name="T46" fmla="*/ 0 w 27"/>
                <a:gd name="T47" fmla="*/ 10 h 27"/>
                <a:gd name="T48" fmla="*/ 1 w 27"/>
                <a:gd name="T49" fmla="*/ 12 h 27"/>
                <a:gd name="T50" fmla="*/ 3 w 27"/>
                <a:gd name="T51" fmla="*/ 13 h 27"/>
                <a:gd name="T52" fmla="*/ 3 w 27"/>
                <a:gd name="T53" fmla="*/ 15 h 27"/>
                <a:gd name="T54" fmla="*/ 1 w 27"/>
                <a:gd name="T55" fmla="*/ 16 h 27"/>
                <a:gd name="T56" fmla="*/ 0 w 27"/>
                <a:gd name="T57" fmla="*/ 18 h 27"/>
                <a:gd name="T58" fmla="*/ 1 w 27"/>
                <a:gd name="T59" fmla="*/ 20 h 27"/>
                <a:gd name="T60" fmla="*/ 4 w 27"/>
                <a:gd name="T61" fmla="*/ 21 h 27"/>
                <a:gd name="T62" fmla="*/ 5 w 27"/>
                <a:gd name="T63" fmla="*/ 21 h 27"/>
                <a:gd name="T64" fmla="*/ 7 w 27"/>
                <a:gd name="T65" fmla="*/ 22 h 27"/>
                <a:gd name="T66" fmla="*/ 6 w 27"/>
                <a:gd name="T67" fmla="*/ 24 h 27"/>
                <a:gd name="T68" fmla="*/ 7 w 27"/>
                <a:gd name="T69" fmla="*/ 26 h 27"/>
                <a:gd name="T70" fmla="*/ 9 w 27"/>
                <a:gd name="T71" fmla="*/ 27 h 27"/>
                <a:gd name="T72" fmla="*/ 12 w 27"/>
                <a:gd name="T73" fmla="*/ 26 h 27"/>
                <a:gd name="T74" fmla="*/ 12 w 27"/>
                <a:gd name="T75" fmla="*/ 24 h 27"/>
                <a:gd name="T76" fmla="*/ 15 w 27"/>
                <a:gd name="T77" fmla="*/ 24 h 27"/>
                <a:gd name="T78" fmla="*/ 15 w 27"/>
                <a:gd name="T79" fmla="*/ 26 h 27"/>
                <a:gd name="T80" fmla="*/ 18 w 27"/>
                <a:gd name="T81" fmla="*/ 27 h 27"/>
                <a:gd name="T82" fmla="*/ 20 w 27"/>
                <a:gd name="T83" fmla="*/ 26 h 27"/>
                <a:gd name="T84" fmla="*/ 21 w 27"/>
                <a:gd name="T85" fmla="*/ 23 h 27"/>
                <a:gd name="T86" fmla="*/ 20 w 27"/>
                <a:gd name="T87" fmla="*/ 22 h 27"/>
                <a:gd name="T88" fmla="*/ 21 w 27"/>
                <a:gd name="T89" fmla="*/ 20 h 27"/>
                <a:gd name="T90" fmla="*/ 23 w 27"/>
                <a:gd name="T91" fmla="*/ 21 h 27"/>
                <a:gd name="T92" fmla="*/ 26 w 27"/>
                <a:gd name="T93" fmla="*/ 20 h 27"/>
                <a:gd name="T94" fmla="*/ 27 w 27"/>
                <a:gd name="T95" fmla="*/ 18 h 27"/>
                <a:gd name="T96" fmla="*/ 25 w 27"/>
                <a:gd name="T97" fmla="*/ 15 h 27"/>
                <a:gd name="T98" fmla="*/ 15 w 27"/>
                <a:gd name="T99" fmla="*/ 19 h 27"/>
                <a:gd name="T100" fmla="*/ 8 w 27"/>
                <a:gd name="T101" fmla="*/ 16 h 27"/>
                <a:gd name="T102" fmla="*/ 11 w 27"/>
                <a:gd name="T103" fmla="*/ 9 h 27"/>
                <a:gd name="T104" fmla="*/ 18 w 27"/>
                <a:gd name="T105" fmla="*/ 12 h 27"/>
                <a:gd name="T106" fmla="*/ 15 w 27"/>
                <a:gd name="T10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27">
                  <a:moveTo>
                    <a:pt x="25" y="15"/>
                  </a:move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4" y="13"/>
                    <a:pt x="23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7" y="10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6"/>
                    <a:pt x="24" y="6"/>
                    <a:pt x="23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0" y="6"/>
                    <a:pt x="20" y="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3"/>
                    <a:pt x="20" y="2"/>
                    <a:pt x="19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0"/>
                    <a:pt x="9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5" y="3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1"/>
                    <a:pt x="3" y="22"/>
                    <a:pt x="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1"/>
                    <a:pt x="6" y="22"/>
                    <a:pt x="7" y="2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6"/>
                    <a:pt x="7" y="26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1" y="27"/>
                    <a:pt x="12" y="2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4"/>
                    <a:pt x="21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1" y="21"/>
                    <a:pt x="21" y="21"/>
                    <a:pt x="21" y="2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4" y="21"/>
                    <a:pt x="25" y="21"/>
                    <a:pt x="26" y="20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6" y="16"/>
                    <a:pt x="25" y="15"/>
                  </a:cubicBezTo>
                  <a:close/>
                  <a:moveTo>
                    <a:pt x="15" y="19"/>
                  </a:moveTo>
                  <a:cubicBezTo>
                    <a:pt x="13" y="20"/>
                    <a:pt x="9" y="19"/>
                    <a:pt x="8" y="16"/>
                  </a:cubicBezTo>
                  <a:cubicBezTo>
                    <a:pt x="7" y="13"/>
                    <a:pt x="8" y="10"/>
                    <a:pt x="11" y="9"/>
                  </a:cubicBezTo>
                  <a:cubicBezTo>
                    <a:pt x="14" y="8"/>
                    <a:pt x="17" y="9"/>
                    <a:pt x="18" y="12"/>
                  </a:cubicBezTo>
                  <a:cubicBezTo>
                    <a:pt x="19" y="14"/>
                    <a:pt x="18" y="17"/>
                    <a:pt x="1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2" name="îşļîḑé"/>
            <p:cNvSpPr/>
            <p:nvPr>
              <p:custDataLst>
                <p:tags r:id="rId186"/>
              </p:custDataLst>
            </p:nvPr>
          </p:nvSpPr>
          <p:spPr bwMode="auto">
            <a:xfrm flipH="1">
              <a:off x="3108686" y="4087148"/>
              <a:ext cx="72085" cy="70480"/>
            </a:xfrm>
            <a:custGeom>
              <a:avLst/>
              <a:gdLst>
                <a:gd name="T0" fmla="*/ 31 w 33"/>
                <a:gd name="T1" fmla="*/ 18 h 33"/>
                <a:gd name="T2" fmla="*/ 29 w 33"/>
                <a:gd name="T3" fmla="*/ 18 h 33"/>
                <a:gd name="T4" fmla="*/ 28 w 33"/>
                <a:gd name="T5" fmla="*/ 15 h 33"/>
                <a:gd name="T6" fmla="*/ 31 w 33"/>
                <a:gd name="T7" fmla="*/ 14 h 33"/>
                <a:gd name="T8" fmla="*/ 32 w 33"/>
                <a:gd name="T9" fmla="*/ 11 h 33"/>
                <a:gd name="T10" fmla="*/ 31 w 33"/>
                <a:gd name="T11" fmla="*/ 9 h 33"/>
                <a:gd name="T12" fmla="*/ 28 w 33"/>
                <a:gd name="T13" fmla="*/ 8 h 33"/>
                <a:gd name="T14" fmla="*/ 26 w 33"/>
                <a:gd name="T15" fmla="*/ 9 h 33"/>
                <a:gd name="T16" fmla="*/ 24 w 33"/>
                <a:gd name="T17" fmla="*/ 7 h 33"/>
                <a:gd name="T18" fmla="*/ 25 w 33"/>
                <a:gd name="T19" fmla="*/ 5 h 33"/>
                <a:gd name="T20" fmla="*/ 23 w 33"/>
                <a:gd name="T21" fmla="*/ 2 h 33"/>
                <a:gd name="T22" fmla="*/ 21 w 33"/>
                <a:gd name="T23" fmla="*/ 1 h 33"/>
                <a:gd name="T24" fmla="*/ 18 w 33"/>
                <a:gd name="T25" fmla="*/ 2 h 33"/>
                <a:gd name="T26" fmla="*/ 17 w 33"/>
                <a:gd name="T27" fmla="*/ 4 h 33"/>
                <a:gd name="T28" fmla="*/ 15 w 33"/>
                <a:gd name="T29" fmla="*/ 4 h 33"/>
                <a:gd name="T30" fmla="*/ 14 w 33"/>
                <a:gd name="T31" fmla="*/ 2 h 33"/>
                <a:gd name="T32" fmla="*/ 11 w 33"/>
                <a:gd name="T33" fmla="*/ 1 h 33"/>
                <a:gd name="T34" fmla="*/ 8 w 33"/>
                <a:gd name="T35" fmla="*/ 2 h 33"/>
                <a:gd name="T36" fmla="*/ 7 w 33"/>
                <a:gd name="T37" fmla="*/ 5 h 33"/>
                <a:gd name="T38" fmla="*/ 8 w 33"/>
                <a:gd name="T39" fmla="*/ 7 h 33"/>
                <a:gd name="T40" fmla="*/ 6 w 33"/>
                <a:gd name="T41" fmla="*/ 9 h 33"/>
                <a:gd name="T42" fmla="*/ 4 w 33"/>
                <a:gd name="T43" fmla="*/ 8 h 33"/>
                <a:gd name="T44" fmla="*/ 1 w 33"/>
                <a:gd name="T45" fmla="*/ 9 h 33"/>
                <a:gd name="T46" fmla="*/ 0 w 33"/>
                <a:gd name="T47" fmla="*/ 12 h 33"/>
                <a:gd name="T48" fmla="*/ 2 w 33"/>
                <a:gd name="T49" fmla="*/ 15 h 33"/>
                <a:gd name="T50" fmla="*/ 4 w 33"/>
                <a:gd name="T51" fmla="*/ 16 h 33"/>
                <a:gd name="T52" fmla="*/ 4 w 33"/>
                <a:gd name="T53" fmla="*/ 18 h 33"/>
                <a:gd name="T54" fmla="*/ 2 w 33"/>
                <a:gd name="T55" fmla="*/ 19 h 33"/>
                <a:gd name="T56" fmla="*/ 1 w 33"/>
                <a:gd name="T57" fmla="*/ 22 h 33"/>
                <a:gd name="T58" fmla="*/ 2 w 33"/>
                <a:gd name="T59" fmla="*/ 24 h 33"/>
                <a:gd name="T60" fmla="*/ 5 w 33"/>
                <a:gd name="T61" fmla="*/ 26 h 33"/>
                <a:gd name="T62" fmla="*/ 7 w 33"/>
                <a:gd name="T63" fmla="*/ 25 h 33"/>
                <a:gd name="T64" fmla="*/ 8 w 33"/>
                <a:gd name="T65" fmla="*/ 27 h 33"/>
                <a:gd name="T66" fmla="*/ 8 w 33"/>
                <a:gd name="T67" fmla="*/ 29 h 33"/>
                <a:gd name="T68" fmla="*/ 9 w 33"/>
                <a:gd name="T69" fmla="*/ 32 h 33"/>
                <a:gd name="T70" fmla="*/ 11 w 33"/>
                <a:gd name="T71" fmla="*/ 32 h 33"/>
                <a:gd name="T72" fmla="*/ 14 w 33"/>
                <a:gd name="T73" fmla="*/ 31 h 33"/>
                <a:gd name="T74" fmla="*/ 15 w 33"/>
                <a:gd name="T75" fmla="*/ 29 h 33"/>
                <a:gd name="T76" fmla="*/ 18 w 33"/>
                <a:gd name="T77" fmla="*/ 29 h 33"/>
                <a:gd name="T78" fmla="*/ 19 w 33"/>
                <a:gd name="T79" fmla="*/ 31 h 33"/>
                <a:gd name="T80" fmla="*/ 22 w 33"/>
                <a:gd name="T81" fmla="*/ 32 h 33"/>
                <a:gd name="T82" fmla="*/ 24 w 33"/>
                <a:gd name="T83" fmla="*/ 31 h 33"/>
                <a:gd name="T84" fmla="*/ 25 w 33"/>
                <a:gd name="T85" fmla="*/ 28 h 33"/>
                <a:gd name="T86" fmla="*/ 24 w 33"/>
                <a:gd name="T87" fmla="*/ 26 h 33"/>
                <a:gd name="T88" fmla="*/ 26 w 33"/>
                <a:gd name="T89" fmla="*/ 24 h 33"/>
                <a:gd name="T90" fmla="*/ 28 w 33"/>
                <a:gd name="T91" fmla="*/ 25 h 33"/>
                <a:gd name="T92" fmla="*/ 31 w 33"/>
                <a:gd name="T93" fmla="*/ 24 h 33"/>
                <a:gd name="T94" fmla="*/ 32 w 33"/>
                <a:gd name="T95" fmla="*/ 21 h 33"/>
                <a:gd name="T96" fmla="*/ 31 w 33"/>
                <a:gd name="T97" fmla="*/ 18 h 33"/>
                <a:gd name="T98" fmla="*/ 19 w 33"/>
                <a:gd name="T99" fmla="*/ 22 h 33"/>
                <a:gd name="T100" fmla="*/ 10 w 33"/>
                <a:gd name="T101" fmla="*/ 19 h 33"/>
                <a:gd name="T102" fmla="*/ 14 w 33"/>
                <a:gd name="T103" fmla="*/ 11 h 33"/>
                <a:gd name="T104" fmla="*/ 22 w 33"/>
                <a:gd name="T105" fmla="*/ 14 h 33"/>
                <a:gd name="T106" fmla="*/ 19 w 33"/>
                <a:gd name="T107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" h="33">
                  <a:moveTo>
                    <a:pt x="31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9" y="16"/>
                    <a:pt x="28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2" y="14"/>
                    <a:pt x="32" y="12"/>
                    <a:pt x="32" y="11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0" y="8"/>
                    <a:pt x="29" y="7"/>
                    <a:pt x="28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5" y="8"/>
                    <a:pt x="25" y="8"/>
                    <a:pt x="24" y="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5" y="2"/>
                    <a:pt x="23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19" y="1"/>
                    <a:pt x="18" y="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2" y="1"/>
                    <a:pt x="11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3"/>
                    <a:pt x="7" y="4"/>
                    <a:pt x="7" y="5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8"/>
                    <a:pt x="7" y="8"/>
                    <a:pt x="6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2" y="8"/>
                    <a:pt x="1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4" y="17"/>
                    <a:pt x="4" y="18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20"/>
                    <a:pt x="0" y="21"/>
                    <a:pt x="1" y="2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6"/>
                    <a:pt x="4" y="26"/>
                    <a:pt x="5" y="26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6"/>
                    <a:pt x="8" y="26"/>
                    <a:pt x="8" y="2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30"/>
                    <a:pt x="8" y="31"/>
                    <a:pt x="9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3" y="33"/>
                    <a:pt x="14" y="32"/>
                    <a:pt x="14" y="31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6" y="29"/>
                    <a:pt x="17" y="29"/>
                    <a:pt x="18" y="29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21" y="33"/>
                    <a:pt x="22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6" y="29"/>
                    <a:pt x="25" y="28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5"/>
                    <a:pt x="26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6"/>
                    <a:pt x="31" y="25"/>
                    <a:pt x="31" y="2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3" y="20"/>
                    <a:pt x="32" y="19"/>
                    <a:pt x="31" y="18"/>
                  </a:cubicBezTo>
                  <a:close/>
                  <a:moveTo>
                    <a:pt x="19" y="22"/>
                  </a:moveTo>
                  <a:cubicBezTo>
                    <a:pt x="15" y="24"/>
                    <a:pt x="12" y="22"/>
                    <a:pt x="10" y="19"/>
                  </a:cubicBezTo>
                  <a:cubicBezTo>
                    <a:pt x="9" y="16"/>
                    <a:pt x="10" y="12"/>
                    <a:pt x="14" y="11"/>
                  </a:cubicBezTo>
                  <a:cubicBezTo>
                    <a:pt x="17" y="10"/>
                    <a:pt x="20" y="11"/>
                    <a:pt x="22" y="14"/>
                  </a:cubicBezTo>
                  <a:cubicBezTo>
                    <a:pt x="23" y="17"/>
                    <a:pt x="22" y="21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3" name="ïṧḻïḋê"/>
            <p:cNvSpPr/>
            <p:nvPr>
              <p:custDataLst>
                <p:tags r:id="rId187"/>
              </p:custDataLst>
            </p:nvPr>
          </p:nvSpPr>
          <p:spPr bwMode="auto">
            <a:xfrm flipH="1">
              <a:off x="3056563" y="2535502"/>
              <a:ext cx="58777" cy="57468"/>
            </a:xfrm>
            <a:custGeom>
              <a:avLst/>
              <a:gdLst>
                <a:gd name="T0" fmla="*/ 26 w 27"/>
                <a:gd name="T1" fmla="*/ 15 h 27"/>
                <a:gd name="T2" fmla="*/ 24 w 27"/>
                <a:gd name="T3" fmla="*/ 14 h 27"/>
                <a:gd name="T4" fmla="*/ 24 w 27"/>
                <a:gd name="T5" fmla="*/ 12 h 27"/>
                <a:gd name="T6" fmla="*/ 26 w 27"/>
                <a:gd name="T7" fmla="*/ 11 h 27"/>
                <a:gd name="T8" fmla="*/ 27 w 27"/>
                <a:gd name="T9" fmla="*/ 9 h 27"/>
                <a:gd name="T10" fmla="*/ 26 w 27"/>
                <a:gd name="T11" fmla="*/ 7 h 27"/>
                <a:gd name="T12" fmla="*/ 23 w 27"/>
                <a:gd name="T13" fmla="*/ 6 h 27"/>
                <a:gd name="T14" fmla="*/ 21 w 27"/>
                <a:gd name="T15" fmla="*/ 7 h 27"/>
                <a:gd name="T16" fmla="*/ 20 w 27"/>
                <a:gd name="T17" fmla="*/ 5 h 27"/>
                <a:gd name="T18" fmla="*/ 21 w 27"/>
                <a:gd name="T19" fmla="*/ 3 h 27"/>
                <a:gd name="T20" fmla="*/ 20 w 27"/>
                <a:gd name="T21" fmla="*/ 1 h 27"/>
                <a:gd name="T22" fmla="*/ 18 w 27"/>
                <a:gd name="T23" fmla="*/ 0 h 27"/>
                <a:gd name="T24" fmla="*/ 15 w 27"/>
                <a:gd name="T25" fmla="*/ 1 h 27"/>
                <a:gd name="T26" fmla="*/ 14 w 27"/>
                <a:gd name="T27" fmla="*/ 3 h 27"/>
                <a:gd name="T28" fmla="*/ 12 w 27"/>
                <a:gd name="T29" fmla="*/ 3 h 27"/>
                <a:gd name="T30" fmla="*/ 12 w 27"/>
                <a:gd name="T31" fmla="*/ 1 h 27"/>
                <a:gd name="T32" fmla="*/ 9 w 27"/>
                <a:gd name="T33" fmla="*/ 0 h 27"/>
                <a:gd name="T34" fmla="*/ 7 w 27"/>
                <a:gd name="T35" fmla="*/ 1 h 27"/>
                <a:gd name="T36" fmla="*/ 6 w 27"/>
                <a:gd name="T37" fmla="*/ 4 h 27"/>
                <a:gd name="T38" fmla="*/ 7 w 27"/>
                <a:gd name="T39" fmla="*/ 5 h 27"/>
                <a:gd name="T40" fmla="*/ 5 w 27"/>
                <a:gd name="T41" fmla="*/ 7 h 27"/>
                <a:gd name="T42" fmla="*/ 4 w 27"/>
                <a:gd name="T43" fmla="*/ 6 h 27"/>
                <a:gd name="T44" fmla="*/ 1 w 27"/>
                <a:gd name="T45" fmla="*/ 7 h 27"/>
                <a:gd name="T46" fmla="*/ 0 w 27"/>
                <a:gd name="T47" fmla="*/ 9 h 27"/>
                <a:gd name="T48" fmla="*/ 1 w 27"/>
                <a:gd name="T49" fmla="*/ 12 h 27"/>
                <a:gd name="T50" fmla="*/ 3 w 27"/>
                <a:gd name="T51" fmla="*/ 12 h 27"/>
                <a:gd name="T52" fmla="*/ 3 w 27"/>
                <a:gd name="T53" fmla="*/ 15 h 27"/>
                <a:gd name="T54" fmla="*/ 1 w 27"/>
                <a:gd name="T55" fmla="*/ 15 h 27"/>
                <a:gd name="T56" fmla="*/ 0 w 27"/>
                <a:gd name="T57" fmla="*/ 18 h 27"/>
                <a:gd name="T58" fmla="*/ 1 w 27"/>
                <a:gd name="T59" fmla="*/ 20 h 27"/>
                <a:gd name="T60" fmla="*/ 4 w 27"/>
                <a:gd name="T61" fmla="*/ 21 h 27"/>
                <a:gd name="T62" fmla="*/ 5 w 27"/>
                <a:gd name="T63" fmla="*/ 20 h 27"/>
                <a:gd name="T64" fmla="*/ 7 w 27"/>
                <a:gd name="T65" fmla="*/ 22 h 27"/>
                <a:gd name="T66" fmla="*/ 6 w 27"/>
                <a:gd name="T67" fmla="*/ 23 h 27"/>
                <a:gd name="T68" fmla="*/ 7 w 27"/>
                <a:gd name="T69" fmla="*/ 26 h 27"/>
                <a:gd name="T70" fmla="*/ 10 w 27"/>
                <a:gd name="T71" fmla="*/ 27 h 27"/>
                <a:gd name="T72" fmla="*/ 12 w 27"/>
                <a:gd name="T73" fmla="*/ 26 h 27"/>
                <a:gd name="T74" fmla="*/ 13 w 27"/>
                <a:gd name="T75" fmla="*/ 24 h 27"/>
                <a:gd name="T76" fmla="*/ 15 w 27"/>
                <a:gd name="T77" fmla="*/ 24 h 27"/>
                <a:gd name="T78" fmla="*/ 16 w 27"/>
                <a:gd name="T79" fmla="*/ 25 h 27"/>
                <a:gd name="T80" fmla="*/ 18 w 27"/>
                <a:gd name="T81" fmla="*/ 26 h 27"/>
                <a:gd name="T82" fmla="*/ 20 w 27"/>
                <a:gd name="T83" fmla="*/ 26 h 27"/>
                <a:gd name="T84" fmla="*/ 21 w 27"/>
                <a:gd name="T85" fmla="*/ 23 h 27"/>
                <a:gd name="T86" fmla="*/ 20 w 27"/>
                <a:gd name="T87" fmla="*/ 21 h 27"/>
                <a:gd name="T88" fmla="*/ 22 w 27"/>
                <a:gd name="T89" fmla="*/ 20 h 27"/>
                <a:gd name="T90" fmla="*/ 24 w 27"/>
                <a:gd name="T91" fmla="*/ 20 h 27"/>
                <a:gd name="T92" fmla="*/ 26 w 27"/>
                <a:gd name="T93" fmla="*/ 19 h 27"/>
                <a:gd name="T94" fmla="*/ 27 w 27"/>
                <a:gd name="T95" fmla="*/ 17 h 27"/>
                <a:gd name="T96" fmla="*/ 26 w 27"/>
                <a:gd name="T97" fmla="*/ 15 h 27"/>
                <a:gd name="T98" fmla="*/ 15 w 27"/>
                <a:gd name="T99" fmla="*/ 18 h 27"/>
                <a:gd name="T100" fmla="*/ 9 w 27"/>
                <a:gd name="T101" fmla="*/ 15 h 27"/>
                <a:gd name="T102" fmla="*/ 11 w 27"/>
                <a:gd name="T103" fmla="*/ 9 h 27"/>
                <a:gd name="T104" fmla="*/ 18 w 27"/>
                <a:gd name="T105" fmla="*/ 11 h 27"/>
                <a:gd name="T106" fmla="*/ 15 w 27"/>
                <a:gd name="T107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27">
                  <a:moveTo>
                    <a:pt x="26" y="15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7" y="10"/>
                    <a:pt x="27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6"/>
                    <a:pt x="24" y="5"/>
                    <a:pt x="23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0" y="6"/>
                    <a:pt x="20" y="5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5" y="0"/>
                    <a:pt x="15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6"/>
                    <a:pt x="6" y="6"/>
                    <a:pt x="5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1" y="6"/>
                    <a:pt x="1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1"/>
                    <a:pt x="6" y="21"/>
                    <a:pt x="7" y="22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5"/>
                    <a:pt x="7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7"/>
                    <a:pt x="12" y="27"/>
                    <a:pt x="12" y="26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7" y="27"/>
                    <a:pt x="18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5"/>
                    <a:pt x="22" y="24"/>
                    <a:pt x="21" y="23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1"/>
                    <a:pt x="21" y="20"/>
                    <a:pt x="22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1"/>
                    <a:pt x="26" y="20"/>
                    <a:pt x="26" y="19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5"/>
                    <a:pt x="26" y="15"/>
                  </a:cubicBezTo>
                  <a:close/>
                  <a:moveTo>
                    <a:pt x="15" y="18"/>
                  </a:moveTo>
                  <a:cubicBezTo>
                    <a:pt x="13" y="19"/>
                    <a:pt x="10" y="18"/>
                    <a:pt x="9" y="15"/>
                  </a:cubicBezTo>
                  <a:cubicBezTo>
                    <a:pt x="7" y="13"/>
                    <a:pt x="9" y="10"/>
                    <a:pt x="11" y="9"/>
                  </a:cubicBezTo>
                  <a:cubicBezTo>
                    <a:pt x="14" y="7"/>
                    <a:pt x="17" y="9"/>
                    <a:pt x="18" y="11"/>
                  </a:cubicBezTo>
                  <a:cubicBezTo>
                    <a:pt x="19" y="14"/>
                    <a:pt x="18" y="17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4" name="iṡļïḍè"/>
            <p:cNvSpPr/>
            <p:nvPr>
              <p:custDataLst>
                <p:tags r:id="rId188"/>
              </p:custDataLst>
            </p:nvPr>
          </p:nvSpPr>
          <p:spPr bwMode="auto">
            <a:xfrm flipH="1">
              <a:off x="3572249" y="2318641"/>
              <a:ext cx="58777" cy="57468"/>
            </a:xfrm>
            <a:custGeom>
              <a:avLst/>
              <a:gdLst>
                <a:gd name="T0" fmla="*/ 26 w 27"/>
                <a:gd name="T1" fmla="*/ 15 h 27"/>
                <a:gd name="T2" fmla="*/ 24 w 27"/>
                <a:gd name="T3" fmla="*/ 14 h 27"/>
                <a:gd name="T4" fmla="*/ 24 w 27"/>
                <a:gd name="T5" fmla="*/ 13 h 27"/>
                <a:gd name="T6" fmla="*/ 26 w 27"/>
                <a:gd name="T7" fmla="*/ 12 h 27"/>
                <a:gd name="T8" fmla="*/ 27 w 27"/>
                <a:gd name="T9" fmla="*/ 9 h 27"/>
                <a:gd name="T10" fmla="*/ 26 w 27"/>
                <a:gd name="T11" fmla="*/ 7 h 27"/>
                <a:gd name="T12" fmla="*/ 23 w 27"/>
                <a:gd name="T13" fmla="*/ 6 h 27"/>
                <a:gd name="T14" fmla="*/ 21 w 27"/>
                <a:gd name="T15" fmla="*/ 7 h 27"/>
                <a:gd name="T16" fmla="*/ 20 w 27"/>
                <a:gd name="T17" fmla="*/ 6 h 27"/>
                <a:gd name="T18" fmla="*/ 21 w 27"/>
                <a:gd name="T19" fmla="*/ 4 h 27"/>
                <a:gd name="T20" fmla="*/ 20 w 27"/>
                <a:gd name="T21" fmla="*/ 1 h 27"/>
                <a:gd name="T22" fmla="*/ 18 w 27"/>
                <a:gd name="T23" fmla="*/ 0 h 27"/>
                <a:gd name="T24" fmla="*/ 15 w 27"/>
                <a:gd name="T25" fmla="*/ 2 h 27"/>
                <a:gd name="T26" fmla="*/ 14 w 27"/>
                <a:gd name="T27" fmla="*/ 3 h 27"/>
                <a:gd name="T28" fmla="*/ 12 w 27"/>
                <a:gd name="T29" fmla="*/ 3 h 27"/>
                <a:gd name="T30" fmla="*/ 11 w 27"/>
                <a:gd name="T31" fmla="*/ 2 h 27"/>
                <a:gd name="T32" fmla="*/ 9 w 27"/>
                <a:gd name="T33" fmla="*/ 1 h 27"/>
                <a:gd name="T34" fmla="*/ 7 w 27"/>
                <a:gd name="T35" fmla="*/ 1 h 27"/>
                <a:gd name="T36" fmla="*/ 6 w 27"/>
                <a:gd name="T37" fmla="*/ 4 h 27"/>
                <a:gd name="T38" fmla="*/ 7 w 27"/>
                <a:gd name="T39" fmla="*/ 6 h 27"/>
                <a:gd name="T40" fmla="*/ 5 w 27"/>
                <a:gd name="T41" fmla="*/ 7 h 27"/>
                <a:gd name="T42" fmla="*/ 3 w 27"/>
                <a:gd name="T43" fmla="*/ 7 h 27"/>
                <a:gd name="T44" fmla="*/ 1 w 27"/>
                <a:gd name="T45" fmla="*/ 8 h 27"/>
                <a:gd name="T46" fmla="*/ 0 w 27"/>
                <a:gd name="T47" fmla="*/ 10 h 27"/>
                <a:gd name="T48" fmla="*/ 1 w 27"/>
                <a:gd name="T49" fmla="*/ 12 h 27"/>
                <a:gd name="T50" fmla="*/ 3 w 27"/>
                <a:gd name="T51" fmla="*/ 13 h 27"/>
                <a:gd name="T52" fmla="*/ 3 w 27"/>
                <a:gd name="T53" fmla="*/ 15 h 27"/>
                <a:gd name="T54" fmla="*/ 1 w 27"/>
                <a:gd name="T55" fmla="*/ 16 h 27"/>
                <a:gd name="T56" fmla="*/ 0 w 27"/>
                <a:gd name="T57" fmla="*/ 18 h 27"/>
                <a:gd name="T58" fmla="*/ 1 w 27"/>
                <a:gd name="T59" fmla="*/ 20 h 27"/>
                <a:gd name="T60" fmla="*/ 4 w 27"/>
                <a:gd name="T61" fmla="*/ 21 h 27"/>
                <a:gd name="T62" fmla="*/ 5 w 27"/>
                <a:gd name="T63" fmla="*/ 21 h 27"/>
                <a:gd name="T64" fmla="*/ 7 w 27"/>
                <a:gd name="T65" fmla="*/ 22 h 27"/>
                <a:gd name="T66" fmla="*/ 6 w 27"/>
                <a:gd name="T67" fmla="*/ 24 h 27"/>
                <a:gd name="T68" fmla="*/ 7 w 27"/>
                <a:gd name="T69" fmla="*/ 26 h 27"/>
                <a:gd name="T70" fmla="*/ 9 w 27"/>
                <a:gd name="T71" fmla="*/ 27 h 27"/>
                <a:gd name="T72" fmla="*/ 12 w 27"/>
                <a:gd name="T73" fmla="*/ 26 h 27"/>
                <a:gd name="T74" fmla="*/ 13 w 27"/>
                <a:gd name="T75" fmla="*/ 24 h 27"/>
                <a:gd name="T76" fmla="*/ 15 w 27"/>
                <a:gd name="T77" fmla="*/ 24 h 27"/>
                <a:gd name="T78" fmla="*/ 15 w 27"/>
                <a:gd name="T79" fmla="*/ 26 h 27"/>
                <a:gd name="T80" fmla="*/ 18 w 27"/>
                <a:gd name="T81" fmla="*/ 27 h 27"/>
                <a:gd name="T82" fmla="*/ 20 w 27"/>
                <a:gd name="T83" fmla="*/ 26 h 27"/>
                <a:gd name="T84" fmla="*/ 21 w 27"/>
                <a:gd name="T85" fmla="*/ 23 h 27"/>
                <a:gd name="T86" fmla="*/ 20 w 27"/>
                <a:gd name="T87" fmla="*/ 22 h 27"/>
                <a:gd name="T88" fmla="*/ 22 w 27"/>
                <a:gd name="T89" fmla="*/ 20 h 27"/>
                <a:gd name="T90" fmla="*/ 23 w 27"/>
                <a:gd name="T91" fmla="*/ 21 h 27"/>
                <a:gd name="T92" fmla="*/ 26 w 27"/>
                <a:gd name="T93" fmla="*/ 20 h 27"/>
                <a:gd name="T94" fmla="*/ 27 w 27"/>
                <a:gd name="T95" fmla="*/ 18 h 27"/>
                <a:gd name="T96" fmla="*/ 26 w 27"/>
                <a:gd name="T97" fmla="*/ 15 h 27"/>
                <a:gd name="T98" fmla="*/ 15 w 27"/>
                <a:gd name="T99" fmla="*/ 19 h 27"/>
                <a:gd name="T100" fmla="*/ 8 w 27"/>
                <a:gd name="T101" fmla="*/ 16 h 27"/>
                <a:gd name="T102" fmla="*/ 11 w 27"/>
                <a:gd name="T103" fmla="*/ 9 h 27"/>
                <a:gd name="T104" fmla="*/ 18 w 27"/>
                <a:gd name="T105" fmla="*/ 12 h 27"/>
                <a:gd name="T106" fmla="*/ 15 w 27"/>
                <a:gd name="T10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27">
                  <a:moveTo>
                    <a:pt x="26" y="15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3"/>
                    <a:pt x="24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1"/>
                    <a:pt x="27" y="10"/>
                    <a:pt x="27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6"/>
                    <a:pt x="24" y="6"/>
                    <a:pt x="23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3"/>
                    <a:pt x="21" y="2"/>
                    <a:pt x="20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5" y="1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0" y="0"/>
                    <a:pt x="9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2"/>
                    <a:pt x="5" y="3"/>
                    <a:pt x="6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" y="21"/>
                    <a:pt x="3" y="22"/>
                    <a:pt x="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1"/>
                    <a:pt x="6" y="22"/>
                    <a:pt x="7" y="2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6"/>
                    <a:pt x="7" y="26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2" y="27"/>
                    <a:pt x="12" y="26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4"/>
                    <a:pt x="21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1" y="21"/>
                    <a:pt x="21" y="21"/>
                    <a:pt x="22" y="2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4" y="21"/>
                    <a:pt x="26" y="21"/>
                    <a:pt x="26" y="20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7" y="16"/>
                    <a:pt x="26" y="15"/>
                  </a:cubicBezTo>
                  <a:close/>
                  <a:moveTo>
                    <a:pt x="15" y="19"/>
                  </a:moveTo>
                  <a:cubicBezTo>
                    <a:pt x="13" y="20"/>
                    <a:pt x="10" y="19"/>
                    <a:pt x="8" y="16"/>
                  </a:cubicBezTo>
                  <a:cubicBezTo>
                    <a:pt x="7" y="13"/>
                    <a:pt x="9" y="10"/>
                    <a:pt x="11" y="9"/>
                  </a:cubicBezTo>
                  <a:cubicBezTo>
                    <a:pt x="14" y="8"/>
                    <a:pt x="17" y="9"/>
                    <a:pt x="18" y="12"/>
                  </a:cubicBezTo>
                  <a:cubicBezTo>
                    <a:pt x="19" y="14"/>
                    <a:pt x="18" y="17"/>
                    <a:pt x="1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5" name="ïşļîďè"/>
            <p:cNvSpPr/>
            <p:nvPr>
              <p:custDataLst>
                <p:tags r:id="rId189"/>
              </p:custDataLst>
            </p:nvPr>
          </p:nvSpPr>
          <p:spPr bwMode="auto">
            <a:xfrm flipH="1">
              <a:off x="3633244" y="2147320"/>
              <a:ext cx="72085" cy="70480"/>
            </a:xfrm>
            <a:custGeom>
              <a:avLst/>
              <a:gdLst>
                <a:gd name="T0" fmla="*/ 31 w 33"/>
                <a:gd name="T1" fmla="*/ 18 h 33"/>
                <a:gd name="T2" fmla="*/ 29 w 33"/>
                <a:gd name="T3" fmla="*/ 17 h 33"/>
                <a:gd name="T4" fmla="*/ 29 w 33"/>
                <a:gd name="T5" fmla="*/ 15 h 33"/>
                <a:gd name="T6" fmla="*/ 31 w 33"/>
                <a:gd name="T7" fmla="*/ 14 h 33"/>
                <a:gd name="T8" fmla="*/ 32 w 33"/>
                <a:gd name="T9" fmla="*/ 11 h 33"/>
                <a:gd name="T10" fmla="*/ 31 w 33"/>
                <a:gd name="T11" fmla="*/ 9 h 33"/>
                <a:gd name="T12" fmla="*/ 28 w 33"/>
                <a:gd name="T13" fmla="*/ 7 h 33"/>
                <a:gd name="T14" fmla="*/ 26 w 33"/>
                <a:gd name="T15" fmla="*/ 8 h 33"/>
                <a:gd name="T16" fmla="*/ 24 w 33"/>
                <a:gd name="T17" fmla="*/ 7 h 33"/>
                <a:gd name="T18" fmla="*/ 25 w 33"/>
                <a:gd name="T19" fmla="*/ 5 h 33"/>
                <a:gd name="T20" fmla="*/ 24 w 33"/>
                <a:gd name="T21" fmla="*/ 2 h 33"/>
                <a:gd name="T22" fmla="*/ 21 w 33"/>
                <a:gd name="T23" fmla="*/ 1 h 33"/>
                <a:gd name="T24" fmla="*/ 18 w 33"/>
                <a:gd name="T25" fmla="*/ 2 h 33"/>
                <a:gd name="T26" fmla="*/ 18 w 33"/>
                <a:gd name="T27" fmla="*/ 4 h 33"/>
                <a:gd name="T28" fmla="*/ 15 w 33"/>
                <a:gd name="T29" fmla="*/ 4 h 33"/>
                <a:gd name="T30" fmla="*/ 14 w 33"/>
                <a:gd name="T31" fmla="*/ 2 h 33"/>
                <a:gd name="T32" fmla="*/ 11 w 33"/>
                <a:gd name="T33" fmla="*/ 1 h 33"/>
                <a:gd name="T34" fmla="*/ 9 w 33"/>
                <a:gd name="T35" fmla="*/ 2 h 33"/>
                <a:gd name="T36" fmla="*/ 8 w 33"/>
                <a:gd name="T37" fmla="*/ 5 h 33"/>
                <a:gd name="T38" fmla="*/ 9 w 33"/>
                <a:gd name="T39" fmla="*/ 7 h 33"/>
                <a:gd name="T40" fmla="*/ 7 w 33"/>
                <a:gd name="T41" fmla="*/ 9 h 33"/>
                <a:gd name="T42" fmla="*/ 5 w 33"/>
                <a:gd name="T43" fmla="*/ 8 h 33"/>
                <a:gd name="T44" fmla="*/ 2 w 33"/>
                <a:gd name="T45" fmla="*/ 9 h 33"/>
                <a:gd name="T46" fmla="*/ 1 w 33"/>
                <a:gd name="T47" fmla="*/ 12 h 33"/>
                <a:gd name="T48" fmla="*/ 2 w 33"/>
                <a:gd name="T49" fmla="*/ 15 h 33"/>
                <a:gd name="T50" fmla="*/ 4 w 33"/>
                <a:gd name="T51" fmla="*/ 15 h 33"/>
                <a:gd name="T52" fmla="*/ 4 w 33"/>
                <a:gd name="T53" fmla="*/ 18 h 33"/>
                <a:gd name="T54" fmla="*/ 2 w 33"/>
                <a:gd name="T55" fmla="*/ 19 h 33"/>
                <a:gd name="T56" fmla="*/ 1 w 33"/>
                <a:gd name="T57" fmla="*/ 22 h 33"/>
                <a:gd name="T58" fmla="*/ 2 w 33"/>
                <a:gd name="T59" fmla="*/ 24 h 33"/>
                <a:gd name="T60" fmla="*/ 5 w 33"/>
                <a:gd name="T61" fmla="*/ 25 h 33"/>
                <a:gd name="T62" fmla="*/ 7 w 33"/>
                <a:gd name="T63" fmla="*/ 25 h 33"/>
                <a:gd name="T64" fmla="*/ 9 w 33"/>
                <a:gd name="T65" fmla="*/ 27 h 33"/>
                <a:gd name="T66" fmla="*/ 8 w 33"/>
                <a:gd name="T67" fmla="*/ 28 h 33"/>
                <a:gd name="T68" fmla="*/ 9 w 33"/>
                <a:gd name="T69" fmla="*/ 31 h 33"/>
                <a:gd name="T70" fmla="*/ 12 w 33"/>
                <a:gd name="T71" fmla="*/ 32 h 33"/>
                <a:gd name="T72" fmla="*/ 15 w 33"/>
                <a:gd name="T73" fmla="*/ 31 h 33"/>
                <a:gd name="T74" fmla="*/ 16 w 33"/>
                <a:gd name="T75" fmla="*/ 29 h 33"/>
                <a:gd name="T76" fmla="*/ 18 w 33"/>
                <a:gd name="T77" fmla="*/ 29 h 33"/>
                <a:gd name="T78" fmla="*/ 19 w 33"/>
                <a:gd name="T79" fmla="*/ 31 h 33"/>
                <a:gd name="T80" fmla="*/ 22 w 33"/>
                <a:gd name="T81" fmla="*/ 32 h 33"/>
                <a:gd name="T82" fmla="*/ 24 w 33"/>
                <a:gd name="T83" fmla="*/ 31 h 33"/>
                <a:gd name="T84" fmla="*/ 26 w 33"/>
                <a:gd name="T85" fmla="*/ 28 h 33"/>
                <a:gd name="T86" fmla="*/ 25 w 33"/>
                <a:gd name="T87" fmla="*/ 26 h 33"/>
                <a:gd name="T88" fmla="*/ 26 w 33"/>
                <a:gd name="T89" fmla="*/ 24 h 33"/>
                <a:gd name="T90" fmla="*/ 29 w 33"/>
                <a:gd name="T91" fmla="*/ 25 h 33"/>
                <a:gd name="T92" fmla="*/ 32 w 33"/>
                <a:gd name="T93" fmla="*/ 24 h 33"/>
                <a:gd name="T94" fmla="*/ 33 w 33"/>
                <a:gd name="T95" fmla="*/ 21 h 33"/>
                <a:gd name="T96" fmla="*/ 31 w 33"/>
                <a:gd name="T97" fmla="*/ 18 h 33"/>
                <a:gd name="T98" fmla="*/ 19 w 33"/>
                <a:gd name="T99" fmla="*/ 22 h 33"/>
                <a:gd name="T100" fmla="*/ 11 w 33"/>
                <a:gd name="T101" fmla="*/ 19 h 33"/>
                <a:gd name="T102" fmla="*/ 14 w 33"/>
                <a:gd name="T103" fmla="*/ 11 h 33"/>
                <a:gd name="T104" fmla="*/ 22 w 33"/>
                <a:gd name="T105" fmla="*/ 14 h 33"/>
                <a:gd name="T106" fmla="*/ 19 w 33"/>
                <a:gd name="T107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" h="33">
                  <a:moveTo>
                    <a:pt x="31" y="18"/>
                  </a:move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2" y="14"/>
                    <a:pt x="33" y="12"/>
                    <a:pt x="32" y="11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7"/>
                    <a:pt x="29" y="7"/>
                    <a:pt x="28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7"/>
                    <a:pt x="24" y="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3"/>
                    <a:pt x="25" y="2"/>
                    <a:pt x="24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19" y="1"/>
                    <a:pt x="18" y="2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2" y="0"/>
                    <a:pt x="11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4"/>
                    <a:pt x="8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2" y="8"/>
                    <a:pt x="2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1" y="14"/>
                    <a:pt x="2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7"/>
                    <a:pt x="4" y="18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21"/>
                    <a:pt x="1" y="2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" y="25"/>
                    <a:pt x="4" y="26"/>
                    <a:pt x="5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8" y="26"/>
                    <a:pt x="9" y="2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0"/>
                    <a:pt x="8" y="31"/>
                    <a:pt x="9" y="31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3" y="33"/>
                    <a:pt x="14" y="32"/>
                    <a:pt x="15" y="31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7" y="29"/>
                    <a:pt x="18" y="29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2"/>
                    <a:pt x="21" y="33"/>
                    <a:pt x="22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6" y="31"/>
                    <a:pt x="26" y="29"/>
                    <a:pt x="26" y="28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5"/>
                    <a:pt x="26" y="25"/>
                    <a:pt x="26" y="24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30" y="25"/>
                    <a:pt x="31" y="25"/>
                    <a:pt x="32" y="24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0"/>
                    <a:pt x="32" y="19"/>
                    <a:pt x="31" y="18"/>
                  </a:cubicBezTo>
                  <a:close/>
                  <a:moveTo>
                    <a:pt x="19" y="22"/>
                  </a:moveTo>
                  <a:cubicBezTo>
                    <a:pt x="16" y="24"/>
                    <a:pt x="12" y="22"/>
                    <a:pt x="11" y="19"/>
                  </a:cubicBezTo>
                  <a:cubicBezTo>
                    <a:pt x="9" y="16"/>
                    <a:pt x="11" y="12"/>
                    <a:pt x="14" y="11"/>
                  </a:cubicBezTo>
                  <a:cubicBezTo>
                    <a:pt x="17" y="9"/>
                    <a:pt x="21" y="11"/>
                    <a:pt x="22" y="14"/>
                  </a:cubicBezTo>
                  <a:cubicBezTo>
                    <a:pt x="24" y="17"/>
                    <a:pt x="22" y="21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6" name="iṣḻiḋé"/>
            <p:cNvSpPr/>
            <p:nvPr>
              <p:custDataLst>
                <p:tags r:id="rId190"/>
              </p:custDataLst>
            </p:nvPr>
          </p:nvSpPr>
          <p:spPr bwMode="auto">
            <a:xfrm flipH="1">
              <a:off x="3605519" y="1553119"/>
              <a:ext cx="58777" cy="57468"/>
            </a:xfrm>
            <a:custGeom>
              <a:avLst/>
              <a:gdLst>
                <a:gd name="T0" fmla="*/ 26 w 27"/>
                <a:gd name="T1" fmla="*/ 15 h 27"/>
                <a:gd name="T2" fmla="*/ 24 w 27"/>
                <a:gd name="T3" fmla="*/ 14 h 27"/>
                <a:gd name="T4" fmla="*/ 24 w 27"/>
                <a:gd name="T5" fmla="*/ 13 h 27"/>
                <a:gd name="T6" fmla="*/ 26 w 27"/>
                <a:gd name="T7" fmla="*/ 12 h 27"/>
                <a:gd name="T8" fmla="*/ 27 w 27"/>
                <a:gd name="T9" fmla="*/ 9 h 27"/>
                <a:gd name="T10" fmla="*/ 26 w 27"/>
                <a:gd name="T11" fmla="*/ 7 h 27"/>
                <a:gd name="T12" fmla="*/ 23 w 27"/>
                <a:gd name="T13" fmla="*/ 6 h 27"/>
                <a:gd name="T14" fmla="*/ 21 w 27"/>
                <a:gd name="T15" fmla="*/ 7 h 27"/>
                <a:gd name="T16" fmla="*/ 20 w 27"/>
                <a:gd name="T17" fmla="*/ 6 h 27"/>
                <a:gd name="T18" fmla="*/ 21 w 27"/>
                <a:gd name="T19" fmla="*/ 4 h 27"/>
                <a:gd name="T20" fmla="*/ 20 w 27"/>
                <a:gd name="T21" fmla="*/ 1 h 27"/>
                <a:gd name="T22" fmla="*/ 18 w 27"/>
                <a:gd name="T23" fmla="*/ 0 h 27"/>
                <a:gd name="T24" fmla="*/ 15 w 27"/>
                <a:gd name="T25" fmla="*/ 1 h 27"/>
                <a:gd name="T26" fmla="*/ 15 w 27"/>
                <a:gd name="T27" fmla="*/ 3 h 27"/>
                <a:gd name="T28" fmla="*/ 12 w 27"/>
                <a:gd name="T29" fmla="*/ 3 h 27"/>
                <a:gd name="T30" fmla="*/ 12 w 27"/>
                <a:gd name="T31" fmla="*/ 2 h 27"/>
                <a:gd name="T32" fmla="*/ 9 w 27"/>
                <a:gd name="T33" fmla="*/ 1 h 27"/>
                <a:gd name="T34" fmla="*/ 7 w 27"/>
                <a:gd name="T35" fmla="*/ 1 h 27"/>
                <a:gd name="T36" fmla="*/ 6 w 27"/>
                <a:gd name="T37" fmla="*/ 4 h 27"/>
                <a:gd name="T38" fmla="*/ 7 w 27"/>
                <a:gd name="T39" fmla="*/ 6 h 27"/>
                <a:gd name="T40" fmla="*/ 5 w 27"/>
                <a:gd name="T41" fmla="*/ 7 h 27"/>
                <a:gd name="T42" fmla="*/ 4 w 27"/>
                <a:gd name="T43" fmla="*/ 6 h 27"/>
                <a:gd name="T44" fmla="*/ 1 w 27"/>
                <a:gd name="T45" fmla="*/ 8 h 27"/>
                <a:gd name="T46" fmla="*/ 0 w 27"/>
                <a:gd name="T47" fmla="*/ 10 h 27"/>
                <a:gd name="T48" fmla="*/ 2 w 27"/>
                <a:gd name="T49" fmla="*/ 12 h 27"/>
                <a:gd name="T50" fmla="*/ 3 w 27"/>
                <a:gd name="T51" fmla="*/ 13 h 27"/>
                <a:gd name="T52" fmla="*/ 3 w 27"/>
                <a:gd name="T53" fmla="*/ 15 h 27"/>
                <a:gd name="T54" fmla="*/ 2 w 27"/>
                <a:gd name="T55" fmla="*/ 16 h 27"/>
                <a:gd name="T56" fmla="*/ 1 w 27"/>
                <a:gd name="T57" fmla="*/ 18 h 27"/>
                <a:gd name="T58" fmla="*/ 1 w 27"/>
                <a:gd name="T59" fmla="*/ 20 h 27"/>
                <a:gd name="T60" fmla="*/ 4 w 27"/>
                <a:gd name="T61" fmla="*/ 21 h 27"/>
                <a:gd name="T62" fmla="*/ 5 w 27"/>
                <a:gd name="T63" fmla="*/ 21 h 27"/>
                <a:gd name="T64" fmla="*/ 7 w 27"/>
                <a:gd name="T65" fmla="*/ 22 h 27"/>
                <a:gd name="T66" fmla="*/ 7 w 27"/>
                <a:gd name="T67" fmla="*/ 24 h 27"/>
                <a:gd name="T68" fmla="*/ 8 w 27"/>
                <a:gd name="T69" fmla="*/ 26 h 27"/>
                <a:gd name="T70" fmla="*/ 10 w 27"/>
                <a:gd name="T71" fmla="*/ 27 h 27"/>
                <a:gd name="T72" fmla="*/ 12 w 27"/>
                <a:gd name="T73" fmla="*/ 26 h 27"/>
                <a:gd name="T74" fmla="*/ 13 w 27"/>
                <a:gd name="T75" fmla="*/ 24 h 27"/>
                <a:gd name="T76" fmla="*/ 15 w 27"/>
                <a:gd name="T77" fmla="*/ 24 h 27"/>
                <a:gd name="T78" fmla="*/ 16 w 27"/>
                <a:gd name="T79" fmla="*/ 26 h 27"/>
                <a:gd name="T80" fmla="*/ 18 w 27"/>
                <a:gd name="T81" fmla="*/ 27 h 27"/>
                <a:gd name="T82" fmla="*/ 20 w 27"/>
                <a:gd name="T83" fmla="*/ 26 h 27"/>
                <a:gd name="T84" fmla="*/ 21 w 27"/>
                <a:gd name="T85" fmla="*/ 23 h 27"/>
                <a:gd name="T86" fmla="*/ 20 w 27"/>
                <a:gd name="T87" fmla="*/ 22 h 27"/>
                <a:gd name="T88" fmla="*/ 22 w 27"/>
                <a:gd name="T89" fmla="*/ 20 h 27"/>
                <a:gd name="T90" fmla="*/ 24 w 27"/>
                <a:gd name="T91" fmla="*/ 21 h 27"/>
                <a:gd name="T92" fmla="*/ 26 w 27"/>
                <a:gd name="T93" fmla="*/ 20 h 27"/>
                <a:gd name="T94" fmla="*/ 27 w 27"/>
                <a:gd name="T95" fmla="*/ 18 h 27"/>
                <a:gd name="T96" fmla="*/ 26 w 27"/>
                <a:gd name="T97" fmla="*/ 15 h 27"/>
                <a:gd name="T98" fmla="*/ 16 w 27"/>
                <a:gd name="T99" fmla="*/ 19 h 27"/>
                <a:gd name="T100" fmla="*/ 9 w 27"/>
                <a:gd name="T101" fmla="*/ 16 h 27"/>
                <a:gd name="T102" fmla="*/ 11 w 27"/>
                <a:gd name="T103" fmla="*/ 9 h 27"/>
                <a:gd name="T104" fmla="*/ 18 w 27"/>
                <a:gd name="T105" fmla="*/ 12 h 27"/>
                <a:gd name="T106" fmla="*/ 16 w 27"/>
                <a:gd name="T10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27">
                  <a:moveTo>
                    <a:pt x="26" y="15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3"/>
                    <a:pt x="24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1"/>
                    <a:pt x="27" y="10"/>
                    <a:pt x="27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6"/>
                    <a:pt x="24" y="6"/>
                    <a:pt x="23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1" y="6"/>
                    <a:pt x="20" y="6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3"/>
                    <a:pt x="21" y="2"/>
                    <a:pt x="20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0"/>
                    <a:pt x="15" y="1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10" y="0"/>
                    <a:pt x="9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2" y="7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1" y="18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" y="21"/>
                    <a:pt x="3" y="22"/>
                    <a:pt x="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1"/>
                    <a:pt x="7" y="22"/>
                    <a:pt x="7" y="22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5"/>
                    <a:pt x="7" y="26"/>
                    <a:pt x="8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7"/>
                    <a:pt x="12" y="27"/>
                    <a:pt x="12" y="26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5" y="24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5"/>
                    <a:pt x="22" y="24"/>
                    <a:pt x="21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1" y="21"/>
                    <a:pt x="21" y="21"/>
                    <a:pt x="22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6" y="21"/>
                    <a:pt x="26" y="20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7" y="16"/>
                    <a:pt x="26" y="15"/>
                  </a:cubicBezTo>
                  <a:close/>
                  <a:moveTo>
                    <a:pt x="16" y="19"/>
                  </a:moveTo>
                  <a:cubicBezTo>
                    <a:pt x="13" y="20"/>
                    <a:pt x="10" y="19"/>
                    <a:pt x="9" y="16"/>
                  </a:cubicBezTo>
                  <a:cubicBezTo>
                    <a:pt x="8" y="13"/>
                    <a:pt x="9" y="10"/>
                    <a:pt x="11" y="9"/>
                  </a:cubicBezTo>
                  <a:cubicBezTo>
                    <a:pt x="14" y="8"/>
                    <a:pt x="17" y="9"/>
                    <a:pt x="18" y="12"/>
                  </a:cubicBezTo>
                  <a:cubicBezTo>
                    <a:pt x="19" y="14"/>
                    <a:pt x="18" y="17"/>
                    <a:pt x="16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7" name="ïśľîḓe"/>
            <p:cNvSpPr/>
            <p:nvPr>
              <p:custDataLst>
                <p:tags r:id="rId191"/>
              </p:custDataLst>
            </p:nvPr>
          </p:nvSpPr>
          <p:spPr bwMode="auto">
            <a:xfrm flipH="1">
              <a:off x="2843635" y="2440083"/>
              <a:ext cx="52123" cy="88913"/>
            </a:xfrm>
            <a:custGeom>
              <a:avLst/>
              <a:gdLst>
                <a:gd name="T0" fmla="*/ 12 w 24"/>
                <a:gd name="T1" fmla="*/ 42 h 42"/>
                <a:gd name="T2" fmla="*/ 24 w 24"/>
                <a:gd name="T3" fmla="*/ 30 h 42"/>
                <a:gd name="T4" fmla="*/ 11 w 24"/>
                <a:gd name="T5" fmla="*/ 0 h 42"/>
                <a:gd name="T6" fmla="*/ 0 w 24"/>
                <a:gd name="T7" fmla="*/ 30 h 42"/>
                <a:gd name="T8" fmla="*/ 12 w 24"/>
                <a:gd name="T9" fmla="*/ 42 h 42"/>
                <a:gd name="T10" fmla="*/ 19 w 24"/>
                <a:gd name="T11" fmla="*/ 27 h 42"/>
                <a:gd name="T12" fmla="*/ 12 w 24"/>
                <a:gd name="T13" fmla="*/ 37 h 42"/>
                <a:gd name="T14" fmla="*/ 19 w 24"/>
                <a:gd name="T15" fmla="*/ 2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2">
                  <a:moveTo>
                    <a:pt x="12" y="42"/>
                  </a:moveTo>
                  <a:cubicBezTo>
                    <a:pt x="19" y="42"/>
                    <a:pt x="24" y="36"/>
                    <a:pt x="24" y="30"/>
                  </a:cubicBezTo>
                  <a:cubicBezTo>
                    <a:pt x="24" y="17"/>
                    <a:pt x="11" y="0"/>
                    <a:pt x="11" y="0"/>
                  </a:cubicBezTo>
                  <a:cubicBezTo>
                    <a:pt x="11" y="0"/>
                    <a:pt x="0" y="18"/>
                    <a:pt x="0" y="30"/>
                  </a:cubicBezTo>
                  <a:cubicBezTo>
                    <a:pt x="0" y="37"/>
                    <a:pt x="6" y="42"/>
                    <a:pt x="12" y="42"/>
                  </a:cubicBezTo>
                  <a:close/>
                  <a:moveTo>
                    <a:pt x="19" y="27"/>
                  </a:moveTo>
                  <a:cubicBezTo>
                    <a:pt x="19" y="27"/>
                    <a:pt x="20" y="37"/>
                    <a:pt x="12" y="37"/>
                  </a:cubicBezTo>
                  <a:lnTo>
                    <a:pt x="19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8" name="išlïdé"/>
            <p:cNvSpPr/>
            <p:nvPr>
              <p:custDataLst>
                <p:tags r:id="rId192"/>
              </p:custDataLst>
            </p:nvPr>
          </p:nvSpPr>
          <p:spPr bwMode="auto">
            <a:xfrm flipH="1">
              <a:off x="3065435" y="2433577"/>
              <a:ext cx="52123" cy="86745"/>
            </a:xfrm>
            <a:custGeom>
              <a:avLst/>
              <a:gdLst>
                <a:gd name="T0" fmla="*/ 13 w 24"/>
                <a:gd name="T1" fmla="*/ 41 h 41"/>
                <a:gd name="T2" fmla="*/ 24 w 24"/>
                <a:gd name="T3" fmla="*/ 29 h 41"/>
                <a:gd name="T4" fmla="*/ 12 w 24"/>
                <a:gd name="T5" fmla="*/ 0 h 41"/>
                <a:gd name="T6" fmla="*/ 1 w 24"/>
                <a:gd name="T7" fmla="*/ 29 h 41"/>
                <a:gd name="T8" fmla="*/ 13 w 24"/>
                <a:gd name="T9" fmla="*/ 41 h 41"/>
                <a:gd name="T10" fmla="*/ 19 w 24"/>
                <a:gd name="T11" fmla="*/ 27 h 41"/>
                <a:gd name="T12" fmla="*/ 12 w 24"/>
                <a:gd name="T13" fmla="*/ 36 h 41"/>
                <a:gd name="T14" fmla="*/ 19 w 24"/>
                <a:gd name="T15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1">
                  <a:moveTo>
                    <a:pt x="13" y="41"/>
                  </a:moveTo>
                  <a:cubicBezTo>
                    <a:pt x="19" y="41"/>
                    <a:pt x="24" y="35"/>
                    <a:pt x="24" y="29"/>
                  </a:cubicBezTo>
                  <a:cubicBezTo>
                    <a:pt x="24" y="17"/>
                    <a:pt x="12" y="0"/>
                    <a:pt x="12" y="0"/>
                  </a:cubicBezTo>
                  <a:cubicBezTo>
                    <a:pt x="12" y="0"/>
                    <a:pt x="0" y="17"/>
                    <a:pt x="1" y="29"/>
                  </a:cubicBezTo>
                  <a:cubicBezTo>
                    <a:pt x="1" y="36"/>
                    <a:pt x="6" y="41"/>
                    <a:pt x="13" y="41"/>
                  </a:cubicBezTo>
                  <a:close/>
                  <a:moveTo>
                    <a:pt x="19" y="27"/>
                  </a:moveTo>
                  <a:cubicBezTo>
                    <a:pt x="19" y="27"/>
                    <a:pt x="21" y="36"/>
                    <a:pt x="12" y="36"/>
                  </a:cubicBezTo>
                  <a:lnTo>
                    <a:pt x="19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299" name="îṡļíḋe"/>
            <p:cNvSpPr/>
            <p:nvPr>
              <p:custDataLst>
                <p:tags r:id="rId193"/>
              </p:custDataLst>
            </p:nvPr>
          </p:nvSpPr>
          <p:spPr bwMode="auto">
            <a:xfrm flipH="1">
              <a:off x="3262838" y="3317289"/>
              <a:ext cx="73194" cy="123611"/>
            </a:xfrm>
            <a:custGeom>
              <a:avLst/>
              <a:gdLst>
                <a:gd name="T0" fmla="*/ 17 w 34"/>
                <a:gd name="T1" fmla="*/ 58 h 58"/>
                <a:gd name="T2" fmla="*/ 33 w 34"/>
                <a:gd name="T3" fmla="*/ 41 h 58"/>
                <a:gd name="T4" fmla="*/ 16 w 34"/>
                <a:gd name="T5" fmla="*/ 0 h 58"/>
                <a:gd name="T6" fmla="*/ 0 w 34"/>
                <a:gd name="T7" fmla="*/ 42 h 58"/>
                <a:gd name="T8" fmla="*/ 17 w 34"/>
                <a:gd name="T9" fmla="*/ 58 h 58"/>
                <a:gd name="T10" fmla="*/ 27 w 34"/>
                <a:gd name="T11" fmla="*/ 38 h 58"/>
                <a:gd name="T12" fmla="*/ 17 w 34"/>
                <a:gd name="T13" fmla="*/ 51 h 58"/>
                <a:gd name="T14" fmla="*/ 27 w 34"/>
                <a:gd name="T15" fmla="*/ 3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8">
                  <a:moveTo>
                    <a:pt x="17" y="58"/>
                  </a:moveTo>
                  <a:cubicBezTo>
                    <a:pt x="26" y="57"/>
                    <a:pt x="34" y="50"/>
                    <a:pt x="33" y="41"/>
                  </a:cubicBezTo>
                  <a:cubicBezTo>
                    <a:pt x="33" y="24"/>
                    <a:pt x="16" y="0"/>
                    <a:pt x="16" y="0"/>
                  </a:cubicBezTo>
                  <a:cubicBezTo>
                    <a:pt x="16" y="0"/>
                    <a:pt x="0" y="25"/>
                    <a:pt x="0" y="42"/>
                  </a:cubicBezTo>
                  <a:cubicBezTo>
                    <a:pt x="1" y="51"/>
                    <a:pt x="8" y="58"/>
                    <a:pt x="17" y="58"/>
                  </a:cubicBezTo>
                  <a:close/>
                  <a:moveTo>
                    <a:pt x="27" y="38"/>
                  </a:moveTo>
                  <a:cubicBezTo>
                    <a:pt x="27" y="38"/>
                    <a:pt x="29" y="51"/>
                    <a:pt x="17" y="51"/>
                  </a:cubicBezTo>
                  <a:lnTo>
                    <a:pt x="27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0" name="išḷíḍè"/>
            <p:cNvSpPr/>
            <p:nvPr>
              <p:custDataLst>
                <p:tags r:id="rId194"/>
              </p:custDataLst>
            </p:nvPr>
          </p:nvSpPr>
          <p:spPr bwMode="auto">
            <a:xfrm flipH="1">
              <a:off x="3964836" y="2919348"/>
              <a:ext cx="49905" cy="65059"/>
            </a:xfrm>
            <a:custGeom>
              <a:avLst/>
              <a:gdLst>
                <a:gd name="T0" fmla="*/ 7 w 23"/>
                <a:gd name="T1" fmla="*/ 29 h 31"/>
                <a:gd name="T2" fmla="*/ 19 w 23"/>
                <a:gd name="T3" fmla="*/ 25 h 31"/>
                <a:gd name="T4" fmla="*/ 22 w 23"/>
                <a:gd name="T5" fmla="*/ 0 h 31"/>
                <a:gd name="T6" fmla="*/ 3 w 23"/>
                <a:gd name="T7" fmla="*/ 16 h 31"/>
                <a:gd name="T8" fmla="*/ 7 w 23"/>
                <a:gd name="T9" fmla="*/ 29 h 31"/>
                <a:gd name="T10" fmla="*/ 17 w 23"/>
                <a:gd name="T11" fmla="*/ 22 h 31"/>
                <a:gd name="T12" fmla="*/ 8 w 23"/>
                <a:gd name="T13" fmla="*/ 25 h 31"/>
                <a:gd name="T14" fmla="*/ 17 w 23"/>
                <a:gd name="T15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1">
                  <a:moveTo>
                    <a:pt x="7" y="29"/>
                  </a:moveTo>
                  <a:cubicBezTo>
                    <a:pt x="11" y="31"/>
                    <a:pt x="17" y="29"/>
                    <a:pt x="19" y="25"/>
                  </a:cubicBezTo>
                  <a:cubicBezTo>
                    <a:pt x="23" y="17"/>
                    <a:pt x="22" y="0"/>
                    <a:pt x="22" y="0"/>
                  </a:cubicBezTo>
                  <a:cubicBezTo>
                    <a:pt x="22" y="0"/>
                    <a:pt x="7" y="8"/>
                    <a:pt x="3" y="16"/>
                  </a:cubicBezTo>
                  <a:cubicBezTo>
                    <a:pt x="0" y="21"/>
                    <a:pt x="2" y="26"/>
                    <a:pt x="7" y="29"/>
                  </a:cubicBezTo>
                  <a:close/>
                  <a:moveTo>
                    <a:pt x="17" y="22"/>
                  </a:moveTo>
                  <a:cubicBezTo>
                    <a:pt x="17" y="22"/>
                    <a:pt x="14" y="29"/>
                    <a:pt x="8" y="25"/>
                  </a:cubicBezTo>
                  <a:lnTo>
                    <a:pt x="17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1" name="işḻíḍe"/>
            <p:cNvSpPr/>
            <p:nvPr>
              <p:custDataLst>
                <p:tags r:id="rId195"/>
              </p:custDataLst>
            </p:nvPr>
          </p:nvSpPr>
          <p:spPr bwMode="auto">
            <a:xfrm flipH="1">
              <a:off x="3217369" y="4348466"/>
              <a:ext cx="59886" cy="103009"/>
            </a:xfrm>
            <a:custGeom>
              <a:avLst/>
              <a:gdLst>
                <a:gd name="T0" fmla="*/ 15 w 28"/>
                <a:gd name="T1" fmla="*/ 49 h 49"/>
                <a:gd name="T2" fmla="*/ 28 w 28"/>
                <a:gd name="T3" fmla="*/ 35 h 49"/>
                <a:gd name="T4" fmla="*/ 13 w 28"/>
                <a:gd name="T5" fmla="*/ 0 h 49"/>
                <a:gd name="T6" fmla="*/ 0 w 28"/>
                <a:gd name="T7" fmla="*/ 36 h 49"/>
                <a:gd name="T8" fmla="*/ 15 w 28"/>
                <a:gd name="T9" fmla="*/ 49 h 49"/>
                <a:gd name="T10" fmla="*/ 23 w 28"/>
                <a:gd name="T11" fmla="*/ 32 h 49"/>
                <a:gd name="T12" fmla="*/ 14 w 28"/>
                <a:gd name="T13" fmla="*/ 44 h 49"/>
                <a:gd name="T14" fmla="*/ 23 w 28"/>
                <a:gd name="T15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9">
                  <a:moveTo>
                    <a:pt x="15" y="49"/>
                  </a:moveTo>
                  <a:cubicBezTo>
                    <a:pt x="22" y="49"/>
                    <a:pt x="28" y="43"/>
                    <a:pt x="28" y="35"/>
                  </a:cubicBezTo>
                  <a:cubicBezTo>
                    <a:pt x="28" y="21"/>
                    <a:pt x="13" y="0"/>
                    <a:pt x="13" y="0"/>
                  </a:cubicBezTo>
                  <a:cubicBezTo>
                    <a:pt x="13" y="0"/>
                    <a:pt x="0" y="21"/>
                    <a:pt x="0" y="36"/>
                  </a:cubicBezTo>
                  <a:cubicBezTo>
                    <a:pt x="0" y="43"/>
                    <a:pt x="7" y="49"/>
                    <a:pt x="15" y="49"/>
                  </a:cubicBezTo>
                  <a:close/>
                  <a:moveTo>
                    <a:pt x="23" y="32"/>
                  </a:moveTo>
                  <a:cubicBezTo>
                    <a:pt x="23" y="32"/>
                    <a:pt x="24" y="43"/>
                    <a:pt x="14" y="44"/>
                  </a:cubicBezTo>
                  <a:lnTo>
                    <a:pt x="23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2" name="îṧļíďê"/>
            <p:cNvSpPr/>
            <p:nvPr>
              <p:custDataLst>
                <p:tags r:id="rId196"/>
              </p:custDataLst>
            </p:nvPr>
          </p:nvSpPr>
          <p:spPr bwMode="auto">
            <a:xfrm flipH="1">
              <a:off x="3655424" y="1377461"/>
              <a:ext cx="66540" cy="108431"/>
            </a:xfrm>
            <a:custGeom>
              <a:avLst/>
              <a:gdLst>
                <a:gd name="T0" fmla="*/ 11 w 31"/>
                <a:gd name="T1" fmla="*/ 0 h 51"/>
                <a:gd name="T2" fmla="*/ 2 w 31"/>
                <a:gd name="T3" fmla="*/ 37 h 51"/>
                <a:gd name="T4" fmla="*/ 18 w 31"/>
                <a:gd name="T5" fmla="*/ 50 h 51"/>
                <a:gd name="T6" fmla="*/ 30 w 31"/>
                <a:gd name="T7" fmla="*/ 34 h 51"/>
                <a:gd name="T8" fmla="*/ 11 w 31"/>
                <a:gd name="T9" fmla="*/ 0 h 51"/>
                <a:gd name="T10" fmla="*/ 17 w 31"/>
                <a:gd name="T11" fmla="*/ 44 h 51"/>
                <a:gd name="T12" fmla="*/ 24 w 31"/>
                <a:gd name="T13" fmla="*/ 32 h 51"/>
                <a:gd name="T14" fmla="*/ 17 w 31"/>
                <a:gd name="T15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1">
                  <a:moveTo>
                    <a:pt x="11" y="0"/>
                  </a:moveTo>
                  <a:cubicBezTo>
                    <a:pt x="11" y="0"/>
                    <a:pt x="0" y="23"/>
                    <a:pt x="2" y="37"/>
                  </a:cubicBezTo>
                  <a:cubicBezTo>
                    <a:pt x="3" y="45"/>
                    <a:pt x="10" y="51"/>
                    <a:pt x="18" y="50"/>
                  </a:cubicBezTo>
                  <a:cubicBezTo>
                    <a:pt x="25" y="49"/>
                    <a:pt x="31" y="42"/>
                    <a:pt x="30" y="34"/>
                  </a:cubicBezTo>
                  <a:cubicBezTo>
                    <a:pt x="28" y="19"/>
                    <a:pt x="11" y="0"/>
                    <a:pt x="11" y="0"/>
                  </a:cubicBezTo>
                  <a:close/>
                  <a:moveTo>
                    <a:pt x="17" y="4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7" y="43"/>
                    <a:pt x="17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3" name="íṥḷíďè"/>
            <p:cNvSpPr/>
            <p:nvPr>
              <p:custDataLst>
                <p:tags r:id="rId197"/>
              </p:custDataLst>
            </p:nvPr>
          </p:nvSpPr>
          <p:spPr bwMode="auto">
            <a:xfrm flipH="1">
              <a:off x="3119777" y="2488877"/>
              <a:ext cx="93156" cy="188670"/>
            </a:xfrm>
            <a:custGeom>
              <a:avLst/>
              <a:gdLst>
                <a:gd name="T0" fmla="*/ 42 w 43"/>
                <a:gd name="T1" fmla="*/ 10 h 89"/>
                <a:gd name="T2" fmla="*/ 42 w 43"/>
                <a:gd name="T3" fmla="*/ 10 h 89"/>
                <a:gd name="T4" fmla="*/ 42 w 43"/>
                <a:gd name="T5" fmla="*/ 10 h 89"/>
                <a:gd name="T6" fmla="*/ 26 w 43"/>
                <a:gd name="T7" fmla="*/ 1 h 89"/>
                <a:gd name="T8" fmla="*/ 25 w 43"/>
                <a:gd name="T9" fmla="*/ 1 h 89"/>
                <a:gd name="T10" fmla="*/ 18 w 43"/>
                <a:gd name="T11" fmla="*/ 1 h 89"/>
                <a:gd name="T12" fmla="*/ 0 w 43"/>
                <a:gd name="T13" fmla="*/ 12 h 89"/>
                <a:gd name="T14" fmla="*/ 1 w 43"/>
                <a:gd name="T15" fmla="*/ 39 h 89"/>
                <a:gd name="T16" fmla="*/ 5 w 43"/>
                <a:gd name="T17" fmla="*/ 43 h 89"/>
                <a:gd name="T18" fmla="*/ 9 w 43"/>
                <a:gd name="T19" fmla="*/ 39 h 89"/>
                <a:gd name="T20" fmla="*/ 9 w 43"/>
                <a:gd name="T21" fmla="*/ 18 h 89"/>
                <a:gd name="T22" fmla="*/ 11 w 43"/>
                <a:gd name="T23" fmla="*/ 18 h 89"/>
                <a:gd name="T24" fmla="*/ 11 w 43"/>
                <a:gd name="T25" fmla="*/ 31 h 89"/>
                <a:gd name="T26" fmla="*/ 11 w 43"/>
                <a:gd name="T27" fmla="*/ 42 h 89"/>
                <a:gd name="T28" fmla="*/ 12 w 43"/>
                <a:gd name="T29" fmla="*/ 84 h 89"/>
                <a:gd name="T30" fmla="*/ 17 w 43"/>
                <a:gd name="T31" fmla="*/ 89 h 89"/>
                <a:gd name="T32" fmla="*/ 22 w 43"/>
                <a:gd name="T33" fmla="*/ 83 h 89"/>
                <a:gd name="T34" fmla="*/ 21 w 43"/>
                <a:gd name="T35" fmla="*/ 45 h 89"/>
                <a:gd name="T36" fmla="*/ 23 w 43"/>
                <a:gd name="T37" fmla="*/ 45 h 89"/>
                <a:gd name="T38" fmla="*/ 24 w 43"/>
                <a:gd name="T39" fmla="*/ 83 h 89"/>
                <a:gd name="T40" fmla="*/ 29 w 43"/>
                <a:gd name="T41" fmla="*/ 88 h 89"/>
                <a:gd name="T42" fmla="*/ 34 w 43"/>
                <a:gd name="T43" fmla="*/ 83 h 89"/>
                <a:gd name="T44" fmla="*/ 33 w 43"/>
                <a:gd name="T45" fmla="*/ 41 h 89"/>
                <a:gd name="T46" fmla="*/ 33 w 43"/>
                <a:gd name="T47" fmla="*/ 30 h 89"/>
                <a:gd name="T48" fmla="*/ 32 w 43"/>
                <a:gd name="T49" fmla="*/ 17 h 89"/>
                <a:gd name="T50" fmla="*/ 34 w 43"/>
                <a:gd name="T51" fmla="*/ 17 h 89"/>
                <a:gd name="T52" fmla="*/ 34 w 43"/>
                <a:gd name="T53" fmla="*/ 38 h 89"/>
                <a:gd name="T54" fmla="*/ 38 w 43"/>
                <a:gd name="T55" fmla="*/ 42 h 89"/>
                <a:gd name="T56" fmla="*/ 43 w 43"/>
                <a:gd name="T57" fmla="*/ 38 h 89"/>
                <a:gd name="T58" fmla="*/ 42 w 43"/>
                <a:gd name="T59" fmla="*/ 11 h 89"/>
                <a:gd name="T60" fmla="*/ 42 w 43"/>
                <a:gd name="T61" fmla="*/ 1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" h="89">
                  <a:moveTo>
                    <a:pt x="42" y="10"/>
                  </a:move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1" y="3"/>
                    <a:pt x="31" y="1"/>
                    <a:pt x="26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0" y="0"/>
                    <a:pt x="0" y="1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1"/>
                    <a:pt x="3" y="43"/>
                    <a:pt x="5" y="43"/>
                  </a:cubicBezTo>
                  <a:cubicBezTo>
                    <a:pt x="8" y="43"/>
                    <a:pt x="9" y="41"/>
                    <a:pt x="9" y="3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6"/>
                    <a:pt x="14" y="89"/>
                    <a:pt x="17" y="89"/>
                  </a:cubicBezTo>
                  <a:cubicBezTo>
                    <a:pt x="20" y="88"/>
                    <a:pt x="22" y="86"/>
                    <a:pt x="22" y="8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4" y="86"/>
                    <a:pt x="26" y="88"/>
                    <a:pt x="29" y="88"/>
                  </a:cubicBezTo>
                  <a:cubicBezTo>
                    <a:pt x="32" y="88"/>
                    <a:pt x="34" y="86"/>
                    <a:pt x="34" y="83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2"/>
                    <a:pt x="38" y="42"/>
                  </a:cubicBezTo>
                  <a:cubicBezTo>
                    <a:pt x="41" y="42"/>
                    <a:pt x="43" y="40"/>
                    <a:pt x="43" y="3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1"/>
                    <a:pt x="42" y="11"/>
                    <a:pt x="4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</a:p>
          </p:txBody>
        </p:sp>
        <p:sp>
          <p:nvSpPr>
            <p:cNvPr id="304" name="iSḷidé"/>
            <p:cNvSpPr/>
            <p:nvPr>
              <p:custDataLst>
                <p:tags r:id="rId198"/>
              </p:custDataLst>
            </p:nvPr>
          </p:nvSpPr>
          <p:spPr bwMode="auto">
            <a:xfrm flipH="1">
              <a:off x="3147502" y="2448758"/>
              <a:ext cx="41033" cy="40119"/>
            </a:xfrm>
            <a:custGeom>
              <a:avLst/>
              <a:gdLst>
                <a:gd name="T0" fmla="*/ 10 w 19"/>
                <a:gd name="T1" fmla="*/ 19 h 19"/>
                <a:gd name="T2" fmla="*/ 19 w 19"/>
                <a:gd name="T3" fmla="*/ 9 h 19"/>
                <a:gd name="T4" fmla="*/ 10 w 19"/>
                <a:gd name="T5" fmla="*/ 0 h 19"/>
                <a:gd name="T6" fmla="*/ 0 w 19"/>
                <a:gd name="T7" fmla="*/ 9 h 19"/>
                <a:gd name="T8" fmla="*/ 10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15" y="18"/>
                    <a:pt x="19" y="14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1" y="15"/>
                    <a:pt x="5" y="19"/>
                    <a:pt x="10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5" name="ïšlïdè"/>
            <p:cNvSpPr/>
            <p:nvPr>
              <p:custDataLst>
                <p:tags r:id="rId199"/>
              </p:custDataLst>
            </p:nvPr>
          </p:nvSpPr>
          <p:spPr bwMode="auto">
            <a:xfrm flipH="1">
              <a:off x="3090942" y="4229192"/>
              <a:ext cx="130862" cy="261318"/>
            </a:xfrm>
            <a:custGeom>
              <a:avLst/>
              <a:gdLst>
                <a:gd name="T0" fmla="*/ 59 w 60"/>
                <a:gd name="T1" fmla="*/ 14 h 123"/>
                <a:gd name="T2" fmla="*/ 59 w 60"/>
                <a:gd name="T3" fmla="*/ 14 h 123"/>
                <a:gd name="T4" fmla="*/ 59 w 60"/>
                <a:gd name="T5" fmla="*/ 13 h 123"/>
                <a:gd name="T6" fmla="*/ 36 w 60"/>
                <a:gd name="T7" fmla="*/ 1 h 123"/>
                <a:gd name="T8" fmla="*/ 35 w 60"/>
                <a:gd name="T9" fmla="*/ 1 h 123"/>
                <a:gd name="T10" fmla="*/ 26 w 60"/>
                <a:gd name="T11" fmla="*/ 1 h 123"/>
                <a:gd name="T12" fmla="*/ 1 w 60"/>
                <a:gd name="T13" fmla="*/ 16 h 123"/>
                <a:gd name="T14" fmla="*/ 1 w 60"/>
                <a:gd name="T15" fmla="*/ 54 h 123"/>
                <a:gd name="T16" fmla="*/ 8 w 60"/>
                <a:gd name="T17" fmla="*/ 60 h 123"/>
                <a:gd name="T18" fmla="*/ 13 w 60"/>
                <a:gd name="T19" fmla="*/ 54 h 123"/>
                <a:gd name="T20" fmla="*/ 13 w 60"/>
                <a:gd name="T21" fmla="*/ 24 h 123"/>
                <a:gd name="T22" fmla="*/ 15 w 60"/>
                <a:gd name="T23" fmla="*/ 24 h 123"/>
                <a:gd name="T24" fmla="*/ 15 w 60"/>
                <a:gd name="T25" fmla="*/ 42 h 123"/>
                <a:gd name="T26" fmla="*/ 16 w 60"/>
                <a:gd name="T27" fmla="*/ 57 h 123"/>
                <a:gd name="T28" fmla="*/ 17 w 60"/>
                <a:gd name="T29" fmla="*/ 116 h 123"/>
                <a:gd name="T30" fmla="*/ 24 w 60"/>
                <a:gd name="T31" fmla="*/ 123 h 123"/>
                <a:gd name="T32" fmla="*/ 31 w 60"/>
                <a:gd name="T33" fmla="*/ 116 h 123"/>
                <a:gd name="T34" fmla="*/ 30 w 60"/>
                <a:gd name="T35" fmla="*/ 62 h 123"/>
                <a:gd name="T36" fmla="*/ 32 w 60"/>
                <a:gd name="T37" fmla="*/ 62 h 123"/>
                <a:gd name="T38" fmla="*/ 33 w 60"/>
                <a:gd name="T39" fmla="*/ 115 h 123"/>
                <a:gd name="T40" fmla="*/ 40 w 60"/>
                <a:gd name="T41" fmla="*/ 122 h 123"/>
                <a:gd name="T42" fmla="*/ 47 w 60"/>
                <a:gd name="T43" fmla="*/ 115 h 123"/>
                <a:gd name="T44" fmla="*/ 46 w 60"/>
                <a:gd name="T45" fmla="*/ 57 h 123"/>
                <a:gd name="T46" fmla="*/ 45 w 60"/>
                <a:gd name="T47" fmla="*/ 42 h 123"/>
                <a:gd name="T48" fmla="*/ 45 w 60"/>
                <a:gd name="T49" fmla="*/ 24 h 123"/>
                <a:gd name="T50" fmla="*/ 47 w 60"/>
                <a:gd name="T51" fmla="*/ 24 h 123"/>
                <a:gd name="T52" fmla="*/ 48 w 60"/>
                <a:gd name="T53" fmla="*/ 52 h 123"/>
                <a:gd name="T54" fmla="*/ 54 w 60"/>
                <a:gd name="T55" fmla="*/ 58 h 123"/>
                <a:gd name="T56" fmla="*/ 60 w 60"/>
                <a:gd name="T57" fmla="*/ 52 h 123"/>
                <a:gd name="T58" fmla="*/ 59 w 60"/>
                <a:gd name="T59" fmla="*/ 15 h 123"/>
                <a:gd name="T60" fmla="*/ 59 w 60"/>
                <a:gd name="T61" fmla="*/ 1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" h="123">
                  <a:moveTo>
                    <a:pt x="59" y="14"/>
                  </a:moveTo>
                  <a:cubicBezTo>
                    <a:pt x="59" y="14"/>
                    <a:pt x="59" y="14"/>
                    <a:pt x="59" y="14"/>
                  </a:cubicBezTo>
                  <a:cubicBezTo>
                    <a:pt x="59" y="14"/>
                    <a:pt x="59" y="13"/>
                    <a:pt x="59" y="13"/>
                  </a:cubicBezTo>
                  <a:cubicBezTo>
                    <a:pt x="57" y="3"/>
                    <a:pt x="43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0" y="0"/>
                    <a:pt x="1" y="16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2" y="57"/>
                    <a:pt x="4" y="60"/>
                    <a:pt x="8" y="60"/>
                  </a:cubicBezTo>
                  <a:cubicBezTo>
                    <a:pt x="11" y="60"/>
                    <a:pt x="13" y="57"/>
                    <a:pt x="13" y="5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20"/>
                    <a:pt x="20" y="123"/>
                    <a:pt x="24" y="123"/>
                  </a:cubicBezTo>
                  <a:cubicBezTo>
                    <a:pt x="28" y="123"/>
                    <a:pt x="31" y="119"/>
                    <a:pt x="31" y="116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9"/>
                    <a:pt x="36" y="122"/>
                    <a:pt x="40" y="122"/>
                  </a:cubicBezTo>
                  <a:cubicBezTo>
                    <a:pt x="44" y="122"/>
                    <a:pt x="47" y="119"/>
                    <a:pt x="47" y="115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6"/>
                    <a:pt x="50" y="58"/>
                    <a:pt x="54" y="58"/>
                  </a:cubicBezTo>
                  <a:cubicBezTo>
                    <a:pt x="57" y="58"/>
                    <a:pt x="60" y="55"/>
                    <a:pt x="60" y="52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4"/>
                    <a:pt x="59" y="14"/>
                    <a:pt x="5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</a:p>
          </p:txBody>
        </p:sp>
        <p:sp>
          <p:nvSpPr>
            <p:cNvPr id="306" name="ïŝḻiḍé"/>
            <p:cNvSpPr/>
            <p:nvPr>
              <p:custDataLst>
                <p:tags r:id="rId200"/>
              </p:custDataLst>
            </p:nvPr>
          </p:nvSpPr>
          <p:spPr bwMode="auto">
            <a:xfrm flipH="1">
              <a:off x="3130867" y="4171724"/>
              <a:ext cx="55450" cy="55300"/>
            </a:xfrm>
            <a:custGeom>
              <a:avLst/>
              <a:gdLst>
                <a:gd name="T0" fmla="*/ 14 w 26"/>
                <a:gd name="T1" fmla="*/ 26 h 26"/>
                <a:gd name="T2" fmla="*/ 26 w 26"/>
                <a:gd name="T3" fmla="*/ 13 h 26"/>
                <a:gd name="T4" fmla="*/ 13 w 26"/>
                <a:gd name="T5" fmla="*/ 0 h 26"/>
                <a:gd name="T6" fmla="*/ 0 w 26"/>
                <a:gd name="T7" fmla="*/ 13 h 26"/>
                <a:gd name="T8" fmla="*/ 14 w 26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14" y="26"/>
                  </a:moveTo>
                  <a:cubicBezTo>
                    <a:pt x="21" y="26"/>
                    <a:pt x="26" y="20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6"/>
                    <a:pt x="1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7" name="íṧľiḋè"/>
            <p:cNvSpPr/>
            <p:nvPr>
              <p:custDataLst>
                <p:tags r:id="rId201"/>
              </p:custDataLst>
            </p:nvPr>
          </p:nvSpPr>
          <p:spPr bwMode="auto">
            <a:xfrm flipH="1">
              <a:off x="3429188" y="2062715"/>
              <a:ext cx="169677" cy="300348"/>
            </a:xfrm>
            <a:custGeom>
              <a:avLst/>
              <a:gdLst>
                <a:gd name="T0" fmla="*/ 37 w 78"/>
                <a:gd name="T1" fmla="*/ 22 h 142"/>
                <a:gd name="T2" fmla="*/ 48 w 78"/>
                <a:gd name="T3" fmla="*/ 10 h 142"/>
                <a:gd name="T4" fmla="*/ 37 w 78"/>
                <a:gd name="T5" fmla="*/ 0 h 142"/>
                <a:gd name="T6" fmla="*/ 26 w 78"/>
                <a:gd name="T7" fmla="*/ 11 h 142"/>
                <a:gd name="T8" fmla="*/ 37 w 78"/>
                <a:gd name="T9" fmla="*/ 22 h 142"/>
                <a:gd name="T10" fmla="*/ 67 w 78"/>
                <a:gd name="T11" fmla="*/ 60 h 142"/>
                <a:gd name="T12" fmla="*/ 74 w 78"/>
                <a:gd name="T13" fmla="*/ 64 h 142"/>
                <a:gd name="T14" fmla="*/ 78 w 78"/>
                <a:gd name="T15" fmla="*/ 57 h 142"/>
                <a:gd name="T16" fmla="*/ 72 w 78"/>
                <a:gd name="T17" fmla="*/ 35 h 142"/>
                <a:gd name="T18" fmla="*/ 67 w 78"/>
                <a:gd name="T19" fmla="*/ 30 h 142"/>
                <a:gd name="T20" fmla="*/ 53 w 78"/>
                <a:gd name="T21" fmla="*/ 25 h 142"/>
                <a:gd name="T22" fmla="*/ 42 w 78"/>
                <a:gd name="T23" fmla="*/ 23 h 142"/>
                <a:gd name="T24" fmla="*/ 33 w 78"/>
                <a:gd name="T25" fmla="*/ 28 h 142"/>
                <a:gd name="T26" fmla="*/ 33 w 78"/>
                <a:gd name="T27" fmla="*/ 28 h 142"/>
                <a:gd name="T28" fmla="*/ 33 w 78"/>
                <a:gd name="T29" fmla="*/ 29 h 142"/>
                <a:gd name="T30" fmla="*/ 32 w 78"/>
                <a:gd name="T31" fmla="*/ 29 h 142"/>
                <a:gd name="T32" fmla="*/ 20 w 78"/>
                <a:gd name="T33" fmla="*/ 49 h 142"/>
                <a:gd name="T34" fmla="*/ 20 w 78"/>
                <a:gd name="T35" fmla="*/ 50 h 142"/>
                <a:gd name="T36" fmla="*/ 2 w 78"/>
                <a:gd name="T37" fmla="*/ 65 h 142"/>
                <a:gd name="T38" fmla="*/ 2 w 78"/>
                <a:gd name="T39" fmla="*/ 73 h 142"/>
                <a:gd name="T40" fmla="*/ 10 w 78"/>
                <a:gd name="T41" fmla="*/ 73 h 142"/>
                <a:gd name="T42" fmla="*/ 27 w 78"/>
                <a:gd name="T43" fmla="*/ 58 h 142"/>
                <a:gd name="T44" fmla="*/ 28 w 78"/>
                <a:gd name="T45" fmla="*/ 57 h 142"/>
                <a:gd name="T46" fmla="*/ 30 w 78"/>
                <a:gd name="T47" fmla="*/ 55 h 142"/>
                <a:gd name="T48" fmla="*/ 32 w 78"/>
                <a:gd name="T49" fmla="*/ 51 h 142"/>
                <a:gd name="T50" fmla="*/ 35 w 78"/>
                <a:gd name="T51" fmla="*/ 69 h 142"/>
                <a:gd name="T52" fmla="*/ 37 w 78"/>
                <a:gd name="T53" fmla="*/ 74 h 142"/>
                <a:gd name="T54" fmla="*/ 27 w 78"/>
                <a:gd name="T55" fmla="*/ 99 h 142"/>
                <a:gd name="T56" fmla="*/ 27 w 78"/>
                <a:gd name="T57" fmla="*/ 99 h 142"/>
                <a:gd name="T58" fmla="*/ 27 w 78"/>
                <a:gd name="T59" fmla="*/ 100 h 142"/>
                <a:gd name="T60" fmla="*/ 26 w 78"/>
                <a:gd name="T61" fmla="*/ 104 h 142"/>
                <a:gd name="T62" fmla="*/ 21 w 78"/>
                <a:gd name="T63" fmla="*/ 135 h 142"/>
                <a:gd name="T64" fmla="*/ 28 w 78"/>
                <a:gd name="T65" fmla="*/ 142 h 142"/>
                <a:gd name="T66" fmla="*/ 35 w 78"/>
                <a:gd name="T67" fmla="*/ 135 h 142"/>
                <a:gd name="T68" fmla="*/ 40 w 78"/>
                <a:gd name="T69" fmla="*/ 106 h 142"/>
                <a:gd name="T70" fmla="*/ 50 w 78"/>
                <a:gd name="T71" fmla="*/ 89 h 142"/>
                <a:gd name="T72" fmla="*/ 62 w 78"/>
                <a:gd name="T73" fmla="*/ 135 h 142"/>
                <a:gd name="T74" fmla="*/ 71 w 78"/>
                <a:gd name="T75" fmla="*/ 140 h 142"/>
                <a:gd name="T76" fmla="*/ 76 w 78"/>
                <a:gd name="T77" fmla="*/ 131 h 142"/>
                <a:gd name="T78" fmla="*/ 62 w 78"/>
                <a:gd name="T79" fmla="*/ 71 h 142"/>
                <a:gd name="T80" fmla="*/ 63 w 78"/>
                <a:gd name="T81" fmla="*/ 63 h 142"/>
                <a:gd name="T82" fmla="*/ 59 w 78"/>
                <a:gd name="T83" fmla="*/ 39 h 142"/>
                <a:gd name="T84" fmla="*/ 62 w 78"/>
                <a:gd name="T85" fmla="*/ 41 h 142"/>
                <a:gd name="T86" fmla="*/ 67 w 78"/>
                <a:gd name="T87" fmla="*/ 6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8" h="142">
                  <a:moveTo>
                    <a:pt x="37" y="22"/>
                  </a:moveTo>
                  <a:cubicBezTo>
                    <a:pt x="44" y="22"/>
                    <a:pt x="48" y="16"/>
                    <a:pt x="48" y="10"/>
                  </a:cubicBezTo>
                  <a:cubicBezTo>
                    <a:pt x="48" y="4"/>
                    <a:pt x="43" y="0"/>
                    <a:pt x="37" y="0"/>
                  </a:cubicBezTo>
                  <a:cubicBezTo>
                    <a:pt x="31" y="0"/>
                    <a:pt x="26" y="5"/>
                    <a:pt x="26" y="11"/>
                  </a:cubicBezTo>
                  <a:cubicBezTo>
                    <a:pt x="26" y="17"/>
                    <a:pt x="31" y="22"/>
                    <a:pt x="37" y="22"/>
                  </a:cubicBezTo>
                  <a:close/>
                  <a:moveTo>
                    <a:pt x="67" y="60"/>
                  </a:moveTo>
                  <a:cubicBezTo>
                    <a:pt x="68" y="63"/>
                    <a:pt x="71" y="65"/>
                    <a:pt x="74" y="64"/>
                  </a:cubicBezTo>
                  <a:cubicBezTo>
                    <a:pt x="77" y="63"/>
                    <a:pt x="78" y="60"/>
                    <a:pt x="78" y="57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2"/>
                    <a:pt x="70" y="31"/>
                    <a:pt x="67" y="30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0" y="23"/>
                    <a:pt x="46" y="22"/>
                    <a:pt x="42" y="23"/>
                  </a:cubicBezTo>
                  <a:cubicBezTo>
                    <a:pt x="38" y="24"/>
                    <a:pt x="35" y="26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9"/>
                    <a:pt x="33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50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0" y="67"/>
                    <a:pt x="0" y="71"/>
                    <a:pt x="2" y="73"/>
                  </a:cubicBezTo>
                  <a:cubicBezTo>
                    <a:pt x="4" y="75"/>
                    <a:pt x="7" y="76"/>
                    <a:pt x="10" y="73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58"/>
                    <a:pt x="28" y="57"/>
                    <a:pt x="28" y="57"/>
                  </a:cubicBezTo>
                  <a:cubicBezTo>
                    <a:pt x="29" y="56"/>
                    <a:pt x="30" y="56"/>
                    <a:pt x="30" y="55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36" y="71"/>
                    <a:pt x="36" y="72"/>
                    <a:pt x="37" y="74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6" y="101"/>
                    <a:pt x="25" y="102"/>
                    <a:pt x="26" y="104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9"/>
                    <a:pt x="24" y="142"/>
                    <a:pt x="28" y="142"/>
                  </a:cubicBezTo>
                  <a:cubicBezTo>
                    <a:pt x="32" y="142"/>
                    <a:pt x="35" y="138"/>
                    <a:pt x="35" y="135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62" y="135"/>
                    <a:pt x="62" y="135"/>
                    <a:pt x="62" y="135"/>
                  </a:cubicBezTo>
                  <a:cubicBezTo>
                    <a:pt x="63" y="139"/>
                    <a:pt x="67" y="141"/>
                    <a:pt x="71" y="140"/>
                  </a:cubicBezTo>
                  <a:cubicBezTo>
                    <a:pt x="75" y="139"/>
                    <a:pt x="77" y="135"/>
                    <a:pt x="76" y="13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68"/>
                    <a:pt x="63" y="66"/>
                    <a:pt x="63" y="63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62" y="41"/>
                    <a:pt x="62" y="41"/>
                    <a:pt x="62" y="41"/>
                  </a:cubicBezTo>
                  <a:lnTo>
                    <a:pt x="67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08" name="ï$ļîďê"/>
            <p:cNvSpPr/>
            <p:nvPr>
              <p:custDataLst>
                <p:tags r:id="rId202"/>
              </p:custDataLst>
            </p:nvPr>
          </p:nvSpPr>
          <p:spPr bwMode="auto">
            <a:xfrm flipH="1">
              <a:off x="3812903" y="2462817"/>
              <a:ext cx="85393" cy="59636"/>
            </a:xfrm>
            <a:custGeom>
              <a:avLst/>
              <a:gdLst>
                <a:gd name="T0" fmla="*/ 16 w 39"/>
                <a:gd name="T1" fmla="*/ 24 h 28"/>
                <a:gd name="T2" fmla="*/ 2 w 39"/>
                <a:gd name="T3" fmla="*/ 7 h 28"/>
                <a:gd name="T4" fmla="*/ 6 w 39"/>
                <a:gd name="T5" fmla="*/ 0 h 28"/>
                <a:gd name="T6" fmla="*/ 33 w 39"/>
                <a:gd name="T7" fmla="*/ 0 h 28"/>
                <a:gd name="T8" fmla="*/ 37 w 39"/>
                <a:gd name="T9" fmla="*/ 7 h 28"/>
                <a:gd name="T10" fmla="*/ 24 w 39"/>
                <a:gd name="T11" fmla="*/ 24 h 28"/>
                <a:gd name="T12" fmla="*/ 16 w 39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8">
                  <a:moveTo>
                    <a:pt x="16" y="24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4"/>
                    <a:pt x="2" y="1"/>
                    <a:pt x="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0"/>
                    <a:pt x="39" y="3"/>
                    <a:pt x="37" y="7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2" y="28"/>
                    <a:pt x="18" y="28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09" name="íṣ1ídè"/>
            <p:cNvSpPr/>
            <p:nvPr>
              <p:custDataLst>
                <p:tags r:id="rId203"/>
              </p:custDataLst>
            </p:nvPr>
          </p:nvSpPr>
          <p:spPr bwMode="auto">
            <a:xfrm flipH="1">
              <a:off x="3607737" y="1148662"/>
              <a:ext cx="93156" cy="120356"/>
            </a:xfrm>
            <a:custGeom>
              <a:avLst/>
              <a:gdLst>
                <a:gd name="T0" fmla="*/ 31 w 43"/>
                <a:gd name="T1" fmla="*/ 17 h 57"/>
                <a:gd name="T2" fmla="*/ 37 w 43"/>
                <a:gd name="T3" fmla="*/ 9 h 57"/>
                <a:gd name="T4" fmla="*/ 29 w 43"/>
                <a:gd name="T5" fmla="*/ 0 h 57"/>
                <a:gd name="T6" fmla="*/ 14 w 43"/>
                <a:gd name="T7" fmla="*/ 0 h 57"/>
                <a:gd name="T8" fmla="*/ 7 w 43"/>
                <a:gd name="T9" fmla="*/ 9 h 57"/>
                <a:gd name="T10" fmla="*/ 13 w 43"/>
                <a:gd name="T11" fmla="*/ 16 h 57"/>
                <a:gd name="T12" fmla="*/ 0 w 43"/>
                <a:gd name="T13" fmla="*/ 36 h 57"/>
                <a:gd name="T14" fmla="*/ 22 w 43"/>
                <a:gd name="T15" fmla="*/ 57 h 57"/>
                <a:gd name="T16" fmla="*/ 43 w 43"/>
                <a:gd name="T17" fmla="*/ 36 h 57"/>
                <a:gd name="T18" fmla="*/ 31 w 43"/>
                <a:gd name="T19" fmla="*/ 17 h 57"/>
                <a:gd name="T20" fmla="*/ 26 w 43"/>
                <a:gd name="T21" fmla="*/ 2 h 57"/>
                <a:gd name="T22" fmla="*/ 31 w 43"/>
                <a:gd name="T23" fmla="*/ 9 h 57"/>
                <a:gd name="T24" fmla="*/ 26 w 43"/>
                <a:gd name="T25" fmla="*/ 9 h 57"/>
                <a:gd name="T26" fmla="*/ 26 w 43"/>
                <a:gd name="T27" fmla="*/ 2 h 57"/>
                <a:gd name="T28" fmla="*/ 11 w 43"/>
                <a:gd name="T29" fmla="*/ 9 h 57"/>
                <a:gd name="T30" fmla="*/ 16 w 43"/>
                <a:gd name="T31" fmla="*/ 9 h 57"/>
                <a:gd name="T32" fmla="*/ 17 w 43"/>
                <a:gd name="T33" fmla="*/ 16 h 57"/>
                <a:gd name="T34" fmla="*/ 11 w 43"/>
                <a:gd name="T35" fmla="*/ 9 h 57"/>
                <a:gd name="T36" fmla="*/ 22 w 43"/>
                <a:gd name="T37" fmla="*/ 52 h 57"/>
                <a:gd name="T38" fmla="*/ 6 w 43"/>
                <a:gd name="T39" fmla="*/ 36 h 57"/>
                <a:gd name="T40" fmla="*/ 21 w 43"/>
                <a:gd name="T41" fmla="*/ 21 h 57"/>
                <a:gd name="T42" fmla="*/ 37 w 43"/>
                <a:gd name="T43" fmla="*/ 36 h 57"/>
                <a:gd name="T44" fmla="*/ 22 w 43"/>
                <a:gd name="T45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57">
                  <a:moveTo>
                    <a:pt x="31" y="17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5" y="20"/>
                    <a:pt x="0" y="27"/>
                    <a:pt x="0" y="36"/>
                  </a:cubicBezTo>
                  <a:cubicBezTo>
                    <a:pt x="0" y="48"/>
                    <a:pt x="10" y="57"/>
                    <a:pt x="22" y="57"/>
                  </a:cubicBezTo>
                  <a:cubicBezTo>
                    <a:pt x="33" y="57"/>
                    <a:pt x="43" y="47"/>
                    <a:pt x="43" y="36"/>
                  </a:cubicBezTo>
                  <a:cubicBezTo>
                    <a:pt x="43" y="27"/>
                    <a:pt x="38" y="20"/>
                    <a:pt x="31" y="17"/>
                  </a:cubicBezTo>
                  <a:close/>
                  <a:moveTo>
                    <a:pt x="26" y="2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26" y="9"/>
                    <a:pt x="26" y="9"/>
                    <a:pt x="26" y="9"/>
                  </a:cubicBezTo>
                  <a:lnTo>
                    <a:pt x="26" y="2"/>
                  </a:lnTo>
                  <a:close/>
                  <a:moveTo>
                    <a:pt x="11" y="9"/>
                  </a:moveTo>
                  <a:cubicBezTo>
                    <a:pt x="16" y="9"/>
                    <a:pt x="16" y="9"/>
                    <a:pt x="16" y="9"/>
                  </a:cubicBezTo>
                  <a:cubicBezTo>
                    <a:pt x="17" y="16"/>
                    <a:pt x="17" y="16"/>
                    <a:pt x="17" y="16"/>
                  </a:cubicBezTo>
                  <a:lnTo>
                    <a:pt x="11" y="9"/>
                  </a:lnTo>
                  <a:close/>
                  <a:moveTo>
                    <a:pt x="22" y="52"/>
                  </a:moveTo>
                  <a:cubicBezTo>
                    <a:pt x="13" y="52"/>
                    <a:pt x="6" y="45"/>
                    <a:pt x="6" y="36"/>
                  </a:cubicBezTo>
                  <a:cubicBezTo>
                    <a:pt x="6" y="28"/>
                    <a:pt x="13" y="21"/>
                    <a:pt x="21" y="21"/>
                  </a:cubicBezTo>
                  <a:cubicBezTo>
                    <a:pt x="30" y="20"/>
                    <a:pt x="37" y="27"/>
                    <a:pt x="37" y="36"/>
                  </a:cubicBezTo>
                  <a:cubicBezTo>
                    <a:pt x="37" y="44"/>
                    <a:pt x="30" y="51"/>
                    <a:pt x="22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10" name="íSḻíḑè"/>
            <p:cNvSpPr/>
            <p:nvPr>
              <p:custDataLst>
                <p:tags r:id="rId204"/>
              </p:custDataLst>
            </p:nvPr>
          </p:nvSpPr>
          <p:spPr bwMode="auto">
            <a:xfrm flipH="1">
              <a:off x="2804820" y="2551728"/>
              <a:ext cx="84284" cy="110597"/>
            </a:xfrm>
            <a:custGeom>
              <a:avLst/>
              <a:gdLst>
                <a:gd name="T0" fmla="*/ 28 w 39"/>
                <a:gd name="T1" fmla="*/ 15 h 52"/>
                <a:gd name="T2" fmla="*/ 33 w 39"/>
                <a:gd name="T3" fmla="*/ 8 h 52"/>
                <a:gd name="T4" fmla="*/ 26 w 39"/>
                <a:gd name="T5" fmla="*/ 0 h 52"/>
                <a:gd name="T6" fmla="*/ 13 w 39"/>
                <a:gd name="T7" fmla="*/ 0 h 52"/>
                <a:gd name="T8" fmla="*/ 6 w 39"/>
                <a:gd name="T9" fmla="*/ 9 h 52"/>
                <a:gd name="T10" fmla="*/ 12 w 39"/>
                <a:gd name="T11" fmla="*/ 15 h 52"/>
                <a:gd name="T12" fmla="*/ 0 w 39"/>
                <a:gd name="T13" fmla="*/ 33 h 52"/>
                <a:gd name="T14" fmla="*/ 20 w 39"/>
                <a:gd name="T15" fmla="*/ 52 h 52"/>
                <a:gd name="T16" fmla="*/ 39 w 39"/>
                <a:gd name="T17" fmla="*/ 32 h 52"/>
                <a:gd name="T18" fmla="*/ 28 w 39"/>
                <a:gd name="T19" fmla="*/ 15 h 52"/>
                <a:gd name="T20" fmla="*/ 24 w 39"/>
                <a:gd name="T21" fmla="*/ 2 h 52"/>
                <a:gd name="T22" fmla="*/ 28 w 39"/>
                <a:gd name="T23" fmla="*/ 8 h 52"/>
                <a:gd name="T24" fmla="*/ 24 w 39"/>
                <a:gd name="T25" fmla="*/ 8 h 52"/>
                <a:gd name="T26" fmla="*/ 24 w 39"/>
                <a:gd name="T27" fmla="*/ 2 h 52"/>
                <a:gd name="T28" fmla="*/ 10 w 39"/>
                <a:gd name="T29" fmla="*/ 8 h 52"/>
                <a:gd name="T30" fmla="*/ 14 w 39"/>
                <a:gd name="T31" fmla="*/ 8 h 52"/>
                <a:gd name="T32" fmla="*/ 15 w 39"/>
                <a:gd name="T33" fmla="*/ 14 h 52"/>
                <a:gd name="T34" fmla="*/ 10 w 39"/>
                <a:gd name="T35" fmla="*/ 8 h 52"/>
                <a:gd name="T36" fmla="*/ 19 w 39"/>
                <a:gd name="T37" fmla="*/ 47 h 52"/>
                <a:gd name="T38" fmla="*/ 5 w 39"/>
                <a:gd name="T39" fmla="*/ 33 h 52"/>
                <a:gd name="T40" fmla="*/ 19 w 39"/>
                <a:gd name="T41" fmla="*/ 19 h 52"/>
                <a:gd name="T42" fmla="*/ 33 w 39"/>
                <a:gd name="T43" fmla="*/ 33 h 52"/>
                <a:gd name="T44" fmla="*/ 19 w 39"/>
                <a:gd name="T45" fmla="*/ 4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52">
                  <a:moveTo>
                    <a:pt x="28" y="15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8"/>
                    <a:pt x="0" y="25"/>
                    <a:pt x="0" y="33"/>
                  </a:cubicBezTo>
                  <a:cubicBezTo>
                    <a:pt x="0" y="44"/>
                    <a:pt x="9" y="52"/>
                    <a:pt x="20" y="52"/>
                  </a:cubicBezTo>
                  <a:cubicBezTo>
                    <a:pt x="30" y="52"/>
                    <a:pt x="39" y="43"/>
                    <a:pt x="39" y="32"/>
                  </a:cubicBezTo>
                  <a:cubicBezTo>
                    <a:pt x="39" y="25"/>
                    <a:pt x="34" y="18"/>
                    <a:pt x="28" y="15"/>
                  </a:cubicBezTo>
                  <a:close/>
                  <a:moveTo>
                    <a:pt x="24" y="2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2"/>
                  </a:lnTo>
                  <a:close/>
                  <a:moveTo>
                    <a:pt x="10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10" y="8"/>
                  </a:lnTo>
                  <a:close/>
                  <a:moveTo>
                    <a:pt x="19" y="47"/>
                  </a:moveTo>
                  <a:cubicBezTo>
                    <a:pt x="12" y="47"/>
                    <a:pt x="5" y="41"/>
                    <a:pt x="5" y="33"/>
                  </a:cubicBezTo>
                  <a:cubicBezTo>
                    <a:pt x="5" y="25"/>
                    <a:pt x="11" y="19"/>
                    <a:pt x="19" y="19"/>
                  </a:cubicBezTo>
                  <a:cubicBezTo>
                    <a:pt x="27" y="19"/>
                    <a:pt x="33" y="25"/>
                    <a:pt x="33" y="33"/>
                  </a:cubicBezTo>
                  <a:cubicBezTo>
                    <a:pt x="34" y="40"/>
                    <a:pt x="27" y="47"/>
                    <a:pt x="19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11" name="ïŝḷíḑe"/>
            <p:cNvSpPr/>
            <p:nvPr>
              <p:custDataLst>
                <p:tags r:id="rId205"/>
              </p:custDataLst>
            </p:nvPr>
          </p:nvSpPr>
          <p:spPr bwMode="auto">
            <a:xfrm flipH="1">
              <a:off x="3719747" y="2480165"/>
              <a:ext cx="85393" cy="110597"/>
            </a:xfrm>
            <a:custGeom>
              <a:avLst/>
              <a:gdLst>
                <a:gd name="T0" fmla="*/ 28 w 39"/>
                <a:gd name="T1" fmla="*/ 15 h 52"/>
                <a:gd name="T2" fmla="*/ 33 w 39"/>
                <a:gd name="T3" fmla="*/ 8 h 52"/>
                <a:gd name="T4" fmla="*/ 26 w 39"/>
                <a:gd name="T5" fmla="*/ 0 h 52"/>
                <a:gd name="T6" fmla="*/ 13 w 39"/>
                <a:gd name="T7" fmla="*/ 0 h 52"/>
                <a:gd name="T8" fmla="*/ 6 w 39"/>
                <a:gd name="T9" fmla="*/ 9 h 52"/>
                <a:gd name="T10" fmla="*/ 12 w 39"/>
                <a:gd name="T11" fmla="*/ 15 h 52"/>
                <a:gd name="T12" fmla="*/ 0 w 39"/>
                <a:gd name="T13" fmla="*/ 33 h 52"/>
                <a:gd name="T14" fmla="*/ 20 w 39"/>
                <a:gd name="T15" fmla="*/ 52 h 52"/>
                <a:gd name="T16" fmla="*/ 39 w 39"/>
                <a:gd name="T17" fmla="*/ 33 h 52"/>
                <a:gd name="T18" fmla="*/ 28 w 39"/>
                <a:gd name="T19" fmla="*/ 15 h 52"/>
                <a:gd name="T20" fmla="*/ 24 w 39"/>
                <a:gd name="T21" fmla="*/ 2 h 52"/>
                <a:gd name="T22" fmla="*/ 28 w 39"/>
                <a:gd name="T23" fmla="*/ 8 h 52"/>
                <a:gd name="T24" fmla="*/ 24 w 39"/>
                <a:gd name="T25" fmla="*/ 8 h 52"/>
                <a:gd name="T26" fmla="*/ 24 w 39"/>
                <a:gd name="T27" fmla="*/ 2 h 52"/>
                <a:gd name="T28" fmla="*/ 10 w 39"/>
                <a:gd name="T29" fmla="*/ 8 h 52"/>
                <a:gd name="T30" fmla="*/ 14 w 39"/>
                <a:gd name="T31" fmla="*/ 8 h 52"/>
                <a:gd name="T32" fmla="*/ 15 w 39"/>
                <a:gd name="T33" fmla="*/ 15 h 52"/>
                <a:gd name="T34" fmla="*/ 10 w 39"/>
                <a:gd name="T35" fmla="*/ 8 h 52"/>
                <a:gd name="T36" fmla="*/ 20 w 39"/>
                <a:gd name="T37" fmla="*/ 47 h 52"/>
                <a:gd name="T38" fmla="*/ 5 w 39"/>
                <a:gd name="T39" fmla="*/ 33 h 52"/>
                <a:gd name="T40" fmla="*/ 19 w 39"/>
                <a:gd name="T41" fmla="*/ 19 h 52"/>
                <a:gd name="T42" fmla="*/ 33 w 39"/>
                <a:gd name="T43" fmla="*/ 33 h 52"/>
                <a:gd name="T44" fmla="*/ 20 w 39"/>
                <a:gd name="T45" fmla="*/ 4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52">
                  <a:moveTo>
                    <a:pt x="28" y="15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8"/>
                    <a:pt x="0" y="25"/>
                    <a:pt x="0" y="33"/>
                  </a:cubicBezTo>
                  <a:cubicBezTo>
                    <a:pt x="0" y="44"/>
                    <a:pt x="9" y="52"/>
                    <a:pt x="20" y="52"/>
                  </a:cubicBezTo>
                  <a:cubicBezTo>
                    <a:pt x="30" y="52"/>
                    <a:pt x="39" y="43"/>
                    <a:pt x="39" y="33"/>
                  </a:cubicBezTo>
                  <a:cubicBezTo>
                    <a:pt x="39" y="25"/>
                    <a:pt x="34" y="19"/>
                    <a:pt x="28" y="15"/>
                  </a:cubicBezTo>
                  <a:close/>
                  <a:moveTo>
                    <a:pt x="24" y="2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2"/>
                  </a:lnTo>
                  <a:close/>
                  <a:moveTo>
                    <a:pt x="10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10" y="8"/>
                  </a:lnTo>
                  <a:close/>
                  <a:moveTo>
                    <a:pt x="20" y="47"/>
                  </a:moveTo>
                  <a:cubicBezTo>
                    <a:pt x="12" y="47"/>
                    <a:pt x="5" y="41"/>
                    <a:pt x="5" y="33"/>
                  </a:cubicBezTo>
                  <a:cubicBezTo>
                    <a:pt x="5" y="25"/>
                    <a:pt x="11" y="19"/>
                    <a:pt x="19" y="19"/>
                  </a:cubicBezTo>
                  <a:cubicBezTo>
                    <a:pt x="27" y="19"/>
                    <a:pt x="33" y="25"/>
                    <a:pt x="33" y="33"/>
                  </a:cubicBezTo>
                  <a:cubicBezTo>
                    <a:pt x="34" y="41"/>
                    <a:pt x="27" y="47"/>
                    <a:pt x="20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12" name="ï$1ïde"/>
            <p:cNvSpPr/>
            <p:nvPr>
              <p:custDataLst>
                <p:tags r:id="rId206"/>
              </p:custDataLst>
            </p:nvPr>
          </p:nvSpPr>
          <p:spPr bwMode="auto">
            <a:xfrm flipH="1">
              <a:off x="3336032" y="3077607"/>
              <a:ext cx="85393" cy="110597"/>
            </a:xfrm>
            <a:custGeom>
              <a:avLst/>
              <a:gdLst>
                <a:gd name="T0" fmla="*/ 28 w 39"/>
                <a:gd name="T1" fmla="*/ 15 h 52"/>
                <a:gd name="T2" fmla="*/ 34 w 39"/>
                <a:gd name="T3" fmla="*/ 8 h 52"/>
                <a:gd name="T4" fmla="*/ 27 w 39"/>
                <a:gd name="T5" fmla="*/ 0 h 52"/>
                <a:gd name="T6" fmla="*/ 13 w 39"/>
                <a:gd name="T7" fmla="*/ 0 h 52"/>
                <a:gd name="T8" fmla="*/ 6 w 39"/>
                <a:gd name="T9" fmla="*/ 9 h 52"/>
                <a:gd name="T10" fmla="*/ 12 w 39"/>
                <a:gd name="T11" fmla="*/ 15 h 52"/>
                <a:gd name="T12" fmla="*/ 0 w 39"/>
                <a:gd name="T13" fmla="*/ 33 h 52"/>
                <a:gd name="T14" fmla="*/ 20 w 39"/>
                <a:gd name="T15" fmla="*/ 52 h 52"/>
                <a:gd name="T16" fmla="*/ 39 w 39"/>
                <a:gd name="T17" fmla="*/ 33 h 52"/>
                <a:gd name="T18" fmla="*/ 28 w 39"/>
                <a:gd name="T19" fmla="*/ 15 h 52"/>
                <a:gd name="T20" fmla="*/ 24 w 39"/>
                <a:gd name="T21" fmla="*/ 2 h 52"/>
                <a:gd name="T22" fmla="*/ 28 w 39"/>
                <a:gd name="T23" fmla="*/ 8 h 52"/>
                <a:gd name="T24" fmla="*/ 24 w 39"/>
                <a:gd name="T25" fmla="*/ 8 h 52"/>
                <a:gd name="T26" fmla="*/ 24 w 39"/>
                <a:gd name="T27" fmla="*/ 2 h 52"/>
                <a:gd name="T28" fmla="*/ 10 w 39"/>
                <a:gd name="T29" fmla="*/ 8 h 52"/>
                <a:gd name="T30" fmla="*/ 14 w 39"/>
                <a:gd name="T31" fmla="*/ 8 h 52"/>
                <a:gd name="T32" fmla="*/ 15 w 39"/>
                <a:gd name="T33" fmla="*/ 15 h 52"/>
                <a:gd name="T34" fmla="*/ 10 w 39"/>
                <a:gd name="T35" fmla="*/ 8 h 52"/>
                <a:gd name="T36" fmla="*/ 20 w 39"/>
                <a:gd name="T37" fmla="*/ 47 h 52"/>
                <a:gd name="T38" fmla="*/ 5 w 39"/>
                <a:gd name="T39" fmla="*/ 33 h 52"/>
                <a:gd name="T40" fmla="*/ 19 w 39"/>
                <a:gd name="T41" fmla="*/ 19 h 52"/>
                <a:gd name="T42" fmla="*/ 34 w 39"/>
                <a:gd name="T43" fmla="*/ 33 h 52"/>
                <a:gd name="T44" fmla="*/ 20 w 39"/>
                <a:gd name="T45" fmla="*/ 4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52">
                  <a:moveTo>
                    <a:pt x="28" y="15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8"/>
                    <a:pt x="0" y="25"/>
                    <a:pt x="0" y="33"/>
                  </a:cubicBezTo>
                  <a:cubicBezTo>
                    <a:pt x="0" y="44"/>
                    <a:pt x="9" y="52"/>
                    <a:pt x="20" y="52"/>
                  </a:cubicBezTo>
                  <a:cubicBezTo>
                    <a:pt x="30" y="52"/>
                    <a:pt x="39" y="43"/>
                    <a:pt x="39" y="33"/>
                  </a:cubicBezTo>
                  <a:cubicBezTo>
                    <a:pt x="39" y="25"/>
                    <a:pt x="34" y="19"/>
                    <a:pt x="28" y="15"/>
                  </a:cubicBezTo>
                  <a:close/>
                  <a:moveTo>
                    <a:pt x="24" y="2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2"/>
                  </a:lnTo>
                  <a:close/>
                  <a:moveTo>
                    <a:pt x="10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10" y="8"/>
                  </a:lnTo>
                  <a:close/>
                  <a:moveTo>
                    <a:pt x="20" y="47"/>
                  </a:moveTo>
                  <a:cubicBezTo>
                    <a:pt x="12" y="47"/>
                    <a:pt x="6" y="41"/>
                    <a:pt x="5" y="33"/>
                  </a:cubicBezTo>
                  <a:cubicBezTo>
                    <a:pt x="5" y="25"/>
                    <a:pt x="12" y="19"/>
                    <a:pt x="19" y="19"/>
                  </a:cubicBezTo>
                  <a:cubicBezTo>
                    <a:pt x="27" y="19"/>
                    <a:pt x="34" y="25"/>
                    <a:pt x="34" y="33"/>
                  </a:cubicBezTo>
                  <a:cubicBezTo>
                    <a:pt x="34" y="41"/>
                    <a:pt x="28" y="47"/>
                    <a:pt x="20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</a:p>
          </p:txBody>
        </p:sp>
        <p:sp>
          <p:nvSpPr>
            <p:cNvPr id="313" name="iSḻídê"/>
            <p:cNvSpPr/>
            <p:nvPr>
              <p:custDataLst>
                <p:tags r:id="rId207"/>
              </p:custDataLst>
            </p:nvPr>
          </p:nvSpPr>
          <p:spPr bwMode="auto">
            <a:xfrm flipH="1">
              <a:off x="4084608" y="3264104"/>
              <a:ext cx="181876" cy="185413"/>
            </a:xfrm>
            <a:custGeom>
              <a:avLst/>
              <a:gdLst>
                <a:gd name="T0" fmla="*/ 0 w 84"/>
                <a:gd name="T1" fmla="*/ 79 h 87"/>
                <a:gd name="T2" fmla="*/ 0 w 84"/>
                <a:gd name="T3" fmla="*/ 87 h 87"/>
                <a:gd name="T4" fmla="*/ 15 w 84"/>
                <a:gd name="T5" fmla="*/ 87 h 87"/>
                <a:gd name="T6" fmla="*/ 51 w 84"/>
                <a:gd name="T7" fmla="*/ 87 h 87"/>
                <a:gd name="T8" fmla="*/ 65 w 84"/>
                <a:gd name="T9" fmla="*/ 87 h 87"/>
                <a:gd name="T10" fmla="*/ 65 w 84"/>
                <a:gd name="T11" fmla="*/ 79 h 87"/>
                <a:gd name="T12" fmla="*/ 59 w 84"/>
                <a:gd name="T13" fmla="*/ 79 h 87"/>
                <a:gd name="T14" fmla="*/ 59 w 84"/>
                <a:gd name="T15" fmla="*/ 69 h 87"/>
                <a:gd name="T16" fmla="*/ 72 w 84"/>
                <a:gd name="T17" fmla="*/ 69 h 87"/>
                <a:gd name="T18" fmla="*/ 84 w 84"/>
                <a:gd name="T19" fmla="*/ 57 h 87"/>
                <a:gd name="T20" fmla="*/ 84 w 84"/>
                <a:gd name="T21" fmla="*/ 20 h 87"/>
                <a:gd name="T22" fmla="*/ 72 w 84"/>
                <a:gd name="T23" fmla="*/ 8 h 87"/>
                <a:gd name="T24" fmla="*/ 62 w 84"/>
                <a:gd name="T25" fmla="*/ 8 h 87"/>
                <a:gd name="T26" fmla="*/ 62 w 84"/>
                <a:gd name="T27" fmla="*/ 16 h 87"/>
                <a:gd name="T28" fmla="*/ 69 w 84"/>
                <a:gd name="T29" fmla="*/ 16 h 87"/>
                <a:gd name="T30" fmla="*/ 67 w 84"/>
                <a:gd name="T31" fmla="*/ 21 h 87"/>
                <a:gd name="T32" fmla="*/ 75 w 84"/>
                <a:gd name="T33" fmla="*/ 28 h 87"/>
                <a:gd name="T34" fmla="*/ 76 w 84"/>
                <a:gd name="T35" fmla="*/ 28 h 87"/>
                <a:gd name="T36" fmla="*/ 76 w 84"/>
                <a:gd name="T37" fmla="*/ 57 h 87"/>
                <a:gd name="T38" fmla="*/ 72 w 84"/>
                <a:gd name="T39" fmla="*/ 61 h 87"/>
                <a:gd name="T40" fmla="*/ 59 w 84"/>
                <a:gd name="T41" fmla="*/ 61 h 87"/>
                <a:gd name="T42" fmla="*/ 59 w 84"/>
                <a:gd name="T43" fmla="*/ 16 h 87"/>
                <a:gd name="T44" fmla="*/ 59 w 84"/>
                <a:gd name="T45" fmla="*/ 8 h 87"/>
                <a:gd name="T46" fmla="*/ 51 w 84"/>
                <a:gd name="T47" fmla="*/ 0 h 87"/>
                <a:gd name="T48" fmla="*/ 15 w 84"/>
                <a:gd name="T49" fmla="*/ 0 h 87"/>
                <a:gd name="T50" fmla="*/ 6 w 84"/>
                <a:gd name="T51" fmla="*/ 8 h 87"/>
                <a:gd name="T52" fmla="*/ 6 w 84"/>
                <a:gd name="T53" fmla="*/ 79 h 87"/>
                <a:gd name="T54" fmla="*/ 0 w 84"/>
                <a:gd name="T55" fmla="*/ 79 h 87"/>
                <a:gd name="T56" fmla="*/ 75 w 84"/>
                <a:gd name="T57" fmla="*/ 25 h 87"/>
                <a:gd name="T58" fmla="*/ 70 w 84"/>
                <a:gd name="T59" fmla="*/ 21 h 87"/>
                <a:gd name="T60" fmla="*/ 75 w 84"/>
                <a:gd name="T61" fmla="*/ 16 h 87"/>
                <a:gd name="T62" fmla="*/ 76 w 84"/>
                <a:gd name="T63" fmla="*/ 17 h 87"/>
                <a:gd name="T64" fmla="*/ 74 w 84"/>
                <a:gd name="T65" fmla="*/ 20 h 87"/>
                <a:gd name="T66" fmla="*/ 74 w 84"/>
                <a:gd name="T67" fmla="*/ 22 h 87"/>
                <a:gd name="T68" fmla="*/ 75 w 84"/>
                <a:gd name="T69" fmla="*/ 22 h 87"/>
                <a:gd name="T70" fmla="*/ 77 w 84"/>
                <a:gd name="T71" fmla="*/ 21 h 87"/>
                <a:gd name="T72" fmla="*/ 77 w 84"/>
                <a:gd name="T73" fmla="*/ 21 h 87"/>
                <a:gd name="T74" fmla="*/ 75 w 84"/>
                <a:gd name="T75" fmla="*/ 25 h 87"/>
                <a:gd name="T76" fmla="*/ 16 w 84"/>
                <a:gd name="T77" fmla="*/ 39 h 87"/>
                <a:gd name="T78" fmla="*/ 18 w 84"/>
                <a:gd name="T79" fmla="*/ 37 h 87"/>
                <a:gd name="T80" fmla="*/ 47 w 84"/>
                <a:gd name="T81" fmla="*/ 37 h 87"/>
                <a:gd name="T82" fmla="*/ 49 w 84"/>
                <a:gd name="T83" fmla="*/ 39 h 87"/>
                <a:gd name="T84" fmla="*/ 49 w 84"/>
                <a:gd name="T85" fmla="*/ 41 h 87"/>
                <a:gd name="T86" fmla="*/ 47 w 84"/>
                <a:gd name="T87" fmla="*/ 43 h 87"/>
                <a:gd name="T88" fmla="*/ 18 w 84"/>
                <a:gd name="T89" fmla="*/ 43 h 87"/>
                <a:gd name="T90" fmla="*/ 16 w 84"/>
                <a:gd name="T91" fmla="*/ 41 h 87"/>
                <a:gd name="T92" fmla="*/ 16 w 84"/>
                <a:gd name="T93" fmla="*/ 39 h 87"/>
                <a:gd name="T94" fmla="*/ 16 w 84"/>
                <a:gd name="T95" fmla="*/ 11 h 87"/>
                <a:gd name="T96" fmla="*/ 18 w 84"/>
                <a:gd name="T97" fmla="*/ 9 h 87"/>
                <a:gd name="T98" fmla="*/ 47 w 84"/>
                <a:gd name="T99" fmla="*/ 9 h 87"/>
                <a:gd name="T100" fmla="*/ 49 w 84"/>
                <a:gd name="T101" fmla="*/ 11 h 87"/>
                <a:gd name="T102" fmla="*/ 49 w 84"/>
                <a:gd name="T103" fmla="*/ 26 h 87"/>
                <a:gd name="T104" fmla="*/ 47 w 84"/>
                <a:gd name="T105" fmla="*/ 29 h 87"/>
                <a:gd name="T106" fmla="*/ 18 w 84"/>
                <a:gd name="T107" fmla="*/ 29 h 87"/>
                <a:gd name="T108" fmla="*/ 16 w 84"/>
                <a:gd name="T109" fmla="*/ 26 h 87"/>
                <a:gd name="T110" fmla="*/ 16 w 84"/>
                <a:gd name="T111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4" h="87">
                  <a:moveTo>
                    <a:pt x="0" y="79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9" y="69"/>
                    <a:pt x="84" y="63"/>
                    <a:pt x="84" y="57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14"/>
                    <a:pt x="79" y="8"/>
                    <a:pt x="7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8" y="18"/>
                    <a:pt x="67" y="19"/>
                    <a:pt x="67" y="21"/>
                  </a:cubicBezTo>
                  <a:cubicBezTo>
                    <a:pt x="67" y="25"/>
                    <a:pt x="71" y="28"/>
                    <a:pt x="75" y="28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9"/>
                    <a:pt x="74" y="61"/>
                    <a:pt x="72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4"/>
                    <a:pt x="55" y="0"/>
                    <a:pt x="5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6" y="4"/>
                    <a:pt x="6" y="8"/>
                  </a:cubicBezTo>
                  <a:cubicBezTo>
                    <a:pt x="6" y="79"/>
                    <a:pt x="6" y="79"/>
                    <a:pt x="6" y="79"/>
                  </a:cubicBezTo>
                  <a:lnTo>
                    <a:pt x="0" y="79"/>
                  </a:lnTo>
                  <a:close/>
                  <a:moveTo>
                    <a:pt x="75" y="25"/>
                  </a:moveTo>
                  <a:cubicBezTo>
                    <a:pt x="72" y="25"/>
                    <a:pt x="70" y="23"/>
                    <a:pt x="70" y="21"/>
                  </a:cubicBezTo>
                  <a:cubicBezTo>
                    <a:pt x="70" y="18"/>
                    <a:pt x="72" y="16"/>
                    <a:pt x="75" y="16"/>
                  </a:cubicBezTo>
                  <a:cubicBezTo>
                    <a:pt x="76" y="16"/>
                    <a:pt x="76" y="17"/>
                    <a:pt x="76" y="17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20"/>
                    <a:pt x="73" y="21"/>
                    <a:pt x="74" y="22"/>
                  </a:cubicBezTo>
                  <a:cubicBezTo>
                    <a:pt x="74" y="22"/>
                    <a:pt x="75" y="22"/>
                    <a:pt x="75" y="22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3"/>
                    <a:pt x="77" y="25"/>
                    <a:pt x="75" y="25"/>
                  </a:cubicBezTo>
                  <a:close/>
                  <a:moveTo>
                    <a:pt x="16" y="39"/>
                  </a:moveTo>
                  <a:cubicBezTo>
                    <a:pt x="16" y="38"/>
                    <a:pt x="17" y="37"/>
                    <a:pt x="18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8" y="37"/>
                    <a:pt x="49" y="38"/>
                    <a:pt x="49" y="39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2"/>
                    <a:pt x="48" y="43"/>
                    <a:pt x="47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7" y="43"/>
                    <a:pt x="16" y="42"/>
                    <a:pt x="16" y="41"/>
                  </a:cubicBezTo>
                  <a:lnTo>
                    <a:pt x="16" y="39"/>
                  </a:lnTo>
                  <a:close/>
                  <a:moveTo>
                    <a:pt x="16" y="11"/>
                  </a:moveTo>
                  <a:cubicBezTo>
                    <a:pt x="16" y="10"/>
                    <a:pt x="17" y="9"/>
                    <a:pt x="18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9"/>
                    <a:pt x="49" y="10"/>
                    <a:pt x="49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7"/>
                    <a:pt x="48" y="29"/>
                    <a:pt x="47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29"/>
                    <a:pt x="16" y="27"/>
                    <a:pt x="16" y="26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52500" lnSpcReduction="20000"/>
            </a:bodyPr>
            <a:lstStyle/>
            <a:p>
              <a:pPr algn="ctr"/>
            </a:p>
          </p:txBody>
        </p:sp>
        <p:sp>
          <p:nvSpPr>
            <p:cNvPr id="314" name="is1íḑé"/>
            <p:cNvSpPr/>
            <p:nvPr/>
          </p:nvSpPr>
          <p:spPr bwMode="auto">
            <a:xfrm flipH="1">
              <a:off x="2202632" y="2737141"/>
              <a:ext cx="1126746" cy="830563"/>
            </a:xfrm>
            <a:custGeom>
              <a:avLst/>
              <a:gdLst>
                <a:gd name="T0" fmla="*/ 516 w 520"/>
                <a:gd name="T1" fmla="*/ 252 h 392"/>
                <a:gd name="T2" fmla="*/ 456 w 520"/>
                <a:gd name="T3" fmla="*/ 22 h 392"/>
                <a:gd name="T4" fmla="*/ 424 w 520"/>
                <a:gd name="T5" fmla="*/ 4 h 392"/>
                <a:gd name="T6" fmla="*/ 266 w 520"/>
                <a:gd name="T7" fmla="*/ 45 h 392"/>
                <a:gd name="T8" fmla="*/ 256 w 520"/>
                <a:gd name="T9" fmla="*/ 6 h 392"/>
                <a:gd name="T10" fmla="*/ 248 w 520"/>
                <a:gd name="T11" fmla="*/ 1 h 392"/>
                <a:gd name="T12" fmla="*/ 232 w 520"/>
                <a:gd name="T13" fmla="*/ 5 h 392"/>
                <a:gd name="T14" fmla="*/ 232 w 520"/>
                <a:gd name="T15" fmla="*/ 27 h 392"/>
                <a:gd name="T16" fmla="*/ 239 w 520"/>
                <a:gd name="T17" fmla="*/ 25 h 392"/>
                <a:gd name="T18" fmla="*/ 245 w 520"/>
                <a:gd name="T19" fmla="*/ 50 h 392"/>
                <a:gd name="T20" fmla="*/ 174 w 520"/>
                <a:gd name="T21" fmla="*/ 69 h 392"/>
                <a:gd name="T22" fmla="*/ 170 w 520"/>
                <a:gd name="T23" fmla="*/ 53 h 392"/>
                <a:gd name="T24" fmla="*/ 145 w 520"/>
                <a:gd name="T25" fmla="*/ 29 h 392"/>
                <a:gd name="T26" fmla="*/ 143 w 520"/>
                <a:gd name="T27" fmla="*/ 35 h 392"/>
                <a:gd name="T28" fmla="*/ 153 w 520"/>
                <a:gd name="T29" fmla="*/ 74 h 392"/>
                <a:gd name="T30" fmla="*/ 23 w 520"/>
                <a:gd name="T31" fmla="*/ 108 h 392"/>
                <a:gd name="T32" fmla="*/ 4 w 520"/>
                <a:gd name="T33" fmla="*/ 140 h 392"/>
                <a:gd name="T34" fmla="*/ 64 w 520"/>
                <a:gd name="T35" fmla="*/ 370 h 392"/>
                <a:gd name="T36" fmla="*/ 96 w 520"/>
                <a:gd name="T37" fmla="*/ 388 h 392"/>
                <a:gd name="T38" fmla="*/ 497 w 520"/>
                <a:gd name="T39" fmla="*/ 284 h 392"/>
                <a:gd name="T40" fmla="*/ 516 w 520"/>
                <a:gd name="T41" fmla="*/ 25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0" h="392">
                  <a:moveTo>
                    <a:pt x="516" y="252"/>
                  </a:moveTo>
                  <a:cubicBezTo>
                    <a:pt x="456" y="22"/>
                    <a:pt x="456" y="22"/>
                    <a:pt x="456" y="22"/>
                  </a:cubicBezTo>
                  <a:cubicBezTo>
                    <a:pt x="452" y="8"/>
                    <a:pt x="438" y="0"/>
                    <a:pt x="424" y="4"/>
                  </a:cubicBezTo>
                  <a:cubicBezTo>
                    <a:pt x="266" y="45"/>
                    <a:pt x="266" y="45"/>
                    <a:pt x="266" y="45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255" y="2"/>
                    <a:pt x="251" y="0"/>
                    <a:pt x="248" y="1"/>
                  </a:cubicBezTo>
                  <a:cubicBezTo>
                    <a:pt x="232" y="5"/>
                    <a:pt x="232" y="5"/>
                    <a:pt x="232" y="5"/>
                  </a:cubicBezTo>
                  <a:cubicBezTo>
                    <a:pt x="232" y="11"/>
                    <a:pt x="232" y="20"/>
                    <a:pt x="232" y="27"/>
                  </a:cubicBezTo>
                  <a:cubicBezTo>
                    <a:pt x="239" y="25"/>
                    <a:pt x="239" y="25"/>
                    <a:pt x="239" y="25"/>
                  </a:cubicBezTo>
                  <a:cubicBezTo>
                    <a:pt x="245" y="50"/>
                    <a:pt x="245" y="50"/>
                    <a:pt x="245" y="50"/>
                  </a:cubicBezTo>
                  <a:cubicBezTo>
                    <a:pt x="174" y="69"/>
                    <a:pt x="174" y="69"/>
                    <a:pt x="174" y="69"/>
                  </a:cubicBezTo>
                  <a:cubicBezTo>
                    <a:pt x="170" y="53"/>
                    <a:pt x="170" y="53"/>
                    <a:pt x="170" y="53"/>
                  </a:cubicBezTo>
                  <a:cubicBezTo>
                    <a:pt x="161" y="48"/>
                    <a:pt x="149" y="39"/>
                    <a:pt x="145" y="29"/>
                  </a:cubicBezTo>
                  <a:cubicBezTo>
                    <a:pt x="143" y="31"/>
                    <a:pt x="142" y="33"/>
                    <a:pt x="143" y="35"/>
                  </a:cubicBezTo>
                  <a:cubicBezTo>
                    <a:pt x="153" y="74"/>
                    <a:pt x="153" y="74"/>
                    <a:pt x="153" y="74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9" y="112"/>
                    <a:pt x="0" y="126"/>
                    <a:pt x="4" y="140"/>
                  </a:cubicBezTo>
                  <a:cubicBezTo>
                    <a:pt x="64" y="370"/>
                    <a:pt x="64" y="370"/>
                    <a:pt x="64" y="370"/>
                  </a:cubicBezTo>
                  <a:cubicBezTo>
                    <a:pt x="67" y="384"/>
                    <a:pt x="82" y="392"/>
                    <a:pt x="96" y="388"/>
                  </a:cubicBezTo>
                  <a:cubicBezTo>
                    <a:pt x="497" y="284"/>
                    <a:pt x="497" y="284"/>
                    <a:pt x="497" y="284"/>
                  </a:cubicBezTo>
                  <a:cubicBezTo>
                    <a:pt x="511" y="280"/>
                    <a:pt x="520" y="266"/>
                    <a:pt x="516" y="2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2" name="组合 1"/>
          <p:cNvGrpSpPr/>
          <p:nvPr>
            <p:custDataLst>
              <p:tags r:id="rId208"/>
            </p:custDataLst>
          </p:nvPr>
        </p:nvGrpSpPr>
        <p:grpSpPr>
          <a:xfrm>
            <a:off x="966238" y="5346977"/>
            <a:ext cx="1680847" cy="1111093"/>
            <a:chOff x="966238" y="5018047"/>
            <a:chExt cx="1680847" cy="1111093"/>
          </a:xfrm>
        </p:grpSpPr>
        <p:sp>
          <p:nvSpPr>
            <p:cNvPr id="49" name="iṩļíḓè"/>
            <p:cNvSpPr/>
            <p:nvPr>
              <p:custDataLst>
                <p:tags r:id="rId209"/>
              </p:custDataLst>
            </p:nvPr>
          </p:nvSpPr>
          <p:spPr bwMode="auto">
            <a:xfrm>
              <a:off x="966238" y="5018047"/>
              <a:ext cx="1680847" cy="1111093"/>
            </a:xfrm>
            <a:custGeom>
              <a:avLst/>
              <a:gdLst>
                <a:gd name="T0" fmla="*/ 1124 w 1124"/>
                <a:gd name="T1" fmla="*/ 440 h 743"/>
                <a:gd name="T2" fmla="*/ 734 w 1124"/>
                <a:gd name="T3" fmla="*/ 440 h 743"/>
                <a:gd name="T4" fmla="*/ 481 w 1124"/>
                <a:gd name="T5" fmla="*/ 743 h 743"/>
                <a:gd name="T6" fmla="*/ 478 w 1124"/>
                <a:gd name="T7" fmla="*/ 440 h 743"/>
                <a:gd name="T8" fmla="*/ 0 w 1124"/>
                <a:gd name="T9" fmla="*/ 440 h 743"/>
                <a:gd name="T10" fmla="*/ 0 w 1124"/>
                <a:gd name="T11" fmla="*/ 0 h 743"/>
                <a:gd name="T12" fmla="*/ 1124 w 1124"/>
                <a:gd name="T13" fmla="*/ 0 h 743"/>
                <a:gd name="T14" fmla="*/ 1124 w 1124"/>
                <a:gd name="T15" fmla="*/ 44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4" h="743">
                  <a:moveTo>
                    <a:pt x="1124" y="440"/>
                  </a:moveTo>
                  <a:lnTo>
                    <a:pt x="734" y="440"/>
                  </a:lnTo>
                  <a:lnTo>
                    <a:pt x="481" y="743"/>
                  </a:lnTo>
                  <a:lnTo>
                    <a:pt x="478" y="440"/>
                  </a:lnTo>
                  <a:lnTo>
                    <a:pt x="0" y="440"/>
                  </a:lnTo>
                  <a:lnTo>
                    <a:pt x="0" y="0"/>
                  </a:lnTo>
                  <a:lnTo>
                    <a:pt x="1124" y="0"/>
                  </a:lnTo>
                  <a:lnTo>
                    <a:pt x="1124" y="440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52" name="ïśļïḋe"/>
            <p:cNvSpPr txBox="1"/>
            <p:nvPr>
              <p:custDataLst>
                <p:tags r:id="rId210"/>
              </p:custDataLst>
            </p:nvPr>
          </p:nvSpPr>
          <p:spPr>
            <a:xfrm>
              <a:off x="1108493" y="5184099"/>
              <a:ext cx="1411677" cy="3953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i="1" dirty="0">
                  <a:solidFill>
                    <a:schemeClr val="bg1"/>
                  </a:solidFill>
                </a:rPr>
                <a:t>优质硬件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组合 2"/>
          <p:cNvGrpSpPr/>
          <p:nvPr>
            <p:custDataLst>
              <p:tags r:id="rId211"/>
            </p:custDataLst>
          </p:nvPr>
        </p:nvGrpSpPr>
        <p:grpSpPr>
          <a:xfrm>
            <a:off x="2030972" y="4128429"/>
            <a:ext cx="1680847" cy="1111093"/>
            <a:chOff x="2030972" y="4306229"/>
            <a:chExt cx="1680847" cy="1111093"/>
          </a:xfrm>
        </p:grpSpPr>
        <p:sp>
          <p:nvSpPr>
            <p:cNvPr id="50" name="ïšliḍè"/>
            <p:cNvSpPr/>
            <p:nvPr>
              <p:custDataLst>
                <p:tags r:id="rId212"/>
              </p:custDataLst>
            </p:nvPr>
          </p:nvSpPr>
          <p:spPr bwMode="auto">
            <a:xfrm>
              <a:off x="2030972" y="4306229"/>
              <a:ext cx="1680847" cy="1111093"/>
            </a:xfrm>
            <a:custGeom>
              <a:avLst/>
              <a:gdLst>
                <a:gd name="T0" fmla="*/ 1124 w 1124"/>
                <a:gd name="T1" fmla="*/ 440 h 743"/>
                <a:gd name="T2" fmla="*/ 734 w 1124"/>
                <a:gd name="T3" fmla="*/ 440 h 743"/>
                <a:gd name="T4" fmla="*/ 481 w 1124"/>
                <a:gd name="T5" fmla="*/ 743 h 743"/>
                <a:gd name="T6" fmla="*/ 478 w 1124"/>
                <a:gd name="T7" fmla="*/ 440 h 743"/>
                <a:gd name="T8" fmla="*/ 0 w 1124"/>
                <a:gd name="T9" fmla="*/ 440 h 743"/>
                <a:gd name="T10" fmla="*/ 0 w 1124"/>
                <a:gd name="T11" fmla="*/ 0 h 743"/>
                <a:gd name="T12" fmla="*/ 1124 w 1124"/>
                <a:gd name="T13" fmla="*/ 0 h 743"/>
                <a:gd name="T14" fmla="*/ 1124 w 1124"/>
                <a:gd name="T15" fmla="*/ 44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4" h="743">
                  <a:moveTo>
                    <a:pt x="1124" y="440"/>
                  </a:moveTo>
                  <a:lnTo>
                    <a:pt x="734" y="440"/>
                  </a:lnTo>
                  <a:lnTo>
                    <a:pt x="481" y="743"/>
                  </a:lnTo>
                  <a:lnTo>
                    <a:pt x="478" y="440"/>
                  </a:lnTo>
                  <a:lnTo>
                    <a:pt x="0" y="440"/>
                  </a:lnTo>
                  <a:lnTo>
                    <a:pt x="0" y="0"/>
                  </a:lnTo>
                  <a:lnTo>
                    <a:pt x="1124" y="0"/>
                  </a:lnTo>
                  <a:lnTo>
                    <a:pt x="1124" y="4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59" name="íś1ide"/>
            <p:cNvSpPr txBox="1"/>
            <p:nvPr>
              <p:custDataLst>
                <p:tags r:id="rId213"/>
              </p:custDataLst>
            </p:nvPr>
          </p:nvSpPr>
          <p:spPr>
            <a:xfrm>
              <a:off x="2126294" y="4445855"/>
              <a:ext cx="1411677" cy="3953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i="1" dirty="0">
                  <a:solidFill>
                    <a:schemeClr val="bg1"/>
                  </a:solidFill>
                </a:rPr>
                <a:t>产品制造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组合 6"/>
          <p:cNvGrpSpPr/>
          <p:nvPr>
            <p:custDataLst>
              <p:tags r:id="rId214"/>
            </p:custDataLst>
          </p:nvPr>
        </p:nvGrpSpPr>
        <p:grpSpPr>
          <a:xfrm>
            <a:off x="3097204" y="3046223"/>
            <a:ext cx="1679352" cy="1108102"/>
            <a:chOff x="3097204" y="3597403"/>
            <a:chExt cx="1679352" cy="1108102"/>
          </a:xfrm>
        </p:grpSpPr>
        <p:sp>
          <p:nvSpPr>
            <p:cNvPr id="74" name="ïşļíḓè"/>
            <p:cNvSpPr/>
            <p:nvPr>
              <p:custDataLst>
                <p:tags r:id="rId215"/>
              </p:custDataLst>
            </p:nvPr>
          </p:nvSpPr>
          <p:spPr bwMode="auto">
            <a:xfrm>
              <a:off x="3097204" y="3597403"/>
              <a:ext cx="1679352" cy="1108102"/>
            </a:xfrm>
            <a:custGeom>
              <a:avLst/>
              <a:gdLst>
                <a:gd name="T0" fmla="*/ 1123 w 1123"/>
                <a:gd name="T1" fmla="*/ 440 h 741"/>
                <a:gd name="T2" fmla="*/ 733 w 1123"/>
                <a:gd name="T3" fmla="*/ 440 h 741"/>
                <a:gd name="T4" fmla="*/ 482 w 1123"/>
                <a:gd name="T5" fmla="*/ 741 h 741"/>
                <a:gd name="T6" fmla="*/ 480 w 1123"/>
                <a:gd name="T7" fmla="*/ 440 h 741"/>
                <a:gd name="T8" fmla="*/ 0 w 1123"/>
                <a:gd name="T9" fmla="*/ 440 h 741"/>
                <a:gd name="T10" fmla="*/ 0 w 1123"/>
                <a:gd name="T11" fmla="*/ 0 h 741"/>
                <a:gd name="T12" fmla="*/ 1123 w 1123"/>
                <a:gd name="T13" fmla="*/ 0 h 741"/>
                <a:gd name="T14" fmla="*/ 1123 w 1123"/>
                <a:gd name="T15" fmla="*/ 440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3" h="741">
                  <a:moveTo>
                    <a:pt x="1123" y="440"/>
                  </a:moveTo>
                  <a:lnTo>
                    <a:pt x="733" y="440"/>
                  </a:lnTo>
                  <a:lnTo>
                    <a:pt x="482" y="741"/>
                  </a:lnTo>
                  <a:lnTo>
                    <a:pt x="480" y="440"/>
                  </a:lnTo>
                  <a:lnTo>
                    <a:pt x="0" y="440"/>
                  </a:lnTo>
                  <a:lnTo>
                    <a:pt x="0" y="0"/>
                  </a:lnTo>
                  <a:lnTo>
                    <a:pt x="1123" y="0"/>
                  </a:lnTo>
                  <a:lnTo>
                    <a:pt x="1123" y="440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76" name="iŝľíḓè"/>
            <p:cNvSpPr txBox="1"/>
            <p:nvPr>
              <p:custDataLst>
                <p:tags r:id="rId216"/>
              </p:custDataLst>
            </p:nvPr>
          </p:nvSpPr>
          <p:spPr>
            <a:xfrm>
              <a:off x="3248103" y="3747644"/>
              <a:ext cx="1411677" cy="3953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i="1" dirty="0">
                  <a:solidFill>
                    <a:schemeClr val="bg1"/>
                  </a:solidFill>
                </a:rPr>
                <a:t>产品设计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组合 5"/>
          <p:cNvGrpSpPr/>
          <p:nvPr>
            <p:custDataLst>
              <p:tags r:id="rId217"/>
            </p:custDataLst>
          </p:nvPr>
        </p:nvGrpSpPr>
        <p:grpSpPr>
          <a:xfrm>
            <a:off x="4157454" y="1911311"/>
            <a:ext cx="1680847" cy="1109597"/>
            <a:chOff x="4157454" y="2888576"/>
            <a:chExt cx="1680847" cy="1109597"/>
          </a:xfrm>
        </p:grpSpPr>
        <p:sp>
          <p:nvSpPr>
            <p:cNvPr id="51" name="îṣļíḓé"/>
            <p:cNvSpPr/>
            <p:nvPr>
              <p:custDataLst>
                <p:tags r:id="rId218"/>
              </p:custDataLst>
            </p:nvPr>
          </p:nvSpPr>
          <p:spPr bwMode="auto">
            <a:xfrm>
              <a:off x="4157454" y="2888576"/>
              <a:ext cx="1680847" cy="1109597"/>
            </a:xfrm>
            <a:custGeom>
              <a:avLst/>
              <a:gdLst>
                <a:gd name="T0" fmla="*/ 1124 w 1124"/>
                <a:gd name="T1" fmla="*/ 441 h 742"/>
                <a:gd name="T2" fmla="*/ 734 w 1124"/>
                <a:gd name="T3" fmla="*/ 441 h 742"/>
                <a:gd name="T4" fmla="*/ 483 w 1124"/>
                <a:gd name="T5" fmla="*/ 742 h 742"/>
                <a:gd name="T6" fmla="*/ 481 w 1124"/>
                <a:gd name="T7" fmla="*/ 441 h 742"/>
                <a:gd name="T8" fmla="*/ 0 w 1124"/>
                <a:gd name="T9" fmla="*/ 441 h 742"/>
                <a:gd name="T10" fmla="*/ 0 w 1124"/>
                <a:gd name="T11" fmla="*/ 0 h 742"/>
                <a:gd name="T12" fmla="*/ 1124 w 1124"/>
                <a:gd name="T13" fmla="*/ 0 h 742"/>
                <a:gd name="T14" fmla="*/ 1124 w 1124"/>
                <a:gd name="T15" fmla="*/ 441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4" h="742">
                  <a:moveTo>
                    <a:pt x="1124" y="441"/>
                  </a:moveTo>
                  <a:lnTo>
                    <a:pt x="734" y="441"/>
                  </a:lnTo>
                  <a:lnTo>
                    <a:pt x="483" y="742"/>
                  </a:lnTo>
                  <a:lnTo>
                    <a:pt x="481" y="441"/>
                  </a:lnTo>
                  <a:lnTo>
                    <a:pt x="0" y="441"/>
                  </a:lnTo>
                  <a:lnTo>
                    <a:pt x="0" y="0"/>
                  </a:lnTo>
                  <a:lnTo>
                    <a:pt x="1124" y="0"/>
                  </a:lnTo>
                  <a:lnTo>
                    <a:pt x="1124" y="4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83" name="íṣļîḑe"/>
            <p:cNvSpPr txBox="1"/>
            <p:nvPr>
              <p:custDataLst>
                <p:tags r:id="rId219"/>
              </p:custDataLst>
            </p:nvPr>
          </p:nvSpPr>
          <p:spPr>
            <a:xfrm>
              <a:off x="4290127" y="3027345"/>
              <a:ext cx="1411677" cy="3953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i="1" dirty="0">
                  <a:solidFill>
                    <a:schemeClr val="bg1"/>
                  </a:solidFill>
                </a:rPr>
                <a:t>研发智造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组合 4"/>
          <p:cNvGrpSpPr/>
          <p:nvPr>
            <p:custDataLst>
              <p:tags r:id="rId220"/>
            </p:custDataLst>
          </p:nvPr>
        </p:nvGrpSpPr>
        <p:grpSpPr>
          <a:xfrm>
            <a:off x="5213245" y="1039219"/>
            <a:ext cx="1679352" cy="1108102"/>
            <a:chOff x="5213245" y="2150469"/>
            <a:chExt cx="1679352" cy="1108102"/>
          </a:xfrm>
        </p:grpSpPr>
        <p:sp>
          <p:nvSpPr>
            <p:cNvPr id="85" name="is1ídè"/>
            <p:cNvSpPr/>
            <p:nvPr>
              <p:custDataLst>
                <p:tags r:id="rId221"/>
              </p:custDataLst>
            </p:nvPr>
          </p:nvSpPr>
          <p:spPr bwMode="auto">
            <a:xfrm>
              <a:off x="5213245" y="2150469"/>
              <a:ext cx="1679352" cy="1108102"/>
            </a:xfrm>
            <a:custGeom>
              <a:avLst/>
              <a:gdLst>
                <a:gd name="T0" fmla="*/ 1123 w 1123"/>
                <a:gd name="T1" fmla="*/ 440 h 741"/>
                <a:gd name="T2" fmla="*/ 733 w 1123"/>
                <a:gd name="T3" fmla="*/ 440 h 741"/>
                <a:gd name="T4" fmla="*/ 482 w 1123"/>
                <a:gd name="T5" fmla="*/ 741 h 741"/>
                <a:gd name="T6" fmla="*/ 480 w 1123"/>
                <a:gd name="T7" fmla="*/ 440 h 741"/>
                <a:gd name="T8" fmla="*/ 0 w 1123"/>
                <a:gd name="T9" fmla="*/ 440 h 741"/>
                <a:gd name="T10" fmla="*/ 0 w 1123"/>
                <a:gd name="T11" fmla="*/ 0 h 741"/>
                <a:gd name="T12" fmla="*/ 1123 w 1123"/>
                <a:gd name="T13" fmla="*/ 0 h 741"/>
                <a:gd name="T14" fmla="*/ 1123 w 1123"/>
                <a:gd name="T15" fmla="*/ 440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3" h="741">
                  <a:moveTo>
                    <a:pt x="1123" y="440"/>
                  </a:moveTo>
                  <a:lnTo>
                    <a:pt x="733" y="440"/>
                  </a:lnTo>
                  <a:lnTo>
                    <a:pt x="482" y="741"/>
                  </a:lnTo>
                  <a:lnTo>
                    <a:pt x="480" y="440"/>
                  </a:lnTo>
                  <a:lnTo>
                    <a:pt x="0" y="440"/>
                  </a:lnTo>
                  <a:lnTo>
                    <a:pt x="0" y="0"/>
                  </a:lnTo>
                  <a:lnTo>
                    <a:pt x="1123" y="0"/>
                  </a:lnTo>
                  <a:lnTo>
                    <a:pt x="1123" y="440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86" name="íSlîďé"/>
            <p:cNvSpPr txBox="1"/>
            <p:nvPr>
              <p:custDataLst>
                <p:tags r:id="rId222"/>
              </p:custDataLst>
            </p:nvPr>
          </p:nvSpPr>
          <p:spPr>
            <a:xfrm>
              <a:off x="5364144" y="2300710"/>
              <a:ext cx="1411677" cy="3953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i="1" dirty="0">
                  <a:solidFill>
                    <a:schemeClr val="bg1"/>
                  </a:solidFill>
                </a:rPr>
                <a:t>平台服务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15" name="矩形 314"/>
          <p:cNvSpPr/>
          <p:nvPr>
            <p:custDataLst>
              <p:tags r:id="rId223"/>
            </p:custDataLst>
          </p:nvPr>
        </p:nvSpPr>
        <p:spPr>
          <a:xfrm>
            <a:off x="3110230" y="4982210"/>
            <a:ext cx="8276590" cy="691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三片罐、两片罐、无菌纸包、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BC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／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BC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罐等多元包材制造、配套产品的配方开发与灌装服务，建立全产业链竞品技术壁垒。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6" name="矩形 315"/>
          <p:cNvSpPr/>
          <p:nvPr>
            <p:custDataLst>
              <p:tags r:id="rId224"/>
            </p:custDataLst>
          </p:nvPr>
        </p:nvSpPr>
        <p:spPr>
          <a:xfrm>
            <a:off x="4177308" y="4057712"/>
            <a:ext cx="6560922" cy="391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专业的设计团队与多样化罐型产品，带给客户更多的选择。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7" name="矩形 316"/>
          <p:cNvSpPr/>
          <p:nvPr>
            <p:custDataLst>
              <p:tags r:id="rId225"/>
            </p:custDataLst>
          </p:nvPr>
        </p:nvSpPr>
        <p:spPr>
          <a:xfrm>
            <a:off x="5300132" y="2722414"/>
            <a:ext cx="6078260" cy="691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前瞻性的技术引进，专业的研发团队保驾，包材与内容物融合研发，加速产品力转化，具备可持续性发展动力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18" name="矩形 317"/>
          <p:cNvSpPr/>
          <p:nvPr>
            <p:custDataLst>
              <p:tags r:id="rId226"/>
            </p:custDataLst>
          </p:nvPr>
        </p:nvSpPr>
        <p:spPr>
          <a:xfrm>
            <a:off x="6207125" y="1725295"/>
            <a:ext cx="5172075" cy="991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多元化包材、菜单式产品组合、精致品保管理、完善的售前、售中、售后服务模式，为饮料生产形成竞争力提供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“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一站式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”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后援保障。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8" name="图片 7" descr="无底色"/>
          <p:cNvPicPr>
            <a:picLocks noChangeAspect="1"/>
          </p:cNvPicPr>
          <p:nvPr>
            <p:custDataLst>
              <p:tags r:id="rId227"/>
            </p:custDataLst>
          </p:nvPr>
        </p:nvPicPr>
        <p:blipFill>
          <a:blip r:embed="rId228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28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战略目标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3" name="任意多边形: 形状 32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pic>
        <p:nvPicPr>
          <p:cNvPr id="7" name="Image 0" descr="preencode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3700" y="1666240"/>
            <a:ext cx="1066800" cy="1546860"/>
          </a:xfrm>
          <a:prstGeom prst="rect">
            <a:avLst/>
          </a:prstGeom>
        </p:spPr>
      </p:pic>
      <p:pic>
        <p:nvPicPr>
          <p:cNvPr id="3" name="Image 1" descr="preencoded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870075" y="2955925"/>
            <a:ext cx="1066800" cy="1546860"/>
          </a:xfrm>
          <a:prstGeom prst="rect">
            <a:avLst/>
          </a:prstGeom>
        </p:spPr>
      </p:pic>
      <p:pic>
        <p:nvPicPr>
          <p:cNvPr id="9" name="Image 2" descr="preencoded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28365" y="4093845"/>
            <a:ext cx="1066800" cy="1546860"/>
          </a:xfrm>
          <a:prstGeom prst="rect">
            <a:avLst/>
          </a:prstGeom>
        </p:spPr>
      </p:pic>
      <p:sp>
        <p:nvSpPr>
          <p:cNvPr id="11" name="Text 5"/>
          <p:cNvSpPr txBox="1"/>
          <p:nvPr>
            <p:custDataLst>
              <p:tags r:id="rId10"/>
            </p:custDataLst>
          </p:nvPr>
        </p:nvSpPr>
        <p:spPr>
          <a:xfrm>
            <a:off x="1910080" y="1776095"/>
            <a:ext cx="5648325" cy="2946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6000"/>
              </a:lnSpc>
              <a:buNone/>
            </a:pPr>
            <a:r>
              <a:rPr lang="zh-CN" altLang="en-US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一站式的品牌孵化服务</a:t>
            </a:r>
            <a:endParaRPr lang="zh-CN" altLang="en-US" sz="2000" b="1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46092" name="Text 6"/>
          <p:cNvSpPr txBox="1"/>
          <p:nvPr>
            <p:custDataLst>
              <p:tags r:id="rId11"/>
            </p:custDataLst>
          </p:nvPr>
        </p:nvSpPr>
        <p:spPr>
          <a:xfrm>
            <a:off x="1910080" y="2191385"/>
            <a:ext cx="8432800" cy="41275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6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配方开发与灌装平台的服务能力为饮料品牌产品、渠道自有品牌产品、策划机构与网红产品、跨界产品、试水产品等轻资产运作企业提供一站式的品牌孵化服务。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Image 4" descr="preencoded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6435" y="2179320"/>
            <a:ext cx="501650" cy="520700"/>
          </a:xfrm>
          <a:prstGeom prst="rect">
            <a:avLst/>
          </a:prstGeom>
        </p:spPr>
      </p:pic>
      <p:pic>
        <p:nvPicPr>
          <p:cNvPr id="4" name="Image 5" descr="preencoded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169160" y="3475355"/>
            <a:ext cx="489585" cy="507365"/>
          </a:xfrm>
          <a:prstGeom prst="rect">
            <a:avLst/>
          </a:prstGeom>
        </p:spPr>
      </p:pic>
      <p:pic>
        <p:nvPicPr>
          <p:cNvPr id="6" name="Image 6" descr="preencoded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766820" y="4652645"/>
            <a:ext cx="414020" cy="429260"/>
          </a:xfrm>
          <a:prstGeom prst="rect">
            <a:avLst/>
          </a:prstGeom>
        </p:spPr>
      </p:pic>
      <p:sp>
        <p:nvSpPr>
          <p:cNvPr id="19" name="Text 7"/>
          <p:cNvSpPr txBox="1"/>
          <p:nvPr>
            <p:custDataLst>
              <p:tags r:id="rId21"/>
            </p:custDataLst>
          </p:nvPr>
        </p:nvSpPr>
        <p:spPr>
          <a:xfrm>
            <a:off x="3428365" y="2957195"/>
            <a:ext cx="5648325" cy="2946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6000"/>
              </a:lnSpc>
              <a:buNone/>
            </a:pPr>
            <a:r>
              <a:rPr lang="zh-CN" altLang="en-US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柔性生产解决客户痛点</a:t>
            </a:r>
            <a:r>
              <a:rPr lang="en-US" altLang="zh-CN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  </a:t>
            </a:r>
            <a:r>
              <a:rPr lang="zh-CN" altLang="en-US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细分产品加速发展</a:t>
            </a:r>
            <a:endParaRPr lang="zh-CN" altLang="en-US" sz="2000" b="1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46098" name="Text 8"/>
          <p:cNvSpPr txBox="1"/>
          <p:nvPr>
            <p:custDataLst>
              <p:tags r:id="rId22"/>
            </p:custDataLst>
          </p:nvPr>
        </p:nvSpPr>
        <p:spPr>
          <a:xfrm>
            <a:off x="3428365" y="3372485"/>
            <a:ext cx="8305800" cy="41275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6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包材柔性线的自主设计，前瞻性技术引进，低碳、环保包材应用，低投入、低成本开发，为灌装平台提供多规格、差异化、低碳环保、高性价比包材产品，丰富客户群，优化灌装客户结构。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 9"/>
          <p:cNvSpPr txBox="1"/>
          <p:nvPr>
            <p:custDataLst>
              <p:tags r:id="rId23"/>
            </p:custDataLst>
          </p:nvPr>
        </p:nvSpPr>
        <p:spPr>
          <a:xfrm>
            <a:off x="4970145" y="4173220"/>
            <a:ext cx="5648325" cy="2946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6000"/>
              </a:lnSpc>
              <a:buNone/>
            </a:pPr>
            <a:r>
              <a:rPr lang="zh-CN" altLang="en-US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多渠道多元化战略</a:t>
            </a:r>
            <a:r>
              <a:rPr lang="en-US" altLang="zh-CN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 </a:t>
            </a:r>
            <a:r>
              <a:rPr lang="zh-CN" altLang="en-US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实现业务整合</a:t>
            </a:r>
            <a:r>
              <a:rPr lang="en-US" altLang="zh-CN" sz="2000" b="1" noProof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ource Han Serif SC Heavy" panose="02020A00000000000000" charset="-122"/>
              </a:rPr>
              <a:t> </a:t>
            </a:r>
            <a:endParaRPr lang="en-US" altLang="zh-CN" sz="2000" b="1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ource Han Serif SC Heavy" panose="02020A00000000000000" charset="-122"/>
            </a:endParaRPr>
          </a:p>
        </p:txBody>
      </p:sp>
      <p:sp>
        <p:nvSpPr>
          <p:cNvPr id="46100" name="Text 10"/>
          <p:cNvSpPr txBox="1"/>
          <p:nvPr>
            <p:custDataLst>
              <p:tags r:id="rId24"/>
            </p:custDataLst>
          </p:nvPr>
        </p:nvSpPr>
        <p:spPr>
          <a:xfrm>
            <a:off x="4970145" y="4588510"/>
            <a:ext cx="6957695" cy="61912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6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样化包材支撑、灌装点全国布局优势、一站式平台服务能力，产业链、价值链协同开发信息资源，吸引并导入多品牌客户进行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EM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DM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M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CM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，最终达成全方位的中国饮料服务平台的战略目标。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5"/>
          <p:cNvSpPr/>
          <p:nvPr>
            <p:custDataLst>
              <p:tags r:id="rId1"/>
            </p:custDataLst>
          </p:nvPr>
        </p:nvSpPr>
        <p:spPr>
          <a:xfrm>
            <a:off x="1432764" y="5172578"/>
            <a:ext cx="1440000" cy="1260000"/>
          </a:xfrm>
          <a:prstGeom prst="rect">
            <a:avLst/>
          </a:prstGeom>
          <a:noFill/>
          <a:ln w="9525">
            <a:noFill/>
          </a:ln>
        </p:spPr>
        <p:txBody>
          <a:bodyPr lIns="0" tIns="176000" rIns="234667" bIns="117333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配方研发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包装创新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44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平台愿景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7" name="íṧlîḑé"/>
          <p:cNvSpPr/>
          <p:nvPr>
            <p:custDataLst>
              <p:tags r:id="rId2"/>
            </p:custDataLst>
          </p:nvPr>
        </p:nvSpPr>
        <p:spPr>
          <a:xfrm>
            <a:off x="6127115" y="3480560"/>
            <a:ext cx="2689847" cy="1693575"/>
          </a:xfrm>
          <a:custGeom>
            <a:avLst/>
            <a:gdLst/>
            <a:ahLst/>
            <a:cxnLst/>
            <a:rect l="l" t="t" r="r" b="b"/>
            <a:pathLst>
              <a:path w="1777071" h="1678345">
                <a:moveTo>
                  <a:pt x="0" y="0"/>
                </a:moveTo>
                <a:lnTo>
                  <a:pt x="1777071" y="419586"/>
                </a:lnTo>
                <a:lnTo>
                  <a:pt x="1777071" y="1678345"/>
                </a:lnTo>
                <a:lnTo>
                  <a:pt x="0" y="125875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OCM</a:t>
            </a:r>
            <a:endParaRPr lang="en-US" altLang="zh-CN" sz="2000" b="1" i="1" dirty="0"/>
          </a:p>
        </p:txBody>
      </p:sp>
      <p:sp>
        <p:nvSpPr>
          <p:cNvPr id="39" name="îśľiďé"/>
          <p:cNvSpPr/>
          <p:nvPr>
            <p:custDataLst>
              <p:tags r:id="rId3"/>
            </p:custDataLst>
          </p:nvPr>
        </p:nvSpPr>
        <p:spPr>
          <a:xfrm>
            <a:off x="8845767" y="3480560"/>
            <a:ext cx="2689847" cy="1693575"/>
          </a:xfrm>
          <a:custGeom>
            <a:avLst/>
            <a:gdLst/>
            <a:ahLst/>
            <a:cxnLst/>
            <a:rect l="l" t="t" r="r" b="b"/>
            <a:pathLst>
              <a:path w="1777071" h="1678345">
                <a:moveTo>
                  <a:pt x="1777071" y="0"/>
                </a:moveTo>
                <a:lnTo>
                  <a:pt x="1777071" y="1258759"/>
                </a:lnTo>
                <a:lnTo>
                  <a:pt x="0" y="1678345"/>
                </a:lnTo>
                <a:lnTo>
                  <a:pt x="0" y="41958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OBM</a:t>
            </a:r>
            <a:endParaRPr lang="en-US" altLang="zh-CN" sz="2000" b="1" i="1" dirty="0"/>
          </a:p>
        </p:txBody>
      </p:sp>
      <p:sp>
        <p:nvSpPr>
          <p:cNvPr id="40" name="iṥļîḋê"/>
          <p:cNvSpPr/>
          <p:nvPr>
            <p:custDataLst>
              <p:tags r:id="rId4"/>
            </p:custDataLst>
          </p:nvPr>
        </p:nvSpPr>
        <p:spPr>
          <a:xfrm>
            <a:off x="689814" y="3054200"/>
            <a:ext cx="2689847" cy="1693575"/>
          </a:xfrm>
          <a:custGeom>
            <a:avLst/>
            <a:gdLst/>
            <a:ahLst/>
            <a:cxnLst/>
            <a:rect l="l" t="t" r="r" b="b"/>
            <a:pathLst>
              <a:path w="1777071" h="1678345">
                <a:moveTo>
                  <a:pt x="1777071" y="0"/>
                </a:moveTo>
                <a:lnTo>
                  <a:pt x="1777071" y="1258759"/>
                </a:lnTo>
                <a:lnTo>
                  <a:pt x="0" y="1678345"/>
                </a:lnTo>
                <a:lnTo>
                  <a:pt x="0" y="4195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ODM</a:t>
            </a:r>
            <a:endParaRPr lang="en-US" altLang="zh-CN" sz="2000" b="1" i="1" dirty="0"/>
          </a:p>
        </p:txBody>
      </p:sp>
      <p:sp>
        <p:nvSpPr>
          <p:cNvPr id="41" name="iSḷiďè"/>
          <p:cNvSpPr/>
          <p:nvPr>
            <p:custDataLst>
              <p:tags r:id="rId5"/>
            </p:custDataLst>
          </p:nvPr>
        </p:nvSpPr>
        <p:spPr>
          <a:xfrm>
            <a:off x="3408464" y="3054200"/>
            <a:ext cx="2689847" cy="1693575"/>
          </a:xfrm>
          <a:custGeom>
            <a:avLst/>
            <a:gdLst/>
            <a:ahLst/>
            <a:cxnLst/>
            <a:rect l="l" t="t" r="r" b="b"/>
            <a:pathLst>
              <a:path w="1777071" h="1678345">
                <a:moveTo>
                  <a:pt x="0" y="0"/>
                </a:moveTo>
                <a:lnTo>
                  <a:pt x="1777071" y="419586"/>
                </a:lnTo>
                <a:lnTo>
                  <a:pt x="1777071" y="1678345"/>
                </a:lnTo>
                <a:lnTo>
                  <a:pt x="0" y="12587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OEM</a:t>
            </a:r>
            <a:endParaRPr lang="en-US" altLang="zh-CN" sz="2000" b="1" i="1" dirty="0"/>
          </a:p>
        </p:txBody>
      </p:sp>
      <p:grpSp>
        <p:nvGrpSpPr>
          <p:cNvPr id="7" name="组合 6"/>
          <p:cNvGrpSpPr/>
          <p:nvPr>
            <p:custDataLst>
              <p:tags r:id="rId6"/>
            </p:custDataLst>
          </p:nvPr>
        </p:nvGrpSpPr>
        <p:grpSpPr>
          <a:xfrm>
            <a:off x="1696401" y="4327347"/>
            <a:ext cx="676672" cy="1114073"/>
            <a:chOff x="1696401" y="4136847"/>
            <a:chExt cx="676672" cy="1114073"/>
          </a:xfrm>
        </p:grpSpPr>
        <p:cxnSp>
          <p:nvCxnSpPr>
            <p:cNvPr id="36" name="直接连接符 35"/>
            <p:cNvCxnSpPr>
              <a:stCxn id="58" idx="3"/>
            </p:cNvCxnSpPr>
            <p:nvPr>
              <p:custDataLst>
                <p:tags r:id="rId7"/>
              </p:custDataLst>
            </p:nvPr>
          </p:nvCxnSpPr>
          <p:spPr>
            <a:xfrm>
              <a:off x="2034737" y="4813206"/>
              <a:ext cx="1" cy="43771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iṡļiďe"/>
            <p:cNvGrpSpPr/>
            <p:nvPr/>
          </p:nvGrpSpPr>
          <p:grpSpPr>
            <a:xfrm>
              <a:off x="1696401" y="4136847"/>
              <a:ext cx="676672" cy="676358"/>
              <a:chOff x="6800652" y="1600503"/>
              <a:chExt cx="676672" cy="676358"/>
            </a:xfrm>
          </p:grpSpPr>
          <p:sp>
            <p:nvSpPr>
              <p:cNvPr id="58" name="ï$liḓè"/>
              <p:cNvSpPr/>
              <p:nvPr>
                <p:custDataLst>
                  <p:tags r:id="rId8"/>
                </p:custDataLst>
              </p:nvPr>
            </p:nvSpPr>
            <p:spPr>
              <a:xfrm>
                <a:off x="6800652" y="1600503"/>
                <a:ext cx="676672" cy="676358"/>
              </a:xfrm>
              <a:custGeom>
                <a:avLst/>
                <a:gdLst>
                  <a:gd name="connsiteX0" fmla="*/ 0 w 1260455"/>
                  <a:gd name="connsiteY0" fmla="*/ 630228 h 1260455"/>
                  <a:gd name="connsiteX1" fmla="*/ 630228 w 1260455"/>
                  <a:gd name="connsiteY1" fmla="*/ 0 h 1260455"/>
                  <a:gd name="connsiteX2" fmla="*/ 1260456 w 1260455"/>
                  <a:gd name="connsiteY2" fmla="*/ 630228 h 1260455"/>
                  <a:gd name="connsiteX3" fmla="*/ 630228 w 1260455"/>
                  <a:gd name="connsiteY3" fmla="*/ 1260456 h 1260455"/>
                  <a:gd name="connsiteX4" fmla="*/ 0 w 1260455"/>
                  <a:gd name="connsiteY4" fmla="*/ 630228 h 126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0455" h="1260455">
                    <a:moveTo>
                      <a:pt x="0" y="630228"/>
                    </a:moveTo>
                    <a:cubicBezTo>
                      <a:pt x="0" y="282163"/>
                      <a:pt x="282163" y="0"/>
                      <a:pt x="630228" y="0"/>
                    </a:cubicBezTo>
                    <a:cubicBezTo>
                      <a:pt x="978293" y="0"/>
                      <a:pt x="1260456" y="282163"/>
                      <a:pt x="1260456" y="630228"/>
                    </a:cubicBezTo>
                    <a:cubicBezTo>
                      <a:pt x="1260456" y="978293"/>
                      <a:pt x="978293" y="1260456"/>
                      <a:pt x="630228" y="1260456"/>
                    </a:cubicBezTo>
                    <a:cubicBezTo>
                      <a:pt x="282163" y="1260456"/>
                      <a:pt x="0" y="978293"/>
                      <a:pt x="0" y="630228"/>
                    </a:cubicBezTo>
                    <a:close/>
                  </a:path>
                </a:pathLst>
              </a:custGeom>
              <a:solidFill>
                <a:srgbClr val="FFC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9" name="ïs1íďé"/>
              <p:cNvSpPr/>
              <p:nvPr>
                <p:custDataLst>
                  <p:tags r:id="rId9"/>
                </p:custDataLst>
              </p:nvPr>
            </p:nvSpPr>
            <p:spPr>
              <a:xfrm>
                <a:off x="6974965" y="1774660"/>
                <a:ext cx="328046" cy="328044"/>
              </a:xfrm>
              <a:custGeom>
                <a:avLst/>
                <a:gdLst>
                  <a:gd name="connsiteX0" fmla="*/ 199497 w 331788"/>
                  <a:gd name="connsiteY0" fmla="*/ 265112 h 331787"/>
                  <a:gd name="connsiteX1" fmla="*/ 209798 w 331788"/>
                  <a:gd name="connsiteY1" fmla="*/ 279217 h 331787"/>
                  <a:gd name="connsiteX2" fmla="*/ 238126 w 331788"/>
                  <a:gd name="connsiteY2" fmla="*/ 315118 h 331787"/>
                  <a:gd name="connsiteX3" fmla="*/ 166018 w 331788"/>
                  <a:gd name="connsiteY3" fmla="*/ 331787 h 331787"/>
                  <a:gd name="connsiteX4" fmla="*/ 122238 w 331788"/>
                  <a:gd name="connsiteY4" fmla="*/ 325376 h 331787"/>
                  <a:gd name="connsiteX5" fmla="*/ 199497 w 331788"/>
                  <a:gd name="connsiteY5" fmla="*/ 265112 h 331787"/>
                  <a:gd name="connsiteX6" fmla="*/ 190500 w 331788"/>
                  <a:gd name="connsiteY6" fmla="*/ 228600 h 331787"/>
                  <a:gd name="connsiteX7" fmla="*/ 201490 w 331788"/>
                  <a:gd name="connsiteY7" fmla="*/ 228600 h 331787"/>
                  <a:gd name="connsiteX8" fmla="*/ 206375 w 331788"/>
                  <a:gd name="connsiteY8" fmla="*/ 236394 h 331787"/>
                  <a:gd name="connsiteX9" fmla="*/ 200269 w 331788"/>
                  <a:gd name="connsiteY9" fmla="*/ 242888 h 331787"/>
                  <a:gd name="connsiteX10" fmla="*/ 190500 w 331788"/>
                  <a:gd name="connsiteY10" fmla="*/ 228600 h 331787"/>
                  <a:gd name="connsiteX11" fmla="*/ 146452 w 331788"/>
                  <a:gd name="connsiteY11" fmla="*/ 228600 h 331787"/>
                  <a:gd name="connsiteX12" fmla="*/ 164590 w 331788"/>
                  <a:gd name="connsiteY12" fmla="*/ 229897 h 331787"/>
                  <a:gd name="connsiteX13" fmla="*/ 165885 w 331788"/>
                  <a:gd name="connsiteY13" fmla="*/ 229897 h 331787"/>
                  <a:gd name="connsiteX14" fmla="*/ 173659 w 331788"/>
                  <a:gd name="connsiteY14" fmla="*/ 229897 h 331787"/>
                  <a:gd name="connsiteX15" fmla="*/ 190501 w 331788"/>
                  <a:gd name="connsiteY15" fmla="*/ 253240 h 331787"/>
                  <a:gd name="connsiteX16" fmla="*/ 103699 w 331788"/>
                  <a:gd name="connsiteY16" fmla="*/ 320675 h 331787"/>
                  <a:gd name="connsiteX17" fmla="*/ 77788 w 331788"/>
                  <a:gd name="connsiteY17" fmla="*/ 306410 h 331787"/>
                  <a:gd name="connsiteX18" fmla="*/ 112768 w 331788"/>
                  <a:gd name="connsiteY18" fmla="*/ 244162 h 331787"/>
                  <a:gd name="connsiteX19" fmla="*/ 121837 w 331788"/>
                  <a:gd name="connsiteY19" fmla="*/ 245459 h 331787"/>
                  <a:gd name="connsiteX20" fmla="*/ 146452 w 331788"/>
                  <a:gd name="connsiteY20" fmla="*/ 228600 h 331787"/>
                  <a:gd name="connsiteX21" fmla="*/ 323851 w 331788"/>
                  <a:gd name="connsiteY21" fmla="*/ 217487 h 331787"/>
                  <a:gd name="connsiteX22" fmla="*/ 249631 w 331788"/>
                  <a:gd name="connsiteY22" fmla="*/ 307975 h 331787"/>
                  <a:gd name="connsiteX23" fmla="*/ 207963 w 331788"/>
                  <a:gd name="connsiteY23" fmla="*/ 253682 h 331787"/>
                  <a:gd name="connsiteX24" fmla="*/ 218380 w 331788"/>
                  <a:gd name="connsiteY24" fmla="*/ 243341 h 331787"/>
                  <a:gd name="connsiteX25" fmla="*/ 227495 w 331788"/>
                  <a:gd name="connsiteY25" fmla="*/ 244634 h 331787"/>
                  <a:gd name="connsiteX26" fmla="*/ 253537 w 331788"/>
                  <a:gd name="connsiteY26" fmla="*/ 225243 h 331787"/>
                  <a:gd name="connsiteX27" fmla="*/ 323851 w 331788"/>
                  <a:gd name="connsiteY27" fmla="*/ 217487 h 331787"/>
                  <a:gd name="connsiteX28" fmla="*/ 3175 w 331788"/>
                  <a:gd name="connsiteY28" fmla="*/ 196850 h 331787"/>
                  <a:gd name="connsiteX29" fmla="*/ 93642 w 331788"/>
                  <a:gd name="connsiteY29" fmla="*/ 222902 h 331787"/>
                  <a:gd name="connsiteX30" fmla="*/ 100013 w 331788"/>
                  <a:gd name="connsiteY30" fmla="*/ 235927 h 331787"/>
                  <a:gd name="connsiteX31" fmla="*/ 65610 w 331788"/>
                  <a:gd name="connsiteY31" fmla="*/ 298450 h 331787"/>
                  <a:gd name="connsiteX32" fmla="*/ 3175 w 331788"/>
                  <a:gd name="connsiteY32" fmla="*/ 196850 h 331787"/>
                  <a:gd name="connsiteX33" fmla="*/ 146517 w 331788"/>
                  <a:gd name="connsiteY33" fmla="*/ 192087 h 331787"/>
                  <a:gd name="connsiteX34" fmla="*/ 163513 w 331788"/>
                  <a:gd name="connsiteY34" fmla="*/ 215900 h 331787"/>
                  <a:gd name="connsiteX35" fmla="*/ 147825 w 331788"/>
                  <a:gd name="connsiteY35" fmla="*/ 214577 h 331787"/>
                  <a:gd name="connsiteX36" fmla="*/ 141288 w 331788"/>
                  <a:gd name="connsiteY36" fmla="*/ 200025 h 331787"/>
                  <a:gd name="connsiteX37" fmla="*/ 146517 w 331788"/>
                  <a:gd name="connsiteY37" fmla="*/ 192087 h 331787"/>
                  <a:gd name="connsiteX38" fmla="*/ 277877 w 331788"/>
                  <a:gd name="connsiteY38" fmla="*/ 160337 h 331787"/>
                  <a:gd name="connsiteX39" fmla="*/ 314326 w 331788"/>
                  <a:gd name="connsiteY39" fmla="*/ 204624 h 331787"/>
                  <a:gd name="connsiteX40" fmla="*/ 253143 w 331788"/>
                  <a:gd name="connsiteY40" fmla="*/ 211137 h 331787"/>
                  <a:gd name="connsiteX41" fmla="*/ 249238 w 331788"/>
                  <a:gd name="connsiteY41" fmla="*/ 203322 h 331787"/>
                  <a:gd name="connsiteX42" fmla="*/ 277877 w 331788"/>
                  <a:gd name="connsiteY42" fmla="*/ 160337 h 331787"/>
                  <a:gd name="connsiteX43" fmla="*/ 290513 w 331788"/>
                  <a:gd name="connsiteY43" fmla="*/ 153987 h 331787"/>
                  <a:gd name="connsiteX44" fmla="*/ 331788 w 331788"/>
                  <a:gd name="connsiteY44" fmla="*/ 167061 h 331787"/>
                  <a:gd name="connsiteX45" fmla="*/ 329125 w 331788"/>
                  <a:gd name="connsiteY45" fmla="*/ 198437 h 331787"/>
                  <a:gd name="connsiteX46" fmla="*/ 290513 w 331788"/>
                  <a:gd name="connsiteY46" fmla="*/ 153987 h 331787"/>
                  <a:gd name="connsiteX47" fmla="*/ 113341 w 331788"/>
                  <a:gd name="connsiteY47" fmla="*/ 139700 h 331787"/>
                  <a:gd name="connsiteX48" fmla="*/ 130085 w 331788"/>
                  <a:gd name="connsiteY48" fmla="*/ 169324 h 331787"/>
                  <a:gd name="connsiteX49" fmla="*/ 136525 w 331788"/>
                  <a:gd name="connsiteY49" fmla="*/ 178340 h 331787"/>
                  <a:gd name="connsiteX50" fmla="*/ 128797 w 331788"/>
                  <a:gd name="connsiteY50" fmla="*/ 191219 h 331787"/>
                  <a:gd name="connsiteX51" fmla="*/ 121069 w 331788"/>
                  <a:gd name="connsiteY51" fmla="*/ 189932 h 331787"/>
                  <a:gd name="connsiteX52" fmla="*/ 95310 w 331788"/>
                  <a:gd name="connsiteY52" fmla="*/ 207963 h 331787"/>
                  <a:gd name="connsiteX53" fmla="*/ 1288 w 331788"/>
                  <a:gd name="connsiteY53" fmla="*/ 179628 h 331787"/>
                  <a:gd name="connsiteX54" fmla="*/ 0 w 331788"/>
                  <a:gd name="connsiteY54" fmla="*/ 165460 h 331787"/>
                  <a:gd name="connsiteX55" fmla="*/ 1288 w 331788"/>
                  <a:gd name="connsiteY55" fmla="*/ 151292 h 331787"/>
                  <a:gd name="connsiteX56" fmla="*/ 113341 w 331788"/>
                  <a:gd name="connsiteY56" fmla="*/ 139700 h 331787"/>
                  <a:gd name="connsiteX57" fmla="*/ 186315 w 331788"/>
                  <a:gd name="connsiteY57" fmla="*/ 138112 h 331787"/>
                  <a:gd name="connsiteX58" fmla="*/ 268288 w 331788"/>
                  <a:gd name="connsiteY58" fmla="*/ 149780 h 331787"/>
                  <a:gd name="connsiteX59" fmla="*/ 238829 w 331788"/>
                  <a:gd name="connsiteY59" fmla="*/ 193860 h 331787"/>
                  <a:gd name="connsiteX60" fmla="*/ 227301 w 331788"/>
                  <a:gd name="connsiteY60" fmla="*/ 191267 h 331787"/>
                  <a:gd name="connsiteX61" fmla="*/ 200404 w 331788"/>
                  <a:gd name="connsiteY61" fmla="*/ 214604 h 331787"/>
                  <a:gd name="connsiteX62" fmla="*/ 179911 w 331788"/>
                  <a:gd name="connsiteY62" fmla="*/ 215900 h 331787"/>
                  <a:gd name="connsiteX63" fmla="*/ 155575 w 331788"/>
                  <a:gd name="connsiteY63" fmla="*/ 179599 h 331787"/>
                  <a:gd name="connsiteX64" fmla="*/ 173507 w 331788"/>
                  <a:gd name="connsiteY64" fmla="*/ 154966 h 331787"/>
                  <a:gd name="connsiteX65" fmla="*/ 186315 w 331788"/>
                  <a:gd name="connsiteY65" fmla="*/ 138112 h 331787"/>
                  <a:gd name="connsiteX66" fmla="*/ 168276 w 331788"/>
                  <a:gd name="connsiteY66" fmla="*/ 138112 h 331787"/>
                  <a:gd name="connsiteX67" fmla="*/ 161661 w 331788"/>
                  <a:gd name="connsiteY67" fmla="*/ 145566 h 331787"/>
                  <a:gd name="connsiteX68" fmla="*/ 145786 w 331788"/>
                  <a:gd name="connsiteY68" fmla="*/ 166687 h 331787"/>
                  <a:gd name="connsiteX69" fmla="*/ 141817 w 331788"/>
                  <a:gd name="connsiteY69" fmla="*/ 161718 h 331787"/>
                  <a:gd name="connsiteX70" fmla="*/ 128588 w 331788"/>
                  <a:gd name="connsiteY70" fmla="*/ 139354 h 331787"/>
                  <a:gd name="connsiteX71" fmla="*/ 168276 w 331788"/>
                  <a:gd name="connsiteY71" fmla="*/ 138112 h 331787"/>
                  <a:gd name="connsiteX72" fmla="*/ 220028 w 331788"/>
                  <a:gd name="connsiteY72" fmla="*/ 103187 h 331787"/>
                  <a:gd name="connsiteX73" fmla="*/ 232728 w 331788"/>
                  <a:gd name="connsiteY73" fmla="*/ 105784 h 331787"/>
                  <a:gd name="connsiteX74" fmla="*/ 237808 w 331788"/>
                  <a:gd name="connsiteY74" fmla="*/ 105784 h 331787"/>
                  <a:gd name="connsiteX75" fmla="*/ 246698 w 331788"/>
                  <a:gd name="connsiteY75" fmla="*/ 118773 h 331787"/>
                  <a:gd name="connsiteX76" fmla="*/ 255588 w 331788"/>
                  <a:gd name="connsiteY76" fmla="*/ 131762 h 331787"/>
                  <a:gd name="connsiteX77" fmla="*/ 198438 w 331788"/>
                  <a:gd name="connsiteY77" fmla="*/ 125267 h 331787"/>
                  <a:gd name="connsiteX78" fmla="*/ 220028 w 331788"/>
                  <a:gd name="connsiteY78" fmla="*/ 103187 h 331787"/>
                  <a:gd name="connsiteX79" fmla="*/ 317236 w 331788"/>
                  <a:gd name="connsiteY79" fmla="*/ 98425 h 331787"/>
                  <a:gd name="connsiteX80" fmla="*/ 331788 w 331788"/>
                  <a:gd name="connsiteY80" fmla="*/ 152400 h 331787"/>
                  <a:gd name="connsiteX81" fmla="*/ 292100 w 331788"/>
                  <a:gd name="connsiteY81" fmla="*/ 140552 h 331787"/>
                  <a:gd name="connsiteX82" fmla="*/ 317236 w 331788"/>
                  <a:gd name="connsiteY82" fmla="*/ 98425 h 331787"/>
                  <a:gd name="connsiteX83" fmla="*/ 286068 w 331788"/>
                  <a:gd name="connsiteY83" fmla="*/ 52387 h 331787"/>
                  <a:gd name="connsiteX84" fmla="*/ 309563 w 331788"/>
                  <a:gd name="connsiteY84" fmla="*/ 84748 h 331787"/>
                  <a:gd name="connsiteX85" fmla="*/ 278236 w 331788"/>
                  <a:gd name="connsiteY85" fmla="*/ 136525 h 331787"/>
                  <a:gd name="connsiteX86" fmla="*/ 276931 w 331788"/>
                  <a:gd name="connsiteY86" fmla="*/ 136525 h 331787"/>
                  <a:gd name="connsiteX87" fmla="*/ 258657 w 331788"/>
                  <a:gd name="connsiteY87" fmla="*/ 110636 h 331787"/>
                  <a:gd name="connsiteX88" fmla="*/ 250825 w 331788"/>
                  <a:gd name="connsiteY88" fmla="*/ 98986 h 331787"/>
                  <a:gd name="connsiteX89" fmla="*/ 259962 w 331788"/>
                  <a:gd name="connsiteY89" fmla="*/ 78275 h 331787"/>
                  <a:gd name="connsiteX90" fmla="*/ 258657 w 331788"/>
                  <a:gd name="connsiteY90" fmla="*/ 70509 h 331787"/>
                  <a:gd name="connsiteX91" fmla="*/ 286068 w 331788"/>
                  <a:gd name="connsiteY91" fmla="*/ 52387 h 331787"/>
                  <a:gd name="connsiteX92" fmla="*/ 73025 w 331788"/>
                  <a:gd name="connsiteY92" fmla="*/ 28575 h 331787"/>
                  <a:gd name="connsiteX93" fmla="*/ 107950 w 331788"/>
                  <a:gd name="connsiteY93" fmla="*/ 126377 h 331787"/>
                  <a:gd name="connsiteX94" fmla="*/ 3175 w 331788"/>
                  <a:gd name="connsiteY94" fmla="*/ 138113 h 331787"/>
                  <a:gd name="connsiteX95" fmla="*/ 73025 w 331788"/>
                  <a:gd name="connsiteY95" fmla="*/ 28575 h 331787"/>
                  <a:gd name="connsiteX96" fmla="*/ 203200 w 331788"/>
                  <a:gd name="connsiteY96" fmla="*/ 4762 h 331787"/>
                  <a:gd name="connsiteX97" fmla="*/ 274638 w 331788"/>
                  <a:gd name="connsiteY97" fmla="*/ 41817 h 331787"/>
                  <a:gd name="connsiteX98" fmla="*/ 251258 w 331788"/>
                  <a:gd name="connsiteY98" fmla="*/ 57150 h 331787"/>
                  <a:gd name="connsiteX99" fmla="*/ 233074 w 331788"/>
                  <a:gd name="connsiteY99" fmla="*/ 50761 h 331787"/>
                  <a:gd name="connsiteX100" fmla="*/ 225281 w 331788"/>
                  <a:gd name="connsiteY100" fmla="*/ 52039 h 331787"/>
                  <a:gd name="connsiteX101" fmla="*/ 203200 w 331788"/>
                  <a:gd name="connsiteY101" fmla="*/ 4762 h 331787"/>
                  <a:gd name="connsiteX102" fmla="*/ 165260 w 331788"/>
                  <a:gd name="connsiteY102" fmla="*/ 0 h 331787"/>
                  <a:gd name="connsiteX103" fmla="*/ 185786 w 331788"/>
                  <a:gd name="connsiteY103" fmla="*/ 1290 h 331787"/>
                  <a:gd name="connsiteX104" fmla="*/ 212725 w 331788"/>
                  <a:gd name="connsiteY104" fmla="*/ 59333 h 331787"/>
                  <a:gd name="connsiteX105" fmla="*/ 205028 w 331788"/>
                  <a:gd name="connsiteY105" fmla="*/ 77390 h 331787"/>
                  <a:gd name="connsiteX106" fmla="*/ 208876 w 331788"/>
                  <a:gd name="connsiteY106" fmla="*/ 91579 h 331787"/>
                  <a:gd name="connsiteX107" fmla="*/ 179371 w 331788"/>
                  <a:gd name="connsiteY107" fmla="*/ 122535 h 331787"/>
                  <a:gd name="connsiteX108" fmla="*/ 176806 w 331788"/>
                  <a:gd name="connsiteY108" fmla="*/ 122535 h 331787"/>
                  <a:gd name="connsiteX109" fmla="*/ 122927 w 331788"/>
                  <a:gd name="connsiteY109" fmla="*/ 123825 h 331787"/>
                  <a:gd name="connsiteX110" fmla="*/ 85725 w 331788"/>
                  <a:gd name="connsiteY110" fmla="*/ 20637 h 331787"/>
                  <a:gd name="connsiteX111" fmla="*/ 165260 w 331788"/>
                  <a:gd name="connsiteY111" fmla="*/ 0 h 331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31788" h="331787">
                    <a:moveTo>
                      <a:pt x="199497" y="265112"/>
                    </a:moveTo>
                    <a:cubicBezTo>
                      <a:pt x="203360" y="270241"/>
                      <a:pt x="205935" y="274088"/>
                      <a:pt x="209798" y="279217"/>
                    </a:cubicBezTo>
                    <a:cubicBezTo>
                      <a:pt x="222674" y="295885"/>
                      <a:pt x="231688" y="307425"/>
                      <a:pt x="238126" y="315118"/>
                    </a:cubicBezTo>
                    <a:cubicBezTo>
                      <a:pt x="216236" y="325376"/>
                      <a:pt x="191771" y="331787"/>
                      <a:pt x="166018" y="331787"/>
                    </a:cubicBezTo>
                    <a:cubicBezTo>
                      <a:pt x="150566" y="331787"/>
                      <a:pt x="136402" y="329223"/>
                      <a:pt x="122238" y="325376"/>
                    </a:cubicBezTo>
                    <a:cubicBezTo>
                      <a:pt x="141553" y="312554"/>
                      <a:pt x="169881" y="293321"/>
                      <a:pt x="199497" y="265112"/>
                    </a:cubicBezTo>
                    <a:close/>
                    <a:moveTo>
                      <a:pt x="190500" y="228600"/>
                    </a:moveTo>
                    <a:cubicBezTo>
                      <a:pt x="194163" y="228600"/>
                      <a:pt x="197827" y="228600"/>
                      <a:pt x="201490" y="228600"/>
                    </a:cubicBezTo>
                    <a:cubicBezTo>
                      <a:pt x="202712" y="231198"/>
                      <a:pt x="203933" y="233796"/>
                      <a:pt x="206375" y="236394"/>
                    </a:cubicBezTo>
                    <a:cubicBezTo>
                      <a:pt x="203933" y="237693"/>
                      <a:pt x="201490" y="240290"/>
                      <a:pt x="200269" y="242888"/>
                    </a:cubicBezTo>
                    <a:cubicBezTo>
                      <a:pt x="196606" y="237693"/>
                      <a:pt x="194163" y="233796"/>
                      <a:pt x="190500" y="228600"/>
                    </a:cubicBezTo>
                    <a:close/>
                    <a:moveTo>
                      <a:pt x="146452" y="228600"/>
                    </a:moveTo>
                    <a:cubicBezTo>
                      <a:pt x="152930" y="228600"/>
                      <a:pt x="159408" y="229897"/>
                      <a:pt x="164590" y="229897"/>
                    </a:cubicBezTo>
                    <a:cubicBezTo>
                      <a:pt x="164590" y="229897"/>
                      <a:pt x="164590" y="229897"/>
                      <a:pt x="165885" y="229897"/>
                    </a:cubicBezTo>
                    <a:cubicBezTo>
                      <a:pt x="168477" y="229897"/>
                      <a:pt x="171068" y="229897"/>
                      <a:pt x="173659" y="229897"/>
                    </a:cubicBezTo>
                    <a:cubicBezTo>
                      <a:pt x="178841" y="237678"/>
                      <a:pt x="185319" y="245459"/>
                      <a:pt x="190501" y="253240"/>
                    </a:cubicBezTo>
                    <a:cubicBezTo>
                      <a:pt x="156817" y="286958"/>
                      <a:pt x="123132" y="309004"/>
                      <a:pt x="103699" y="320675"/>
                    </a:cubicBezTo>
                    <a:cubicBezTo>
                      <a:pt x="94630" y="316785"/>
                      <a:pt x="85561" y="311597"/>
                      <a:pt x="77788" y="306410"/>
                    </a:cubicBezTo>
                    <a:cubicBezTo>
                      <a:pt x="84266" y="293442"/>
                      <a:pt x="97221" y="271396"/>
                      <a:pt x="112768" y="244162"/>
                    </a:cubicBezTo>
                    <a:cubicBezTo>
                      <a:pt x="115359" y="245459"/>
                      <a:pt x="117950" y="245459"/>
                      <a:pt x="121837" y="245459"/>
                    </a:cubicBezTo>
                    <a:cubicBezTo>
                      <a:pt x="132201" y="245459"/>
                      <a:pt x="142566" y="238975"/>
                      <a:pt x="146452" y="228600"/>
                    </a:cubicBezTo>
                    <a:close/>
                    <a:moveTo>
                      <a:pt x="323851" y="217487"/>
                    </a:moveTo>
                    <a:cubicBezTo>
                      <a:pt x="310830" y="256268"/>
                      <a:pt x="284788" y="287292"/>
                      <a:pt x="249631" y="307975"/>
                    </a:cubicBezTo>
                    <a:cubicBezTo>
                      <a:pt x="240516" y="295048"/>
                      <a:pt x="224890" y="275658"/>
                      <a:pt x="207963" y="253682"/>
                    </a:cubicBezTo>
                    <a:cubicBezTo>
                      <a:pt x="211869" y="249804"/>
                      <a:pt x="214474" y="247219"/>
                      <a:pt x="218380" y="243341"/>
                    </a:cubicBezTo>
                    <a:cubicBezTo>
                      <a:pt x="220984" y="244634"/>
                      <a:pt x="223588" y="244634"/>
                      <a:pt x="227495" y="244634"/>
                    </a:cubicBezTo>
                    <a:cubicBezTo>
                      <a:pt x="239214" y="244634"/>
                      <a:pt x="250933" y="236878"/>
                      <a:pt x="253537" y="225243"/>
                    </a:cubicBezTo>
                    <a:cubicBezTo>
                      <a:pt x="280881" y="222658"/>
                      <a:pt x="304319" y="220073"/>
                      <a:pt x="323851" y="217487"/>
                    </a:cubicBezTo>
                    <a:close/>
                    <a:moveTo>
                      <a:pt x="3175" y="196850"/>
                    </a:moveTo>
                    <a:cubicBezTo>
                      <a:pt x="23562" y="204666"/>
                      <a:pt x="55417" y="215086"/>
                      <a:pt x="93642" y="222902"/>
                    </a:cubicBezTo>
                    <a:cubicBezTo>
                      <a:pt x="94916" y="228112"/>
                      <a:pt x="96190" y="232019"/>
                      <a:pt x="100013" y="235927"/>
                    </a:cubicBezTo>
                    <a:cubicBezTo>
                      <a:pt x="84723" y="261978"/>
                      <a:pt x="71981" y="284122"/>
                      <a:pt x="65610" y="298450"/>
                    </a:cubicBezTo>
                    <a:cubicBezTo>
                      <a:pt x="33755" y="273702"/>
                      <a:pt x="10820" y="237230"/>
                      <a:pt x="3175" y="196850"/>
                    </a:cubicBezTo>
                    <a:close/>
                    <a:moveTo>
                      <a:pt x="146517" y="192087"/>
                    </a:moveTo>
                    <a:cubicBezTo>
                      <a:pt x="151747" y="200025"/>
                      <a:pt x="156976" y="207963"/>
                      <a:pt x="163513" y="215900"/>
                    </a:cubicBezTo>
                    <a:cubicBezTo>
                      <a:pt x="158284" y="215900"/>
                      <a:pt x="153054" y="214577"/>
                      <a:pt x="147825" y="214577"/>
                    </a:cubicBezTo>
                    <a:cubicBezTo>
                      <a:pt x="147825" y="209286"/>
                      <a:pt x="145210" y="203994"/>
                      <a:pt x="141288" y="200025"/>
                    </a:cubicBezTo>
                    <a:cubicBezTo>
                      <a:pt x="142595" y="197379"/>
                      <a:pt x="145210" y="194733"/>
                      <a:pt x="146517" y="192087"/>
                    </a:cubicBezTo>
                    <a:close/>
                    <a:moveTo>
                      <a:pt x="277877" y="160337"/>
                    </a:moveTo>
                    <a:cubicBezTo>
                      <a:pt x="290894" y="175968"/>
                      <a:pt x="302610" y="190296"/>
                      <a:pt x="314326" y="204624"/>
                    </a:cubicBezTo>
                    <a:cubicBezTo>
                      <a:pt x="297403" y="205927"/>
                      <a:pt x="276575" y="208532"/>
                      <a:pt x="253143" y="211137"/>
                    </a:cubicBezTo>
                    <a:cubicBezTo>
                      <a:pt x="251842" y="207230"/>
                      <a:pt x="251842" y="204624"/>
                      <a:pt x="249238" y="203322"/>
                    </a:cubicBezTo>
                    <a:cubicBezTo>
                      <a:pt x="259652" y="188994"/>
                      <a:pt x="270066" y="174665"/>
                      <a:pt x="277877" y="160337"/>
                    </a:cubicBezTo>
                    <a:close/>
                    <a:moveTo>
                      <a:pt x="290513" y="153987"/>
                    </a:moveTo>
                    <a:cubicBezTo>
                      <a:pt x="306490" y="159216"/>
                      <a:pt x="321136" y="163139"/>
                      <a:pt x="331788" y="167061"/>
                    </a:cubicBezTo>
                    <a:cubicBezTo>
                      <a:pt x="331788" y="178827"/>
                      <a:pt x="330457" y="187978"/>
                      <a:pt x="329125" y="198437"/>
                    </a:cubicBezTo>
                    <a:cubicBezTo>
                      <a:pt x="317142" y="185364"/>
                      <a:pt x="303828" y="170983"/>
                      <a:pt x="290513" y="153987"/>
                    </a:cubicBezTo>
                    <a:close/>
                    <a:moveTo>
                      <a:pt x="113341" y="139700"/>
                    </a:moveTo>
                    <a:cubicBezTo>
                      <a:pt x="118493" y="150004"/>
                      <a:pt x="124933" y="160307"/>
                      <a:pt x="130085" y="169324"/>
                    </a:cubicBezTo>
                    <a:cubicBezTo>
                      <a:pt x="132661" y="171900"/>
                      <a:pt x="135237" y="175764"/>
                      <a:pt x="136525" y="178340"/>
                    </a:cubicBezTo>
                    <a:cubicBezTo>
                      <a:pt x="133949" y="183492"/>
                      <a:pt x="131373" y="187356"/>
                      <a:pt x="128797" y="191219"/>
                    </a:cubicBezTo>
                    <a:cubicBezTo>
                      <a:pt x="126221" y="189932"/>
                      <a:pt x="123645" y="189932"/>
                      <a:pt x="121069" y="189932"/>
                    </a:cubicBezTo>
                    <a:cubicBezTo>
                      <a:pt x="109478" y="189932"/>
                      <a:pt x="99174" y="197659"/>
                      <a:pt x="95310" y="207963"/>
                    </a:cubicBezTo>
                    <a:cubicBezTo>
                      <a:pt x="52807" y="200235"/>
                      <a:pt x="19320" y="187356"/>
                      <a:pt x="1288" y="179628"/>
                    </a:cubicBezTo>
                    <a:cubicBezTo>
                      <a:pt x="0" y="174476"/>
                      <a:pt x="0" y="170612"/>
                      <a:pt x="0" y="165460"/>
                    </a:cubicBezTo>
                    <a:cubicBezTo>
                      <a:pt x="0" y="160307"/>
                      <a:pt x="0" y="156444"/>
                      <a:pt x="1288" y="151292"/>
                    </a:cubicBezTo>
                    <a:cubicBezTo>
                      <a:pt x="23183" y="147428"/>
                      <a:pt x="64399" y="142276"/>
                      <a:pt x="113341" y="139700"/>
                    </a:cubicBezTo>
                    <a:close/>
                    <a:moveTo>
                      <a:pt x="186315" y="138112"/>
                    </a:moveTo>
                    <a:cubicBezTo>
                      <a:pt x="215774" y="139408"/>
                      <a:pt x="243952" y="143298"/>
                      <a:pt x="268288" y="149780"/>
                    </a:cubicBezTo>
                    <a:cubicBezTo>
                      <a:pt x="259322" y="164042"/>
                      <a:pt x="249076" y="179599"/>
                      <a:pt x="238829" y="193860"/>
                    </a:cubicBezTo>
                    <a:cubicBezTo>
                      <a:pt x="234986" y="192564"/>
                      <a:pt x="231144" y="191267"/>
                      <a:pt x="227301" y="191267"/>
                    </a:cubicBezTo>
                    <a:cubicBezTo>
                      <a:pt x="213212" y="191267"/>
                      <a:pt x="201685" y="201639"/>
                      <a:pt x="200404" y="214604"/>
                    </a:cubicBezTo>
                    <a:cubicBezTo>
                      <a:pt x="194000" y="214604"/>
                      <a:pt x="186315" y="214604"/>
                      <a:pt x="179911" y="215900"/>
                    </a:cubicBezTo>
                    <a:cubicBezTo>
                      <a:pt x="170945" y="202936"/>
                      <a:pt x="163260" y="191267"/>
                      <a:pt x="155575" y="179599"/>
                    </a:cubicBezTo>
                    <a:cubicBezTo>
                      <a:pt x="160698" y="171820"/>
                      <a:pt x="167102" y="162745"/>
                      <a:pt x="173507" y="154966"/>
                    </a:cubicBezTo>
                    <a:cubicBezTo>
                      <a:pt x="177349" y="148483"/>
                      <a:pt x="182472" y="143298"/>
                      <a:pt x="186315" y="138112"/>
                    </a:cubicBezTo>
                    <a:close/>
                    <a:moveTo>
                      <a:pt x="168276" y="138112"/>
                    </a:moveTo>
                    <a:cubicBezTo>
                      <a:pt x="165630" y="140597"/>
                      <a:pt x="164307" y="143081"/>
                      <a:pt x="161661" y="145566"/>
                    </a:cubicBezTo>
                    <a:cubicBezTo>
                      <a:pt x="156370" y="153020"/>
                      <a:pt x="151078" y="159232"/>
                      <a:pt x="145786" y="166687"/>
                    </a:cubicBezTo>
                    <a:cubicBezTo>
                      <a:pt x="144463" y="165445"/>
                      <a:pt x="143140" y="162960"/>
                      <a:pt x="141817" y="161718"/>
                    </a:cubicBezTo>
                    <a:cubicBezTo>
                      <a:pt x="137849" y="154263"/>
                      <a:pt x="132557" y="146808"/>
                      <a:pt x="128588" y="139354"/>
                    </a:cubicBezTo>
                    <a:cubicBezTo>
                      <a:pt x="141817" y="139354"/>
                      <a:pt x="155047" y="138112"/>
                      <a:pt x="168276" y="138112"/>
                    </a:cubicBezTo>
                    <a:close/>
                    <a:moveTo>
                      <a:pt x="220028" y="103187"/>
                    </a:moveTo>
                    <a:cubicBezTo>
                      <a:pt x="223838" y="104486"/>
                      <a:pt x="227648" y="105784"/>
                      <a:pt x="232728" y="105784"/>
                    </a:cubicBezTo>
                    <a:cubicBezTo>
                      <a:pt x="233998" y="105784"/>
                      <a:pt x="236538" y="105784"/>
                      <a:pt x="237808" y="105784"/>
                    </a:cubicBezTo>
                    <a:cubicBezTo>
                      <a:pt x="241618" y="109681"/>
                      <a:pt x="244158" y="114877"/>
                      <a:pt x="246698" y="118773"/>
                    </a:cubicBezTo>
                    <a:cubicBezTo>
                      <a:pt x="249238" y="122670"/>
                      <a:pt x="253048" y="127865"/>
                      <a:pt x="255588" y="131762"/>
                    </a:cubicBezTo>
                    <a:cubicBezTo>
                      <a:pt x="237808" y="129164"/>
                      <a:pt x="218758" y="126566"/>
                      <a:pt x="198438" y="125267"/>
                    </a:cubicBezTo>
                    <a:cubicBezTo>
                      <a:pt x="206058" y="117474"/>
                      <a:pt x="213678" y="109681"/>
                      <a:pt x="220028" y="103187"/>
                    </a:cubicBezTo>
                    <a:close/>
                    <a:moveTo>
                      <a:pt x="317236" y="98425"/>
                    </a:moveTo>
                    <a:cubicBezTo>
                      <a:pt x="325173" y="115539"/>
                      <a:pt x="329142" y="133969"/>
                      <a:pt x="331788" y="152400"/>
                    </a:cubicBezTo>
                    <a:cubicBezTo>
                      <a:pt x="319882" y="148450"/>
                      <a:pt x="306652" y="144501"/>
                      <a:pt x="292100" y="140552"/>
                    </a:cubicBezTo>
                    <a:cubicBezTo>
                      <a:pt x="301361" y="124754"/>
                      <a:pt x="310621" y="111589"/>
                      <a:pt x="317236" y="98425"/>
                    </a:cubicBezTo>
                    <a:close/>
                    <a:moveTo>
                      <a:pt x="286068" y="52387"/>
                    </a:moveTo>
                    <a:cubicBezTo>
                      <a:pt x="295205" y="61448"/>
                      <a:pt x="303037" y="71803"/>
                      <a:pt x="309563" y="84748"/>
                    </a:cubicBezTo>
                    <a:cubicBezTo>
                      <a:pt x="301731" y="98986"/>
                      <a:pt x="289984" y="117108"/>
                      <a:pt x="278236" y="136525"/>
                    </a:cubicBezTo>
                    <a:cubicBezTo>
                      <a:pt x="278236" y="136525"/>
                      <a:pt x="276931" y="136525"/>
                      <a:pt x="276931" y="136525"/>
                    </a:cubicBezTo>
                    <a:cubicBezTo>
                      <a:pt x="270404" y="127464"/>
                      <a:pt x="265183" y="119697"/>
                      <a:pt x="258657" y="110636"/>
                    </a:cubicBezTo>
                    <a:cubicBezTo>
                      <a:pt x="256046" y="106753"/>
                      <a:pt x="253436" y="102870"/>
                      <a:pt x="250825" y="98986"/>
                    </a:cubicBezTo>
                    <a:cubicBezTo>
                      <a:pt x="256046" y="93809"/>
                      <a:pt x="259962" y="86042"/>
                      <a:pt x="259962" y="78275"/>
                    </a:cubicBezTo>
                    <a:cubicBezTo>
                      <a:pt x="259962" y="75687"/>
                      <a:pt x="259962" y="73098"/>
                      <a:pt x="258657" y="70509"/>
                    </a:cubicBezTo>
                    <a:cubicBezTo>
                      <a:pt x="269099" y="62742"/>
                      <a:pt x="278236" y="57564"/>
                      <a:pt x="286068" y="52387"/>
                    </a:cubicBezTo>
                    <a:close/>
                    <a:moveTo>
                      <a:pt x="73025" y="28575"/>
                    </a:moveTo>
                    <a:cubicBezTo>
                      <a:pt x="79493" y="54655"/>
                      <a:pt x="92428" y="92472"/>
                      <a:pt x="107950" y="126377"/>
                    </a:cubicBezTo>
                    <a:cubicBezTo>
                      <a:pt x="63970" y="128985"/>
                      <a:pt x="25165" y="134201"/>
                      <a:pt x="3175" y="138113"/>
                    </a:cubicBezTo>
                    <a:cubicBezTo>
                      <a:pt x="10936" y="92472"/>
                      <a:pt x="36806" y="53351"/>
                      <a:pt x="73025" y="28575"/>
                    </a:cubicBezTo>
                    <a:close/>
                    <a:moveTo>
                      <a:pt x="203200" y="4762"/>
                    </a:moveTo>
                    <a:cubicBezTo>
                      <a:pt x="230476" y="11151"/>
                      <a:pt x="255155" y="23928"/>
                      <a:pt x="274638" y="41817"/>
                    </a:cubicBezTo>
                    <a:cubicBezTo>
                      <a:pt x="268144" y="45650"/>
                      <a:pt x="260350" y="52039"/>
                      <a:pt x="251258" y="57150"/>
                    </a:cubicBezTo>
                    <a:cubicBezTo>
                      <a:pt x="246063" y="53316"/>
                      <a:pt x="239568" y="50761"/>
                      <a:pt x="233074" y="50761"/>
                    </a:cubicBezTo>
                    <a:cubicBezTo>
                      <a:pt x="230476" y="50761"/>
                      <a:pt x="227879" y="50761"/>
                      <a:pt x="225281" y="52039"/>
                    </a:cubicBezTo>
                    <a:cubicBezTo>
                      <a:pt x="216189" y="34150"/>
                      <a:pt x="208395" y="17539"/>
                      <a:pt x="203200" y="4762"/>
                    </a:cubicBezTo>
                    <a:close/>
                    <a:moveTo>
                      <a:pt x="165260" y="0"/>
                    </a:moveTo>
                    <a:cubicBezTo>
                      <a:pt x="172957" y="0"/>
                      <a:pt x="179371" y="0"/>
                      <a:pt x="185786" y="1290"/>
                    </a:cubicBezTo>
                    <a:cubicBezTo>
                      <a:pt x="192200" y="15478"/>
                      <a:pt x="199897" y="36115"/>
                      <a:pt x="212725" y="59333"/>
                    </a:cubicBezTo>
                    <a:cubicBezTo>
                      <a:pt x="207594" y="63202"/>
                      <a:pt x="205028" y="69651"/>
                      <a:pt x="205028" y="77390"/>
                    </a:cubicBezTo>
                    <a:cubicBezTo>
                      <a:pt x="205028" y="82550"/>
                      <a:pt x="206311" y="87709"/>
                      <a:pt x="208876" y="91579"/>
                    </a:cubicBezTo>
                    <a:cubicBezTo>
                      <a:pt x="198614" y="100608"/>
                      <a:pt x="188351" y="110926"/>
                      <a:pt x="179371" y="122535"/>
                    </a:cubicBezTo>
                    <a:cubicBezTo>
                      <a:pt x="178089" y="122535"/>
                      <a:pt x="178089" y="122535"/>
                      <a:pt x="176806" y="122535"/>
                    </a:cubicBezTo>
                    <a:cubicBezTo>
                      <a:pt x="158846" y="122535"/>
                      <a:pt x="139604" y="123825"/>
                      <a:pt x="122927" y="123825"/>
                    </a:cubicBezTo>
                    <a:cubicBezTo>
                      <a:pt x="104967" y="87709"/>
                      <a:pt x="92139" y="45144"/>
                      <a:pt x="85725" y="20637"/>
                    </a:cubicBezTo>
                    <a:cubicBezTo>
                      <a:pt x="108816" y="7739"/>
                      <a:pt x="135755" y="0"/>
                      <a:pt x="16526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2" name="组合 11"/>
          <p:cNvGrpSpPr/>
          <p:nvPr>
            <p:custDataLst>
              <p:tags r:id="rId10"/>
            </p:custDataLst>
          </p:nvPr>
        </p:nvGrpSpPr>
        <p:grpSpPr>
          <a:xfrm>
            <a:off x="7128204" y="4670247"/>
            <a:ext cx="676672" cy="1114074"/>
            <a:chOff x="7128204" y="4479747"/>
            <a:chExt cx="676672" cy="1114074"/>
          </a:xfrm>
        </p:grpSpPr>
        <p:cxnSp>
          <p:nvCxnSpPr>
            <p:cNvPr id="43" name="直接连接符 42"/>
            <p:cNvCxnSpPr>
              <a:stCxn id="56" idx="3"/>
            </p:cNvCxnSpPr>
            <p:nvPr>
              <p:custDataLst>
                <p:tags r:id="rId11"/>
              </p:custDataLst>
            </p:nvPr>
          </p:nvCxnSpPr>
          <p:spPr>
            <a:xfrm>
              <a:off x="7466540" y="5156106"/>
              <a:ext cx="1" cy="43771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iṩḷiḑê"/>
            <p:cNvGrpSpPr/>
            <p:nvPr/>
          </p:nvGrpSpPr>
          <p:grpSpPr>
            <a:xfrm>
              <a:off x="7128204" y="4479747"/>
              <a:ext cx="676672" cy="676358"/>
              <a:chOff x="6800652" y="1600503"/>
              <a:chExt cx="676672" cy="676358"/>
            </a:xfrm>
          </p:grpSpPr>
          <p:sp>
            <p:nvSpPr>
              <p:cNvPr id="56" name="íŝḷíďê"/>
              <p:cNvSpPr/>
              <p:nvPr>
                <p:custDataLst>
                  <p:tags r:id="rId12"/>
                </p:custDataLst>
              </p:nvPr>
            </p:nvSpPr>
            <p:spPr>
              <a:xfrm>
                <a:off x="6800652" y="1600503"/>
                <a:ext cx="676672" cy="676358"/>
              </a:xfrm>
              <a:custGeom>
                <a:avLst/>
                <a:gdLst>
                  <a:gd name="connsiteX0" fmla="*/ 0 w 1260455"/>
                  <a:gd name="connsiteY0" fmla="*/ 630228 h 1260455"/>
                  <a:gd name="connsiteX1" fmla="*/ 630228 w 1260455"/>
                  <a:gd name="connsiteY1" fmla="*/ 0 h 1260455"/>
                  <a:gd name="connsiteX2" fmla="*/ 1260456 w 1260455"/>
                  <a:gd name="connsiteY2" fmla="*/ 630228 h 1260455"/>
                  <a:gd name="connsiteX3" fmla="*/ 630228 w 1260455"/>
                  <a:gd name="connsiteY3" fmla="*/ 1260456 h 1260455"/>
                  <a:gd name="connsiteX4" fmla="*/ 0 w 1260455"/>
                  <a:gd name="connsiteY4" fmla="*/ 630228 h 126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0455" h="1260455">
                    <a:moveTo>
                      <a:pt x="0" y="630228"/>
                    </a:moveTo>
                    <a:cubicBezTo>
                      <a:pt x="0" y="282163"/>
                      <a:pt x="282163" y="0"/>
                      <a:pt x="630228" y="0"/>
                    </a:cubicBezTo>
                    <a:cubicBezTo>
                      <a:pt x="978293" y="0"/>
                      <a:pt x="1260456" y="282163"/>
                      <a:pt x="1260456" y="630228"/>
                    </a:cubicBezTo>
                    <a:cubicBezTo>
                      <a:pt x="1260456" y="978293"/>
                      <a:pt x="978293" y="1260456"/>
                      <a:pt x="630228" y="1260456"/>
                    </a:cubicBezTo>
                    <a:cubicBezTo>
                      <a:pt x="282163" y="1260456"/>
                      <a:pt x="0" y="978293"/>
                      <a:pt x="0" y="630228"/>
                    </a:cubicBezTo>
                    <a:close/>
                  </a:path>
                </a:pathLst>
              </a:custGeom>
              <a:solidFill>
                <a:srgbClr val="FFC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7" name="íṡ1îḋé"/>
              <p:cNvSpPr/>
              <p:nvPr>
                <p:custDataLst>
                  <p:tags r:id="rId13"/>
                </p:custDataLst>
              </p:nvPr>
            </p:nvSpPr>
            <p:spPr>
              <a:xfrm>
                <a:off x="6974965" y="1774660"/>
                <a:ext cx="328046" cy="328044"/>
              </a:xfrm>
              <a:custGeom>
                <a:avLst/>
                <a:gdLst>
                  <a:gd name="connsiteX0" fmla="*/ 199497 w 331788"/>
                  <a:gd name="connsiteY0" fmla="*/ 265112 h 331787"/>
                  <a:gd name="connsiteX1" fmla="*/ 209798 w 331788"/>
                  <a:gd name="connsiteY1" fmla="*/ 279217 h 331787"/>
                  <a:gd name="connsiteX2" fmla="*/ 238126 w 331788"/>
                  <a:gd name="connsiteY2" fmla="*/ 315118 h 331787"/>
                  <a:gd name="connsiteX3" fmla="*/ 166018 w 331788"/>
                  <a:gd name="connsiteY3" fmla="*/ 331787 h 331787"/>
                  <a:gd name="connsiteX4" fmla="*/ 122238 w 331788"/>
                  <a:gd name="connsiteY4" fmla="*/ 325376 h 331787"/>
                  <a:gd name="connsiteX5" fmla="*/ 199497 w 331788"/>
                  <a:gd name="connsiteY5" fmla="*/ 265112 h 331787"/>
                  <a:gd name="connsiteX6" fmla="*/ 190500 w 331788"/>
                  <a:gd name="connsiteY6" fmla="*/ 228600 h 331787"/>
                  <a:gd name="connsiteX7" fmla="*/ 201490 w 331788"/>
                  <a:gd name="connsiteY7" fmla="*/ 228600 h 331787"/>
                  <a:gd name="connsiteX8" fmla="*/ 206375 w 331788"/>
                  <a:gd name="connsiteY8" fmla="*/ 236394 h 331787"/>
                  <a:gd name="connsiteX9" fmla="*/ 200269 w 331788"/>
                  <a:gd name="connsiteY9" fmla="*/ 242888 h 331787"/>
                  <a:gd name="connsiteX10" fmla="*/ 190500 w 331788"/>
                  <a:gd name="connsiteY10" fmla="*/ 228600 h 331787"/>
                  <a:gd name="connsiteX11" fmla="*/ 146452 w 331788"/>
                  <a:gd name="connsiteY11" fmla="*/ 228600 h 331787"/>
                  <a:gd name="connsiteX12" fmla="*/ 164590 w 331788"/>
                  <a:gd name="connsiteY12" fmla="*/ 229897 h 331787"/>
                  <a:gd name="connsiteX13" fmla="*/ 165885 w 331788"/>
                  <a:gd name="connsiteY13" fmla="*/ 229897 h 331787"/>
                  <a:gd name="connsiteX14" fmla="*/ 173659 w 331788"/>
                  <a:gd name="connsiteY14" fmla="*/ 229897 h 331787"/>
                  <a:gd name="connsiteX15" fmla="*/ 190501 w 331788"/>
                  <a:gd name="connsiteY15" fmla="*/ 253240 h 331787"/>
                  <a:gd name="connsiteX16" fmla="*/ 103699 w 331788"/>
                  <a:gd name="connsiteY16" fmla="*/ 320675 h 331787"/>
                  <a:gd name="connsiteX17" fmla="*/ 77788 w 331788"/>
                  <a:gd name="connsiteY17" fmla="*/ 306410 h 331787"/>
                  <a:gd name="connsiteX18" fmla="*/ 112768 w 331788"/>
                  <a:gd name="connsiteY18" fmla="*/ 244162 h 331787"/>
                  <a:gd name="connsiteX19" fmla="*/ 121837 w 331788"/>
                  <a:gd name="connsiteY19" fmla="*/ 245459 h 331787"/>
                  <a:gd name="connsiteX20" fmla="*/ 146452 w 331788"/>
                  <a:gd name="connsiteY20" fmla="*/ 228600 h 331787"/>
                  <a:gd name="connsiteX21" fmla="*/ 323851 w 331788"/>
                  <a:gd name="connsiteY21" fmla="*/ 217487 h 331787"/>
                  <a:gd name="connsiteX22" fmla="*/ 249631 w 331788"/>
                  <a:gd name="connsiteY22" fmla="*/ 307975 h 331787"/>
                  <a:gd name="connsiteX23" fmla="*/ 207963 w 331788"/>
                  <a:gd name="connsiteY23" fmla="*/ 253682 h 331787"/>
                  <a:gd name="connsiteX24" fmla="*/ 218380 w 331788"/>
                  <a:gd name="connsiteY24" fmla="*/ 243341 h 331787"/>
                  <a:gd name="connsiteX25" fmla="*/ 227495 w 331788"/>
                  <a:gd name="connsiteY25" fmla="*/ 244634 h 331787"/>
                  <a:gd name="connsiteX26" fmla="*/ 253537 w 331788"/>
                  <a:gd name="connsiteY26" fmla="*/ 225243 h 331787"/>
                  <a:gd name="connsiteX27" fmla="*/ 323851 w 331788"/>
                  <a:gd name="connsiteY27" fmla="*/ 217487 h 331787"/>
                  <a:gd name="connsiteX28" fmla="*/ 3175 w 331788"/>
                  <a:gd name="connsiteY28" fmla="*/ 196850 h 331787"/>
                  <a:gd name="connsiteX29" fmla="*/ 93642 w 331788"/>
                  <a:gd name="connsiteY29" fmla="*/ 222902 h 331787"/>
                  <a:gd name="connsiteX30" fmla="*/ 100013 w 331788"/>
                  <a:gd name="connsiteY30" fmla="*/ 235927 h 331787"/>
                  <a:gd name="connsiteX31" fmla="*/ 65610 w 331788"/>
                  <a:gd name="connsiteY31" fmla="*/ 298450 h 331787"/>
                  <a:gd name="connsiteX32" fmla="*/ 3175 w 331788"/>
                  <a:gd name="connsiteY32" fmla="*/ 196850 h 331787"/>
                  <a:gd name="connsiteX33" fmla="*/ 146517 w 331788"/>
                  <a:gd name="connsiteY33" fmla="*/ 192087 h 331787"/>
                  <a:gd name="connsiteX34" fmla="*/ 163513 w 331788"/>
                  <a:gd name="connsiteY34" fmla="*/ 215900 h 331787"/>
                  <a:gd name="connsiteX35" fmla="*/ 147825 w 331788"/>
                  <a:gd name="connsiteY35" fmla="*/ 214577 h 331787"/>
                  <a:gd name="connsiteX36" fmla="*/ 141288 w 331788"/>
                  <a:gd name="connsiteY36" fmla="*/ 200025 h 331787"/>
                  <a:gd name="connsiteX37" fmla="*/ 146517 w 331788"/>
                  <a:gd name="connsiteY37" fmla="*/ 192087 h 331787"/>
                  <a:gd name="connsiteX38" fmla="*/ 277877 w 331788"/>
                  <a:gd name="connsiteY38" fmla="*/ 160337 h 331787"/>
                  <a:gd name="connsiteX39" fmla="*/ 314326 w 331788"/>
                  <a:gd name="connsiteY39" fmla="*/ 204624 h 331787"/>
                  <a:gd name="connsiteX40" fmla="*/ 253143 w 331788"/>
                  <a:gd name="connsiteY40" fmla="*/ 211137 h 331787"/>
                  <a:gd name="connsiteX41" fmla="*/ 249238 w 331788"/>
                  <a:gd name="connsiteY41" fmla="*/ 203322 h 331787"/>
                  <a:gd name="connsiteX42" fmla="*/ 277877 w 331788"/>
                  <a:gd name="connsiteY42" fmla="*/ 160337 h 331787"/>
                  <a:gd name="connsiteX43" fmla="*/ 290513 w 331788"/>
                  <a:gd name="connsiteY43" fmla="*/ 153987 h 331787"/>
                  <a:gd name="connsiteX44" fmla="*/ 331788 w 331788"/>
                  <a:gd name="connsiteY44" fmla="*/ 167061 h 331787"/>
                  <a:gd name="connsiteX45" fmla="*/ 329125 w 331788"/>
                  <a:gd name="connsiteY45" fmla="*/ 198437 h 331787"/>
                  <a:gd name="connsiteX46" fmla="*/ 290513 w 331788"/>
                  <a:gd name="connsiteY46" fmla="*/ 153987 h 331787"/>
                  <a:gd name="connsiteX47" fmla="*/ 113341 w 331788"/>
                  <a:gd name="connsiteY47" fmla="*/ 139700 h 331787"/>
                  <a:gd name="connsiteX48" fmla="*/ 130085 w 331788"/>
                  <a:gd name="connsiteY48" fmla="*/ 169324 h 331787"/>
                  <a:gd name="connsiteX49" fmla="*/ 136525 w 331788"/>
                  <a:gd name="connsiteY49" fmla="*/ 178340 h 331787"/>
                  <a:gd name="connsiteX50" fmla="*/ 128797 w 331788"/>
                  <a:gd name="connsiteY50" fmla="*/ 191219 h 331787"/>
                  <a:gd name="connsiteX51" fmla="*/ 121069 w 331788"/>
                  <a:gd name="connsiteY51" fmla="*/ 189932 h 331787"/>
                  <a:gd name="connsiteX52" fmla="*/ 95310 w 331788"/>
                  <a:gd name="connsiteY52" fmla="*/ 207963 h 331787"/>
                  <a:gd name="connsiteX53" fmla="*/ 1288 w 331788"/>
                  <a:gd name="connsiteY53" fmla="*/ 179628 h 331787"/>
                  <a:gd name="connsiteX54" fmla="*/ 0 w 331788"/>
                  <a:gd name="connsiteY54" fmla="*/ 165460 h 331787"/>
                  <a:gd name="connsiteX55" fmla="*/ 1288 w 331788"/>
                  <a:gd name="connsiteY55" fmla="*/ 151292 h 331787"/>
                  <a:gd name="connsiteX56" fmla="*/ 113341 w 331788"/>
                  <a:gd name="connsiteY56" fmla="*/ 139700 h 331787"/>
                  <a:gd name="connsiteX57" fmla="*/ 186315 w 331788"/>
                  <a:gd name="connsiteY57" fmla="*/ 138112 h 331787"/>
                  <a:gd name="connsiteX58" fmla="*/ 268288 w 331788"/>
                  <a:gd name="connsiteY58" fmla="*/ 149780 h 331787"/>
                  <a:gd name="connsiteX59" fmla="*/ 238829 w 331788"/>
                  <a:gd name="connsiteY59" fmla="*/ 193860 h 331787"/>
                  <a:gd name="connsiteX60" fmla="*/ 227301 w 331788"/>
                  <a:gd name="connsiteY60" fmla="*/ 191267 h 331787"/>
                  <a:gd name="connsiteX61" fmla="*/ 200404 w 331788"/>
                  <a:gd name="connsiteY61" fmla="*/ 214604 h 331787"/>
                  <a:gd name="connsiteX62" fmla="*/ 179911 w 331788"/>
                  <a:gd name="connsiteY62" fmla="*/ 215900 h 331787"/>
                  <a:gd name="connsiteX63" fmla="*/ 155575 w 331788"/>
                  <a:gd name="connsiteY63" fmla="*/ 179599 h 331787"/>
                  <a:gd name="connsiteX64" fmla="*/ 173507 w 331788"/>
                  <a:gd name="connsiteY64" fmla="*/ 154966 h 331787"/>
                  <a:gd name="connsiteX65" fmla="*/ 186315 w 331788"/>
                  <a:gd name="connsiteY65" fmla="*/ 138112 h 331787"/>
                  <a:gd name="connsiteX66" fmla="*/ 168276 w 331788"/>
                  <a:gd name="connsiteY66" fmla="*/ 138112 h 331787"/>
                  <a:gd name="connsiteX67" fmla="*/ 161661 w 331788"/>
                  <a:gd name="connsiteY67" fmla="*/ 145566 h 331787"/>
                  <a:gd name="connsiteX68" fmla="*/ 145786 w 331788"/>
                  <a:gd name="connsiteY68" fmla="*/ 166687 h 331787"/>
                  <a:gd name="connsiteX69" fmla="*/ 141817 w 331788"/>
                  <a:gd name="connsiteY69" fmla="*/ 161718 h 331787"/>
                  <a:gd name="connsiteX70" fmla="*/ 128588 w 331788"/>
                  <a:gd name="connsiteY70" fmla="*/ 139354 h 331787"/>
                  <a:gd name="connsiteX71" fmla="*/ 168276 w 331788"/>
                  <a:gd name="connsiteY71" fmla="*/ 138112 h 331787"/>
                  <a:gd name="connsiteX72" fmla="*/ 220028 w 331788"/>
                  <a:gd name="connsiteY72" fmla="*/ 103187 h 331787"/>
                  <a:gd name="connsiteX73" fmla="*/ 232728 w 331788"/>
                  <a:gd name="connsiteY73" fmla="*/ 105784 h 331787"/>
                  <a:gd name="connsiteX74" fmla="*/ 237808 w 331788"/>
                  <a:gd name="connsiteY74" fmla="*/ 105784 h 331787"/>
                  <a:gd name="connsiteX75" fmla="*/ 246698 w 331788"/>
                  <a:gd name="connsiteY75" fmla="*/ 118773 h 331787"/>
                  <a:gd name="connsiteX76" fmla="*/ 255588 w 331788"/>
                  <a:gd name="connsiteY76" fmla="*/ 131762 h 331787"/>
                  <a:gd name="connsiteX77" fmla="*/ 198438 w 331788"/>
                  <a:gd name="connsiteY77" fmla="*/ 125267 h 331787"/>
                  <a:gd name="connsiteX78" fmla="*/ 220028 w 331788"/>
                  <a:gd name="connsiteY78" fmla="*/ 103187 h 331787"/>
                  <a:gd name="connsiteX79" fmla="*/ 317236 w 331788"/>
                  <a:gd name="connsiteY79" fmla="*/ 98425 h 331787"/>
                  <a:gd name="connsiteX80" fmla="*/ 331788 w 331788"/>
                  <a:gd name="connsiteY80" fmla="*/ 152400 h 331787"/>
                  <a:gd name="connsiteX81" fmla="*/ 292100 w 331788"/>
                  <a:gd name="connsiteY81" fmla="*/ 140552 h 331787"/>
                  <a:gd name="connsiteX82" fmla="*/ 317236 w 331788"/>
                  <a:gd name="connsiteY82" fmla="*/ 98425 h 331787"/>
                  <a:gd name="connsiteX83" fmla="*/ 286068 w 331788"/>
                  <a:gd name="connsiteY83" fmla="*/ 52387 h 331787"/>
                  <a:gd name="connsiteX84" fmla="*/ 309563 w 331788"/>
                  <a:gd name="connsiteY84" fmla="*/ 84748 h 331787"/>
                  <a:gd name="connsiteX85" fmla="*/ 278236 w 331788"/>
                  <a:gd name="connsiteY85" fmla="*/ 136525 h 331787"/>
                  <a:gd name="connsiteX86" fmla="*/ 276931 w 331788"/>
                  <a:gd name="connsiteY86" fmla="*/ 136525 h 331787"/>
                  <a:gd name="connsiteX87" fmla="*/ 258657 w 331788"/>
                  <a:gd name="connsiteY87" fmla="*/ 110636 h 331787"/>
                  <a:gd name="connsiteX88" fmla="*/ 250825 w 331788"/>
                  <a:gd name="connsiteY88" fmla="*/ 98986 h 331787"/>
                  <a:gd name="connsiteX89" fmla="*/ 259962 w 331788"/>
                  <a:gd name="connsiteY89" fmla="*/ 78275 h 331787"/>
                  <a:gd name="connsiteX90" fmla="*/ 258657 w 331788"/>
                  <a:gd name="connsiteY90" fmla="*/ 70509 h 331787"/>
                  <a:gd name="connsiteX91" fmla="*/ 286068 w 331788"/>
                  <a:gd name="connsiteY91" fmla="*/ 52387 h 331787"/>
                  <a:gd name="connsiteX92" fmla="*/ 73025 w 331788"/>
                  <a:gd name="connsiteY92" fmla="*/ 28575 h 331787"/>
                  <a:gd name="connsiteX93" fmla="*/ 107950 w 331788"/>
                  <a:gd name="connsiteY93" fmla="*/ 126377 h 331787"/>
                  <a:gd name="connsiteX94" fmla="*/ 3175 w 331788"/>
                  <a:gd name="connsiteY94" fmla="*/ 138113 h 331787"/>
                  <a:gd name="connsiteX95" fmla="*/ 73025 w 331788"/>
                  <a:gd name="connsiteY95" fmla="*/ 28575 h 331787"/>
                  <a:gd name="connsiteX96" fmla="*/ 203200 w 331788"/>
                  <a:gd name="connsiteY96" fmla="*/ 4762 h 331787"/>
                  <a:gd name="connsiteX97" fmla="*/ 274638 w 331788"/>
                  <a:gd name="connsiteY97" fmla="*/ 41817 h 331787"/>
                  <a:gd name="connsiteX98" fmla="*/ 251258 w 331788"/>
                  <a:gd name="connsiteY98" fmla="*/ 57150 h 331787"/>
                  <a:gd name="connsiteX99" fmla="*/ 233074 w 331788"/>
                  <a:gd name="connsiteY99" fmla="*/ 50761 h 331787"/>
                  <a:gd name="connsiteX100" fmla="*/ 225281 w 331788"/>
                  <a:gd name="connsiteY100" fmla="*/ 52039 h 331787"/>
                  <a:gd name="connsiteX101" fmla="*/ 203200 w 331788"/>
                  <a:gd name="connsiteY101" fmla="*/ 4762 h 331787"/>
                  <a:gd name="connsiteX102" fmla="*/ 165260 w 331788"/>
                  <a:gd name="connsiteY102" fmla="*/ 0 h 331787"/>
                  <a:gd name="connsiteX103" fmla="*/ 185786 w 331788"/>
                  <a:gd name="connsiteY103" fmla="*/ 1290 h 331787"/>
                  <a:gd name="connsiteX104" fmla="*/ 212725 w 331788"/>
                  <a:gd name="connsiteY104" fmla="*/ 59333 h 331787"/>
                  <a:gd name="connsiteX105" fmla="*/ 205028 w 331788"/>
                  <a:gd name="connsiteY105" fmla="*/ 77390 h 331787"/>
                  <a:gd name="connsiteX106" fmla="*/ 208876 w 331788"/>
                  <a:gd name="connsiteY106" fmla="*/ 91579 h 331787"/>
                  <a:gd name="connsiteX107" fmla="*/ 179371 w 331788"/>
                  <a:gd name="connsiteY107" fmla="*/ 122535 h 331787"/>
                  <a:gd name="connsiteX108" fmla="*/ 176806 w 331788"/>
                  <a:gd name="connsiteY108" fmla="*/ 122535 h 331787"/>
                  <a:gd name="connsiteX109" fmla="*/ 122927 w 331788"/>
                  <a:gd name="connsiteY109" fmla="*/ 123825 h 331787"/>
                  <a:gd name="connsiteX110" fmla="*/ 85725 w 331788"/>
                  <a:gd name="connsiteY110" fmla="*/ 20637 h 331787"/>
                  <a:gd name="connsiteX111" fmla="*/ 165260 w 331788"/>
                  <a:gd name="connsiteY111" fmla="*/ 0 h 331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31788" h="331787">
                    <a:moveTo>
                      <a:pt x="199497" y="265112"/>
                    </a:moveTo>
                    <a:cubicBezTo>
                      <a:pt x="203360" y="270241"/>
                      <a:pt x="205935" y="274088"/>
                      <a:pt x="209798" y="279217"/>
                    </a:cubicBezTo>
                    <a:cubicBezTo>
                      <a:pt x="222674" y="295885"/>
                      <a:pt x="231688" y="307425"/>
                      <a:pt x="238126" y="315118"/>
                    </a:cubicBezTo>
                    <a:cubicBezTo>
                      <a:pt x="216236" y="325376"/>
                      <a:pt x="191771" y="331787"/>
                      <a:pt x="166018" y="331787"/>
                    </a:cubicBezTo>
                    <a:cubicBezTo>
                      <a:pt x="150566" y="331787"/>
                      <a:pt x="136402" y="329223"/>
                      <a:pt x="122238" y="325376"/>
                    </a:cubicBezTo>
                    <a:cubicBezTo>
                      <a:pt x="141553" y="312554"/>
                      <a:pt x="169881" y="293321"/>
                      <a:pt x="199497" y="265112"/>
                    </a:cubicBezTo>
                    <a:close/>
                    <a:moveTo>
                      <a:pt x="190500" y="228600"/>
                    </a:moveTo>
                    <a:cubicBezTo>
                      <a:pt x="194163" y="228600"/>
                      <a:pt x="197827" y="228600"/>
                      <a:pt x="201490" y="228600"/>
                    </a:cubicBezTo>
                    <a:cubicBezTo>
                      <a:pt x="202712" y="231198"/>
                      <a:pt x="203933" y="233796"/>
                      <a:pt x="206375" y="236394"/>
                    </a:cubicBezTo>
                    <a:cubicBezTo>
                      <a:pt x="203933" y="237693"/>
                      <a:pt x="201490" y="240290"/>
                      <a:pt x="200269" y="242888"/>
                    </a:cubicBezTo>
                    <a:cubicBezTo>
                      <a:pt x="196606" y="237693"/>
                      <a:pt x="194163" y="233796"/>
                      <a:pt x="190500" y="228600"/>
                    </a:cubicBezTo>
                    <a:close/>
                    <a:moveTo>
                      <a:pt x="146452" y="228600"/>
                    </a:moveTo>
                    <a:cubicBezTo>
                      <a:pt x="152930" y="228600"/>
                      <a:pt x="159408" y="229897"/>
                      <a:pt x="164590" y="229897"/>
                    </a:cubicBezTo>
                    <a:cubicBezTo>
                      <a:pt x="164590" y="229897"/>
                      <a:pt x="164590" y="229897"/>
                      <a:pt x="165885" y="229897"/>
                    </a:cubicBezTo>
                    <a:cubicBezTo>
                      <a:pt x="168477" y="229897"/>
                      <a:pt x="171068" y="229897"/>
                      <a:pt x="173659" y="229897"/>
                    </a:cubicBezTo>
                    <a:cubicBezTo>
                      <a:pt x="178841" y="237678"/>
                      <a:pt x="185319" y="245459"/>
                      <a:pt x="190501" y="253240"/>
                    </a:cubicBezTo>
                    <a:cubicBezTo>
                      <a:pt x="156817" y="286958"/>
                      <a:pt x="123132" y="309004"/>
                      <a:pt x="103699" y="320675"/>
                    </a:cubicBezTo>
                    <a:cubicBezTo>
                      <a:pt x="94630" y="316785"/>
                      <a:pt x="85561" y="311597"/>
                      <a:pt x="77788" y="306410"/>
                    </a:cubicBezTo>
                    <a:cubicBezTo>
                      <a:pt x="84266" y="293442"/>
                      <a:pt x="97221" y="271396"/>
                      <a:pt x="112768" y="244162"/>
                    </a:cubicBezTo>
                    <a:cubicBezTo>
                      <a:pt x="115359" y="245459"/>
                      <a:pt x="117950" y="245459"/>
                      <a:pt x="121837" y="245459"/>
                    </a:cubicBezTo>
                    <a:cubicBezTo>
                      <a:pt x="132201" y="245459"/>
                      <a:pt x="142566" y="238975"/>
                      <a:pt x="146452" y="228600"/>
                    </a:cubicBezTo>
                    <a:close/>
                    <a:moveTo>
                      <a:pt x="323851" y="217487"/>
                    </a:moveTo>
                    <a:cubicBezTo>
                      <a:pt x="310830" y="256268"/>
                      <a:pt x="284788" y="287292"/>
                      <a:pt x="249631" y="307975"/>
                    </a:cubicBezTo>
                    <a:cubicBezTo>
                      <a:pt x="240516" y="295048"/>
                      <a:pt x="224890" y="275658"/>
                      <a:pt x="207963" y="253682"/>
                    </a:cubicBezTo>
                    <a:cubicBezTo>
                      <a:pt x="211869" y="249804"/>
                      <a:pt x="214474" y="247219"/>
                      <a:pt x="218380" y="243341"/>
                    </a:cubicBezTo>
                    <a:cubicBezTo>
                      <a:pt x="220984" y="244634"/>
                      <a:pt x="223588" y="244634"/>
                      <a:pt x="227495" y="244634"/>
                    </a:cubicBezTo>
                    <a:cubicBezTo>
                      <a:pt x="239214" y="244634"/>
                      <a:pt x="250933" y="236878"/>
                      <a:pt x="253537" y="225243"/>
                    </a:cubicBezTo>
                    <a:cubicBezTo>
                      <a:pt x="280881" y="222658"/>
                      <a:pt x="304319" y="220073"/>
                      <a:pt x="323851" y="217487"/>
                    </a:cubicBezTo>
                    <a:close/>
                    <a:moveTo>
                      <a:pt x="3175" y="196850"/>
                    </a:moveTo>
                    <a:cubicBezTo>
                      <a:pt x="23562" y="204666"/>
                      <a:pt x="55417" y="215086"/>
                      <a:pt x="93642" y="222902"/>
                    </a:cubicBezTo>
                    <a:cubicBezTo>
                      <a:pt x="94916" y="228112"/>
                      <a:pt x="96190" y="232019"/>
                      <a:pt x="100013" y="235927"/>
                    </a:cubicBezTo>
                    <a:cubicBezTo>
                      <a:pt x="84723" y="261978"/>
                      <a:pt x="71981" y="284122"/>
                      <a:pt x="65610" y="298450"/>
                    </a:cubicBezTo>
                    <a:cubicBezTo>
                      <a:pt x="33755" y="273702"/>
                      <a:pt x="10820" y="237230"/>
                      <a:pt x="3175" y="196850"/>
                    </a:cubicBezTo>
                    <a:close/>
                    <a:moveTo>
                      <a:pt x="146517" y="192087"/>
                    </a:moveTo>
                    <a:cubicBezTo>
                      <a:pt x="151747" y="200025"/>
                      <a:pt x="156976" y="207963"/>
                      <a:pt x="163513" y="215900"/>
                    </a:cubicBezTo>
                    <a:cubicBezTo>
                      <a:pt x="158284" y="215900"/>
                      <a:pt x="153054" y="214577"/>
                      <a:pt x="147825" y="214577"/>
                    </a:cubicBezTo>
                    <a:cubicBezTo>
                      <a:pt x="147825" y="209286"/>
                      <a:pt x="145210" y="203994"/>
                      <a:pt x="141288" y="200025"/>
                    </a:cubicBezTo>
                    <a:cubicBezTo>
                      <a:pt x="142595" y="197379"/>
                      <a:pt x="145210" y="194733"/>
                      <a:pt x="146517" y="192087"/>
                    </a:cubicBezTo>
                    <a:close/>
                    <a:moveTo>
                      <a:pt x="277877" y="160337"/>
                    </a:moveTo>
                    <a:cubicBezTo>
                      <a:pt x="290894" y="175968"/>
                      <a:pt x="302610" y="190296"/>
                      <a:pt x="314326" y="204624"/>
                    </a:cubicBezTo>
                    <a:cubicBezTo>
                      <a:pt x="297403" y="205927"/>
                      <a:pt x="276575" y="208532"/>
                      <a:pt x="253143" y="211137"/>
                    </a:cubicBezTo>
                    <a:cubicBezTo>
                      <a:pt x="251842" y="207230"/>
                      <a:pt x="251842" y="204624"/>
                      <a:pt x="249238" y="203322"/>
                    </a:cubicBezTo>
                    <a:cubicBezTo>
                      <a:pt x="259652" y="188994"/>
                      <a:pt x="270066" y="174665"/>
                      <a:pt x="277877" y="160337"/>
                    </a:cubicBezTo>
                    <a:close/>
                    <a:moveTo>
                      <a:pt x="290513" y="153987"/>
                    </a:moveTo>
                    <a:cubicBezTo>
                      <a:pt x="306490" y="159216"/>
                      <a:pt x="321136" y="163139"/>
                      <a:pt x="331788" y="167061"/>
                    </a:cubicBezTo>
                    <a:cubicBezTo>
                      <a:pt x="331788" y="178827"/>
                      <a:pt x="330457" y="187978"/>
                      <a:pt x="329125" y="198437"/>
                    </a:cubicBezTo>
                    <a:cubicBezTo>
                      <a:pt x="317142" y="185364"/>
                      <a:pt x="303828" y="170983"/>
                      <a:pt x="290513" y="153987"/>
                    </a:cubicBezTo>
                    <a:close/>
                    <a:moveTo>
                      <a:pt x="113341" y="139700"/>
                    </a:moveTo>
                    <a:cubicBezTo>
                      <a:pt x="118493" y="150004"/>
                      <a:pt x="124933" y="160307"/>
                      <a:pt x="130085" y="169324"/>
                    </a:cubicBezTo>
                    <a:cubicBezTo>
                      <a:pt x="132661" y="171900"/>
                      <a:pt x="135237" y="175764"/>
                      <a:pt x="136525" y="178340"/>
                    </a:cubicBezTo>
                    <a:cubicBezTo>
                      <a:pt x="133949" y="183492"/>
                      <a:pt x="131373" y="187356"/>
                      <a:pt x="128797" y="191219"/>
                    </a:cubicBezTo>
                    <a:cubicBezTo>
                      <a:pt x="126221" y="189932"/>
                      <a:pt x="123645" y="189932"/>
                      <a:pt x="121069" y="189932"/>
                    </a:cubicBezTo>
                    <a:cubicBezTo>
                      <a:pt x="109478" y="189932"/>
                      <a:pt x="99174" y="197659"/>
                      <a:pt x="95310" y="207963"/>
                    </a:cubicBezTo>
                    <a:cubicBezTo>
                      <a:pt x="52807" y="200235"/>
                      <a:pt x="19320" y="187356"/>
                      <a:pt x="1288" y="179628"/>
                    </a:cubicBezTo>
                    <a:cubicBezTo>
                      <a:pt x="0" y="174476"/>
                      <a:pt x="0" y="170612"/>
                      <a:pt x="0" y="165460"/>
                    </a:cubicBezTo>
                    <a:cubicBezTo>
                      <a:pt x="0" y="160307"/>
                      <a:pt x="0" y="156444"/>
                      <a:pt x="1288" y="151292"/>
                    </a:cubicBezTo>
                    <a:cubicBezTo>
                      <a:pt x="23183" y="147428"/>
                      <a:pt x="64399" y="142276"/>
                      <a:pt x="113341" y="139700"/>
                    </a:cubicBezTo>
                    <a:close/>
                    <a:moveTo>
                      <a:pt x="186315" y="138112"/>
                    </a:moveTo>
                    <a:cubicBezTo>
                      <a:pt x="215774" y="139408"/>
                      <a:pt x="243952" y="143298"/>
                      <a:pt x="268288" y="149780"/>
                    </a:cubicBezTo>
                    <a:cubicBezTo>
                      <a:pt x="259322" y="164042"/>
                      <a:pt x="249076" y="179599"/>
                      <a:pt x="238829" y="193860"/>
                    </a:cubicBezTo>
                    <a:cubicBezTo>
                      <a:pt x="234986" y="192564"/>
                      <a:pt x="231144" y="191267"/>
                      <a:pt x="227301" y="191267"/>
                    </a:cubicBezTo>
                    <a:cubicBezTo>
                      <a:pt x="213212" y="191267"/>
                      <a:pt x="201685" y="201639"/>
                      <a:pt x="200404" y="214604"/>
                    </a:cubicBezTo>
                    <a:cubicBezTo>
                      <a:pt x="194000" y="214604"/>
                      <a:pt x="186315" y="214604"/>
                      <a:pt x="179911" y="215900"/>
                    </a:cubicBezTo>
                    <a:cubicBezTo>
                      <a:pt x="170945" y="202936"/>
                      <a:pt x="163260" y="191267"/>
                      <a:pt x="155575" y="179599"/>
                    </a:cubicBezTo>
                    <a:cubicBezTo>
                      <a:pt x="160698" y="171820"/>
                      <a:pt x="167102" y="162745"/>
                      <a:pt x="173507" y="154966"/>
                    </a:cubicBezTo>
                    <a:cubicBezTo>
                      <a:pt x="177349" y="148483"/>
                      <a:pt x="182472" y="143298"/>
                      <a:pt x="186315" y="138112"/>
                    </a:cubicBezTo>
                    <a:close/>
                    <a:moveTo>
                      <a:pt x="168276" y="138112"/>
                    </a:moveTo>
                    <a:cubicBezTo>
                      <a:pt x="165630" y="140597"/>
                      <a:pt x="164307" y="143081"/>
                      <a:pt x="161661" y="145566"/>
                    </a:cubicBezTo>
                    <a:cubicBezTo>
                      <a:pt x="156370" y="153020"/>
                      <a:pt x="151078" y="159232"/>
                      <a:pt x="145786" y="166687"/>
                    </a:cubicBezTo>
                    <a:cubicBezTo>
                      <a:pt x="144463" y="165445"/>
                      <a:pt x="143140" y="162960"/>
                      <a:pt x="141817" y="161718"/>
                    </a:cubicBezTo>
                    <a:cubicBezTo>
                      <a:pt x="137849" y="154263"/>
                      <a:pt x="132557" y="146808"/>
                      <a:pt x="128588" y="139354"/>
                    </a:cubicBezTo>
                    <a:cubicBezTo>
                      <a:pt x="141817" y="139354"/>
                      <a:pt x="155047" y="138112"/>
                      <a:pt x="168276" y="138112"/>
                    </a:cubicBezTo>
                    <a:close/>
                    <a:moveTo>
                      <a:pt x="220028" y="103187"/>
                    </a:moveTo>
                    <a:cubicBezTo>
                      <a:pt x="223838" y="104486"/>
                      <a:pt x="227648" y="105784"/>
                      <a:pt x="232728" y="105784"/>
                    </a:cubicBezTo>
                    <a:cubicBezTo>
                      <a:pt x="233998" y="105784"/>
                      <a:pt x="236538" y="105784"/>
                      <a:pt x="237808" y="105784"/>
                    </a:cubicBezTo>
                    <a:cubicBezTo>
                      <a:pt x="241618" y="109681"/>
                      <a:pt x="244158" y="114877"/>
                      <a:pt x="246698" y="118773"/>
                    </a:cubicBezTo>
                    <a:cubicBezTo>
                      <a:pt x="249238" y="122670"/>
                      <a:pt x="253048" y="127865"/>
                      <a:pt x="255588" y="131762"/>
                    </a:cubicBezTo>
                    <a:cubicBezTo>
                      <a:pt x="237808" y="129164"/>
                      <a:pt x="218758" y="126566"/>
                      <a:pt x="198438" y="125267"/>
                    </a:cubicBezTo>
                    <a:cubicBezTo>
                      <a:pt x="206058" y="117474"/>
                      <a:pt x="213678" y="109681"/>
                      <a:pt x="220028" y="103187"/>
                    </a:cubicBezTo>
                    <a:close/>
                    <a:moveTo>
                      <a:pt x="317236" y="98425"/>
                    </a:moveTo>
                    <a:cubicBezTo>
                      <a:pt x="325173" y="115539"/>
                      <a:pt x="329142" y="133969"/>
                      <a:pt x="331788" y="152400"/>
                    </a:cubicBezTo>
                    <a:cubicBezTo>
                      <a:pt x="319882" y="148450"/>
                      <a:pt x="306652" y="144501"/>
                      <a:pt x="292100" y="140552"/>
                    </a:cubicBezTo>
                    <a:cubicBezTo>
                      <a:pt x="301361" y="124754"/>
                      <a:pt x="310621" y="111589"/>
                      <a:pt x="317236" y="98425"/>
                    </a:cubicBezTo>
                    <a:close/>
                    <a:moveTo>
                      <a:pt x="286068" y="52387"/>
                    </a:moveTo>
                    <a:cubicBezTo>
                      <a:pt x="295205" y="61448"/>
                      <a:pt x="303037" y="71803"/>
                      <a:pt x="309563" y="84748"/>
                    </a:cubicBezTo>
                    <a:cubicBezTo>
                      <a:pt x="301731" y="98986"/>
                      <a:pt x="289984" y="117108"/>
                      <a:pt x="278236" y="136525"/>
                    </a:cubicBezTo>
                    <a:cubicBezTo>
                      <a:pt x="278236" y="136525"/>
                      <a:pt x="276931" y="136525"/>
                      <a:pt x="276931" y="136525"/>
                    </a:cubicBezTo>
                    <a:cubicBezTo>
                      <a:pt x="270404" y="127464"/>
                      <a:pt x="265183" y="119697"/>
                      <a:pt x="258657" y="110636"/>
                    </a:cubicBezTo>
                    <a:cubicBezTo>
                      <a:pt x="256046" y="106753"/>
                      <a:pt x="253436" y="102870"/>
                      <a:pt x="250825" y="98986"/>
                    </a:cubicBezTo>
                    <a:cubicBezTo>
                      <a:pt x="256046" y="93809"/>
                      <a:pt x="259962" y="86042"/>
                      <a:pt x="259962" y="78275"/>
                    </a:cubicBezTo>
                    <a:cubicBezTo>
                      <a:pt x="259962" y="75687"/>
                      <a:pt x="259962" y="73098"/>
                      <a:pt x="258657" y="70509"/>
                    </a:cubicBezTo>
                    <a:cubicBezTo>
                      <a:pt x="269099" y="62742"/>
                      <a:pt x="278236" y="57564"/>
                      <a:pt x="286068" y="52387"/>
                    </a:cubicBezTo>
                    <a:close/>
                    <a:moveTo>
                      <a:pt x="73025" y="28575"/>
                    </a:moveTo>
                    <a:cubicBezTo>
                      <a:pt x="79493" y="54655"/>
                      <a:pt x="92428" y="92472"/>
                      <a:pt x="107950" y="126377"/>
                    </a:cubicBezTo>
                    <a:cubicBezTo>
                      <a:pt x="63970" y="128985"/>
                      <a:pt x="25165" y="134201"/>
                      <a:pt x="3175" y="138113"/>
                    </a:cubicBezTo>
                    <a:cubicBezTo>
                      <a:pt x="10936" y="92472"/>
                      <a:pt x="36806" y="53351"/>
                      <a:pt x="73025" y="28575"/>
                    </a:cubicBezTo>
                    <a:close/>
                    <a:moveTo>
                      <a:pt x="203200" y="4762"/>
                    </a:moveTo>
                    <a:cubicBezTo>
                      <a:pt x="230476" y="11151"/>
                      <a:pt x="255155" y="23928"/>
                      <a:pt x="274638" y="41817"/>
                    </a:cubicBezTo>
                    <a:cubicBezTo>
                      <a:pt x="268144" y="45650"/>
                      <a:pt x="260350" y="52039"/>
                      <a:pt x="251258" y="57150"/>
                    </a:cubicBezTo>
                    <a:cubicBezTo>
                      <a:pt x="246063" y="53316"/>
                      <a:pt x="239568" y="50761"/>
                      <a:pt x="233074" y="50761"/>
                    </a:cubicBezTo>
                    <a:cubicBezTo>
                      <a:pt x="230476" y="50761"/>
                      <a:pt x="227879" y="50761"/>
                      <a:pt x="225281" y="52039"/>
                    </a:cubicBezTo>
                    <a:cubicBezTo>
                      <a:pt x="216189" y="34150"/>
                      <a:pt x="208395" y="17539"/>
                      <a:pt x="203200" y="4762"/>
                    </a:cubicBezTo>
                    <a:close/>
                    <a:moveTo>
                      <a:pt x="165260" y="0"/>
                    </a:moveTo>
                    <a:cubicBezTo>
                      <a:pt x="172957" y="0"/>
                      <a:pt x="179371" y="0"/>
                      <a:pt x="185786" y="1290"/>
                    </a:cubicBezTo>
                    <a:cubicBezTo>
                      <a:pt x="192200" y="15478"/>
                      <a:pt x="199897" y="36115"/>
                      <a:pt x="212725" y="59333"/>
                    </a:cubicBezTo>
                    <a:cubicBezTo>
                      <a:pt x="207594" y="63202"/>
                      <a:pt x="205028" y="69651"/>
                      <a:pt x="205028" y="77390"/>
                    </a:cubicBezTo>
                    <a:cubicBezTo>
                      <a:pt x="205028" y="82550"/>
                      <a:pt x="206311" y="87709"/>
                      <a:pt x="208876" y="91579"/>
                    </a:cubicBezTo>
                    <a:cubicBezTo>
                      <a:pt x="198614" y="100608"/>
                      <a:pt x="188351" y="110926"/>
                      <a:pt x="179371" y="122535"/>
                    </a:cubicBezTo>
                    <a:cubicBezTo>
                      <a:pt x="178089" y="122535"/>
                      <a:pt x="178089" y="122535"/>
                      <a:pt x="176806" y="122535"/>
                    </a:cubicBezTo>
                    <a:cubicBezTo>
                      <a:pt x="158846" y="122535"/>
                      <a:pt x="139604" y="123825"/>
                      <a:pt x="122927" y="123825"/>
                    </a:cubicBezTo>
                    <a:cubicBezTo>
                      <a:pt x="104967" y="87709"/>
                      <a:pt x="92139" y="45144"/>
                      <a:pt x="85725" y="20637"/>
                    </a:cubicBezTo>
                    <a:cubicBezTo>
                      <a:pt x="108816" y="7739"/>
                      <a:pt x="135755" y="0"/>
                      <a:pt x="16526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</p:grpSp>
      <p:grpSp>
        <p:nvGrpSpPr>
          <p:cNvPr id="8" name="组合 7"/>
          <p:cNvGrpSpPr/>
          <p:nvPr>
            <p:custDataLst>
              <p:tags r:id="rId14"/>
            </p:custDataLst>
          </p:nvPr>
        </p:nvGrpSpPr>
        <p:grpSpPr>
          <a:xfrm>
            <a:off x="4443856" y="2548789"/>
            <a:ext cx="676672" cy="1045216"/>
            <a:chOff x="4443856" y="2358289"/>
            <a:chExt cx="676672" cy="1045216"/>
          </a:xfrm>
        </p:grpSpPr>
        <p:cxnSp>
          <p:nvCxnSpPr>
            <p:cNvPr id="35" name="直接连接符 34"/>
            <p:cNvCxnSpPr>
              <a:stCxn id="54" idx="1"/>
            </p:cNvCxnSpPr>
            <p:nvPr>
              <p:custDataLst>
                <p:tags r:id="rId15"/>
              </p:custDataLst>
            </p:nvPr>
          </p:nvCxnSpPr>
          <p:spPr>
            <a:xfrm flipV="1">
              <a:off x="4782192" y="2358289"/>
              <a:ext cx="0" cy="3688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9" name="îśḷíḋê"/>
            <p:cNvGrpSpPr/>
            <p:nvPr/>
          </p:nvGrpSpPr>
          <p:grpSpPr>
            <a:xfrm>
              <a:off x="4443856" y="2727147"/>
              <a:ext cx="676672" cy="676358"/>
              <a:chOff x="6800652" y="1600503"/>
              <a:chExt cx="676672" cy="676358"/>
            </a:xfrm>
          </p:grpSpPr>
          <p:sp>
            <p:nvSpPr>
              <p:cNvPr id="54" name="íṩļidé"/>
              <p:cNvSpPr/>
              <p:nvPr>
                <p:custDataLst>
                  <p:tags r:id="rId16"/>
                </p:custDataLst>
              </p:nvPr>
            </p:nvSpPr>
            <p:spPr>
              <a:xfrm>
                <a:off x="6800652" y="1600503"/>
                <a:ext cx="676672" cy="676358"/>
              </a:xfrm>
              <a:custGeom>
                <a:avLst/>
                <a:gdLst>
                  <a:gd name="connsiteX0" fmla="*/ 0 w 1260455"/>
                  <a:gd name="connsiteY0" fmla="*/ 630228 h 1260455"/>
                  <a:gd name="connsiteX1" fmla="*/ 630228 w 1260455"/>
                  <a:gd name="connsiteY1" fmla="*/ 0 h 1260455"/>
                  <a:gd name="connsiteX2" fmla="*/ 1260456 w 1260455"/>
                  <a:gd name="connsiteY2" fmla="*/ 630228 h 1260455"/>
                  <a:gd name="connsiteX3" fmla="*/ 630228 w 1260455"/>
                  <a:gd name="connsiteY3" fmla="*/ 1260456 h 1260455"/>
                  <a:gd name="connsiteX4" fmla="*/ 0 w 1260455"/>
                  <a:gd name="connsiteY4" fmla="*/ 630228 h 126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0455" h="1260455">
                    <a:moveTo>
                      <a:pt x="0" y="630228"/>
                    </a:moveTo>
                    <a:cubicBezTo>
                      <a:pt x="0" y="282163"/>
                      <a:pt x="282163" y="0"/>
                      <a:pt x="630228" y="0"/>
                    </a:cubicBezTo>
                    <a:cubicBezTo>
                      <a:pt x="978293" y="0"/>
                      <a:pt x="1260456" y="282163"/>
                      <a:pt x="1260456" y="630228"/>
                    </a:cubicBezTo>
                    <a:cubicBezTo>
                      <a:pt x="1260456" y="978293"/>
                      <a:pt x="978293" y="1260456"/>
                      <a:pt x="630228" y="1260456"/>
                    </a:cubicBezTo>
                    <a:cubicBezTo>
                      <a:pt x="282163" y="1260456"/>
                      <a:pt x="0" y="978293"/>
                      <a:pt x="0" y="630228"/>
                    </a:cubicBezTo>
                    <a:close/>
                  </a:path>
                </a:pathLst>
              </a:custGeom>
              <a:solidFill>
                <a:srgbClr val="FFC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5" name="íšļiḑê"/>
              <p:cNvSpPr/>
              <p:nvPr>
                <p:custDataLst>
                  <p:tags r:id="rId17"/>
                </p:custDataLst>
              </p:nvPr>
            </p:nvSpPr>
            <p:spPr>
              <a:xfrm>
                <a:off x="6974965" y="1774660"/>
                <a:ext cx="328046" cy="328044"/>
              </a:xfrm>
              <a:custGeom>
                <a:avLst/>
                <a:gdLst>
                  <a:gd name="connsiteX0" fmla="*/ 199497 w 331788"/>
                  <a:gd name="connsiteY0" fmla="*/ 265112 h 331787"/>
                  <a:gd name="connsiteX1" fmla="*/ 209798 w 331788"/>
                  <a:gd name="connsiteY1" fmla="*/ 279217 h 331787"/>
                  <a:gd name="connsiteX2" fmla="*/ 238126 w 331788"/>
                  <a:gd name="connsiteY2" fmla="*/ 315118 h 331787"/>
                  <a:gd name="connsiteX3" fmla="*/ 166018 w 331788"/>
                  <a:gd name="connsiteY3" fmla="*/ 331787 h 331787"/>
                  <a:gd name="connsiteX4" fmla="*/ 122238 w 331788"/>
                  <a:gd name="connsiteY4" fmla="*/ 325376 h 331787"/>
                  <a:gd name="connsiteX5" fmla="*/ 199497 w 331788"/>
                  <a:gd name="connsiteY5" fmla="*/ 265112 h 331787"/>
                  <a:gd name="connsiteX6" fmla="*/ 190500 w 331788"/>
                  <a:gd name="connsiteY6" fmla="*/ 228600 h 331787"/>
                  <a:gd name="connsiteX7" fmla="*/ 201490 w 331788"/>
                  <a:gd name="connsiteY7" fmla="*/ 228600 h 331787"/>
                  <a:gd name="connsiteX8" fmla="*/ 206375 w 331788"/>
                  <a:gd name="connsiteY8" fmla="*/ 236394 h 331787"/>
                  <a:gd name="connsiteX9" fmla="*/ 200269 w 331788"/>
                  <a:gd name="connsiteY9" fmla="*/ 242888 h 331787"/>
                  <a:gd name="connsiteX10" fmla="*/ 190500 w 331788"/>
                  <a:gd name="connsiteY10" fmla="*/ 228600 h 331787"/>
                  <a:gd name="connsiteX11" fmla="*/ 146452 w 331788"/>
                  <a:gd name="connsiteY11" fmla="*/ 228600 h 331787"/>
                  <a:gd name="connsiteX12" fmla="*/ 164590 w 331788"/>
                  <a:gd name="connsiteY12" fmla="*/ 229897 h 331787"/>
                  <a:gd name="connsiteX13" fmla="*/ 165885 w 331788"/>
                  <a:gd name="connsiteY13" fmla="*/ 229897 h 331787"/>
                  <a:gd name="connsiteX14" fmla="*/ 173659 w 331788"/>
                  <a:gd name="connsiteY14" fmla="*/ 229897 h 331787"/>
                  <a:gd name="connsiteX15" fmla="*/ 190501 w 331788"/>
                  <a:gd name="connsiteY15" fmla="*/ 253240 h 331787"/>
                  <a:gd name="connsiteX16" fmla="*/ 103699 w 331788"/>
                  <a:gd name="connsiteY16" fmla="*/ 320675 h 331787"/>
                  <a:gd name="connsiteX17" fmla="*/ 77788 w 331788"/>
                  <a:gd name="connsiteY17" fmla="*/ 306410 h 331787"/>
                  <a:gd name="connsiteX18" fmla="*/ 112768 w 331788"/>
                  <a:gd name="connsiteY18" fmla="*/ 244162 h 331787"/>
                  <a:gd name="connsiteX19" fmla="*/ 121837 w 331788"/>
                  <a:gd name="connsiteY19" fmla="*/ 245459 h 331787"/>
                  <a:gd name="connsiteX20" fmla="*/ 146452 w 331788"/>
                  <a:gd name="connsiteY20" fmla="*/ 228600 h 331787"/>
                  <a:gd name="connsiteX21" fmla="*/ 323851 w 331788"/>
                  <a:gd name="connsiteY21" fmla="*/ 217487 h 331787"/>
                  <a:gd name="connsiteX22" fmla="*/ 249631 w 331788"/>
                  <a:gd name="connsiteY22" fmla="*/ 307975 h 331787"/>
                  <a:gd name="connsiteX23" fmla="*/ 207963 w 331788"/>
                  <a:gd name="connsiteY23" fmla="*/ 253682 h 331787"/>
                  <a:gd name="connsiteX24" fmla="*/ 218380 w 331788"/>
                  <a:gd name="connsiteY24" fmla="*/ 243341 h 331787"/>
                  <a:gd name="connsiteX25" fmla="*/ 227495 w 331788"/>
                  <a:gd name="connsiteY25" fmla="*/ 244634 h 331787"/>
                  <a:gd name="connsiteX26" fmla="*/ 253537 w 331788"/>
                  <a:gd name="connsiteY26" fmla="*/ 225243 h 331787"/>
                  <a:gd name="connsiteX27" fmla="*/ 323851 w 331788"/>
                  <a:gd name="connsiteY27" fmla="*/ 217487 h 331787"/>
                  <a:gd name="connsiteX28" fmla="*/ 3175 w 331788"/>
                  <a:gd name="connsiteY28" fmla="*/ 196850 h 331787"/>
                  <a:gd name="connsiteX29" fmla="*/ 93642 w 331788"/>
                  <a:gd name="connsiteY29" fmla="*/ 222902 h 331787"/>
                  <a:gd name="connsiteX30" fmla="*/ 100013 w 331788"/>
                  <a:gd name="connsiteY30" fmla="*/ 235927 h 331787"/>
                  <a:gd name="connsiteX31" fmla="*/ 65610 w 331788"/>
                  <a:gd name="connsiteY31" fmla="*/ 298450 h 331787"/>
                  <a:gd name="connsiteX32" fmla="*/ 3175 w 331788"/>
                  <a:gd name="connsiteY32" fmla="*/ 196850 h 331787"/>
                  <a:gd name="connsiteX33" fmla="*/ 146517 w 331788"/>
                  <a:gd name="connsiteY33" fmla="*/ 192087 h 331787"/>
                  <a:gd name="connsiteX34" fmla="*/ 163513 w 331788"/>
                  <a:gd name="connsiteY34" fmla="*/ 215900 h 331787"/>
                  <a:gd name="connsiteX35" fmla="*/ 147825 w 331788"/>
                  <a:gd name="connsiteY35" fmla="*/ 214577 h 331787"/>
                  <a:gd name="connsiteX36" fmla="*/ 141288 w 331788"/>
                  <a:gd name="connsiteY36" fmla="*/ 200025 h 331787"/>
                  <a:gd name="connsiteX37" fmla="*/ 146517 w 331788"/>
                  <a:gd name="connsiteY37" fmla="*/ 192087 h 331787"/>
                  <a:gd name="connsiteX38" fmla="*/ 277877 w 331788"/>
                  <a:gd name="connsiteY38" fmla="*/ 160337 h 331787"/>
                  <a:gd name="connsiteX39" fmla="*/ 314326 w 331788"/>
                  <a:gd name="connsiteY39" fmla="*/ 204624 h 331787"/>
                  <a:gd name="connsiteX40" fmla="*/ 253143 w 331788"/>
                  <a:gd name="connsiteY40" fmla="*/ 211137 h 331787"/>
                  <a:gd name="connsiteX41" fmla="*/ 249238 w 331788"/>
                  <a:gd name="connsiteY41" fmla="*/ 203322 h 331787"/>
                  <a:gd name="connsiteX42" fmla="*/ 277877 w 331788"/>
                  <a:gd name="connsiteY42" fmla="*/ 160337 h 331787"/>
                  <a:gd name="connsiteX43" fmla="*/ 290513 w 331788"/>
                  <a:gd name="connsiteY43" fmla="*/ 153987 h 331787"/>
                  <a:gd name="connsiteX44" fmla="*/ 331788 w 331788"/>
                  <a:gd name="connsiteY44" fmla="*/ 167061 h 331787"/>
                  <a:gd name="connsiteX45" fmla="*/ 329125 w 331788"/>
                  <a:gd name="connsiteY45" fmla="*/ 198437 h 331787"/>
                  <a:gd name="connsiteX46" fmla="*/ 290513 w 331788"/>
                  <a:gd name="connsiteY46" fmla="*/ 153987 h 331787"/>
                  <a:gd name="connsiteX47" fmla="*/ 113341 w 331788"/>
                  <a:gd name="connsiteY47" fmla="*/ 139700 h 331787"/>
                  <a:gd name="connsiteX48" fmla="*/ 130085 w 331788"/>
                  <a:gd name="connsiteY48" fmla="*/ 169324 h 331787"/>
                  <a:gd name="connsiteX49" fmla="*/ 136525 w 331788"/>
                  <a:gd name="connsiteY49" fmla="*/ 178340 h 331787"/>
                  <a:gd name="connsiteX50" fmla="*/ 128797 w 331788"/>
                  <a:gd name="connsiteY50" fmla="*/ 191219 h 331787"/>
                  <a:gd name="connsiteX51" fmla="*/ 121069 w 331788"/>
                  <a:gd name="connsiteY51" fmla="*/ 189932 h 331787"/>
                  <a:gd name="connsiteX52" fmla="*/ 95310 w 331788"/>
                  <a:gd name="connsiteY52" fmla="*/ 207963 h 331787"/>
                  <a:gd name="connsiteX53" fmla="*/ 1288 w 331788"/>
                  <a:gd name="connsiteY53" fmla="*/ 179628 h 331787"/>
                  <a:gd name="connsiteX54" fmla="*/ 0 w 331788"/>
                  <a:gd name="connsiteY54" fmla="*/ 165460 h 331787"/>
                  <a:gd name="connsiteX55" fmla="*/ 1288 w 331788"/>
                  <a:gd name="connsiteY55" fmla="*/ 151292 h 331787"/>
                  <a:gd name="connsiteX56" fmla="*/ 113341 w 331788"/>
                  <a:gd name="connsiteY56" fmla="*/ 139700 h 331787"/>
                  <a:gd name="connsiteX57" fmla="*/ 186315 w 331788"/>
                  <a:gd name="connsiteY57" fmla="*/ 138112 h 331787"/>
                  <a:gd name="connsiteX58" fmla="*/ 268288 w 331788"/>
                  <a:gd name="connsiteY58" fmla="*/ 149780 h 331787"/>
                  <a:gd name="connsiteX59" fmla="*/ 238829 w 331788"/>
                  <a:gd name="connsiteY59" fmla="*/ 193860 h 331787"/>
                  <a:gd name="connsiteX60" fmla="*/ 227301 w 331788"/>
                  <a:gd name="connsiteY60" fmla="*/ 191267 h 331787"/>
                  <a:gd name="connsiteX61" fmla="*/ 200404 w 331788"/>
                  <a:gd name="connsiteY61" fmla="*/ 214604 h 331787"/>
                  <a:gd name="connsiteX62" fmla="*/ 179911 w 331788"/>
                  <a:gd name="connsiteY62" fmla="*/ 215900 h 331787"/>
                  <a:gd name="connsiteX63" fmla="*/ 155575 w 331788"/>
                  <a:gd name="connsiteY63" fmla="*/ 179599 h 331787"/>
                  <a:gd name="connsiteX64" fmla="*/ 173507 w 331788"/>
                  <a:gd name="connsiteY64" fmla="*/ 154966 h 331787"/>
                  <a:gd name="connsiteX65" fmla="*/ 186315 w 331788"/>
                  <a:gd name="connsiteY65" fmla="*/ 138112 h 331787"/>
                  <a:gd name="connsiteX66" fmla="*/ 168276 w 331788"/>
                  <a:gd name="connsiteY66" fmla="*/ 138112 h 331787"/>
                  <a:gd name="connsiteX67" fmla="*/ 161661 w 331788"/>
                  <a:gd name="connsiteY67" fmla="*/ 145566 h 331787"/>
                  <a:gd name="connsiteX68" fmla="*/ 145786 w 331788"/>
                  <a:gd name="connsiteY68" fmla="*/ 166687 h 331787"/>
                  <a:gd name="connsiteX69" fmla="*/ 141817 w 331788"/>
                  <a:gd name="connsiteY69" fmla="*/ 161718 h 331787"/>
                  <a:gd name="connsiteX70" fmla="*/ 128588 w 331788"/>
                  <a:gd name="connsiteY70" fmla="*/ 139354 h 331787"/>
                  <a:gd name="connsiteX71" fmla="*/ 168276 w 331788"/>
                  <a:gd name="connsiteY71" fmla="*/ 138112 h 331787"/>
                  <a:gd name="connsiteX72" fmla="*/ 220028 w 331788"/>
                  <a:gd name="connsiteY72" fmla="*/ 103187 h 331787"/>
                  <a:gd name="connsiteX73" fmla="*/ 232728 w 331788"/>
                  <a:gd name="connsiteY73" fmla="*/ 105784 h 331787"/>
                  <a:gd name="connsiteX74" fmla="*/ 237808 w 331788"/>
                  <a:gd name="connsiteY74" fmla="*/ 105784 h 331787"/>
                  <a:gd name="connsiteX75" fmla="*/ 246698 w 331788"/>
                  <a:gd name="connsiteY75" fmla="*/ 118773 h 331787"/>
                  <a:gd name="connsiteX76" fmla="*/ 255588 w 331788"/>
                  <a:gd name="connsiteY76" fmla="*/ 131762 h 331787"/>
                  <a:gd name="connsiteX77" fmla="*/ 198438 w 331788"/>
                  <a:gd name="connsiteY77" fmla="*/ 125267 h 331787"/>
                  <a:gd name="connsiteX78" fmla="*/ 220028 w 331788"/>
                  <a:gd name="connsiteY78" fmla="*/ 103187 h 331787"/>
                  <a:gd name="connsiteX79" fmla="*/ 317236 w 331788"/>
                  <a:gd name="connsiteY79" fmla="*/ 98425 h 331787"/>
                  <a:gd name="connsiteX80" fmla="*/ 331788 w 331788"/>
                  <a:gd name="connsiteY80" fmla="*/ 152400 h 331787"/>
                  <a:gd name="connsiteX81" fmla="*/ 292100 w 331788"/>
                  <a:gd name="connsiteY81" fmla="*/ 140552 h 331787"/>
                  <a:gd name="connsiteX82" fmla="*/ 317236 w 331788"/>
                  <a:gd name="connsiteY82" fmla="*/ 98425 h 331787"/>
                  <a:gd name="connsiteX83" fmla="*/ 286068 w 331788"/>
                  <a:gd name="connsiteY83" fmla="*/ 52387 h 331787"/>
                  <a:gd name="connsiteX84" fmla="*/ 309563 w 331788"/>
                  <a:gd name="connsiteY84" fmla="*/ 84748 h 331787"/>
                  <a:gd name="connsiteX85" fmla="*/ 278236 w 331788"/>
                  <a:gd name="connsiteY85" fmla="*/ 136525 h 331787"/>
                  <a:gd name="connsiteX86" fmla="*/ 276931 w 331788"/>
                  <a:gd name="connsiteY86" fmla="*/ 136525 h 331787"/>
                  <a:gd name="connsiteX87" fmla="*/ 258657 w 331788"/>
                  <a:gd name="connsiteY87" fmla="*/ 110636 h 331787"/>
                  <a:gd name="connsiteX88" fmla="*/ 250825 w 331788"/>
                  <a:gd name="connsiteY88" fmla="*/ 98986 h 331787"/>
                  <a:gd name="connsiteX89" fmla="*/ 259962 w 331788"/>
                  <a:gd name="connsiteY89" fmla="*/ 78275 h 331787"/>
                  <a:gd name="connsiteX90" fmla="*/ 258657 w 331788"/>
                  <a:gd name="connsiteY90" fmla="*/ 70509 h 331787"/>
                  <a:gd name="connsiteX91" fmla="*/ 286068 w 331788"/>
                  <a:gd name="connsiteY91" fmla="*/ 52387 h 331787"/>
                  <a:gd name="connsiteX92" fmla="*/ 73025 w 331788"/>
                  <a:gd name="connsiteY92" fmla="*/ 28575 h 331787"/>
                  <a:gd name="connsiteX93" fmla="*/ 107950 w 331788"/>
                  <a:gd name="connsiteY93" fmla="*/ 126377 h 331787"/>
                  <a:gd name="connsiteX94" fmla="*/ 3175 w 331788"/>
                  <a:gd name="connsiteY94" fmla="*/ 138113 h 331787"/>
                  <a:gd name="connsiteX95" fmla="*/ 73025 w 331788"/>
                  <a:gd name="connsiteY95" fmla="*/ 28575 h 331787"/>
                  <a:gd name="connsiteX96" fmla="*/ 203200 w 331788"/>
                  <a:gd name="connsiteY96" fmla="*/ 4762 h 331787"/>
                  <a:gd name="connsiteX97" fmla="*/ 274638 w 331788"/>
                  <a:gd name="connsiteY97" fmla="*/ 41817 h 331787"/>
                  <a:gd name="connsiteX98" fmla="*/ 251258 w 331788"/>
                  <a:gd name="connsiteY98" fmla="*/ 57150 h 331787"/>
                  <a:gd name="connsiteX99" fmla="*/ 233074 w 331788"/>
                  <a:gd name="connsiteY99" fmla="*/ 50761 h 331787"/>
                  <a:gd name="connsiteX100" fmla="*/ 225281 w 331788"/>
                  <a:gd name="connsiteY100" fmla="*/ 52039 h 331787"/>
                  <a:gd name="connsiteX101" fmla="*/ 203200 w 331788"/>
                  <a:gd name="connsiteY101" fmla="*/ 4762 h 331787"/>
                  <a:gd name="connsiteX102" fmla="*/ 165260 w 331788"/>
                  <a:gd name="connsiteY102" fmla="*/ 0 h 331787"/>
                  <a:gd name="connsiteX103" fmla="*/ 185786 w 331788"/>
                  <a:gd name="connsiteY103" fmla="*/ 1290 h 331787"/>
                  <a:gd name="connsiteX104" fmla="*/ 212725 w 331788"/>
                  <a:gd name="connsiteY104" fmla="*/ 59333 h 331787"/>
                  <a:gd name="connsiteX105" fmla="*/ 205028 w 331788"/>
                  <a:gd name="connsiteY105" fmla="*/ 77390 h 331787"/>
                  <a:gd name="connsiteX106" fmla="*/ 208876 w 331788"/>
                  <a:gd name="connsiteY106" fmla="*/ 91579 h 331787"/>
                  <a:gd name="connsiteX107" fmla="*/ 179371 w 331788"/>
                  <a:gd name="connsiteY107" fmla="*/ 122535 h 331787"/>
                  <a:gd name="connsiteX108" fmla="*/ 176806 w 331788"/>
                  <a:gd name="connsiteY108" fmla="*/ 122535 h 331787"/>
                  <a:gd name="connsiteX109" fmla="*/ 122927 w 331788"/>
                  <a:gd name="connsiteY109" fmla="*/ 123825 h 331787"/>
                  <a:gd name="connsiteX110" fmla="*/ 85725 w 331788"/>
                  <a:gd name="connsiteY110" fmla="*/ 20637 h 331787"/>
                  <a:gd name="connsiteX111" fmla="*/ 165260 w 331788"/>
                  <a:gd name="connsiteY111" fmla="*/ 0 h 331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31788" h="331787">
                    <a:moveTo>
                      <a:pt x="199497" y="265112"/>
                    </a:moveTo>
                    <a:cubicBezTo>
                      <a:pt x="203360" y="270241"/>
                      <a:pt x="205935" y="274088"/>
                      <a:pt x="209798" y="279217"/>
                    </a:cubicBezTo>
                    <a:cubicBezTo>
                      <a:pt x="222674" y="295885"/>
                      <a:pt x="231688" y="307425"/>
                      <a:pt x="238126" y="315118"/>
                    </a:cubicBezTo>
                    <a:cubicBezTo>
                      <a:pt x="216236" y="325376"/>
                      <a:pt x="191771" y="331787"/>
                      <a:pt x="166018" y="331787"/>
                    </a:cubicBezTo>
                    <a:cubicBezTo>
                      <a:pt x="150566" y="331787"/>
                      <a:pt x="136402" y="329223"/>
                      <a:pt x="122238" y="325376"/>
                    </a:cubicBezTo>
                    <a:cubicBezTo>
                      <a:pt x="141553" y="312554"/>
                      <a:pt x="169881" y="293321"/>
                      <a:pt x="199497" y="265112"/>
                    </a:cubicBezTo>
                    <a:close/>
                    <a:moveTo>
                      <a:pt x="190500" y="228600"/>
                    </a:moveTo>
                    <a:cubicBezTo>
                      <a:pt x="194163" y="228600"/>
                      <a:pt x="197827" y="228600"/>
                      <a:pt x="201490" y="228600"/>
                    </a:cubicBezTo>
                    <a:cubicBezTo>
                      <a:pt x="202712" y="231198"/>
                      <a:pt x="203933" y="233796"/>
                      <a:pt x="206375" y="236394"/>
                    </a:cubicBezTo>
                    <a:cubicBezTo>
                      <a:pt x="203933" y="237693"/>
                      <a:pt x="201490" y="240290"/>
                      <a:pt x="200269" y="242888"/>
                    </a:cubicBezTo>
                    <a:cubicBezTo>
                      <a:pt x="196606" y="237693"/>
                      <a:pt x="194163" y="233796"/>
                      <a:pt x="190500" y="228600"/>
                    </a:cubicBezTo>
                    <a:close/>
                    <a:moveTo>
                      <a:pt x="146452" y="228600"/>
                    </a:moveTo>
                    <a:cubicBezTo>
                      <a:pt x="152930" y="228600"/>
                      <a:pt x="159408" y="229897"/>
                      <a:pt x="164590" y="229897"/>
                    </a:cubicBezTo>
                    <a:cubicBezTo>
                      <a:pt x="164590" y="229897"/>
                      <a:pt x="164590" y="229897"/>
                      <a:pt x="165885" y="229897"/>
                    </a:cubicBezTo>
                    <a:cubicBezTo>
                      <a:pt x="168477" y="229897"/>
                      <a:pt x="171068" y="229897"/>
                      <a:pt x="173659" y="229897"/>
                    </a:cubicBezTo>
                    <a:cubicBezTo>
                      <a:pt x="178841" y="237678"/>
                      <a:pt x="185319" y="245459"/>
                      <a:pt x="190501" y="253240"/>
                    </a:cubicBezTo>
                    <a:cubicBezTo>
                      <a:pt x="156817" y="286958"/>
                      <a:pt x="123132" y="309004"/>
                      <a:pt x="103699" y="320675"/>
                    </a:cubicBezTo>
                    <a:cubicBezTo>
                      <a:pt x="94630" y="316785"/>
                      <a:pt x="85561" y="311597"/>
                      <a:pt x="77788" y="306410"/>
                    </a:cubicBezTo>
                    <a:cubicBezTo>
                      <a:pt x="84266" y="293442"/>
                      <a:pt x="97221" y="271396"/>
                      <a:pt x="112768" y="244162"/>
                    </a:cubicBezTo>
                    <a:cubicBezTo>
                      <a:pt x="115359" y="245459"/>
                      <a:pt x="117950" y="245459"/>
                      <a:pt x="121837" y="245459"/>
                    </a:cubicBezTo>
                    <a:cubicBezTo>
                      <a:pt x="132201" y="245459"/>
                      <a:pt x="142566" y="238975"/>
                      <a:pt x="146452" y="228600"/>
                    </a:cubicBezTo>
                    <a:close/>
                    <a:moveTo>
                      <a:pt x="323851" y="217487"/>
                    </a:moveTo>
                    <a:cubicBezTo>
                      <a:pt x="310830" y="256268"/>
                      <a:pt x="284788" y="287292"/>
                      <a:pt x="249631" y="307975"/>
                    </a:cubicBezTo>
                    <a:cubicBezTo>
                      <a:pt x="240516" y="295048"/>
                      <a:pt x="224890" y="275658"/>
                      <a:pt x="207963" y="253682"/>
                    </a:cubicBezTo>
                    <a:cubicBezTo>
                      <a:pt x="211869" y="249804"/>
                      <a:pt x="214474" y="247219"/>
                      <a:pt x="218380" y="243341"/>
                    </a:cubicBezTo>
                    <a:cubicBezTo>
                      <a:pt x="220984" y="244634"/>
                      <a:pt x="223588" y="244634"/>
                      <a:pt x="227495" y="244634"/>
                    </a:cubicBezTo>
                    <a:cubicBezTo>
                      <a:pt x="239214" y="244634"/>
                      <a:pt x="250933" y="236878"/>
                      <a:pt x="253537" y="225243"/>
                    </a:cubicBezTo>
                    <a:cubicBezTo>
                      <a:pt x="280881" y="222658"/>
                      <a:pt x="304319" y="220073"/>
                      <a:pt x="323851" y="217487"/>
                    </a:cubicBezTo>
                    <a:close/>
                    <a:moveTo>
                      <a:pt x="3175" y="196850"/>
                    </a:moveTo>
                    <a:cubicBezTo>
                      <a:pt x="23562" y="204666"/>
                      <a:pt x="55417" y="215086"/>
                      <a:pt x="93642" y="222902"/>
                    </a:cubicBezTo>
                    <a:cubicBezTo>
                      <a:pt x="94916" y="228112"/>
                      <a:pt x="96190" y="232019"/>
                      <a:pt x="100013" y="235927"/>
                    </a:cubicBezTo>
                    <a:cubicBezTo>
                      <a:pt x="84723" y="261978"/>
                      <a:pt x="71981" y="284122"/>
                      <a:pt x="65610" y="298450"/>
                    </a:cubicBezTo>
                    <a:cubicBezTo>
                      <a:pt x="33755" y="273702"/>
                      <a:pt x="10820" y="237230"/>
                      <a:pt x="3175" y="196850"/>
                    </a:cubicBezTo>
                    <a:close/>
                    <a:moveTo>
                      <a:pt x="146517" y="192087"/>
                    </a:moveTo>
                    <a:cubicBezTo>
                      <a:pt x="151747" y="200025"/>
                      <a:pt x="156976" y="207963"/>
                      <a:pt x="163513" y="215900"/>
                    </a:cubicBezTo>
                    <a:cubicBezTo>
                      <a:pt x="158284" y="215900"/>
                      <a:pt x="153054" y="214577"/>
                      <a:pt x="147825" y="214577"/>
                    </a:cubicBezTo>
                    <a:cubicBezTo>
                      <a:pt x="147825" y="209286"/>
                      <a:pt x="145210" y="203994"/>
                      <a:pt x="141288" y="200025"/>
                    </a:cubicBezTo>
                    <a:cubicBezTo>
                      <a:pt x="142595" y="197379"/>
                      <a:pt x="145210" y="194733"/>
                      <a:pt x="146517" y="192087"/>
                    </a:cubicBezTo>
                    <a:close/>
                    <a:moveTo>
                      <a:pt x="277877" y="160337"/>
                    </a:moveTo>
                    <a:cubicBezTo>
                      <a:pt x="290894" y="175968"/>
                      <a:pt x="302610" y="190296"/>
                      <a:pt x="314326" y="204624"/>
                    </a:cubicBezTo>
                    <a:cubicBezTo>
                      <a:pt x="297403" y="205927"/>
                      <a:pt x="276575" y="208532"/>
                      <a:pt x="253143" y="211137"/>
                    </a:cubicBezTo>
                    <a:cubicBezTo>
                      <a:pt x="251842" y="207230"/>
                      <a:pt x="251842" y="204624"/>
                      <a:pt x="249238" y="203322"/>
                    </a:cubicBezTo>
                    <a:cubicBezTo>
                      <a:pt x="259652" y="188994"/>
                      <a:pt x="270066" y="174665"/>
                      <a:pt x="277877" y="160337"/>
                    </a:cubicBezTo>
                    <a:close/>
                    <a:moveTo>
                      <a:pt x="290513" y="153987"/>
                    </a:moveTo>
                    <a:cubicBezTo>
                      <a:pt x="306490" y="159216"/>
                      <a:pt x="321136" y="163139"/>
                      <a:pt x="331788" y="167061"/>
                    </a:cubicBezTo>
                    <a:cubicBezTo>
                      <a:pt x="331788" y="178827"/>
                      <a:pt x="330457" y="187978"/>
                      <a:pt x="329125" y="198437"/>
                    </a:cubicBezTo>
                    <a:cubicBezTo>
                      <a:pt x="317142" y="185364"/>
                      <a:pt x="303828" y="170983"/>
                      <a:pt x="290513" y="153987"/>
                    </a:cubicBezTo>
                    <a:close/>
                    <a:moveTo>
                      <a:pt x="113341" y="139700"/>
                    </a:moveTo>
                    <a:cubicBezTo>
                      <a:pt x="118493" y="150004"/>
                      <a:pt x="124933" y="160307"/>
                      <a:pt x="130085" y="169324"/>
                    </a:cubicBezTo>
                    <a:cubicBezTo>
                      <a:pt x="132661" y="171900"/>
                      <a:pt x="135237" y="175764"/>
                      <a:pt x="136525" y="178340"/>
                    </a:cubicBezTo>
                    <a:cubicBezTo>
                      <a:pt x="133949" y="183492"/>
                      <a:pt x="131373" y="187356"/>
                      <a:pt x="128797" y="191219"/>
                    </a:cubicBezTo>
                    <a:cubicBezTo>
                      <a:pt x="126221" y="189932"/>
                      <a:pt x="123645" y="189932"/>
                      <a:pt x="121069" y="189932"/>
                    </a:cubicBezTo>
                    <a:cubicBezTo>
                      <a:pt x="109478" y="189932"/>
                      <a:pt x="99174" y="197659"/>
                      <a:pt x="95310" y="207963"/>
                    </a:cubicBezTo>
                    <a:cubicBezTo>
                      <a:pt x="52807" y="200235"/>
                      <a:pt x="19320" y="187356"/>
                      <a:pt x="1288" y="179628"/>
                    </a:cubicBezTo>
                    <a:cubicBezTo>
                      <a:pt x="0" y="174476"/>
                      <a:pt x="0" y="170612"/>
                      <a:pt x="0" y="165460"/>
                    </a:cubicBezTo>
                    <a:cubicBezTo>
                      <a:pt x="0" y="160307"/>
                      <a:pt x="0" y="156444"/>
                      <a:pt x="1288" y="151292"/>
                    </a:cubicBezTo>
                    <a:cubicBezTo>
                      <a:pt x="23183" y="147428"/>
                      <a:pt x="64399" y="142276"/>
                      <a:pt x="113341" y="139700"/>
                    </a:cubicBezTo>
                    <a:close/>
                    <a:moveTo>
                      <a:pt x="186315" y="138112"/>
                    </a:moveTo>
                    <a:cubicBezTo>
                      <a:pt x="215774" y="139408"/>
                      <a:pt x="243952" y="143298"/>
                      <a:pt x="268288" y="149780"/>
                    </a:cubicBezTo>
                    <a:cubicBezTo>
                      <a:pt x="259322" y="164042"/>
                      <a:pt x="249076" y="179599"/>
                      <a:pt x="238829" y="193860"/>
                    </a:cubicBezTo>
                    <a:cubicBezTo>
                      <a:pt x="234986" y="192564"/>
                      <a:pt x="231144" y="191267"/>
                      <a:pt x="227301" y="191267"/>
                    </a:cubicBezTo>
                    <a:cubicBezTo>
                      <a:pt x="213212" y="191267"/>
                      <a:pt x="201685" y="201639"/>
                      <a:pt x="200404" y="214604"/>
                    </a:cubicBezTo>
                    <a:cubicBezTo>
                      <a:pt x="194000" y="214604"/>
                      <a:pt x="186315" y="214604"/>
                      <a:pt x="179911" y="215900"/>
                    </a:cubicBezTo>
                    <a:cubicBezTo>
                      <a:pt x="170945" y="202936"/>
                      <a:pt x="163260" y="191267"/>
                      <a:pt x="155575" y="179599"/>
                    </a:cubicBezTo>
                    <a:cubicBezTo>
                      <a:pt x="160698" y="171820"/>
                      <a:pt x="167102" y="162745"/>
                      <a:pt x="173507" y="154966"/>
                    </a:cubicBezTo>
                    <a:cubicBezTo>
                      <a:pt x="177349" y="148483"/>
                      <a:pt x="182472" y="143298"/>
                      <a:pt x="186315" y="138112"/>
                    </a:cubicBezTo>
                    <a:close/>
                    <a:moveTo>
                      <a:pt x="168276" y="138112"/>
                    </a:moveTo>
                    <a:cubicBezTo>
                      <a:pt x="165630" y="140597"/>
                      <a:pt x="164307" y="143081"/>
                      <a:pt x="161661" y="145566"/>
                    </a:cubicBezTo>
                    <a:cubicBezTo>
                      <a:pt x="156370" y="153020"/>
                      <a:pt x="151078" y="159232"/>
                      <a:pt x="145786" y="166687"/>
                    </a:cubicBezTo>
                    <a:cubicBezTo>
                      <a:pt x="144463" y="165445"/>
                      <a:pt x="143140" y="162960"/>
                      <a:pt x="141817" y="161718"/>
                    </a:cubicBezTo>
                    <a:cubicBezTo>
                      <a:pt x="137849" y="154263"/>
                      <a:pt x="132557" y="146808"/>
                      <a:pt x="128588" y="139354"/>
                    </a:cubicBezTo>
                    <a:cubicBezTo>
                      <a:pt x="141817" y="139354"/>
                      <a:pt x="155047" y="138112"/>
                      <a:pt x="168276" y="138112"/>
                    </a:cubicBezTo>
                    <a:close/>
                    <a:moveTo>
                      <a:pt x="220028" y="103187"/>
                    </a:moveTo>
                    <a:cubicBezTo>
                      <a:pt x="223838" y="104486"/>
                      <a:pt x="227648" y="105784"/>
                      <a:pt x="232728" y="105784"/>
                    </a:cubicBezTo>
                    <a:cubicBezTo>
                      <a:pt x="233998" y="105784"/>
                      <a:pt x="236538" y="105784"/>
                      <a:pt x="237808" y="105784"/>
                    </a:cubicBezTo>
                    <a:cubicBezTo>
                      <a:pt x="241618" y="109681"/>
                      <a:pt x="244158" y="114877"/>
                      <a:pt x="246698" y="118773"/>
                    </a:cubicBezTo>
                    <a:cubicBezTo>
                      <a:pt x="249238" y="122670"/>
                      <a:pt x="253048" y="127865"/>
                      <a:pt x="255588" y="131762"/>
                    </a:cubicBezTo>
                    <a:cubicBezTo>
                      <a:pt x="237808" y="129164"/>
                      <a:pt x="218758" y="126566"/>
                      <a:pt x="198438" y="125267"/>
                    </a:cubicBezTo>
                    <a:cubicBezTo>
                      <a:pt x="206058" y="117474"/>
                      <a:pt x="213678" y="109681"/>
                      <a:pt x="220028" y="103187"/>
                    </a:cubicBezTo>
                    <a:close/>
                    <a:moveTo>
                      <a:pt x="317236" y="98425"/>
                    </a:moveTo>
                    <a:cubicBezTo>
                      <a:pt x="325173" y="115539"/>
                      <a:pt x="329142" y="133969"/>
                      <a:pt x="331788" y="152400"/>
                    </a:cubicBezTo>
                    <a:cubicBezTo>
                      <a:pt x="319882" y="148450"/>
                      <a:pt x="306652" y="144501"/>
                      <a:pt x="292100" y="140552"/>
                    </a:cubicBezTo>
                    <a:cubicBezTo>
                      <a:pt x="301361" y="124754"/>
                      <a:pt x="310621" y="111589"/>
                      <a:pt x="317236" y="98425"/>
                    </a:cubicBezTo>
                    <a:close/>
                    <a:moveTo>
                      <a:pt x="286068" y="52387"/>
                    </a:moveTo>
                    <a:cubicBezTo>
                      <a:pt x="295205" y="61448"/>
                      <a:pt x="303037" y="71803"/>
                      <a:pt x="309563" y="84748"/>
                    </a:cubicBezTo>
                    <a:cubicBezTo>
                      <a:pt x="301731" y="98986"/>
                      <a:pt x="289984" y="117108"/>
                      <a:pt x="278236" y="136525"/>
                    </a:cubicBezTo>
                    <a:cubicBezTo>
                      <a:pt x="278236" y="136525"/>
                      <a:pt x="276931" y="136525"/>
                      <a:pt x="276931" y="136525"/>
                    </a:cubicBezTo>
                    <a:cubicBezTo>
                      <a:pt x="270404" y="127464"/>
                      <a:pt x="265183" y="119697"/>
                      <a:pt x="258657" y="110636"/>
                    </a:cubicBezTo>
                    <a:cubicBezTo>
                      <a:pt x="256046" y="106753"/>
                      <a:pt x="253436" y="102870"/>
                      <a:pt x="250825" y="98986"/>
                    </a:cubicBezTo>
                    <a:cubicBezTo>
                      <a:pt x="256046" y="93809"/>
                      <a:pt x="259962" y="86042"/>
                      <a:pt x="259962" y="78275"/>
                    </a:cubicBezTo>
                    <a:cubicBezTo>
                      <a:pt x="259962" y="75687"/>
                      <a:pt x="259962" y="73098"/>
                      <a:pt x="258657" y="70509"/>
                    </a:cubicBezTo>
                    <a:cubicBezTo>
                      <a:pt x="269099" y="62742"/>
                      <a:pt x="278236" y="57564"/>
                      <a:pt x="286068" y="52387"/>
                    </a:cubicBezTo>
                    <a:close/>
                    <a:moveTo>
                      <a:pt x="73025" y="28575"/>
                    </a:moveTo>
                    <a:cubicBezTo>
                      <a:pt x="79493" y="54655"/>
                      <a:pt x="92428" y="92472"/>
                      <a:pt x="107950" y="126377"/>
                    </a:cubicBezTo>
                    <a:cubicBezTo>
                      <a:pt x="63970" y="128985"/>
                      <a:pt x="25165" y="134201"/>
                      <a:pt x="3175" y="138113"/>
                    </a:cubicBezTo>
                    <a:cubicBezTo>
                      <a:pt x="10936" y="92472"/>
                      <a:pt x="36806" y="53351"/>
                      <a:pt x="73025" y="28575"/>
                    </a:cubicBezTo>
                    <a:close/>
                    <a:moveTo>
                      <a:pt x="203200" y="4762"/>
                    </a:moveTo>
                    <a:cubicBezTo>
                      <a:pt x="230476" y="11151"/>
                      <a:pt x="255155" y="23928"/>
                      <a:pt x="274638" y="41817"/>
                    </a:cubicBezTo>
                    <a:cubicBezTo>
                      <a:pt x="268144" y="45650"/>
                      <a:pt x="260350" y="52039"/>
                      <a:pt x="251258" y="57150"/>
                    </a:cubicBezTo>
                    <a:cubicBezTo>
                      <a:pt x="246063" y="53316"/>
                      <a:pt x="239568" y="50761"/>
                      <a:pt x="233074" y="50761"/>
                    </a:cubicBezTo>
                    <a:cubicBezTo>
                      <a:pt x="230476" y="50761"/>
                      <a:pt x="227879" y="50761"/>
                      <a:pt x="225281" y="52039"/>
                    </a:cubicBezTo>
                    <a:cubicBezTo>
                      <a:pt x="216189" y="34150"/>
                      <a:pt x="208395" y="17539"/>
                      <a:pt x="203200" y="4762"/>
                    </a:cubicBezTo>
                    <a:close/>
                    <a:moveTo>
                      <a:pt x="165260" y="0"/>
                    </a:moveTo>
                    <a:cubicBezTo>
                      <a:pt x="172957" y="0"/>
                      <a:pt x="179371" y="0"/>
                      <a:pt x="185786" y="1290"/>
                    </a:cubicBezTo>
                    <a:cubicBezTo>
                      <a:pt x="192200" y="15478"/>
                      <a:pt x="199897" y="36115"/>
                      <a:pt x="212725" y="59333"/>
                    </a:cubicBezTo>
                    <a:cubicBezTo>
                      <a:pt x="207594" y="63202"/>
                      <a:pt x="205028" y="69651"/>
                      <a:pt x="205028" y="77390"/>
                    </a:cubicBezTo>
                    <a:cubicBezTo>
                      <a:pt x="205028" y="82550"/>
                      <a:pt x="206311" y="87709"/>
                      <a:pt x="208876" y="91579"/>
                    </a:cubicBezTo>
                    <a:cubicBezTo>
                      <a:pt x="198614" y="100608"/>
                      <a:pt x="188351" y="110926"/>
                      <a:pt x="179371" y="122535"/>
                    </a:cubicBezTo>
                    <a:cubicBezTo>
                      <a:pt x="178089" y="122535"/>
                      <a:pt x="178089" y="122535"/>
                      <a:pt x="176806" y="122535"/>
                    </a:cubicBezTo>
                    <a:cubicBezTo>
                      <a:pt x="158846" y="122535"/>
                      <a:pt x="139604" y="123825"/>
                      <a:pt x="122927" y="123825"/>
                    </a:cubicBezTo>
                    <a:cubicBezTo>
                      <a:pt x="104967" y="87709"/>
                      <a:pt x="92139" y="45144"/>
                      <a:pt x="85725" y="20637"/>
                    </a:cubicBezTo>
                    <a:cubicBezTo>
                      <a:pt x="108816" y="7739"/>
                      <a:pt x="135755" y="0"/>
                      <a:pt x="16526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" name="组合 12"/>
          <p:cNvGrpSpPr/>
          <p:nvPr>
            <p:custDataLst>
              <p:tags r:id="rId18"/>
            </p:custDataLst>
          </p:nvPr>
        </p:nvGrpSpPr>
        <p:grpSpPr>
          <a:xfrm>
            <a:off x="9843451" y="3035613"/>
            <a:ext cx="676672" cy="960554"/>
            <a:chOff x="9843451" y="2845113"/>
            <a:chExt cx="676672" cy="960554"/>
          </a:xfrm>
        </p:grpSpPr>
        <p:cxnSp>
          <p:nvCxnSpPr>
            <p:cNvPr id="34" name="直接连接符 33"/>
            <p:cNvCxnSpPr>
              <a:stCxn id="52" idx="1"/>
            </p:cNvCxnSpPr>
            <p:nvPr>
              <p:custDataLst>
                <p:tags r:id="rId19"/>
              </p:custDataLst>
            </p:nvPr>
          </p:nvCxnSpPr>
          <p:spPr>
            <a:xfrm flipV="1">
              <a:off x="10181787" y="2845113"/>
              <a:ext cx="0" cy="28419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işḷiďê"/>
            <p:cNvGrpSpPr/>
            <p:nvPr/>
          </p:nvGrpSpPr>
          <p:grpSpPr>
            <a:xfrm>
              <a:off x="9843451" y="3129309"/>
              <a:ext cx="676672" cy="676358"/>
              <a:chOff x="6800652" y="1600503"/>
              <a:chExt cx="676672" cy="676358"/>
            </a:xfrm>
          </p:grpSpPr>
          <p:sp>
            <p:nvSpPr>
              <p:cNvPr id="52" name="îŝlíḓè"/>
              <p:cNvSpPr/>
              <p:nvPr>
                <p:custDataLst>
                  <p:tags r:id="rId20"/>
                </p:custDataLst>
              </p:nvPr>
            </p:nvSpPr>
            <p:spPr>
              <a:xfrm>
                <a:off x="6800652" y="1600503"/>
                <a:ext cx="676672" cy="676358"/>
              </a:xfrm>
              <a:custGeom>
                <a:avLst/>
                <a:gdLst>
                  <a:gd name="connsiteX0" fmla="*/ 0 w 1260455"/>
                  <a:gd name="connsiteY0" fmla="*/ 630228 h 1260455"/>
                  <a:gd name="connsiteX1" fmla="*/ 630228 w 1260455"/>
                  <a:gd name="connsiteY1" fmla="*/ 0 h 1260455"/>
                  <a:gd name="connsiteX2" fmla="*/ 1260456 w 1260455"/>
                  <a:gd name="connsiteY2" fmla="*/ 630228 h 1260455"/>
                  <a:gd name="connsiteX3" fmla="*/ 630228 w 1260455"/>
                  <a:gd name="connsiteY3" fmla="*/ 1260456 h 1260455"/>
                  <a:gd name="connsiteX4" fmla="*/ 0 w 1260455"/>
                  <a:gd name="connsiteY4" fmla="*/ 630228 h 126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0455" h="1260455">
                    <a:moveTo>
                      <a:pt x="0" y="630228"/>
                    </a:moveTo>
                    <a:cubicBezTo>
                      <a:pt x="0" y="282163"/>
                      <a:pt x="282163" y="0"/>
                      <a:pt x="630228" y="0"/>
                    </a:cubicBezTo>
                    <a:cubicBezTo>
                      <a:pt x="978293" y="0"/>
                      <a:pt x="1260456" y="282163"/>
                      <a:pt x="1260456" y="630228"/>
                    </a:cubicBezTo>
                    <a:cubicBezTo>
                      <a:pt x="1260456" y="978293"/>
                      <a:pt x="978293" y="1260456"/>
                      <a:pt x="630228" y="1260456"/>
                    </a:cubicBezTo>
                    <a:cubicBezTo>
                      <a:pt x="282163" y="1260456"/>
                      <a:pt x="0" y="978293"/>
                      <a:pt x="0" y="630228"/>
                    </a:cubicBezTo>
                    <a:close/>
                  </a:path>
                </a:pathLst>
              </a:custGeom>
              <a:solidFill>
                <a:srgbClr val="FFC0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3" name="iṡḷídé"/>
              <p:cNvSpPr/>
              <p:nvPr>
                <p:custDataLst>
                  <p:tags r:id="rId21"/>
                </p:custDataLst>
              </p:nvPr>
            </p:nvSpPr>
            <p:spPr>
              <a:xfrm>
                <a:off x="6974965" y="1774660"/>
                <a:ext cx="328046" cy="328044"/>
              </a:xfrm>
              <a:custGeom>
                <a:avLst/>
                <a:gdLst>
                  <a:gd name="connsiteX0" fmla="*/ 199497 w 331788"/>
                  <a:gd name="connsiteY0" fmla="*/ 265112 h 331787"/>
                  <a:gd name="connsiteX1" fmla="*/ 209798 w 331788"/>
                  <a:gd name="connsiteY1" fmla="*/ 279217 h 331787"/>
                  <a:gd name="connsiteX2" fmla="*/ 238126 w 331788"/>
                  <a:gd name="connsiteY2" fmla="*/ 315118 h 331787"/>
                  <a:gd name="connsiteX3" fmla="*/ 166018 w 331788"/>
                  <a:gd name="connsiteY3" fmla="*/ 331787 h 331787"/>
                  <a:gd name="connsiteX4" fmla="*/ 122238 w 331788"/>
                  <a:gd name="connsiteY4" fmla="*/ 325376 h 331787"/>
                  <a:gd name="connsiteX5" fmla="*/ 199497 w 331788"/>
                  <a:gd name="connsiteY5" fmla="*/ 265112 h 331787"/>
                  <a:gd name="connsiteX6" fmla="*/ 190500 w 331788"/>
                  <a:gd name="connsiteY6" fmla="*/ 228600 h 331787"/>
                  <a:gd name="connsiteX7" fmla="*/ 201490 w 331788"/>
                  <a:gd name="connsiteY7" fmla="*/ 228600 h 331787"/>
                  <a:gd name="connsiteX8" fmla="*/ 206375 w 331788"/>
                  <a:gd name="connsiteY8" fmla="*/ 236394 h 331787"/>
                  <a:gd name="connsiteX9" fmla="*/ 200269 w 331788"/>
                  <a:gd name="connsiteY9" fmla="*/ 242888 h 331787"/>
                  <a:gd name="connsiteX10" fmla="*/ 190500 w 331788"/>
                  <a:gd name="connsiteY10" fmla="*/ 228600 h 331787"/>
                  <a:gd name="connsiteX11" fmla="*/ 146452 w 331788"/>
                  <a:gd name="connsiteY11" fmla="*/ 228600 h 331787"/>
                  <a:gd name="connsiteX12" fmla="*/ 164590 w 331788"/>
                  <a:gd name="connsiteY12" fmla="*/ 229897 h 331787"/>
                  <a:gd name="connsiteX13" fmla="*/ 165885 w 331788"/>
                  <a:gd name="connsiteY13" fmla="*/ 229897 h 331787"/>
                  <a:gd name="connsiteX14" fmla="*/ 173659 w 331788"/>
                  <a:gd name="connsiteY14" fmla="*/ 229897 h 331787"/>
                  <a:gd name="connsiteX15" fmla="*/ 190501 w 331788"/>
                  <a:gd name="connsiteY15" fmla="*/ 253240 h 331787"/>
                  <a:gd name="connsiteX16" fmla="*/ 103699 w 331788"/>
                  <a:gd name="connsiteY16" fmla="*/ 320675 h 331787"/>
                  <a:gd name="connsiteX17" fmla="*/ 77788 w 331788"/>
                  <a:gd name="connsiteY17" fmla="*/ 306410 h 331787"/>
                  <a:gd name="connsiteX18" fmla="*/ 112768 w 331788"/>
                  <a:gd name="connsiteY18" fmla="*/ 244162 h 331787"/>
                  <a:gd name="connsiteX19" fmla="*/ 121837 w 331788"/>
                  <a:gd name="connsiteY19" fmla="*/ 245459 h 331787"/>
                  <a:gd name="connsiteX20" fmla="*/ 146452 w 331788"/>
                  <a:gd name="connsiteY20" fmla="*/ 228600 h 331787"/>
                  <a:gd name="connsiteX21" fmla="*/ 323851 w 331788"/>
                  <a:gd name="connsiteY21" fmla="*/ 217487 h 331787"/>
                  <a:gd name="connsiteX22" fmla="*/ 249631 w 331788"/>
                  <a:gd name="connsiteY22" fmla="*/ 307975 h 331787"/>
                  <a:gd name="connsiteX23" fmla="*/ 207963 w 331788"/>
                  <a:gd name="connsiteY23" fmla="*/ 253682 h 331787"/>
                  <a:gd name="connsiteX24" fmla="*/ 218380 w 331788"/>
                  <a:gd name="connsiteY24" fmla="*/ 243341 h 331787"/>
                  <a:gd name="connsiteX25" fmla="*/ 227495 w 331788"/>
                  <a:gd name="connsiteY25" fmla="*/ 244634 h 331787"/>
                  <a:gd name="connsiteX26" fmla="*/ 253537 w 331788"/>
                  <a:gd name="connsiteY26" fmla="*/ 225243 h 331787"/>
                  <a:gd name="connsiteX27" fmla="*/ 323851 w 331788"/>
                  <a:gd name="connsiteY27" fmla="*/ 217487 h 331787"/>
                  <a:gd name="connsiteX28" fmla="*/ 3175 w 331788"/>
                  <a:gd name="connsiteY28" fmla="*/ 196850 h 331787"/>
                  <a:gd name="connsiteX29" fmla="*/ 93642 w 331788"/>
                  <a:gd name="connsiteY29" fmla="*/ 222902 h 331787"/>
                  <a:gd name="connsiteX30" fmla="*/ 100013 w 331788"/>
                  <a:gd name="connsiteY30" fmla="*/ 235927 h 331787"/>
                  <a:gd name="connsiteX31" fmla="*/ 65610 w 331788"/>
                  <a:gd name="connsiteY31" fmla="*/ 298450 h 331787"/>
                  <a:gd name="connsiteX32" fmla="*/ 3175 w 331788"/>
                  <a:gd name="connsiteY32" fmla="*/ 196850 h 331787"/>
                  <a:gd name="connsiteX33" fmla="*/ 146517 w 331788"/>
                  <a:gd name="connsiteY33" fmla="*/ 192087 h 331787"/>
                  <a:gd name="connsiteX34" fmla="*/ 163513 w 331788"/>
                  <a:gd name="connsiteY34" fmla="*/ 215900 h 331787"/>
                  <a:gd name="connsiteX35" fmla="*/ 147825 w 331788"/>
                  <a:gd name="connsiteY35" fmla="*/ 214577 h 331787"/>
                  <a:gd name="connsiteX36" fmla="*/ 141288 w 331788"/>
                  <a:gd name="connsiteY36" fmla="*/ 200025 h 331787"/>
                  <a:gd name="connsiteX37" fmla="*/ 146517 w 331788"/>
                  <a:gd name="connsiteY37" fmla="*/ 192087 h 331787"/>
                  <a:gd name="connsiteX38" fmla="*/ 277877 w 331788"/>
                  <a:gd name="connsiteY38" fmla="*/ 160337 h 331787"/>
                  <a:gd name="connsiteX39" fmla="*/ 314326 w 331788"/>
                  <a:gd name="connsiteY39" fmla="*/ 204624 h 331787"/>
                  <a:gd name="connsiteX40" fmla="*/ 253143 w 331788"/>
                  <a:gd name="connsiteY40" fmla="*/ 211137 h 331787"/>
                  <a:gd name="connsiteX41" fmla="*/ 249238 w 331788"/>
                  <a:gd name="connsiteY41" fmla="*/ 203322 h 331787"/>
                  <a:gd name="connsiteX42" fmla="*/ 277877 w 331788"/>
                  <a:gd name="connsiteY42" fmla="*/ 160337 h 331787"/>
                  <a:gd name="connsiteX43" fmla="*/ 290513 w 331788"/>
                  <a:gd name="connsiteY43" fmla="*/ 153987 h 331787"/>
                  <a:gd name="connsiteX44" fmla="*/ 331788 w 331788"/>
                  <a:gd name="connsiteY44" fmla="*/ 167061 h 331787"/>
                  <a:gd name="connsiteX45" fmla="*/ 329125 w 331788"/>
                  <a:gd name="connsiteY45" fmla="*/ 198437 h 331787"/>
                  <a:gd name="connsiteX46" fmla="*/ 290513 w 331788"/>
                  <a:gd name="connsiteY46" fmla="*/ 153987 h 331787"/>
                  <a:gd name="connsiteX47" fmla="*/ 113341 w 331788"/>
                  <a:gd name="connsiteY47" fmla="*/ 139700 h 331787"/>
                  <a:gd name="connsiteX48" fmla="*/ 130085 w 331788"/>
                  <a:gd name="connsiteY48" fmla="*/ 169324 h 331787"/>
                  <a:gd name="connsiteX49" fmla="*/ 136525 w 331788"/>
                  <a:gd name="connsiteY49" fmla="*/ 178340 h 331787"/>
                  <a:gd name="connsiteX50" fmla="*/ 128797 w 331788"/>
                  <a:gd name="connsiteY50" fmla="*/ 191219 h 331787"/>
                  <a:gd name="connsiteX51" fmla="*/ 121069 w 331788"/>
                  <a:gd name="connsiteY51" fmla="*/ 189932 h 331787"/>
                  <a:gd name="connsiteX52" fmla="*/ 95310 w 331788"/>
                  <a:gd name="connsiteY52" fmla="*/ 207963 h 331787"/>
                  <a:gd name="connsiteX53" fmla="*/ 1288 w 331788"/>
                  <a:gd name="connsiteY53" fmla="*/ 179628 h 331787"/>
                  <a:gd name="connsiteX54" fmla="*/ 0 w 331788"/>
                  <a:gd name="connsiteY54" fmla="*/ 165460 h 331787"/>
                  <a:gd name="connsiteX55" fmla="*/ 1288 w 331788"/>
                  <a:gd name="connsiteY55" fmla="*/ 151292 h 331787"/>
                  <a:gd name="connsiteX56" fmla="*/ 113341 w 331788"/>
                  <a:gd name="connsiteY56" fmla="*/ 139700 h 331787"/>
                  <a:gd name="connsiteX57" fmla="*/ 186315 w 331788"/>
                  <a:gd name="connsiteY57" fmla="*/ 138112 h 331787"/>
                  <a:gd name="connsiteX58" fmla="*/ 268288 w 331788"/>
                  <a:gd name="connsiteY58" fmla="*/ 149780 h 331787"/>
                  <a:gd name="connsiteX59" fmla="*/ 238829 w 331788"/>
                  <a:gd name="connsiteY59" fmla="*/ 193860 h 331787"/>
                  <a:gd name="connsiteX60" fmla="*/ 227301 w 331788"/>
                  <a:gd name="connsiteY60" fmla="*/ 191267 h 331787"/>
                  <a:gd name="connsiteX61" fmla="*/ 200404 w 331788"/>
                  <a:gd name="connsiteY61" fmla="*/ 214604 h 331787"/>
                  <a:gd name="connsiteX62" fmla="*/ 179911 w 331788"/>
                  <a:gd name="connsiteY62" fmla="*/ 215900 h 331787"/>
                  <a:gd name="connsiteX63" fmla="*/ 155575 w 331788"/>
                  <a:gd name="connsiteY63" fmla="*/ 179599 h 331787"/>
                  <a:gd name="connsiteX64" fmla="*/ 173507 w 331788"/>
                  <a:gd name="connsiteY64" fmla="*/ 154966 h 331787"/>
                  <a:gd name="connsiteX65" fmla="*/ 186315 w 331788"/>
                  <a:gd name="connsiteY65" fmla="*/ 138112 h 331787"/>
                  <a:gd name="connsiteX66" fmla="*/ 168276 w 331788"/>
                  <a:gd name="connsiteY66" fmla="*/ 138112 h 331787"/>
                  <a:gd name="connsiteX67" fmla="*/ 161661 w 331788"/>
                  <a:gd name="connsiteY67" fmla="*/ 145566 h 331787"/>
                  <a:gd name="connsiteX68" fmla="*/ 145786 w 331788"/>
                  <a:gd name="connsiteY68" fmla="*/ 166687 h 331787"/>
                  <a:gd name="connsiteX69" fmla="*/ 141817 w 331788"/>
                  <a:gd name="connsiteY69" fmla="*/ 161718 h 331787"/>
                  <a:gd name="connsiteX70" fmla="*/ 128588 w 331788"/>
                  <a:gd name="connsiteY70" fmla="*/ 139354 h 331787"/>
                  <a:gd name="connsiteX71" fmla="*/ 168276 w 331788"/>
                  <a:gd name="connsiteY71" fmla="*/ 138112 h 331787"/>
                  <a:gd name="connsiteX72" fmla="*/ 220028 w 331788"/>
                  <a:gd name="connsiteY72" fmla="*/ 103187 h 331787"/>
                  <a:gd name="connsiteX73" fmla="*/ 232728 w 331788"/>
                  <a:gd name="connsiteY73" fmla="*/ 105784 h 331787"/>
                  <a:gd name="connsiteX74" fmla="*/ 237808 w 331788"/>
                  <a:gd name="connsiteY74" fmla="*/ 105784 h 331787"/>
                  <a:gd name="connsiteX75" fmla="*/ 246698 w 331788"/>
                  <a:gd name="connsiteY75" fmla="*/ 118773 h 331787"/>
                  <a:gd name="connsiteX76" fmla="*/ 255588 w 331788"/>
                  <a:gd name="connsiteY76" fmla="*/ 131762 h 331787"/>
                  <a:gd name="connsiteX77" fmla="*/ 198438 w 331788"/>
                  <a:gd name="connsiteY77" fmla="*/ 125267 h 331787"/>
                  <a:gd name="connsiteX78" fmla="*/ 220028 w 331788"/>
                  <a:gd name="connsiteY78" fmla="*/ 103187 h 331787"/>
                  <a:gd name="connsiteX79" fmla="*/ 317236 w 331788"/>
                  <a:gd name="connsiteY79" fmla="*/ 98425 h 331787"/>
                  <a:gd name="connsiteX80" fmla="*/ 331788 w 331788"/>
                  <a:gd name="connsiteY80" fmla="*/ 152400 h 331787"/>
                  <a:gd name="connsiteX81" fmla="*/ 292100 w 331788"/>
                  <a:gd name="connsiteY81" fmla="*/ 140552 h 331787"/>
                  <a:gd name="connsiteX82" fmla="*/ 317236 w 331788"/>
                  <a:gd name="connsiteY82" fmla="*/ 98425 h 331787"/>
                  <a:gd name="connsiteX83" fmla="*/ 286068 w 331788"/>
                  <a:gd name="connsiteY83" fmla="*/ 52387 h 331787"/>
                  <a:gd name="connsiteX84" fmla="*/ 309563 w 331788"/>
                  <a:gd name="connsiteY84" fmla="*/ 84748 h 331787"/>
                  <a:gd name="connsiteX85" fmla="*/ 278236 w 331788"/>
                  <a:gd name="connsiteY85" fmla="*/ 136525 h 331787"/>
                  <a:gd name="connsiteX86" fmla="*/ 276931 w 331788"/>
                  <a:gd name="connsiteY86" fmla="*/ 136525 h 331787"/>
                  <a:gd name="connsiteX87" fmla="*/ 258657 w 331788"/>
                  <a:gd name="connsiteY87" fmla="*/ 110636 h 331787"/>
                  <a:gd name="connsiteX88" fmla="*/ 250825 w 331788"/>
                  <a:gd name="connsiteY88" fmla="*/ 98986 h 331787"/>
                  <a:gd name="connsiteX89" fmla="*/ 259962 w 331788"/>
                  <a:gd name="connsiteY89" fmla="*/ 78275 h 331787"/>
                  <a:gd name="connsiteX90" fmla="*/ 258657 w 331788"/>
                  <a:gd name="connsiteY90" fmla="*/ 70509 h 331787"/>
                  <a:gd name="connsiteX91" fmla="*/ 286068 w 331788"/>
                  <a:gd name="connsiteY91" fmla="*/ 52387 h 331787"/>
                  <a:gd name="connsiteX92" fmla="*/ 73025 w 331788"/>
                  <a:gd name="connsiteY92" fmla="*/ 28575 h 331787"/>
                  <a:gd name="connsiteX93" fmla="*/ 107950 w 331788"/>
                  <a:gd name="connsiteY93" fmla="*/ 126377 h 331787"/>
                  <a:gd name="connsiteX94" fmla="*/ 3175 w 331788"/>
                  <a:gd name="connsiteY94" fmla="*/ 138113 h 331787"/>
                  <a:gd name="connsiteX95" fmla="*/ 73025 w 331788"/>
                  <a:gd name="connsiteY95" fmla="*/ 28575 h 331787"/>
                  <a:gd name="connsiteX96" fmla="*/ 203200 w 331788"/>
                  <a:gd name="connsiteY96" fmla="*/ 4762 h 331787"/>
                  <a:gd name="connsiteX97" fmla="*/ 274638 w 331788"/>
                  <a:gd name="connsiteY97" fmla="*/ 41817 h 331787"/>
                  <a:gd name="connsiteX98" fmla="*/ 251258 w 331788"/>
                  <a:gd name="connsiteY98" fmla="*/ 57150 h 331787"/>
                  <a:gd name="connsiteX99" fmla="*/ 233074 w 331788"/>
                  <a:gd name="connsiteY99" fmla="*/ 50761 h 331787"/>
                  <a:gd name="connsiteX100" fmla="*/ 225281 w 331788"/>
                  <a:gd name="connsiteY100" fmla="*/ 52039 h 331787"/>
                  <a:gd name="connsiteX101" fmla="*/ 203200 w 331788"/>
                  <a:gd name="connsiteY101" fmla="*/ 4762 h 331787"/>
                  <a:gd name="connsiteX102" fmla="*/ 165260 w 331788"/>
                  <a:gd name="connsiteY102" fmla="*/ 0 h 331787"/>
                  <a:gd name="connsiteX103" fmla="*/ 185786 w 331788"/>
                  <a:gd name="connsiteY103" fmla="*/ 1290 h 331787"/>
                  <a:gd name="connsiteX104" fmla="*/ 212725 w 331788"/>
                  <a:gd name="connsiteY104" fmla="*/ 59333 h 331787"/>
                  <a:gd name="connsiteX105" fmla="*/ 205028 w 331788"/>
                  <a:gd name="connsiteY105" fmla="*/ 77390 h 331787"/>
                  <a:gd name="connsiteX106" fmla="*/ 208876 w 331788"/>
                  <a:gd name="connsiteY106" fmla="*/ 91579 h 331787"/>
                  <a:gd name="connsiteX107" fmla="*/ 179371 w 331788"/>
                  <a:gd name="connsiteY107" fmla="*/ 122535 h 331787"/>
                  <a:gd name="connsiteX108" fmla="*/ 176806 w 331788"/>
                  <a:gd name="connsiteY108" fmla="*/ 122535 h 331787"/>
                  <a:gd name="connsiteX109" fmla="*/ 122927 w 331788"/>
                  <a:gd name="connsiteY109" fmla="*/ 123825 h 331787"/>
                  <a:gd name="connsiteX110" fmla="*/ 85725 w 331788"/>
                  <a:gd name="connsiteY110" fmla="*/ 20637 h 331787"/>
                  <a:gd name="connsiteX111" fmla="*/ 165260 w 331788"/>
                  <a:gd name="connsiteY111" fmla="*/ 0 h 331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31788" h="331787">
                    <a:moveTo>
                      <a:pt x="199497" y="265112"/>
                    </a:moveTo>
                    <a:cubicBezTo>
                      <a:pt x="203360" y="270241"/>
                      <a:pt x="205935" y="274088"/>
                      <a:pt x="209798" y="279217"/>
                    </a:cubicBezTo>
                    <a:cubicBezTo>
                      <a:pt x="222674" y="295885"/>
                      <a:pt x="231688" y="307425"/>
                      <a:pt x="238126" y="315118"/>
                    </a:cubicBezTo>
                    <a:cubicBezTo>
                      <a:pt x="216236" y="325376"/>
                      <a:pt x="191771" y="331787"/>
                      <a:pt x="166018" y="331787"/>
                    </a:cubicBezTo>
                    <a:cubicBezTo>
                      <a:pt x="150566" y="331787"/>
                      <a:pt x="136402" y="329223"/>
                      <a:pt x="122238" y="325376"/>
                    </a:cubicBezTo>
                    <a:cubicBezTo>
                      <a:pt x="141553" y="312554"/>
                      <a:pt x="169881" y="293321"/>
                      <a:pt x="199497" y="265112"/>
                    </a:cubicBezTo>
                    <a:close/>
                    <a:moveTo>
                      <a:pt x="190500" y="228600"/>
                    </a:moveTo>
                    <a:cubicBezTo>
                      <a:pt x="194163" y="228600"/>
                      <a:pt x="197827" y="228600"/>
                      <a:pt x="201490" y="228600"/>
                    </a:cubicBezTo>
                    <a:cubicBezTo>
                      <a:pt x="202712" y="231198"/>
                      <a:pt x="203933" y="233796"/>
                      <a:pt x="206375" y="236394"/>
                    </a:cubicBezTo>
                    <a:cubicBezTo>
                      <a:pt x="203933" y="237693"/>
                      <a:pt x="201490" y="240290"/>
                      <a:pt x="200269" y="242888"/>
                    </a:cubicBezTo>
                    <a:cubicBezTo>
                      <a:pt x="196606" y="237693"/>
                      <a:pt x="194163" y="233796"/>
                      <a:pt x="190500" y="228600"/>
                    </a:cubicBezTo>
                    <a:close/>
                    <a:moveTo>
                      <a:pt x="146452" y="228600"/>
                    </a:moveTo>
                    <a:cubicBezTo>
                      <a:pt x="152930" y="228600"/>
                      <a:pt x="159408" y="229897"/>
                      <a:pt x="164590" y="229897"/>
                    </a:cubicBezTo>
                    <a:cubicBezTo>
                      <a:pt x="164590" y="229897"/>
                      <a:pt x="164590" y="229897"/>
                      <a:pt x="165885" y="229897"/>
                    </a:cubicBezTo>
                    <a:cubicBezTo>
                      <a:pt x="168477" y="229897"/>
                      <a:pt x="171068" y="229897"/>
                      <a:pt x="173659" y="229897"/>
                    </a:cubicBezTo>
                    <a:cubicBezTo>
                      <a:pt x="178841" y="237678"/>
                      <a:pt x="185319" y="245459"/>
                      <a:pt x="190501" y="253240"/>
                    </a:cubicBezTo>
                    <a:cubicBezTo>
                      <a:pt x="156817" y="286958"/>
                      <a:pt x="123132" y="309004"/>
                      <a:pt x="103699" y="320675"/>
                    </a:cubicBezTo>
                    <a:cubicBezTo>
                      <a:pt x="94630" y="316785"/>
                      <a:pt x="85561" y="311597"/>
                      <a:pt x="77788" y="306410"/>
                    </a:cubicBezTo>
                    <a:cubicBezTo>
                      <a:pt x="84266" y="293442"/>
                      <a:pt x="97221" y="271396"/>
                      <a:pt x="112768" y="244162"/>
                    </a:cubicBezTo>
                    <a:cubicBezTo>
                      <a:pt x="115359" y="245459"/>
                      <a:pt x="117950" y="245459"/>
                      <a:pt x="121837" y="245459"/>
                    </a:cubicBezTo>
                    <a:cubicBezTo>
                      <a:pt x="132201" y="245459"/>
                      <a:pt x="142566" y="238975"/>
                      <a:pt x="146452" y="228600"/>
                    </a:cubicBezTo>
                    <a:close/>
                    <a:moveTo>
                      <a:pt x="323851" y="217487"/>
                    </a:moveTo>
                    <a:cubicBezTo>
                      <a:pt x="310830" y="256268"/>
                      <a:pt x="284788" y="287292"/>
                      <a:pt x="249631" y="307975"/>
                    </a:cubicBezTo>
                    <a:cubicBezTo>
                      <a:pt x="240516" y="295048"/>
                      <a:pt x="224890" y="275658"/>
                      <a:pt x="207963" y="253682"/>
                    </a:cubicBezTo>
                    <a:cubicBezTo>
                      <a:pt x="211869" y="249804"/>
                      <a:pt x="214474" y="247219"/>
                      <a:pt x="218380" y="243341"/>
                    </a:cubicBezTo>
                    <a:cubicBezTo>
                      <a:pt x="220984" y="244634"/>
                      <a:pt x="223588" y="244634"/>
                      <a:pt x="227495" y="244634"/>
                    </a:cubicBezTo>
                    <a:cubicBezTo>
                      <a:pt x="239214" y="244634"/>
                      <a:pt x="250933" y="236878"/>
                      <a:pt x="253537" y="225243"/>
                    </a:cubicBezTo>
                    <a:cubicBezTo>
                      <a:pt x="280881" y="222658"/>
                      <a:pt x="304319" y="220073"/>
                      <a:pt x="323851" y="217487"/>
                    </a:cubicBezTo>
                    <a:close/>
                    <a:moveTo>
                      <a:pt x="3175" y="196850"/>
                    </a:moveTo>
                    <a:cubicBezTo>
                      <a:pt x="23562" y="204666"/>
                      <a:pt x="55417" y="215086"/>
                      <a:pt x="93642" y="222902"/>
                    </a:cubicBezTo>
                    <a:cubicBezTo>
                      <a:pt x="94916" y="228112"/>
                      <a:pt x="96190" y="232019"/>
                      <a:pt x="100013" y="235927"/>
                    </a:cubicBezTo>
                    <a:cubicBezTo>
                      <a:pt x="84723" y="261978"/>
                      <a:pt x="71981" y="284122"/>
                      <a:pt x="65610" y="298450"/>
                    </a:cubicBezTo>
                    <a:cubicBezTo>
                      <a:pt x="33755" y="273702"/>
                      <a:pt x="10820" y="237230"/>
                      <a:pt x="3175" y="196850"/>
                    </a:cubicBezTo>
                    <a:close/>
                    <a:moveTo>
                      <a:pt x="146517" y="192087"/>
                    </a:moveTo>
                    <a:cubicBezTo>
                      <a:pt x="151747" y="200025"/>
                      <a:pt x="156976" y="207963"/>
                      <a:pt x="163513" y="215900"/>
                    </a:cubicBezTo>
                    <a:cubicBezTo>
                      <a:pt x="158284" y="215900"/>
                      <a:pt x="153054" y="214577"/>
                      <a:pt x="147825" y="214577"/>
                    </a:cubicBezTo>
                    <a:cubicBezTo>
                      <a:pt x="147825" y="209286"/>
                      <a:pt x="145210" y="203994"/>
                      <a:pt x="141288" y="200025"/>
                    </a:cubicBezTo>
                    <a:cubicBezTo>
                      <a:pt x="142595" y="197379"/>
                      <a:pt x="145210" y="194733"/>
                      <a:pt x="146517" y="192087"/>
                    </a:cubicBezTo>
                    <a:close/>
                    <a:moveTo>
                      <a:pt x="277877" y="160337"/>
                    </a:moveTo>
                    <a:cubicBezTo>
                      <a:pt x="290894" y="175968"/>
                      <a:pt x="302610" y="190296"/>
                      <a:pt x="314326" y="204624"/>
                    </a:cubicBezTo>
                    <a:cubicBezTo>
                      <a:pt x="297403" y="205927"/>
                      <a:pt x="276575" y="208532"/>
                      <a:pt x="253143" y="211137"/>
                    </a:cubicBezTo>
                    <a:cubicBezTo>
                      <a:pt x="251842" y="207230"/>
                      <a:pt x="251842" y="204624"/>
                      <a:pt x="249238" y="203322"/>
                    </a:cubicBezTo>
                    <a:cubicBezTo>
                      <a:pt x="259652" y="188994"/>
                      <a:pt x="270066" y="174665"/>
                      <a:pt x="277877" y="160337"/>
                    </a:cubicBezTo>
                    <a:close/>
                    <a:moveTo>
                      <a:pt x="290513" y="153987"/>
                    </a:moveTo>
                    <a:cubicBezTo>
                      <a:pt x="306490" y="159216"/>
                      <a:pt x="321136" y="163139"/>
                      <a:pt x="331788" y="167061"/>
                    </a:cubicBezTo>
                    <a:cubicBezTo>
                      <a:pt x="331788" y="178827"/>
                      <a:pt x="330457" y="187978"/>
                      <a:pt x="329125" y="198437"/>
                    </a:cubicBezTo>
                    <a:cubicBezTo>
                      <a:pt x="317142" y="185364"/>
                      <a:pt x="303828" y="170983"/>
                      <a:pt x="290513" y="153987"/>
                    </a:cubicBezTo>
                    <a:close/>
                    <a:moveTo>
                      <a:pt x="113341" y="139700"/>
                    </a:moveTo>
                    <a:cubicBezTo>
                      <a:pt x="118493" y="150004"/>
                      <a:pt x="124933" y="160307"/>
                      <a:pt x="130085" y="169324"/>
                    </a:cubicBezTo>
                    <a:cubicBezTo>
                      <a:pt x="132661" y="171900"/>
                      <a:pt x="135237" y="175764"/>
                      <a:pt x="136525" y="178340"/>
                    </a:cubicBezTo>
                    <a:cubicBezTo>
                      <a:pt x="133949" y="183492"/>
                      <a:pt x="131373" y="187356"/>
                      <a:pt x="128797" y="191219"/>
                    </a:cubicBezTo>
                    <a:cubicBezTo>
                      <a:pt x="126221" y="189932"/>
                      <a:pt x="123645" y="189932"/>
                      <a:pt x="121069" y="189932"/>
                    </a:cubicBezTo>
                    <a:cubicBezTo>
                      <a:pt x="109478" y="189932"/>
                      <a:pt x="99174" y="197659"/>
                      <a:pt x="95310" y="207963"/>
                    </a:cubicBezTo>
                    <a:cubicBezTo>
                      <a:pt x="52807" y="200235"/>
                      <a:pt x="19320" y="187356"/>
                      <a:pt x="1288" y="179628"/>
                    </a:cubicBezTo>
                    <a:cubicBezTo>
                      <a:pt x="0" y="174476"/>
                      <a:pt x="0" y="170612"/>
                      <a:pt x="0" y="165460"/>
                    </a:cubicBezTo>
                    <a:cubicBezTo>
                      <a:pt x="0" y="160307"/>
                      <a:pt x="0" y="156444"/>
                      <a:pt x="1288" y="151292"/>
                    </a:cubicBezTo>
                    <a:cubicBezTo>
                      <a:pt x="23183" y="147428"/>
                      <a:pt x="64399" y="142276"/>
                      <a:pt x="113341" y="139700"/>
                    </a:cubicBezTo>
                    <a:close/>
                    <a:moveTo>
                      <a:pt x="186315" y="138112"/>
                    </a:moveTo>
                    <a:cubicBezTo>
                      <a:pt x="215774" y="139408"/>
                      <a:pt x="243952" y="143298"/>
                      <a:pt x="268288" y="149780"/>
                    </a:cubicBezTo>
                    <a:cubicBezTo>
                      <a:pt x="259322" y="164042"/>
                      <a:pt x="249076" y="179599"/>
                      <a:pt x="238829" y="193860"/>
                    </a:cubicBezTo>
                    <a:cubicBezTo>
                      <a:pt x="234986" y="192564"/>
                      <a:pt x="231144" y="191267"/>
                      <a:pt x="227301" y="191267"/>
                    </a:cubicBezTo>
                    <a:cubicBezTo>
                      <a:pt x="213212" y="191267"/>
                      <a:pt x="201685" y="201639"/>
                      <a:pt x="200404" y="214604"/>
                    </a:cubicBezTo>
                    <a:cubicBezTo>
                      <a:pt x="194000" y="214604"/>
                      <a:pt x="186315" y="214604"/>
                      <a:pt x="179911" y="215900"/>
                    </a:cubicBezTo>
                    <a:cubicBezTo>
                      <a:pt x="170945" y="202936"/>
                      <a:pt x="163260" y="191267"/>
                      <a:pt x="155575" y="179599"/>
                    </a:cubicBezTo>
                    <a:cubicBezTo>
                      <a:pt x="160698" y="171820"/>
                      <a:pt x="167102" y="162745"/>
                      <a:pt x="173507" y="154966"/>
                    </a:cubicBezTo>
                    <a:cubicBezTo>
                      <a:pt x="177349" y="148483"/>
                      <a:pt x="182472" y="143298"/>
                      <a:pt x="186315" y="138112"/>
                    </a:cubicBezTo>
                    <a:close/>
                    <a:moveTo>
                      <a:pt x="168276" y="138112"/>
                    </a:moveTo>
                    <a:cubicBezTo>
                      <a:pt x="165630" y="140597"/>
                      <a:pt x="164307" y="143081"/>
                      <a:pt x="161661" y="145566"/>
                    </a:cubicBezTo>
                    <a:cubicBezTo>
                      <a:pt x="156370" y="153020"/>
                      <a:pt x="151078" y="159232"/>
                      <a:pt x="145786" y="166687"/>
                    </a:cubicBezTo>
                    <a:cubicBezTo>
                      <a:pt x="144463" y="165445"/>
                      <a:pt x="143140" y="162960"/>
                      <a:pt x="141817" y="161718"/>
                    </a:cubicBezTo>
                    <a:cubicBezTo>
                      <a:pt x="137849" y="154263"/>
                      <a:pt x="132557" y="146808"/>
                      <a:pt x="128588" y="139354"/>
                    </a:cubicBezTo>
                    <a:cubicBezTo>
                      <a:pt x="141817" y="139354"/>
                      <a:pt x="155047" y="138112"/>
                      <a:pt x="168276" y="138112"/>
                    </a:cubicBezTo>
                    <a:close/>
                    <a:moveTo>
                      <a:pt x="220028" y="103187"/>
                    </a:moveTo>
                    <a:cubicBezTo>
                      <a:pt x="223838" y="104486"/>
                      <a:pt x="227648" y="105784"/>
                      <a:pt x="232728" y="105784"/>
                    </a:cubicBezTo>
                    <a:cubicBezTo>
                      <a:pt x="233998" y="105784"/>
                      <a:pt x="236538" y="105784"/>
                      <a:pt x="237808" y="105784"/>
                    </a:cubicBezTo>
                    <a:cubicBezTo>
                      <a:pt x="241618" y="109681"/>
                      <a:pt x="244158" y="114877"/>
                      <a:pt x="246698" y="118773"/>
                    </a:cubicBezTo>
                    <a:cubicBezTo>
                      <a:pt x="249238" y="122670"/>
                      <a:pt x="253048" y="127865"/>
                      <a:pt x="255588" y="131762"/>
                    </a:cubicBezTo>
                    <a:cubicBezTo>
                      <a:pt x="237808" y="129164"/>
                      <a:pt x="218758" y="126566"/>
                      <a:pt x="198438" y="125267"/>
                    </a:cubicBezTo>
                    <a:cubicBezTo>
                      <a:pt x="206058" y="117474"/>
                      <a:pt x="213678" y="109681"/>
                      <a:pt x="220028" y="103187"/>
                    </a:cubicBezTo>
                    <a:close/>
                    <a:moveTo>
                      <a:pt x="317236" y="98425"/>
                    </a:moveTo>
                    <a:cubicBezTo>
                      <a:pt x="325173" y="115539"/>
                      <a:pt x="329142" y="133969"/>
                      <a:pt x="331788" y="152400"/>
                    </a:cubicBezTo>
                    <a:cubicBezTo>
                      <a:pt x="319882" y="148450"/>
                      <a:pt x="306652" y="144501"/>
                      <a:pt x="292100" y="140552"/>
                    </a:cubicBezTo>
                    <a:cubicBezTo>
                      <a:pt x="301361" y="124754"/>
                      <a:pt x="310621" y="111589"/>
                      <a:pt x="317236" y="98425"/>
                    </a:cubicBezTo>
                    <a:close/>
                    <a:moveTo>
                      <a:pt x="286068" y="52387"/>
                    </a:moveTo>
                    <a:cubicBezTo>
                      <a:pt x="295205" y="61448"/>
                      <a:pt x="303037" y="71803"/>
                      <a:pt x="309563" y="84748"/>
                    </a:cubicBezTo>
                    <a:cubicBezTo>
                      <a:pt x="301731" y="98986"/>
                      <a:pt x="289984" y="117108"/>
                      <a:pt x="278236" y="136525"/>
                    </a:cubicBezTo>
                    <a:cubicBezTo>
                      <a:pt x="278236" y="136525"/>
                      <a:pt x="276931" y="136525"/>
                      <a:pt x="276931" y="136525"/>
                    </a:cubicBezTo>
                    <a:cubicBezTo>
                      <a:pt x="270404" y="127464"/>
                      <a:pt x="265183" y="119697"/>
                      <a:pt x="258657" y="110636"/>
                    </a:cubicBezTo>
                    <a:cubicBezTo>
                      <a:pt x="256046" y="106753"/>
                      <a:pt x="253436" y="102870"/>
                      <a:pt x="250825" y="98986"/>
                    </a:cubicBezTo>
                    <a:cubicBezTo>
                      <a:pt x="256046" y="93809"/>
                      <a:pt x="259962" y="86042"/>
                      <a:pt x="259962" y="78275"/>
                    </a:cubicBezTo>
                    <a:cubicBezTo>
                      <a:pt x="259962" y="75687"/>
                      <a:pt x="259962" y="73098"/>
                      <a:pt x="258657" y="70509"/>
                    </a:cubicBezTo>
                    <a:cubicBezTo>
                      <a:pt x="269099" y="62742"/>
                      <a:pt x="278236" y="57564"/>
                      <a:pt x="286068" y="52387"/>
                    </a:cubicBezTo>
                    <a:close/>
                    <a:moveTo>
                      <a:pt x="73025" y="28575"/>
                    </a:moveTo>
                    <a:cubicBezTo>
                      <a:pt x="79493" y="54655"/>
                      <a:pt x="92428" y="92472"/>
                      <a:pt x="107950" y="126377"/>
                    </a:cubicBezTo>
                    <a:cubicBezTo>
                      <a:pt x="63970" y="128985"/>
                      <a:pt x="25165" y="134201"/>
                      <a:pt x="3175" y="138113"/>
                    </a:cubicBezTo>
                    <a:cubicBezTo>
                      <a:pt x="10936" y="92472"/>
                      <a:pt x="36806" y="53351"/>
                      <a:pt x="73025" y="28575"/>
                    </a:cubicBezTo>
                    <a:close/>
                    <a:moveTo>
                      <a:pt x="203200" y="4762"/>
                    </a:moveTo>
                    <a:cubicBezTo>
                      <a:pt x="230476" y="11151"/>
                      <a:pt x="255155" y="23928"/>
                      <a:pt x="274638" y="41817"/>
                    </a:cubicBezTo>
                    <a:cubicBezTo>
                      <a:pt x="268144" y="45650"/>
                      <a:pt x="260350" y="52039"/>
                      <a:pt x="251258" y="57150"/>
                    </a:cubicBezTo>
                    <a:cubicBezTo>
                      <a:pt x="246063" y="53316"/>
                      <a:pt x="239568" y="50761"/>
                      <a:pt x="233074" y="50761"/>
                    </a:cubicBezTo>
                    <a:cubicBezTo>
                      <a:pt x="230476" y="50761"/>
                      <a:pt x="227879" y="50761"/>
                      <a:pt x="225281" y="52039"/>
                    </a:cubicBezTo>
                    <a:cubicBezTo>
                      <a:pt x="216189" y="34150"/>
                      <a:pt x="208395" y="17539"/>
                      <a:pt x="203200" y="4762"/>
                    </a:cubicBezTo>
                    <a:close/>
                    <a:moveTo>
                      <a:pt x="165260" y="0"/>
                    </a:moveTo>
                    <a:cubicBezTo>
                      <a:pt x="172957" y="0"/>
                      <a:pt x="179371" y="0"/>
                      <a:pt x="185786" y="1290"/>
                    </a:cubicBezTo>
                    <a:cubicBezTo>
                      <a:pt x="192200" y="15478"/>
                      <a:pt x="199897" y="36115"/>
                      <a:pt x="212725" y="59333"/>
                    </a:cubicBezTo>
                    <a:cubicBezTo>
                      <a:pt x="207594" y="63202"/>
                      <a:pt x="205028" y="69651"/>
                      <a:pt x="205028" y="77390"/>
                    </a:cubicBezTo>
                    <a:cubicBezTo>
                      <a:pt x="205028" y="82550"/>
                      <a:pt x="206311" y="87709"/>
                      <a:pt x="208876" y="91579"/>
                    </a:cubicBezTo>
                    <a:cubicBezTo>
                      <a:pt x="198614" y="100608"/>
                      <a:pt x="188351" y="110926"/>
                      <a:pt x="179371" y="122535"/>
                    </a:cubicBezTo>
                    <a:cubicBezTo>
                      <a:pt x="178089" y="122535"/>
                      <a:pt x="178089" y="122535"/>
                      <a:pt x="176806" y="122535"/>
                    </a:cubicBezTo>
                    <a:cubicBezTo>
                      <a:pt x="158846" y="122535"/>
                      <a:pt x="139604" y="123825"/>
                      <a:pt x="122927" y="123825"/>
                    </a:cubicBezTo>
                    <a:cubicBezTo>
                      <a:pt x="104967" y="87709"/>
                      <a:pt x="92139" y="45144"/>
                      <a:pt x="85725" y="20637"/>
                    </a:cubicBezTo>
                    <a:cubicBezTo>
                      <a:pt x="108816" y="7739"/>
                      <a:pt x="135755" y="0"/>
                      <a:pt x="16526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</p:grpSp>
      <p:sp>
        <p:nvSpPr>
          <p:cNvPr id="60" name="Rectangle 5"/>
          <p:cNvSpPr/>
          <p:nvPr>
            <p:custDataLst>
              <p:tags r:id="rId22"/>
            </p:custDataLst>
          </p:nvPr>
        </p:nvSpPr>
        <p:spPr>
          <a:xfrm>
            <a:off x="9640570" y="2577465"/>
            <a:ext cx="1249680" cy="742315"/>
          </a:xfrm>
          <a:prstGeom prst="rect">
            <a:avLst/>
          </a:prstGeom>
          <a:noFill/>
          <a:ln w="9525">
            <a:noFill/>
          </a:ln>
        </p:spPr>
        <p:txBody>
          <a:bodyPr lIns="0" tIns="176000" rIns="234667" bIns="117333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品牌服务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61" name="Rectangle 5"/>
          <p:cNvSpPr/>
          <p:nvPr>
            <p:custDataLst>
              <p:tags r:id="rId23"/>
            </p:custDataLst>
          </p:nvPr>
        </p:nvSpPr>
        <p:spPr>
          <a:xfrm>
            <a:off x="4166870" y="1581150"/>
            <a:ext cx="1440180" cy="967740"/>
          </a:xfrm>
          <a:prstGeom prst="rect">
            <a:avLst/>
          </a:prstGeom>
          <a:noFill/>
          <a:ln w="9525">
            <a:noFill/>
          </a:ln>
        </p:spPr>
        <p:txBody>
          <a:bodyPr lIns="0" tIns="176000" rIns="234667" bIns="117333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包装制造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灌装填充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63" name="Rectangle 5"/>
          <p:cNvSpPr/>
          <p:nvPr>
            <p:custDataLst>
              <p:tags r:id="rId24"/>
            </p:custDataLst>
          </p:nvPr>
        </p:nvSpPr>
        <p:spPr>
          <a:xfrm>
            <a:off x="6856095" y="5568315"/>
            <a:ext cx="1440180" cy="564515"/>
          </a:xfrm>
          <a:prstGeom prst="rect">
            <a:avLst/>
          </a:prstGeom>
          <a:noFill/>
          <a:ln w="9525">
            <a:noFill/>
          </a:ln>
        </p:spPr>
        <p:txBody>
          <a:bodyPr lIns="0" tIns="176000" rIns="234667" bIns="117333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渠道服务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pic>
        <p:nvPicPr>
          <p:cNvPr id="2" name="图片 1" descr="无底色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37891" name="Shape 1"/>
          <p:cNvSpPr/>
          <p:nvPr/>
        </p:nvSpPr>
        <p:spPr>
          <a:xfrm>
            <a:off x="4600258" y="448310"/>
            <a:ext cx="1317625" cy="2365375"/>
          </a:xfrm>
          <a:custGeom>
            <a:avLst/>
            <a:gdLst/>
            <a:ahLst/>
            <a:cxnLst/>
            <a:rect l="0" t="0" r="0" b="0"/>
            <a:pathLst>
              <a:path w="1319111" h="2366032">
                <a:moveTo>
                  <a:pt x="0" y="0"/>
                </a:moveTo>
                <a:lnTo>
                  <a:pt x="1319111" y="0"/>
                </a:lnTo>
                <a:lnTo>
                  <a:pt x="1319111" y="2366033"/>
                </a:lnTo>
                <a:lnTo>
                  <a:pt x="0" y="2366033"/>
                </a:lnTo>
                <a:close/>
              </a:path>
            </a:pathLst>
          </a:custGeom>
          <a:noFill/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" name="Shape 3"/>
          <p:cNvSpPr/>
          <p:nvPr/>
        </p:nvSpPr>
        <p:spPr>
          <a:xfrm>
            <a:off x="2872740" y="764223"/>
            <a:ext cx="6629400" cy="760413"/>
          </a:xfrm>
          <a:custGeom>
            <a:avLst/>
            <a:gdLst/>
            <a:ahLst/>
            <a:cxnLst/>
            <a:rect l="l" t="t" r="r" b="b"/>
            <a:pathLst>
              <a:path w="6628983" h="761196">
                <a:moveTo>
                  <a:pt x="0" y="0"/>
                </a:moveTo>
                <a:lnTo>
                  <a:pt x="6628983" y="0"/>
                </a:lnTo>
                <a:lnTo>
                  <a:pt x="6628983" y="761196"/>
                </a:lnTo>
                <a:lnTo>
                  <a:pt x="0" y="761196"/>
                </a:lnTo>
                <a:close/>
              </a:path>
            </a:pathLst>
          </a:custGeom>
          <a:solidFill>
            <a:srgbClr val="FFFFFF">
              <a:alpha val="65000"/>
            </a:srgbClr>
          </a:solidFill>
          <a:effectLst>
            <a:outerShdw blurRad="100013" dist="47625" dir="2700000" algn="bl" rotWithShape="0">
              <a:srgbClr val="000000">
                <a:alpha val="20000"/>
              </a:srgbClr>
            </a:outerShdw>
          </a:effectLst>
        </p:spPr>
      </p:sp>
      <p:sp>
        <p:nvSpPr>
          <p:cNvPr id="6" name="Text 4"/>
          <p:cNvSpPr txBox="1"/>
          <p:nvPr/>
        </p:nvSpPr>
        <p:spPr>
          <a:xfrm>
            <a:off x="3224848" y="985996"/>
            <a:ext cx="6334125" cy="431165"/>
          </a:xfrm>
          <a:prstGeom prst="rect">
            <a:avLst/>
          </a:prstGeom>
          <a:noFill/>
          <a:effectLst>
            <a:outerShdw blurRad="38100" dist="27770" dir="3540000" algn="bl" rotWithShape="0">
              <a:srgbClr val="000000">
                <a:alpha val="19000"/>
              </a:srgbClr>
            </a:outerShdw>
          </a:effectLst>
        </p:spPr>
        <p:txBody>
          <a:bodyPr wrap="square" lIns="939" tIns="489" rIns="489" bIns="939" rtlCol="0" anchor="ctr">
            <a:spAutoFit/>
          </a:bodyPr>
          <a:lstStyle/>
          <a:p>
            <a:pPr algn="ctr" fontAlgn="auto">
              <a:buNone/>
            </a:pPr>
            <a:r>
              <a:rPr lang="zh-CN" altLang="en-US" sz="2800" b="1" noProof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造全产业链的中国饮料服务平台</a:t>
            </a:r>
            <a:endParaRPr lang="zh-CN" altLang="en-US" sz="2800" b="1" noProof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896" name="Shape 6"/>
          <p:cNvSpPr/>
          <p:nvPr/>
        </p:nvSpPr>
        <p:spPr>
          <a:xfrm>
            <a:off x="2372678" y="770255"/>
            <a:ext cx="1338262" cy="411163"/>
          </a:xfrm>
          <a:custGeom>
            <a:avLst/>
            <a:gdLst/>
            <a:ahLst/>
            <a:cxnLst/>
            <a:rect l="0" t="0" r="0" b="0"/>
            <a:pathLst>
              <a:path w="1337314" h="411299">
                <a:moveTo>
                  <a:pt x="416243" y="0"/>
                </a:moveTo>
                <a:lnTo>
                  <a:pt x="0" y="411480"/>
                </a:lnTo>
                <a:lnTo>
                  <a:pt x="921068" y="411480"/>
                </a:lnTo>
                <a:lnTo>
                  <a:pt x="1337310" y="0"/>
                </a:lnTo>
                <a:close/>
              </a:path>
            </a:pathLst>
          </a:custGeom>
          <a:solidFill>
            <a:srgbClr val="FFC000"/>
          </a:solidFill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19075" y="4048760"/>
            <a:ext cx="7073900" cy="210375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endParaRPr lang="zh-CN" altLang="en-US" sz="4800" b="1">
              <a:solidFill>
                <a:schemeClr val="bg1"/>
              </a:solidFill>
              <a:sym typeface="+mn-ea"/>
            </a:endParaRPr>
          </a:p>
        </p:txBody>
      </p:sp>
      <p:pic>
        <p:nvPicPr>
          <p:cNvPr id="119" name="图片 1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107950"/>
            <a:ext cx="2760345" cy="1315720"/>
          </a:xfrm>
          <a:prstGeom prst="rect">
            <a:avLst/>
          </a:prstGeom>
        </p:spPr>
      </p:pic>
      <p:sp>
        <p:nvSpPr>
          <p:cNvPr id="120" name="文本框 119"/>
          <p:cNvSpPr txBox="1"/>
          <p:nvPr/>
        </p:nvSpPr>
        <p:spPr>
          <a:xfrm>
            <a:off x="346075" y="2230120"/>
            <a:ext cx="577659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8000" b="1" spc="600">
                <a:gradFill>
                  <a:gsLst>
                    <a:gs pos="40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感谢观看！</a:t>
            </a:r>
            <a:endParaRPr lang="zh-CN" altLang="en-US" sz="500" b="1" spc="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矩形 120"/>
          <p:cNvSpPr/>
          <p:nvPr/>
        </p:nvSpPr>
        <p:spPr>
          <a:xfrm>
            <a:off x="9287135" y="6142843"/>
            <a:ext cx="26997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defRPr/>
            </a:pPr>
            <a:r>
              <a:rPr lang="zh-CN" altLang="en-US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刻苦 专注 感恩 永不放弃</a:t>
            </a:r>
            <a:endParaRPr lang="zh-CN" altLang="en-US" ker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5" name="组合 64"/>
          <p:cNvGrpSpPr/>
          <p:nvPr>
            <p:custDataLst>
              <p:tags r:id="rId6"/>
            </p:custDataLst>
          </p:nvPr>
        </p:nvGrpSpPr>
        <p:grpSpPr>
          <a:xfrm>
            <a:off x="6268367" y="709370"/>
            <a:ext cx="5603184" cy="5013885"/>
            <a:chOff x="4930" y="4091"/>
            <a:chExt cx="14497" cy="12977"/>
          </a:xfrm>
        </p:grpSpPr>
        <p:sp>
          <p:nvSpPr>
            <p:cNvPr id="66" name="任意多边形: 形状 9"/>
            <p:cNvSpPr/>
            <p:nvPr>
              <p:custDataLst>
                <p:tags r:id="rId7"/>
              </p:custDataLst>
            </p:nvPr>
          </p:nvSpPr>
          <p:spPr>
            <a:xfrm>
              <a:off x="4930" y="5914"/>
              <a:ext cx="9790" cy="9790"/>
            </a:xfrm>
            <a:custGeom>
              <a:avLst/>
              <a:gdLst/>
              <a:ahLst/>
              <a:cxnLst/>
              <a:rect l="0" t="0" r="0" b="0"/>
              <a:pathLst>
                <a:path w="3619501" h="3619501">
                  <a:moveTo>
                    <a:pt x="1809750" y="3619500"/>
                  </a:moveTo>
                  <a:lnTo>
                    <a:pt x="3619500" y="1809750"/>
                  </a:lnTo>
                  <a:lnTo>
                    <a:pt x="1809750" y="0"/>
                  </a:lnTo>
                  <a:lnTo>
                    <a:pt x="0" y="1809750"/>
                  </a:lnTo>
                  <a:close/>
                </a:path>
              </a:pathLst>
            </a:custGeom>
            <a:noFill/>
            <a:ln w="1016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7" name="图片 66" descr="E:/设计素材图片2/ryan-klaus-IncXhM8rKSc-unsplash.jpgryan-klaus-IncXhM8rKSc-unsplash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9"/>
            <a:srcRect l="37115" t="28146" r="29448" b="12424"/>
            <a:stretch>
              <a:fillRect/>
            </a:stretch>
          </p:blipFill>
          <p:spPr>
            <a:xfrm>
              <a:off x="6811" y="4091"/>
              <a:ext cx="12616" cy="12616"/>
            </a:xfrm>
            <a:custGeom>
              <a:avLst/>
              <a:gdLst>
                <a:gd name="connsiteX0" fmla="*/ 1434600 w 2869199"/>
                <a:gd name="connsiteY0" fmla="*/ 0 h 2869199"/>
                <a:gd name="connsiteX1" fmla="*/ 2869199 w 2869199"/>
                <a:gd name="connsiteY1" fmla="*/ 1434600 h 2869199"/>
                <a:gd name="connsiteX2" fmla="*/ 1434600 w 2869199"/>
                <a:gd name="connsiteY2" fmla="*/ 2869199 h 2869199"/>
                <a:gd name="connsiteX3" fmla="*/ 0 w 2869199"/>
                <a:gd name="connsiteY3" fmla="*/ 1434600 h 286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9199" h="2869199">
                  <a:moveTo>
                    <a:pt x="1434600" y="0"/>
                  </a:moveTo>
                  <a:lnTo>
                    <a:pt x="2869199" y="1434600"/>
                  </a:lnTo>
                  <a:lnTo>
                    <a:pt x="1434600" y="2869199"/>
                  </a:lnTo>
                  <a:lnTo>
                    <a:pt x="0" y="1434600"/>
                  </a:lnTo>
                  <a:close/>
                </a:path>
              </a:pathLst>
            </a:custGeom>
            <a:ln w="6350">
              <a:solidFill>
                <a:schemeClr val="tx1">
                  <a:lumMod val="40000"/>
                  <a:lumOff val="60000"/>
                  <a:alpha val="20000"/>
                </a:schemeClr>
              </a:solidFill>
            </a:ln>
          </p:spPr>
        </p:pic>
        <p:sp>
          <p:nvSpPr>
            <p:cNvPr id="68" name="椭圆 67"/>
            <p:cNvSpPr/>
            <p:nvPr>
              <p:custDataLst>
                <p:tags r:id="rId10"/>
              </p:custDataLst>
            </p:nvPr>
          </p:nvSpPr>
          <p:spPr>
            <a:xfrm>
              <a:off x="7431" y="16144"/>
              <a:ext cx="4787" cy="924"/>
            </a:xfrm>
            <a:prstGeom prst="ellipse">
              <a:avLst/>
            </a:prstGeom>
            <a:gradFill>
              <a:gsLst>
                <a:gs pos="0">
                  <a:schemeClr val="accent1">
                    <a:alpha val="28000"/>
                  </a:schemeClr>
                </a:gs>
                <a:gs pos="77000">
                  <a:schemeClr val="accent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9" name="文本框 68"/>
          <p:cNvSpPr txBox="1"/>
          <p:nvPr/>
        </p:nvSpPr>
        <p:spPr>
          <a:xfrm>
            <a:off x="346075" y="4175760"/>
            <a:ext cx="7073900" cy="66611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altLang="en-US" sz="3200" b="1">
                <a:solidFill>
                  <a:schemeClr val="bg1"/>
                </a:solidFill>
                <a:sym typeface="+mn-ea"/>
              </a:rPr>
              <a:t>打造全产业链的中国饮料服务平台</a:t>
            </a:r>
            <a:endParaRPr lang="zh-CN" altLang="en-US" sz="3200" b="1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组合 80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82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262681" y="144987"/>
              <a:ext cx="26996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发展路程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22" name="组合 21"/>
          <p:cNvGrpSpPr/>
          <p:nvPr/>
        </p:nvGrpSpPr>
        <p:grpSpPr>
          <a:xfrm>
            <a:off x="4754880" y="708660"/>
            <a:ext cx="2673263" cy="5967095"/>
            <a:chOff x="3643745" y="1999368"/>
            <a:chExt cx="2673519" cy="4293870"/>
          </a:xfrm>
        </p:grpSpPr>
        <p:sp>
          <p:nvSpPr>
            <p:cNvPr id="5" name="矩形 4"/>
            <p:cNvSpPr/>
            <p:nvPr/>
          </p:nvSpPr>
          <p:spPr>
            <a:xfrm>
              <a:off x="4949133" y="1999369"/>
              <a:ext cx="1368131" cy="4293854"/>
            </a:xfrm>
            <a:prstGeom prst="rect">
              <a:avLst/>
            </a:prstGeom>
            <a:solidFill>
              <a:srgbClr val="365F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           </a:t>
              </a:r>
              <a:endParaRPr lang="zh-CN" altLang="en-US" dirty="0"/>
            </a:p>
          </p:txBody>
        </p:sp>
        <p:sp>
          <p:nvSpPr>
            <p:cNvPr id="24" name="矩形 23"/>
            <p:cNvSpPr/>
            <p:nvPr/>
          </p:nvSpPr>
          <p:spPr>
            <a:xfrm>
              <a:off x="3643745" y="1999368"/>
              <a:ext cx="1732446" cy="4293870"/>
            </a:xfrm>
            <a:prstGeom prst="rect">
              <a:avLst/>
            </a:prstGeom>
            <a:solidFill>
              <a:srgbClr val="365FAA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           </a:t>
              </a:r>
              <a:endParaRPr lang="zh-CN" altLang="en-US" dirty="0"/>
            </a:p>
          </p:txBody>
        </p:sp>
      </p:grpSp>
      <p:sp>
        <p:nvSpPr>
          <p:cNvPr id="9" name="椭圆 8"/>
          <p:cNvSpPr/>
          <p:nvPr>
            <p:custDataLst>
              <p:tags r:id="rId3"/>
            </p:custDataLst>
          </p:nvPr>
        </p:nvSpPr>
        <p:spPr>
          <a:xfrm>
            <a:off x="7316763" y="1044539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>
            <p:custDataLst>
              <p:tags r:id="rId4"/>
            </p:custDataLst>
          </p:nvPr>
        </p:nvSpPr>
        <p:spPr>
          <a:xfrm>
            <a:off x="7316763" y="1782621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/>
          <p:cNvSpPr/>
          <p:nvPr>
            <p:custDataLst>
              <p:tags r:id="rId5"/>
            </p:custDataLst>
          </p:nvPr>
        </p:nvSpPr>
        <p:spPr>
          <a:xfrm>
            <a:off x="7316763" y="2520703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>
            <p:custDataLst>
              <p:tags r:id="rId6"/>
            </p:custDataLst>
          </p:nvPr>
        </p:nvSpPr>
        <p:spPr>
          <a:xfrm>
            <a:off x="7316763" y="3258785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>
            <p:custDataLst>
              <p:tags r:id="rId7"/>
            </p:custDataLst>
          </p:nvPr>
        </p:nvSpPr>
        <p:spPr>
          <a:xfrm>
            <a:off x="7316763" y="3996867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/>
          <p:cNvSpPr/>
          <p:nvPr>
            <p:custDataLst>
              <p:tags r:id="rId8"/>
            </p:custDataLst>
          </p:nvPr>
        </p:nvSpPr>
        <p:spPr>
          <a:xfrm flipH="1">
            <a:off x="7508875" y="891540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嘉美包装成功上市（002969.SZ）</a:t>
            </a:r>
            <a:endParaRPr lang="zh-CN" altLang="en-US" sz="1400" b="1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5" name="矩形 14"/>
          <p:cNvSpPr/>
          <p:nvPr>
            <p:custDataLst>
              <p:tags r:id="rId9"/>
            </p:custDataLst>
          </p:nvPr>
        </p:nvSpPr>
        <p:spPr>
          <a:xfrm>
            <a:off x="6567683" y="1023977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>
            <p:custDataLst>
              <p:tags r:id="rId10"/>
            </p:custDataLst>
          </p:nvPr>
        </p:nvSpPr>
        <p:spPr>
          <a:xfrm>
            <a:off x="6567683" y="1762059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>
            <p:custDataLst>
              <p:tags r:id="rId11"/>
            </p:custDataLst>
          </p:nvPr>
        </p:nvSpPr>
        <p:spPr>
          <a:xfrm>
            <a:off x="6567683" y="2500141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>
            <p:custDataLst>
              <p:tags r:id="rId12"/>
            </p:custDataLst>
          </p:nvPr>
        </p:nvSpPr>
        <p:spPr>
          <a:xfrm>
            <a:off x="6567683" y="3238223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>
            <p:custDataLst>
              <p:tags r:id="rId13"/>
            </p:custDataLst>
          </p:nvPr>
        </p:nvSpPr>
        <p:spPr>
          <a:xfrm>
            <a:off x="6567683" y="3976305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>
            <p:custDataLst>
              <p:tags r:id="rId14"/>
            </p:custDataLst>
          </p:nvPr>
        </p:nvSpPr>
        <p:spPr>
          <a:xfrm flipH="1">
            <a:off x="7508875" y="1610360"/>
            <a:ext cx="3960000" cy="55118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推出创新包材SBC罐。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月亮包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>
            <p:custDataLst>
              <p:tags r:id="rId15"/>
            </p:custDataLst>
          </p:nvPr>
        </p:nvSpPr>
        <p:spPr>
          <a:xfrm flipH="1">
            <a:off x="7508875" y="236283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滁州华冠引进卡特罐灌装生产线。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3" name="矩形 22"/>
          <p:cNvSpPr/>
          <p:nvPr>
            <p:custDataLst>
              <p:tags r:id="rId16"/>
            </p:custDataLst>
          </p:nvPr>
        </p:nvSpPr>
        <p:spPr>
          <a:xfrm flipH="1">
            <a:off x="7508875" y="311594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鹰潭嘉美两片罐生产线顺利投产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>
            <p:custDataLst>
              <p:tags r:id="rId17"/>
            </p:custDataLst>
          </p:nvPr>
        </p:nvSpPr>
        <p:spPr>
          <a:xfrm flipH="1">
            <a:off x="7508875" y="384238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滁州华冠康美包</a:t>
            </a: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灌装生产线</a:t>
            </a: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投产</a:t>
            </a: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椭圆 25"/>
          <p:cNvSpPr/>
          <p:nvPr/>
        </p:nvSpPr>
        <p:spPr>
          <a:xfrm>
            <a:off x="4634523" y="1038189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椭圆 26"/>
          <p:cNvSpPr/>
          <p:nvPr/>
        </p:nvSpPr>
        <p:spPr>
          <a:xfrm>
            <a:off x="4634523" y="1776271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椭圆 27"/>
          <p:cNvSpPr/>
          <p:nvPr/>
        </p:nvSpPr>
        <p:spPr>
          <a:xfrm>
            <a:off x="4634523" y="2514353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椭圆 28"/>
          <p:cNvSpPr/>
          <p:nvPr/>
        </p:nvSpPr>
        <p:spPr>
          <a:xfrm>
            <a:off x="4634523" y="3252435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椭圆 29"/>
          <p:cNvSpPr/>
          <p:nvPr/>
        </p:nvSpPr>
        <p:spPr>
          <a:xfrm>
            <a:off x="4634523" y="3990517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椭圆 30"/>
          <p:cNvSpPr/>
          <p:nvPr>
            <p:custDataLst>
              <p:tags r:id="rId18"/>
            </p:custDataLst>
          </p:nvPr>
        </p:nvSpPr>
        <p:spPr>
          <a:xfrm>
            <a:off x="7319303" y="4683513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椭圆 31"/>
          <p:cNvSpPr/>
          <p:nvPr>
            <p:custDataLst>
              <p:tags r:id="rId19"/>
            </p:custDataLst>
          </p:nvPr>
        </p:nvSpPr>
        <p:spPr>
          <a:xfrm>
            <a:off x="7319303" y="5421595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 33"/>
          <p:cNvSpPr/>
          <p:nvPr>
            <p:custDataLst>
              <p:tags r:id="rId20"/>
            </p:custDataLst>
          </p:nvPr>
        </p:nvSpPr>
        <p:spPr>
          <a:xfrm>
            <a:off x="6570223" y="4662951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>
            <p:custDataLst>
              <p:tags r:id="rId21"/>
            </p:custDataLst>
          </p:nvPr>
        </p:nvSpPr>
        <p:spPr>
          <a:xfrm>
            <a:off x="6570223" y="5401033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>
            <p:custDataLst>
              <p:tags r:id="rId22"/>
            </p:custDataLst>
          </p:nvPr>
        </p:nvSpPr>
        <p:spPr>
          <a:xfrm flipH="1">
            <a:off x="7511415" y="4596765"/>
            <a:ext cx="3960000" cy="335915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福建铭冠戴维斯淋膜机上线。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8" name="矩形 37"/>
          <p:cNvSpPr/>
          <p:nvPr>
            <p:custDataLst>
              <p:tags r:id="rId23"/>
            </p:custDataLst>
          </p:nvPr>
        </p:nvSpPr>
        <p:spPr>
          <a:xfrm flipH="1">
            <a:off x="7520305" y="5296535"/>
            <a:ext cx="3960000" cy="55118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鹰潭华冠</a:t>
            </a:r>
            <a:r>
              <a:rPr lang="en-US" altLang="zh-CN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ET</a:t>
            </a: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无菌灌装线、两片罐灌装上线</a:t>
            </a:r>
            <a:r>
              <a:rPr lang="zh-CN" altLang="en-US" sz="1400" b="1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成立越南海外办事处</a:t>
            </a:r>
            <a:r>
              <a:rPr lang="zh-CN" altLang="en-US" sz="1400" b="1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lang="zh-CN" altLang="en-US" sz="1400" b="1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4637063" y="4677163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椭圆 40"/>
          <p:cNvSpPr/>
          <p:nvPr/>
        </p:nvSpPr>
        <p:spPr>
          <a:xfrm>
            <a:off x="4637063" y="5415245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/>
          <p:cNvSpPr/>
          <p:nvPr/>
        </p:nvSpPr>
        <p:spPr>
          <a:xfrm>
            <a:off x="4637063" y="6153327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矩形 54"/>
          <p:cNvSpPr/>
          <p:nvPr>
            <p:custDataLst>
              <p:tags r:id="rId24"/>
            </p:custDataLst>
          </p:nvPr>
        </p:nvSpPr>
        <p:spPr>
          <a:xfrm flipH="1">
            <a:off x="852805" y="885190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河北嘉美成立，开始了三片罐生产业务。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矩形 55"/>
          <p:cNvSpPr/>
          <p:nvPr>
            <p:custDataLst>
              <p:tags r:id="rId25"/>
            </p:custDataLst>
          </p:nvPr>
        </p:nvSpPr>
        <p:spPr>
          <a:xfrm flipH="1">
            <a:off x="852805" y="1604010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母公司中包CFP在韩国上市。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57" name="矩形 56"/>
          <p:cNvSpPr/>
          <p:nvPr>
            <p:custDataLst>
              <p:tags r:id="rId26"/>
            </p:custDataLst>
          </p:nvPr>
        </p:nvSpPr>
        <p:spPr>
          <a:xfrm flipH="1">
            <a:off x="852805" y="235648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成立河南华冠，产业链扩展到灌装服务。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矩形 57"/>
          <p:cNvSpPr/>
          <p:nvPr>
            <p:custDataLst>
              <p:tags r:id="rId27"/>
            </p:custDataLst>
          </p:nvPr>
        </p:nvSpPr>
        <p:spPr>
          <a:xfrm flipH="1">
            <a:off x="852805" y="310959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成立滁州嘉美。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9" name="矩形 58"/>
          <p:cNvSpPr/>
          <p:nvPr>
            <p:custDataLst>
              <p:tags r:id="rId28"/>
            </p:custDataLst>
          </p:nvPr>
        </p:nvSpPr>
        <p:spPr>
          <a:xfrm flipH="1">
            <a:off x="-91440" y="3554730"/>
            <a:ext cx="4791710" cy="108966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年销售收入突破20亿元。</a:t>
            </a:r>
            <a:endParaRPr lang="zh-CN" altLang="en-US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收购福建铭冠、北海金盟，迈入无菌纸包、两片罐业务市场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>
            <p:custDataLst>
              <p:tags r:id="rId29"/>
            </p:custDataLst>
          </p:nvPr>
        </p:nvSpPr>
        <p:spPr>
          <a:xfrm flipH="1">
            <a:off x="855345" y="4537075"/>
            <a:ext cx="3960000" cy="44323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全国第一个Bottle can在滁州嘉美诞生。</a:t>
            </a:r>
            <a:endParaRPr lang="zh-CN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61" name="矩形 60"/>
          <p:cNvSpPr/>
          <p:nvPr>
            <p:custDataLst>
              <p:tags r:id="rId30"/>
            </p:custDataLst>
          </p:nvPr>
        </p:nvSpPr>
        <p:spPr>
          <a:xfrm flipH="1">
            <a:off x="855345" y="5245735"/>
            <a:ext cx="3960000" cy="551180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285750" marR="0" lvl="0" indent="-28575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BC灌装生产线投产。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lvl="0" indent="-28575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推出ABC罐精酿啤酒。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矩形 61"/>
          <p:cNvSpPr/>
          <p:nvPr>
            <p:custDataLst>
              <p:tags r:id="rId31"/>
            </p:custDataLst>
          </p:nvPr>
        </p:nvSpPr>
        <p:spPr>
          <a:xfrm flipH="1">
            <a:off x="855345" y="6078855"/>
            <a:ext cx="3960000" cy="335915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TBC罐问世。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3" name="矩形 62"/>
          <p:cNvSpPr/>
          <p:nvPr>
            <p:custDataLst>
              <p:tags r:id="rId32"/>
            </p:custDataLst>
          </p:nvPr>
        </p:nvSpPr>
        <p:spPr>
          <a:xfrm>
            <a:off x="4792223" y="1017627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4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 63"/>
          <p:cNvSpPr/>
          <p:nvPr>
            <p:custDataLst>
              <p:tags r:id="rId33"/>
            </p:custDataLst>
          </p:nvPr>
        </p:nvSpPr>
        <p:spPr>
          <a:xfrm>
            <a:off x="4792223" y="1755709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9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>
            <p:custDataLst>
              <p:tags r:id="rId34"/>
            </p:custDataLst>
          </p:nvPr>
        </p:nvSpPr>
        <p:spPr>
          <a:xfrm>
            <a:off x="4792223" y="2493791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0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矩形 65"/>
          <p:cNvSpPr/>
          <p:nvPr>
            <p:custDataLst>
              <p:tags r:id="rId35"/>
            </p:custDataLst>
          </p:nvPr>
        </p:nvSpPr>
        <p:spPr>
          <a:xfrm>
            <a:off x="4792223" y="3231873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1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矩形 66"/>
          <p:cNvSpPr/>
          <p:nvPr>
            <p:custDataLst>
              <p:tags r:id="rId36"/>
            </p:custDataLst>
          </p:nvPr>
        </p:nvSpPr>
        <p:spPr>
          <a:xfrm>
            <a:off x="4792223" y="3969955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 67"/>
          <p:cNvSpPr/>
          <p:nvPr>
            <p:custDataLst>
              <p:tags r:id="rId37"/>
            </p:custDataLst>
          </p:nvPr>
        </p:nvSpPr>
        <p:spPr>
          <a:xfrm>
            <a:off x="4794763" y="4656601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>
            <p:custDataLst>
              <p:tags r:id="rId38"/>
            </p:custDataLst>
          </p:nvPr>
        </p:nvSpPr>
        <p:spPr>
          <a:xfrm>
            <a:off x="4794763" y="5394683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/>
          <p:cNvSpPr/>
          <p:nvPr>
            <p:custDataLst>
              <p:tags r:id="rId39"/>
            </p:custDataLst>
          </p:nvPr>
        </p:nvSpPr>
        <p:spPr>
          <a:xfrm>
            <a:off x="4794763" y="6132765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椭圆 1"/>
          <p:cNvSpPr/>
          <p:nvPr>
            <p:custDataLst>
              <p:tags r:id="rId40"/>
            </p:custDataLst>
          </p:nvPr>
        </p:nvSpPr>
        <p:spPr>
          <a:xfrm>
            <a:off x="7338988" y="6151210"/>
            <a:ext cx="216024" cy="216024"/>
          </a:xfrm>
          <a:prstGeom prst="ellipse">
            <a:avLst/>
          </a:prstGeom>
          <a:solidFill>
            <a:srgbClr val="365FA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>
            <p:custDataLst>
              <p:tags r:id="rId41"/>
            </p:custDataLst>
          </p:nvPr>
        </p:nvSpPr>
        <p:spPr>
          <a:xfrm>
            <a:off x="6589908" y="6130648"/>
            <a:ext cx="948268" cy="325755"/>
          </a:xfrm>
          <a:prstGeom prst="rect">
            <a:avLst/>
          </a:prstGeom>
        </p:spPr>
        <p:txBody>
          <a:bodyPr wrap="square" lIns="121893" tIns="60946" rIns="121893" bIns="60946">
            <a:spAutoFit/>
          </a:bodyPr>
          <a:lstStyle/>
          <a:p>
            <a:pPr algn="just" defTabSz="121920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>
            <p:custDataLst>
              <p:tags r:id="rId42"/>
            </p:custDataLst>
          </p:nvPr>
        </p:nvSpPr>
        <p:spPr>
          <a:xfrm flipH="1">
            <a:off x="7522845" y="6085840"/>
            <a:ext cx="3960000" cy="335915"/>
          </a:xfrm>
          <a:prstGeom prst="rect">
            <a:avLst/>
          </a:prstGeom>
          <a:effectLst/>
        </p:spPr>
        <p:txBody>
          <a:bodyPr wrap="square" lIns="121893" tIns="60946" rIns="121893" bIns="6094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滁州华冠</a:t>
            </a:r>
            <a:r>
              <a:rPr lang="en-US" altLang="zh-CN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ET</a:t>
            </a:r>
            <a:r>
              <a:rPr lang="zh-CN" altLang="en-US" sz="1400" b="1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厂无菌灌装线投产</a:t>
            </a:r>
            <a:r>
              <a:rPr lang="zh-CN" altLang="en-US" sz="1400" b="1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lang="zh-CN" altLang="en-US" sz="1400" b="1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组合 80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82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产业布局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12" name="江西"/>
          <p:cNvSpPr/>
          <p:nvPr/>
        </p:nvSpPr>
        <p:spPr bwMode="auto">
          <a:xfrm>
            <a:off x="6803390" y="4509770"/>
            <a:ext cx="757555" cy="1010285"/>
          </a:xfrm>
          <a:custGeom>
            <a:avLst/>
            <a:gdLst>
              <a:gd name="T0" fmla="*/ 1131 w 1831"/>
              <a:gd name="T1" fmla="*/ 123 h 2473"/>
              <a:gd name="T2" fmla="*/ 1175 w 1831"/>
              <a:gd name="T3" fmla="*/ 214 h 2473"/>
              <a:gd name="T4" fmla="*/ 1267 w 1831"/>
              <a:gd name="T5" fmla="*/ 107 h 2473"/>
              <a:gd name="T6" fmla="*/ 1330 w 1831"/>
              <a:gd name="T7" fmla="*/ 82 h 2473"/>
              <a:gd name="T8" fmla="*/ 1477 w 1831"/>
              <a:gd name="T9" fmla="*/ 183 h 2473"/>
              <a:gd name="T10" fmla="*/ 1597 w 1831"/>
              <a:gd name="T11" fmla="*/ 186 h 2473"/>
              <a:gd name="T12" fmla="*/ 1697 w 1831"/>
              <a:gd name="T13" fmla="*/ 261 h 2473"/>
              <a:gd name="T14" fmla="*/ 1637 w 1831"/>
              <a:gd name="T15" fmla="*/ 341 h 2473"/>
              <a:gd name="T16" fmla="*/ 1714 w 1831"/>
              <a:gd name="T17" fmla="*/ 445 h 2473"/>
              <a:gd name="T18" fmla="*/ 1786 w 1831"/>
              <a:gd name="T19" fmla="*/ 527 h 2473"/>
              <a:gd name="T20" fmla="*/ 1828 w 1831"/>
              <a:gd name="T21" fmla="*/ 689 h 2473"/>
              <a:gd name="T22" fmla="*/ 1799 w 1831"/>
              <a:gd name="T23" fmla="*/ 789 h 2473"/>
              <a:gd name="T24" fmla="*/ 1703 w 1831"/>
              <a:gd name="T25" fmla="*/ 874 h 2473"/>
              <a:gd name="T26" fmla="*/ 1591 w 1831"/>
              <a:gd name="T27" fmla="*/ 940 h 2473"/>
              <a:gd name="T28" fmla="*/ 1483 w 1831"/>
              <a:gd name="T29" fmla="*/ 899 h 2473"/>
              <a:gd name="T30" fmla="*/ 1354 w 1831"/>
              <a:gd name="T31" fmla="*/ 1025 h 2473"/>
              <a:gd name="T32" fmla="*/ 1310 w 1831"/>
              <a:gd name="T33" fmla="*/ 1081 h 2473"/>
              <a:gd name="T34" fmla="*/ 1370 w 1831"/>
              <a:gd name="T35" fmla="*/ 1202 h 2473"/>
              <a:gd name="T36" fmla="*/ 1231 w 1831"/>
              <a:gd name="T37" fmla="*/ 1332 h 2473"/>
              <a:gd name="T38" fmla="*/ 1144 w 1831"/>
              <a:gd name="T39" fmla="*/ 1483 h 2473"/>
              <a:gd name="T40" fmla="*/ 1174 w 1831"/>
              <a:gd name="T41" fmla="*/ 1604 h 2473"/>
              <a:gd name="T42" fmla="*/ 1111 w 1831"/>
              <a:gd name="T43" fmla="*/ 1693 h 2473"/>
              <a:gd name="T44" fmla="*/ 1074 w 1831"/>
              <a:gd name="T45" fmla="*/ 1811 h 2473"/>
              <a:gd name="T46" fmla="*/ 1012 w 1831"/>
              <a:gd name="T47" fmla="*/ 1899 h 2473"/>
              <a:gd name="T48" fmla="*/ 978 w 1831"/>
              <a:gd name="T49" fmla="*/ 2081 h 2473"/>
              <a:gd name="T50" fmla="*/ 948 w 1831"/>
              <a:gd name="T51" fmla="*/ 2209 h 2473"/>
              <a:gd name="T52" fmla="*/ 924 w 1831"/>
              <a:gd name="T53" fmla="*/ 2272 h 2473"/>
              <a:gd name="T54" fmla="*/ 926 w 1831"/>
              <a:gd name="T55" fmla="*/ 2401 h 2473"/>
              <a:gd name="T56" fmla="*/ 817 w 1831"/>
              <a:gd name="T57" fmla="*/ 2366 h 2473"/>
              <a:gd name="T58" fmla="*/ 678 w 1831"/>
              <a:gd name="T59" fmla="*/ 2378 h 2473"/>
              <a:gd name="T60" fmla="*/ 557 w 1831"/>
              <a:gd name="T61" fmla="*/ 2430 h 2473"/>
              <a:gd name="T62" fmla="*/ 464 w 1831"/>
              <a:gd name="T63" fmla="*/ 2441 h 2473"/>
              <a:gd name="T64" fmla="*/ 340 w 1831"/>
              <a:gd name="T65" fmla="*/ 2433 h 2473"/>
              <a:gd name="T66" fmla="*/ 346 w 1831"/>
              <a:gd name="T67" fmla="*/ 2365 h 2473"/>
              <a:gd name="T68" fmla="*/ 485 w 1831"/>
              <a:gd name="T69" fmla="*/ 2195 h 2473"/>
              <a:gd name="T70" fmla="*/ 489 w 1831"/>
              <a:gd name="T71" fmla="*/ 2120 h 2473"/>
              <a:gd name="T72" fmla="*/ 342 w 1831"/>
              <a:gd name="T73" fmla="*/ 2122 h 2473"/>
              <a:gd name="T74" fmla="*/ 217 w 1831"/>
              <a:gd name="T75" fmla="*/ 2094 h 2473"/>
              <a:gd name="T76" fmla="*/ 170 w 1831"/>
              <a:gd name="T77" fmla="*/ 1966 h 2473"/>
              <a:gd name="T78" fmla="*/ 256 w 1831"/>
              <a:gd name="T79" fmla="*/ 1772 h 2473"/>
              <a:gd name="T80" fmla="*/ 180 w 1831"/>
              <a:gd name="T81" fmla="*/ 1733 h 2473"/>
              <a:gd name="T82" fmla="*/ 220 w 1831"/>
              <a:gd name="T83" fmla="*/ 1589 h 2473"/>
              <a:gd name="T84" fmla="*/ 123 w 1831"/>
              <a:gd name="T85" fmla="*/ 1470 h 2473"/>
              <a:gd name="T86" fmla="*/ 108 w 1831"/>
              <a:gd name="T87" fmla="*/ 1296 h 2473"/>
              <a:gd name="T88" fmla="*/ 35 w 1831"/>
              <a:gd name="T89" fmla="*/ 1249 h 2473"/>
              <a:gd name="T90" fmla="*/ 8 w 1831"/>
              <a:gd name="T91" fmla="*/ 1201 h 2473"/>
              <a:gd name="T92" fmla="*/ 23 w 1831"/>
              <a:gd name="T93" fmla="*/ 1103 h 2473"/>
              <a:gd name="T94" fmla="*/ 145 w 1831"/>
              <a:gd name="T95" fmla="*/ 949 h 2473"/>
              <a:gd name="T96" fmla="*/ 189 w 1831"/>
              <a:gd name="T97" fmla="*/ 871 h 2473"/>
              <a:gd name="T98" fmla="*/ 218 w 1831"/>
              <a:gd name="T99" fmla="*/ 758 h 2473"/>
              <a:gd name="T100" fmla="*/ 193 w 1831"/>
              <a:gd name="T101" fmla="*/ 671 h 2473"/>
              <a:gd name="T102" fmla="*/ 139 w 1831"/>
              <a:gd name="T103" fmla="*/ 551 h 2473"/>
              <a:gd name="T104" fmla="*/ 189 w 1831"/>
              <a:gd name="T105" fmla="*/ 429 h 2473"/>
              <a:gd name="T106" fmla="*/ 313 w 1831"/>
              <a:gd name="T107" fmla="*/ 376 h 2473"/>
              <a:gd name="T108" fmla="*/ 473 w 1831"/>
              <a:gd name="T109" fmla="*/ 318 h 2473"/>
              <a:gd name="T110" fmla="*/ 486 w 1831"/>
              <a:gd name="T111" fmla="*/ 284 h 2473"/>
              <a:gd name="T112" fmla="*/ 556 w 1831"/>
              <a:gd name="T113" fmla="*/ 260 h 2473"/>
              <a:gd name="T114" fmla="*/ 611 w 1831"/>
              <a:gd name="T115" fmla="*/ 219 h 2473"/>
              <a:gd name="T116" fmla="*/ 759 w 1831"/>
              <a:gd name="T117" fmla="*/ 124 h 2473"/>
              <a:gd name="T118" fmla="*/ 914 w 1831"/>
              <a:gd name="T119" fmla="*/ 123 h 2473"/>
              <a:gd name="T120" fmla="*/ 1065 w 1831"/>
              <a:gd name="T121" fmla="*/ 39 h 2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31" h="2473">
                <a:moveTo>
                  <a:pt x="1143" y="19"/>
                </a:moveTo>
                <a:lnTo>
                  <a:pt x="1149" y="27"/>
                </a:lnTo>
                <a:lnTo>
                  <a:pt x="1157" y="34"/>
                </a:lnTo>
                <a:lnTo>
                  <a:pt x="1162" y="36"/>
                </a:lnTo>
                <a:lnTo>
                  <a:pt x="1168" y="39"/>
                </a:lnTo>
                <a:lnTo>
                  <a:pt x="1174" y="39"/>
                </a:lnTo>
                <a:lnTo>
                  <a:pt x="1179" y="39"/>
                </a:lnTo>
                <a:lnTo>
                  <a:pt x="1182" y="40"/>
                </a:lnTo>
                <a:lnTo>
                  <a:pt x="1186" y="41"/>
                </a:lnTo>
                <a:lnTo>
                  <a:pt x="1188" y="44"/>
                </a:lnTo>
                <a:lnTo>
                  <a:pt x="1190" y="47"/>
                </a:lnTo>
                <a:lnTo>
                  <a:pt x="1191" y="57"/>
                </a:lnTo>
                <a:lnTo>
                  <a:pt x="1190" y="66"/>
                </a:lnTo>
                <a:lnTo>
                  <a:pt x="1186" y="76"/>
                </a:lnTo>
                <a:lnTo>
                  <a:pt x="1181" y="84"/>
                </a:lnTo>
                <a:lnTo>
                  <a:pt x="1174" y="92"/>
                </a:lnTo>
                <a:lnTo>
                  <a:pt x="1167" y="101"/>
                </a:lnTo>
                <a:lnTo>
                  <a:pt x="1159" y="108"/>
                </a:lnTo>
                <a:lnTo>
                  <a:pt x="1150" y="114"/>
                </a:lnTo>
                <a:lnTo>
                  <a:pt x="1141" y="118"/>
                </a:lnTo>
                <a:lnTo>
                  <a:pt x="1131" y="123"/>
                </a:lnTo>
                <a:lnTo>
                  <a:pt x="1128" y="127"/>
                </a:lnTo>
                <a:lnTo>
                  <a:pt x="1123" y="130"/>
                </a:lnTo>
                <a:lnTo>
                  <a:pt x="1121" y="135"/>
                </a:lnTo>
                <a:lnTo>
                  <a:pt x="1117" y="140"/>
                </a:lnTo>
                <a:lnTo>
                  <a:pt x="1113" y="152"/>
                </a:lnTo>
                <a:lnTo>
                  <a:pt x="1109" y="165"/>
                </a:lnTo>
                <a:lnTo>
                  <a:pt x="1105" y="177"/>
                </a:lnTo>
                <a:lnTo>
                  <a:pt x="1103" y="185"/>
                </a:lnTo>
                <a:lnTo>
                  <a:pt x="1103" y="187"/>
                </a:lnTo>
                <a:lnTo>
                  <a:pt x="1103" y="190"/>
                </a:lnTo>
                <a:lnTo>
                  <a:pt x="1104" y="193"/>
                </a:lnTo>
                <a:lnTo>
                  <a:pt x="1105" y="196"/>
                </a:lnTo>
                <a:lnTo>
                  <a:pt x="1111" y="202"/>
                </a:lnTo>
                <a:lnTo>
                  <a:pt x="1119" y="208"/>
                </a:lnTo>
                <a:lnTo>
                  <a:pt x="1124" y="211"/>
                </a:lnTo>
                <a:lnTo>
                  <a:pt x="1130" y="212"/>
                </a:lnTo>
                <a:lnTo>
                  <a:pt x="1137" y="214"/>
                </a:lnTo>
                <a:lnTo>
                  <a:pt x="1144" y="215"/>
                </a:lnTo>
                <a:lnTo>
                  <a:pt x="1157" y="216"/>
                </a:lnTo>
                <a:lnTo>
                  <a:pt x="1168" y="215"/>
                </a:lnTo>
                <a:lnTo>
                  <a:pt x="1175" y="214"/>
                </a:lnTo>
                <a:lnTo>
                  <a:pt x="1185" y="210"/>
                </a:lnTo>
                <a:lnTo>
                  <a:pt x="1192" y="205"/>
                </a:lnTo>
                <a:lnTo>
                  <a:pt x="1200" y="197"/>
                </a:lnTo>
                <a:lnTo>
                  <a:pt x="1209" y="186"/>
                </a:lnTo>
                <a:lnTo>
                  <a:pt x="1220" y="175"/>
                </a:lnTo>
                <a:lnTo>
                  <a:pt x="1226" y="170"/>
                </a:lnTo>
                <a:lnTo>
                  <a:pt x="1234" y="166"/>
                </a:lnTo>
                <a:lnTo>
                  <a:pt x="1239" y="162"/>
                </a:lnTo>
                <a:lnTo>
                  <a:pt x="1245" y="160"/>
                </a:lnTo>
                <a:lnTo>
                  <a:pt x="1255" y="158"/>
                </a:lnTo>
                <a:lnTo>
                  <a:pt x="1262" y="154"/>
                </a:lnTo>
                <a:lnTo>
                  <a:pt x="1266" y="152"/>
                </a:lnTo>
                <a:lnTo>
                  <a:pt x="1268" y="148"/>
                </a:lnTo>
                <a:lnTo>
                  <a:pt x="1270" y="145"/>
                </a:lnTo>
                <a:lnTo>
                  <a:pt x="1273" y="140"/>
                </a:lnTo>
                <a:lnTo>
                  <a:pt x="1274" y="130"/>
                </a:lnTo>
                <a:lnTo>
                  <a:pt x="1274" y="120"/>
                </a:lnTo>
                <a:lnTo>
                  <a:pt x="1274" y="116"/>
                </a:lnTo>
                <a:lnTo>
                  <a:pt x="1272" y="113"/>
                </a:lnTo>
                <a:lnTo>
                  <a:pt x="1269" y="109"/>
                </a:lnTo>
                <a:lnTo>
                  <a:pt x="1267" y="107"/>
                </a:lnTo>
                <a:lnTo>
                  <a:pt x="1263" y="105"/>
                </a:lnTo>
                <a:lnTo>
                  <a:pt x="1261" y="102"/>
                </a:lnTo>
                <a:lnTo>
                  <a:pt x="1260" y="99"/>
                </a:lnTo>
                <a:lnTo>
                  <a:pt x="1259" y="96"/>
                </a:lnTo>
                <a:lnTo>
                  <a:pt x="1259" y="92"/>
                </a:lnTo>
                <a:lnTo>
                  <a:pt x="1259" y="89"/>
                </a:lnTo>
                <a:lnTo>
                  <a:pt x="1261" y="85"/>
                </a:lnTo>
                <a:lnTo>
                  <a:pt x="1262" y="83"/>
                </a:lnTo>
                <a:lnTo>
                  <a:pt x="1275" y="66"/>
                </a:lnTo>
                <a:lnTo>
                  <a:pt x="1288" y="53"/>
                </a:lnTo>
                <a:lnTo>
                  <a:pt x="1292" y="51"/>
                </a:lnTo>
                <a:lnTo>
                  <a:pt x="1295" y="50"/>
                </a:lnTo>
                <a:lnTo>
                  <a:pt x="1300" y="50"/>
                </a:lnTo>
                <a:lnTo>
                  <a:pt x="1304" y="50"/>
                </a:lnTo>
                <a:lnTo>
                  <a:pt x="1308" y="51"/>
                </a:lnTo>
                <a:lnTo>
                  <a:pt x="1312" y="52"/>
                </a:lnTo>
                <a:lnTo>
                  <a:pt x="1316" y="55"/>
                </a:lnTo>
                <a:lnTo>
                  <a:pt x="1319" y="60"/>
                </a:lnTo>
                <a:lnTo>
                  <a:pt x="1324" y="70"/>
                </a:lnTo>
                <a:lnTo>
                  <a:pt x="1327" y="78"/>
                </a:lnTo>
                <a:lnTo>
                  <a:pt x="1330" y="82"/>
                </a:lnTo>
                <a:lnTo>
                  <a:pt x="1332" y="85"/>
                </a:lnTo>
                <a:lnTo>
                  <a:pt x="1337" y="86"/>
                </a:lnTo>
                <a:lnTo>
                  <a:pt x="1342" y="88"/>
                </a:lnTo>
                <a:lnTo>
                  <a:pt x="1355" y="88"/>
                </a:lnTo>
                <a:lnTo>
                  <a:pt x="1365" y="88"/>
                </a:lnTo>
                <a:lnTo>
                  <a:pt x="1371" y="89"/>
                </a:lnTo>
                <a:lnTo>
                  <a:pt x="1376" y="91"/>
                </a:lnTo>
                <a:lnTo>
                  <a:pt x="1381" y="95"/>
                </a:lnTo>
                <a:lnTo>
                  <a:pt x="1386" y="101"/>
                </a:lnTo>
                <a:lnTo>
                  <a:pt x="1396" y="115"/>
                </a:lnTo>
                <a:lnTo>
                  <a:pt x="1408" y="134"/>
                </a:lnTo>
                <a:lnTo>
                  <a:pt x="1420" y="153"/>
                </a:lnTo>
                <a:lnTo>
                  <a:pt x="1428" y="168"/>
                </a:lnTo>
                <a:lnTo>
                  <a:pt x="1434" y="180"/>
                </a:lnTo>
                <a:lnTo>
                  <a:pt x="1442" y="187"/>
                </a:lnTo>
                <a:lnTo>
                  <a:pt x="1444" y="190"/>
                </a:lnTo>
                <a:lnTo>
                  <a:pt x="1449" y="190"/>
                </a:lnTo>
                <a:lnTo>
                  <a:pt x="1453" y="190"/>
                </a:lnTo>
                <a:lnTo>
                  <a:pt x="1458" y="189"/>
                </a:lnTo>
                <a:lnTo>
                  <a:pt x="1469" y="184"/>
                </a:lnTo>
                <a:lnTo>
                  <a:pt x="1477" y="183"/>
                </a:lnTo>
                <a:lnTo>
                  <a:pt x="1480" y="183"/>
                </a:lnTo>
                <a:lnTo>
                  <a:pt x="1483" y="184"/>
                </a:lnTo>
                <a:lnTo>
                  <a:pt x="1486" y="186"/>
                </a:lnTo>
                <a:lnTo>
                  <a:pt x="1488" y="190"/>
                </a:lnTo>
                <a:lnTo>
                  <a:pt x="1491" y="195"/>
                </a:lnTo>
                <a:lnTo>
                  <a:pt x="1494" y="197"/>
                </a:lnTo>
                <a:lnTo>
                  <a:pt x="1497" y="199"/>
                </a:lnTo>
                <a:lnTo>
                  <a:pt x="1501" y="199"/>
                </a:lnTo>
                <a:lnTo>
                  <a:pt x="1508" y="199"/>
                </a:lnTo>
                <a:lnTo>
                  <a:pt x="1515" y="197"/>
                </a:lnTo>
                <a:lnTo>
                  <a:pt x="1524" y="195"/>
                </a:lnTo>
                <a:lnTo>
                  <a:pt x="1533" y="193"/>
                </a:lnTo>
                <a:lnTo>
                  <a:pt x="1543" y="193"/>
                </a:lnTo>
                <a:lnTo>
                  <a:pt x="1552" y="196"/>
                </a:lnTo>
                <a:lnTo>
                  <a:pt x="1557" y="197"/>
                </a:lnTo>
                <a:lnTo>
                  <a:pt x="1562" y="197"/>
                </a:lnTo>
                <a:lnTo>
                  <a:pt x="1566" y="197"/>
                </a:lnTo>
                <a:lnTo>
                  <a:pt x="1571" y="197"/>
                </a:lnTo>
                <a:lnTo>
                  <a:pt x="1579" y="195"/>
                </a:lnTo>
                <a:lnTo>
                  <a:pt x="1588" y="190"/>
                </a:lnTo>
                <a:lnTo>
                  <a:pt x="1597" y="186"/>
                </a:lnTo>
                <a:lnTo>
                  <a:pt x="1608" y="183"/>
                </a:lnTo>
                <a:lnTo>
                  <a:pt x="1614" y="183"/>
                </a:lnTo>
                <a:lnTo>
                  <a:pt x="1621" y="183"/>
                </a:lnTo>
                <a:lnTo>
                  <a:pt x="1629" y="184"/>
                </a:lnTo>
                <a:lnTo>
                  <a:pt x="1637" y="186"/>
                </a:lnTo>
                <a:lnTo>
                  <a:pt x="1651" y="192"/>
                </a:lnTo>
                <a:lnTo>
                  <a:pt x="1661" y="197"/>
                </a:lnTo>
                <a:lnTo>
                  <a:pt x="1665" y="199"/>
                </a:lnTo>
                <a:lnTo>
                  <a:pt x="1667" y="203"/>
                </a:lnTo>
                <a:lnTo>
                  <a:pt x="1670" y="206"/>
                </a:lnTo>
                <a:lnTo>
                  <a:pt x="1670" y="212"/>
                </a:lnTo>
                <a:lnTo>
                  <a:pt x="1671" y="223"/>
                </a:lnTo>
                <a:lnTo>
                  <a:pt x="1672" y="231"/>
                </a:lnTo>
                <a:lnTo>
                  <a:pt x="1673" y="235"/>
                </a:lnTo>
                <a:lnTo>
                  <a:pt x="1676" y="238"/>
                </a:lnTo>
                <a:lnTo>
                  <a:pt x="1679" y="241"/>
                </a:lnTo>
                <a:lnTo>
                  <a:pt x="1684" y="243"/>
                </a:lnTo>
                <a:lnTo>
                  <a:pt x="1694" y="244"/>
                </a:lnTo>
                <a:lnTo>
                  <a:pt x="1698" y="246"/>
                </a:lnTo>
                <a:lnTo>
                  <a:pt x="1700" y="250"/>
                </a:lnTo>
                <a:lnTo>
                  <a:pt x="1697" y="261"/>
                </a:lnTo>
                <a:lnTo>
                  <a:pt x="1696" y="271"/>
                </a:lnTo>
                <a:lnTo>
                  <a:pt x="1692" y="280"/>
                </a:lnTo>
                <a:lnTo>
                  <a:pt x="1690" y="287"/>
                </a:lnTo>
                <a:lnTo>
                  <a:pt x="1686" y="292"/>
                </a:lnTo>
                <a:lnTo>
                  <a:pt x="1683" y="296"/>
                </a:lnTo>
                <a:lnTo>
                  <a:pt x="1679" y="298"/>
                </a:lnTo>
                <a:lnTo>
                  <a:pt x="1671" y="301"/>
                </a:lnTo>
                <a:lnTo>
                  <a:pt x="1661" y="303"/>
                </a:lnTo>
                <a:lnTo>
                  <a:pt x="1657" y="304"/>
                </a:lnTo>
                <a:lnTo>
                  <a:pt x="1653" y="305"/>
                </a:lnTo>
                <a:lnTo>
                  <a:pt x="1650" y="307"/>
                </a:lnTo>
                <a:lnTo>
                  <a:pt x="1647" y="310"/>
                </a:lnTo>
                <a:lnTo>
                  <a:pt x="1646" y="312"/>
                </a:lnTo>
                <a:lnTo>
                  <a:pt x="1645" y="316"/>
                </a:lnTo>
                <a:lnTo>
                  <a:pt x="1645" y="318"/>
                </a:lnTo>
                <a:lnTo>
                  <a:pt x="1645" y="322"/>
                </a:lnTo>
                <a:lnTo>
                  <a:pt x="1646" y="326"/>
                </a:lnTo>
                <a:lnTo>
                  <a:pt x="1646" y="330"/>
                </a:lnTo>
                <a:lnTo>
                  <a:pt x="1644" y="334"/>
                </a:lnTo>
                <a:lnTo>
                  <a:pt x="1639" y="337"/>
                </a:lnTo>
                <a:lnTo>
                  <a:pt x="1637" y="341"/>
                </a:lnTo>
                <a:lnTo>
                  <a:pt x="1635" y="347"/>
                </a:lnTo>
                <a:lnTo>
                  <a:pt x="1634" y="354"/>
                </a:lnTo>
                <a:lnTo>
                  <a:pt x="1634" y="362"/>
                </a:lnTo>
                <a:lnTo>
                  <a:pt x="1635" y="372"/>
                </a:lnTo>
                <a:lnTo>
                  <a:pt x="1639" y="381"/>
                </a:lnTo>
                <a:lnTo>
                  <a:pt x="1642" y="391"/>
                </a:lnTo>
                <a:lnTo>
                  <a:pt x="1647" y="400"/>
                </a:lnTo>
                <a:lnTo>
                  <a:pt x="1653" y="408"/>
                </a:lnTo>
                <a:lnTo>
                  <a:pt x="1659" y="416"/>
                </a:lnTo>
                <a:lnTo>
                  <a:pt x="1665" y="420"/>
                </a:lnTo>
                <a:lnTo>
                  <a:pt x="1671" y="425"/>
                </a:lnTo>
                <a:lnTo>
                  <a:pt x="1677" y="427"/>
                </a:lnTo>
                <a:lnTo>
                  <a:pt x="1683" y="430"/>
                </a:lnTo>
                <a:lnTo>
                  <a:pt x="1688" y="431"/>
                </a:lnTo>
                <a:lnTo>
                  <a:pt x="1694" y="431"/>
                </a:lnTo>
                <a:lnTo>
                  <a:pt x="1702" y="433"/>
                </a:lnTo>
                <a:lnTo>
                  <a:pt x="1708" y="436"/>
                </a:lnTo>
                <a:lnTo>
                  <a:pt x="1710" y="437"/>
                </a:lnTo>
                <a:lnTo>
                  <a:pt x="1713" y="439"/>
                </a:lnTo>
                <a:lnTo>
                  <a:pt x="1714" y="442"/>
                </a:lnTo>
                <a:lnTo>
                  <a:pt x="1714" y="445"/>
                </a:lnTo>
                <a:lnTo>
                  <a:pt x="1714" y="451"/>
                </a:lnTo>
                <a:lnTo>
                  <a:pt x="1714" y="456"/>
                </a:lnTo>
                <a:lnTo>
                  <a:pt x="1714" y="458"/>
                </a:lnTo>
                <a:lnTo>
                  <a:pt x="1715" y="460"/>
                </a:lnTo>
                <a:lnTo>
                  <a:pt x="1716" y="460"/>
                </a:lnTo>
                <a:lnTo>
                  <a:pt x="1719" y="460"/>
                </a:lnTo>
                <a:lnTo>
                  <a:pt x="1723" y="457"/>
                </a:lnTo>
                <a:lnTo>
                  <a:pt x="1727" y="456"/>
                </a:lnTo>
                <a:lnTo>
                  <a:pt x="1729" y="457"/>
                </a:lnTo>
                <a:lnTo>
                  <a:pt x="1732" y="457"/>
                </a:lnTo>
                <a:lnTo>
                  <a:pt x="1734" y="460"/>
                </a:lnTo>
                <a:lnTo>
                  <a:pt x="1736" y="462"/>
                </a:lnTo>
                <a:lnTo>
                  <a:pt x="1741" y="469"/>
                </a:lnTo>
                <a:lnTo>
                  <a:pt x="1746" y="477"/>
                </a:lnTo>
                <a:lnTo>
                  <a:pt x="1753" y="486"/>
                </a:lnTo>
                <a:lnTo>
                  <a:pt x="1763" y="493"/>
                </a:lnTo>
                <a:lnTo>
                  <a:pt x="1767" y="496"/>
                </a:lnTo>
                <a:lnTo>
                  <a:pt x="1772" y="501"/>
                </a:lnTo>
                <a:lnTo>
                  <a:pt x="1776" y="507"/>
                </a:lnTo>
                <a:lnTo>
                  <a:pt x="1780" y="513"/>
                </a:lnTo>
                <a:lnTo>
                  <a:pt x="1786" y="527"/>
                </a:lnTo>
                <a:lnTo>
                  <a:pt x="1791" y="542"/>
                </a:lnTo>
                <a:lnTo>
                  <a:pt x="1792" y="548"/>
                </a:lnTo>
                <a:lnTo>
                  <a:pt x="1795" y="552"/>
                </a:lnTo>
                <a:lnTo>
                  <a:pt x="1797" y="557"/>
                </a:lnTo>
                <a:lnTo>
                  <a:pt x="1799" y="559"/>
                </a:lnTo>
                <a:lnTo>
                  <a:pt x="1805" y="567"/>
                </a:lnTo>
                <a:lnTo>
                  <a:pt x="1815" y="575"/>
                </a:lnTo>
                <a:lnTo>
                  <a:pt x="1818" y="581"/>
                </a:lnTo>
                <a:lnTo>
                  <a:pt x="1821" y="587"/>
                </a:lnTo>
                <a:lnTo>
                  <a:pt x="1822" y="592"/>
                </a:lnTo>
                <a:lnTo>
                  <a:pt x="1822" y="597"/>
                </a:lnTo>
                <a:lnTo>
                  <a:pt x="1821" y="608"/>
                </a:lnTo>
                <a:lnTo>
                  <a:pt x="1817" y="619"/>
                </a:lnTo>
                <a:lnTo>
                  <a:pt x="1816" y="625"/>
                </a:lnTo>
                <a:lnTo>
                  <a:pt x="1817" y="632"/>
                </a:lnTo>
                <a:lnTo>
                  <a:pt x="1817" y="638"/>
                </a:lnTo>
                <a:lnTo>
                  <a:pt x="1818" y="645"/>
                </a:lnTo>
                <a:lnTo>
                  <a:pt x="1822" y="658"/>
                </a:lnTo>
                <a:lnTo>
                  <a:pt x="1823" y="670"/>
                </a:lnTo>
                <a:lnTo>
                  <a:pt x="1826" y="679"/>
                </a:lnTo>
                <a:lnTo>
                  <a:pt x="1828" y="689"/>
                </a:lnTo>
                <a:lnTo>
                  <a:pt x="1830" y="694"/>
                </a:lnTo>
                <a:lnTo>
                  <a:pt x="1830" y="697"/>
                </a:lnTo>
                <a:lnTo>
                  <a:pt x="1831" y="703"/>
                </a:lnTo>
                <a:lnTo>
                  <a:pt x="1830" y="708"/>
                </a:lnTo>
                <a:lnTo>
                  <a:pt x="1829" y="715"/>
                </a:lnTo>
                <a:lnTo>
                  <a:pt x="1827" y="720"/>
                </a:lnTo>
                <a:lnTo>
                  <a:pt x="1823" y="725"/>
                </a:lnTo>
                <a:lnTo>
                  <a:pt x="1820" y="728"/>
                </a:lnTo>
                <a:lnTo>
                  <a:pt x="1810" y="734"/>
                </a:lnTo>
                <a:lnTo>
                  <a:pt x="1801" y="739"/>
                </a:lnTo>
                <a:lnTo>
                  <a:pt x="1797" y="741"/>
                </a:lnTo>
                <a:lnTo>
                  <a:pt x="1793" y="745"/>
                </a:lnTo>
                <a:lnTo>
                  <a:pt x="1791" y="747"/>
                </a:lnTo>
                <a:lnTo>
                  <a:pt x="1789" y="751"/>
                </a:lnTo>
                <a:lnTo>
                  <a:pt x="1787" y="756"/>
                </a:lnTo>
                <a:lnTo>
                  <a:pt x="1787" y="759"/>
                </a:lnTo>
                <a:lnTo>
                  <a:pt x="1789" y="764"/>
                </a:lnTo>
                <a:lnTo>
                  <a:pt x="1792" y="770"/>
                </a:lnTo>
                <a:lnTo>
                  <a:pt x="1796" y="776"/>
                </a:lnTo>
                <a:lnTo>
                  <a:pt x="1798" y="782"/>
                </a:lnTo>
                <a:lnTo>
                  <a:pt x="1799" y="789"/>
                </a:lnTo>
                <a:lnTo>
                  <a:pt x="1801" y="796"/>
                </a:lnTo>
                <a:lnTo>
                  <a:pt x="1801" y="802"/>
                </a:lnTo>
                <a:lnTo>
                  <a:pt x="1801" y="808"/>
                </a:lnTo>
                <a:lnTo>
                  <a:pt x="1798" y="814"/>
                </a:lnTo>
                <a:lnTo>
                  <a:pt x="1796" y="817"/>
                </a:lnTo>
                <a:lnTo>
                  <a:pt x="1791" y="821"/>
                </a:lnTo>
                <a:lnTo>
                  <a:pt x="1786" y="823"/>
                </a:lnTo>
                <a:lnTo>
                  <a:pt x="1779" y="826"/>
                </a:lnTo>
                <a:lnTo>
                  <a:pt x="1772" y="828"/>
                </a:lnTo>
                <a:lnTo>
                  <a:pt x="1755" y="833"/>
                </a:lnTo>
                <a:lnTo>
                  <a:pt x="1740" y="836"/>
                </a:lnTo>
                <a:lnTo>
                  <a:pt x="1733" y="839"/>
                </a:lnTo>
                <a:lnTo>
                  <a:pt x="1726" y="841"/>
                </a:lnTo>
                <a:lnTo>
                  <a:pt x="1721" y="845"/>
                </a:lnTo>
                <a:lnTo>
                  <a:pt x="1716" y="848"/>
                </a:lnTo>
                <a:lnTo>
                  <a:pt x="1713" y="852"/>
                </a:lnTo>
                <a:lnTo>
                  <a:pt x="1709" y="857"/>
                </a:lnTo>
                <a:lnTo>
                  <a:pt x="1707" y="863"/>
                </a:lnTo>
                <a:lnTo>
                  <a:pt x="1705" y="867"/>
                </a:lnTo>
                <a:lnTo>
                  <a:pt x="1704" y="872"/>
                </a:lnTo>
                <a:lnTo>
                  <a:pt x="1703" y="874"/>
                </a:lnTo>
                <a:lnTo>
                  <a:pt x="1701" y="877"/>
                </a:lnTo>
                <a:lnTo>
                  <a:pt x="1697" y="877"/>
                </a:lnTo>
                <a:lnTo>
                  <a:pt x="1690" y="877"/>
                </a:lnTo>
                <a:lnTo>
                  <a:pt x="1682" y="873"/>
                </a:lnTo>
                <a:lnTo>
                  <a:pt x="1676" y="873"/>
                </a:lnTo>
                <a:lnTo>
                  <a:pt x="1670" y="873"/>
                </a:lnTo>
                <a:lnTo>
                  <a:pt x="1663" y="874"/>
                </a:lnTo>
                <a:lnTo>
                  <a:pt x="1656" y="877"/>
                </a:lnTo>
                <a:lnTo>
                  <a:pt x="1647" y="879"/>
                </a:lnTo>
                <a:lnTo>
                  <a:pt x="1639" y="883"/>
                </a:lnTo>
                <a:lnTo>
                  <a:pt x="1632" y="887"/>
                </a:lnTo>
                <a:lnTo>
                  <a:pt x="1625" y="892"/>
                </a:lnTo>
                <a:lnTo>
                  <a:pt x="1618" y="897"/>
                </a:lnTo>
                <a:lnTo>
                  <a:pt x="1612" y="903"/>
                </a:lnTo>
                <a:lnTo>
                  <a:pt x="1606" y="909"/>
                </a:lnTo>
                <a:lnTo>
                  <a:pt x="1601" y="915"/>
                </a:lnTo>
                <a:lnTo>
                  <a:pt x="1597" y="921"/>
                </a:lnTo>
                <a:lnTo>
                  <a:pt x="1595" y="927"/>
                </a:lnTo>
                <a:lnTo>
                  <a:pt x="1593" y="931"/>
                </a:lnTo>
                <a:lnTo>
                  <a:pt x="1593" y="936"/>
                </a:lnTo>
                <a:lnTo>
                  <a:pt x="1591" y="940"/>
                </a:lnTo>
                <a:lnTo>
                  <a:pt x="1589" y="945"/>
                </a:lnTo>
                <a:lnTo>
                  <a:pt x="1585" y="948"/>
                </a:lnTo>
                <a:lnTo>
                  <a:pt x="1582" y="952"/>
                </a:lnTo>
                <a:lnTo>
                  <a:pt x="1577" y="954"/>
                </a:lnTo>
                <a:lnTo>
                  <a:pt x="1571" y="955"/>
                </a:lnTo>
                <a:lnTo>
                  <a:pt x="1565" y="956"/>
                </a:lnTo>
                <a:lnTo>
                  <a:pt x="1559" y="955"/>
                </a:lnTo>
                <a:lnTo>
                  <a:pt x="1552" y="953"/>
                </a:lnTo>
                <a:lnTo>
                  <a:pt x="1546" y="948"/>
                </a:lnTo>
                <a:lnTo>
                  <a:pt x="1540" y="943"/>
                </a:lnTo>
                <a:lnTo>
                  <a:pt x="1535" y="939"/>
                </a:lnTo>
                <a:lnTo>
                  <a:pt x="1526" y="925"/>
                </a:lnTo>
                <a:lnTo>
                  <a:pt x="1519" y="914"/>
                </a:lnTo>
                <a:lnTo>
                  <a:pt x="1514" y="908"/>
                </a:lnTo>
                <a:lnTo>
                  <a:pt x="1511" y="903"/>
                </a:lnTo>
                <a:lnTo>
                  <a:pt x="1506" y="901"/>
                </a:lnTo>
                <a:lnTo>
                  <a:pt x="1501" y="898"/>
                </a:lnTo>
                <a:lnTo>
                  <a:pt x="1497" y="897"/>
                </a:lnTo>
                <a:lnTo>
                  <a:pt x="1493" y="897"/>
                </a:lnTo>
                <a:lnTo>
                  <a:pt x="1488" y="898"/>
                </a:lnTo>
                <a:lnTo>
                  <a:pt x="1483" y="899"/>
                </a:lnTo>
                <a:lnTo>
                  <a:pt x="1474" y="906"/>
                </a:lnTo>
                <a:lnTo>
                  <a:pt x="1463" y="915"/>
                </a:lnTo>
                <a:lnTo>
                  <a:pt x="1452" y="924"/>
                </a:lnTo>
                <a:lnTo>
                  <a:pt x="1444" y="933"/>
                </a:lnTo>
                <a:lnTo>
                  <a:pt x="1437" y="937"/>
                </a:lnTo>
                <a:lnTo>
                  <a:pt x="1430" y="941"/>
                </a:lnTo>
                <a:lnTo>
                  <a:pt x="1421" y="942"/>
                </a:lnTo>
                <a:lnTo>
                  <a:pt x="1414" y="943"/>
                </a:lnTo>
                <a:lnTo>
                  <a:pt x="1411" y="943"/>
                </a:lnTo>
                <a:lnTo>
                  <a:pt x="1408" y="947"/>
                </a:lnTo>
                <a:lnTo>
                  <a:pt x="1406" y="952"/>
                </a:lnTo>
                <a:lnTo>
                  <a:pt x="1405" y="958"/>
                </a:lnTo>
                <a:lnTo>
                  <a:pt x="1404" y="972"/>
                </a:lnTo>
                <a:lnTo>
                  <a:pt x="1402" y="985"/>
                </a:lnTo>
                <a:lnTo>
                  <a:pt x="1400" y="992"/>
                </a:lnTo>
                <a:lnTo>
                  <a:pt x="1396" y="998"/>
                </a:lnTo>
                <a:lnTo>
                  <a:pt x="1390" y="1004"/>
                </a:lnTo>
                <a:lnTo>
                  <a:pt x="1385" y="1009"/>
                </a:lnTo>
                <a:lnTo>
                  <a:pt x="1371" y="1017"/>
                </a:lnTo>
                <a:lnTo>
                  <a:pt x="1362" y="1022"/>
                </a:lnTo>
                <a:lnTo>
                  <a:pt x="1354" y="1025"/>
                </a:lnTo>
                <a:lnTo>
                  <a:pt x="1346" y="1028"/>
                </a:lnTo>
                <a:lnTo>
                  <a:pt x="1344" y="1030"/>
                </a:lnTo>
                <a:lnTo>
                  <a:pt x="1342" y="1034"/>
                </a:lnTo>
                <a:lnTo>
                  <a:pt x="1341" y="1036"/>
                </a:lnTo>
                <a:lnTo>
                  <a:pt x="1339" y="1041"/>
                </a:lnTo>
                <a:lnTo>
                  <a:pt x="1339" y="1044"/>
                </a:lnTo>
                <a:lnTo>
                  <a:pt x="1338" y="1047"/>
                </a:lnTo>
                <a:lnTo>
                  <a:pt x="1337" y="1049"/>
                </a:lnTo>
                <a:lnTo>
                  <a:pt x="1335" y="1050"/>
                </a:lnTo>
                <a:lnTo>
                  <a:pt x="1329" y="1050"/>
                </a:lnTo>
                <a:lnTo>
                  <a:pt x="1323" y="1049"/>
                </a:lnTo>
                <a:lnTo>
                  <a:pt x="1316" y="1047"/>
                </a:lnTo>
                <a:lnTo>
                  <a:pt x="1311" y="1046"/>
                </a:lnTo>
                <a:lnTo>
                  <a:pt x="1308" y="1047"/>
                </a:lnTo>
                <a:lnTo>
                  <a:pt x="1307" y="1049"/>
                </a:lnTo>
                <a:lnTo>
                  <a:pt x="1306" y="1053"/>
                </a:lnTo>
                <a:lnTo>
                  <a:pt x="1305" y="1059"/>
                </a:lnTo>
                <a:lnTo>
                  <a:pt x="1305" y="1065"/>
                </a:lnTo>
                <a:lnTo>
                  <a:pt x="1306" y="1071"/>
                </a:lnTo>
                <a:lnTo>
                  <a:pt x="1307" y="1076"/>
                </a:lnTo>
                <a:lnTo>
                  <a:pt x="1310" y="1081"/>
                </a:lnTo>
                <a:lnTo>
                  <a:pt x="1312" y="1086"/>
                </a:lnTo>
                <a:lnTo>
                  <a:pt x="1316" y="1088"/>
                </a:lnTo>
                <a:lnTo>
                  <a:pt x="1319" y="1091"/>
                </a:lnTo>
                <a:lnTo>
                  <a:pt x="1324" y="1091"/>
                </a:lnTo>
                <a:lnTo>
                  <a:pt x="1329" y="1091"/>
                </a:lnTo>
                <a:lnTo>
                  <a:pt x="1332" y="1092"/>
                </a:lnTo>
                <a:lnTo>
                  <a:pt x="1335" y="1094"/>
                </a:lnTo>
                <a:lnTo>
                  <a:pt x="1337" y="1098"/>
                </a:lnTo>
                <a:lnTo>
                  <a:pt x="1339" y="1105"/>
                </a:lnTo>
                <a:lnTo>
                  <a:pt x="1344" y="1113"/>
                </a:lnTo>
                <a:lnTo>
                  <a:pt x="1348" y="1120"/>
                </a:lnTo>
                <a:lnTo>
                  <a:pt x="1350" y="1128"/>
                </a:lnTo>
                <a:lnTo>
                  <a:pt x="1351" y="1137"/>
                </a:lnTo>
                <a:lnTo>
                  <a:pt x="1350" y="1149"/>
                </a:lnTo>
                <a:lnTo>
                  <a:pt x="1351" y="1156"/>
                </a:lnTo>
                <a:lnTo>
                  <a:pt x="1352" y="1163"/>
                </a:lnTo>
                <a:lnTo>
                  <a:pt x="1355" y="1169"/>
                </a:lnTo>
                <a:lnTo>
                  <a:pt x="1358" y="1175"/>
                </a:lnTo>
                <a:lnTo>
                  <a:pt x="1364" y="1186"/>
                </a:lnTo>
                <a:lnTo>
                  <a:pt x="1369" y="1196"/>
                </a:lnTo>
                <a:lnTo>
                  <a:pt x="1370" y="1202"/>
                </a:lnTo>
                <a:lnTo>
                  <a:pt x="1369" y="1207"/>
                </a:lnTo>
                <a:lnTo>
                  <a:pt x="1367" y="1212"/>
                </a:lnTo>
                <a:lnTo>
                  <a:pt x="1364" y="1217"/>
                </a:lnTo>
                <a:lnTo>
                  <a:pt x="1357" y="1227"/>
                </a:lnTo>
                <a:lnTo>
                  <a:pt x="1349" y="1238"/>
                </a:lnTo>
                <a:lnTo>
                  <a:pt x="1342" y="1251"/>
                </a:lnTo>
                <a:lnTo>
                  <a:pt x="1336" y="1267"/>
                </a:lnTo>
                <a:lnTo>
                  <a:pt x="1330" y="1280"/>
                </a:lnTo>
                <a:lnTo>
                  <a:pt x="1324" y="1290"/>
                </a:lnTo>
                <a:lnTo>
                  <a:pt x="1317" y="1299"/>
                </a:lnTo>
                <a:lnTo>
                  <a:pt x="1307" y="1307"/>
                </a:lnTo>
                <a:lnTo>
                  <a:pt x="1302" y="1311"/>
                </a:lnTo>
                <a:lnTo>
                  <a:pt x="1298" y="1314"/>
                </a:lnTo>
                <a:lnTo>
                  <a:pt x="1294" y="1315"/>
                </a:lnTo>
                <a:lnTo>
                  <a:pt x="1289" y="1317"/>
                </a:lnTo>
                <a:lnTo>
                  <a:pt x="1281" y="1317"/>
                </a:lnTo>
                <a:lnTo>
                  <a:pt x="1274" y="1318"/>
                </a:lnTo>
                <a:lnTo>
                  <a:pt x="1266" y="1320"/>
                </a:lnTo>
                <a:lnTo>
                  <a:pt x="1255" y="1324"/>
                </a:lnTo>
                <a:lnTo>
                  <a:pt x="1243" y="1328"/>
                </a:lnTo>
                <a:lnTo>
                  <a:pt x="1231" y="1332"/>
                </a:lnTo>
                <a:lnTo>
                  <a:pt x="1217" y="1337"/>
                </a:lnTo>
                <a:lnTo>
                  <a:pt x="1201" y="1342"/>
                </a:lnTo>
                <a:lnTo>
                  <a:pt x="1193" y="1346"/>
                </a:lnTo>
                <a:lnTo>
                  <a:pt x="1185" y="1352"/>
                </a:lnTo>
                <a:lnTo>
                  <a:pt x="1176" y="1361"/>
                </a:lnTo>
                <a:lnTo>
                  <a:pt x="1169" y="1369"/>
                </a:lnTo>
                <a:lnTo>
                  <a:pt x="1157" y="1387"/>
                </a:lnTo>
                <a:lnTo>
                  <a:pt x="1150" y="1399"/>
                </a:lnTo>
                <a:lnTo>
                  <a:pt x="1149" y="1404"/>
                </a:lnTo>
                <a:lnTo>
                  <a:pt x="1148" y="1410"/>
                </a:lnTo>
                <a:lnTo>
                  <a:pt x="1147" y="1418"/>
                </a:lnTo>
                <a:lnTo>
                  <a:pt x="1147" y="1425"/>
                </a:lnTo>
                <a:lnTo>
                  <a:pt x="1146" y="1439"/>
                </a:lnTo>
                <a:lnTo>
                  <a:pt x="1143" y="1450"/>
                </a:lnTo>
                <a:lnTo>
                  <a:pt x="1142" y="1454"/>
                </a:lnTo>
                <a:lnTo>
                  <a:pt x="1141" y="1459"/>
                </a:lnTo>
                <a:lnTo>
                  <a:pt x="1140" y="1464"/>
                </a:lnTo>
                <a:lnTo>
                  <a:pt x="1141" y="1469"/>
                </a:lnTo>
                <a:lnTo>
                  <a:pt x="1141" y="1475"/>
                </a:lnTo>
                <a:lnTo>
                  <a:pt x="1143" y="1478"/>
                </a:lnTo>
                <a:lnTo>
                  <a:pt x="1144" y="1483"/>
                </a:lnTo>
                <a:lnTo>
                  <a:pt x="1148" y="1485"/>
                </a:lnTo>
                <a:lnTo>
                  <a:pt x="1153" y="1491"/>
                </a:lnTo>
                <a:lnTo>
                  <a:pt x="1155" y="1498"/>
                </a:lnTo>
                <a:lnTo>
                  <a:pt x="1157" y="1508"/>
                </a:lnTo>
                <a:lnTo>
                  <a:pt x="1159" y="1520"/>
                </a:lnTo>
                <a:lnTo>
                  <a:pt x="1160" y="1526"/>
                </a:lnTo>
                <a:lnTo>
                  <a:pt x="1162" y="1532"/>
                </a:lnTo>
                <a:lnTo>
                  <a:pt x="1166" y="1536"/>
                </a:lnTo>
                <a:lnTo>
                  <a:pt x="1169" y="1541"/>
                </a:lnTo>
                <a:lnTo>
                  <a:pt x="1178" y="1551"/>
                </a:lnTo>
                <a:lnTo>
                  <a:pt x="1185" y="1558"/>
                </a:lnTo>
                <a:lnTo>
                  <a:pt x="1187" y="1561"/>
                </a:lnTo>
                <a:lnTo>
                  <a:pt x="1188" y="1566"/>
                </a:lnTo>
                <a:lnTo>
                  <a:pt x="1190" y="1571"/>
                </a:lnTo>
                <a:lnTo>
                  <a:pt x="1188" y="1576"/>
                </a:lnTo>
                <a:lnTo>
                  <a:pt x="1185" y="1585"/>
                </a:lnTo>
                <a:lnTo>
                  <a:pt x="1181" y="1595"/>
                </a:lnTo>
                <a:lnTo>
                  <a:pt x="1180" y="1598"/>
                </a:lnTo>
                <a:lnTo>
                  <a:pt x="1178" y="1602"/>
                </a:lnTo>
                <a:lnTo>
                  <a:pt x="1176" y="1604"/>
                </a:lnTo>
                <a:lnTo>
                  <a:pt x="1174" y="1604"/>
                </a:lnTo>
                <a:lnTo>
                  <a:pt x="1172" y="1604"/>
                </a:lnTo>
                <a:lnTo>
                  <a:pt x="1169" y="1603"/>
                </a:lnTo>
                <a:lnTo>
                  <a:pt x="1167" y="1601"/>
                </a:lnTo>
                <a:lnTo>
                  <a:pt x="1165" y="1597"/>
                </a:lnTo>
                <a:lnTo>
                  <a:pt x="1161" y="1595"/>
                </a:lnTo>
                <a:lnTo>
                  <a:pt x="1157" y="1592"/>
                </a:lnTo>
                <a:lnTo>
                  <a:pt x="1154" y="1592"/>
                </a:lnTo>
                <a:lnTo>
                  <a:pt x="1150" y="1592"/>
                </a:lnTo>
                <a:lnTo>
                  <a:pt x="1147" y="1595"/>
                </a:lnTo>
                <a:lnTo>
                  <a:pt x="1143" y="1598"/>
                </a:lnTo>
                <a:lnTo>
                  <a:pt x="1140" y="1602"/>
                </a:lnTo>
                <a:lnTo>
                  <a:pt x="1137" y="1608"/>
                </a:lnTo>
                <a:lnTo>
                  <a:pt x="1130" y="1622"/>
                </a:lnTo>
                <a:lnTo>
                  <a:pt x="1122" y="1640"/>
                </a:lnTo>
                <a:lnTo>
                  <a:pt x="1118" y="1651"/>
                </a:lnTo>
                <a:lnTo>
                  <a:pt x="1115" y="1660"/>
                </a:lnTo>
                <a:lnTo>
                  <a:pt x="1112" y="1670"/>
                </a:lnTo>
                <a:lnTo>
                  <a:pt x="1111" y="1678"/>
                </a:lnTo>
                <a:lnTo>
                  <a:pt x="1110" y="1685"/>
                </a:lnTo>
                <a:lnTo>
                  <a:pt x="1111" y="1690"/>
                </a:lnTo>
                <a:lnTo>
                  <a:pt x="1111" y="1693"/>
                </a:lnTo>
                <a:lnTo>
                  <a:pt x="1113" y="1696"/>
                </a:lnTo>
                <a:lnTo>
                  <a:pt x="1115" y="1698"/>
                </a:lnTo>
                <a:lnTo>
                  <a:pt x="1118" y="1699"/>
                </a:lnTo>
                <a:lnTo>
                  <a:pt x="1122" y="1699"/>
                </a:lnTo>
                <a:lnTo>
                  <a:pt x="1125" y="1699"/>
                </a:lnTo>
                <a:lnTo>
                  <a:pt x="1134" y="1700"/>
                </a:lnTo>
                <a:lnTo>
                  <a:pt x="1140" y="1703"/>
                </a:lnTo>
                <a:lnTo>
                  <a:pt x="1142" y="1705"/>
                </a:lnTo>
                <a:lnTo>
                  <a:pt x="1143" y="1708"/>
                </a:lnTo>
                <a:lnTo>
                  <a:pt x="1143" y="1711"/>
                </a:lnTo>
                <a:lnTo>
                  <a:pt x="1142" y="1716"/>
                </a:lnTo>
                <a:lnTo>
                  <a:pt x="1138" y="1725"/>
                </a:lnTo>
                <a:lnTo>
                  <a:pt x="1132" y="1733"/>
                </a:lnTo>
                <a:lnTo>
                  <a:pt x="1127" y="1741"/>
                </a:lnTo>
                <a:lnTo>
                  <a:pt x="1118" y="1749"/>
                </a:lnTo>
                <a:lnTo>
                  <a:pt x="1111" y="1761"/>
                </a:lnTo>
                <a:lnTo>
                  <a:pt x="1104" y="1774"/>
                </a:lnTo>
                <a:lnTo>
                  <a:pt x="1098" y="1788"/>
                </a:lnTo>
                <a:lnTo>
                  <a:pt x="1090" y="1799"/>
                </a:lnTo>
                <a:lnTo>
                  <a:pt x="1083" y="1806"/>
                </a:lnTo>
                <a:lnTo>
                  <a:pt x="1074" y="1811"/>
                </a:lnTo>
                <a:lnTo>
                  <a:pt x="1065" y="1815"/>
                </a:lnTo>
                <a:lnTo>
                  <a:pt x="1050" y="1818"/>
                </a:lnTo>
                <a:lnTo>
                  <a:pt x="1043" y="1821"/>
                </a:lnTo>
                <a:lnTo>
                  <a:pt x="1036" y="1824"/>
                </a:lnTo>
                <a:lnTo>
                  <a:pt x="1030" y="1826"/>
                </a:lnTo>
                <a:lnTo>
                  <a:pt x="1026" y="1830"/>
                </a:lnTo>
                <a:lnTo>
                  <a:pt x="1022" y="1834"/>
                </a:lnTo>
                <a:lnTo>
                  <a:pt x="1020" y="1837"/>
                </a:lnTo>
                <a:lnTo>
                  <a:pt x="1018" y="1841"/>
                </a:lnTo>
                <a:lnTo>
                  <a:pt x="1017" y="1844"/>
                </a:lnTo>
                <a:lnTo>
                  <a:pt x="1028" y="1859"/>
                </a:lnTo>
                <a:lnTo>
                  <a:pt x="1042" y="1878"/>
                </a:lnTo>
                <a:lnTo>
                  <a:pt x="1042" y="1880"/>
                </a:lnTo>
                <a:lnTo>
                  <a:pt x="1042" y="1882"/>
                </a:lnTo>
                <a:lnTo>
                  <a:pt x="1041" y="1883"/>
                </a:lnTo>
                <a:lnTo>
                  <a:pt x="1040" y="1886"/>
                </a:lnTo>
                <a:lnTo>
                  <a:pt x="1035" y="1888"/>
                </a:lnTo>
                <a:lnTo>
                  <a:pt x="1030" y="1891"/>
                </a:lnTo>
                <a:lnTo>
                  <a:pt x="1024" y="1893"/>
                </a:lnTo>
                <a:lnTo>
                  <a:pt x="1018" y="1895"/>
                </a:lnTo>
                <a:lnTo>
                  <a:pt x="1012" y="1899"/>
                </a:lnTo>
                <a:lnTo>
                  <a:pt x="1009" y="1905"/>
                </a:lnTo>
                <a:lnTo>
                  <a:pt x="1003" y="1919"/>
                </a:lnTo>
                <a:lnTo>
                  <a:pt x="998" y="1937"/>
                </a:lnTo>
                <a:lnTo>
                  <a:pt x="997" y="1945"/>
                </a:lnTo>
                <a:lnTo>
                  <a:pt x="996" y="1954"/>
                </a:lnTo>
                <a:lnTo>
                  <a:pt x="996" y="1962"/>
                </a:lnTo>
                <a:lnTo>
                  <a:pt x="997" y="1968"/>
                </a:lnTo>
                <a:lnTo>
                  <a:pt x="998" y="1974"/>
                </a:lnTo>
                <a:lnTo>
                  <a:pt x="998" y="1979"/>
                </a:lnTo>
                <a:lnTo>
                  <a:pt x="998" y="1983"/>
                </a:lnTo>
                <a:lnTo>
                  <a:pt x="997" y="1987"/>
                </a:lnTo>
                <a:lnTo>
                  <a:pt x="993" y="1994"/>
                </a:lnTo>
                <a:lnTo>
                  <a:pt x="989" y="2001"/>
                </a:lnTo>
                <a:lnTo>
                  <a:pt x="986" y="2012"/>
                </a:lnTo>
                <a:lnTo>
                  <a:pt x="985" y="2024"/>
                </a:lnTo>
                <a:lnTo>
                  <a:pt x="985" y="2036"/>
                </a:lnTo>
                <a:lnTo>
                  <a:pt x="982" y="2046"/>
                </a:lnTo>
                <a:lnTo>
                  <a:pt x="979" y="2057"/>
                </a:lnTo>
                <a:lnTo>
                  <a:pt x="979" y="2069"/>
                </a:lnTo>
                <a:lnTo>
                  <a:pt x="979" y="2075"/>
                </a:lnTo>
                <a:lnTo>
                  <a:pt x="978" y="2081"/>
                </a:lnTo>
                <a:lnTo>
                  <a:pt x="978" y="2087"/>
                </a:lnTo>
                <a:lnTo>
                  <a:pt x="976" y="2092"/>
                </a:lnTo>
                <a:lnTo>
                  <a:pt x="968" y="2101"/>
                </a:lnTo>
                <a:lnTo>
                  <a:pt x="959" y="2111"/>
                </a:lnTo>
                <a:lnTo>
                  <a:pt x="948" y="2120"/>
                </a:lnTo>
                <a:lnTo>
                  <a:pt x="936" y="2130"/>
                </a:lnTo>
                <a:lnTo>
                  <a:pt x="932" y="2135"/>
                </a:lnTo>
                <a:lnTo>
                  <a:pt x="929" y="2141"/>
                </a:lnTo>
                <a:lnTo>
                  <a:pt x="929" y="2149"/>
                </a:lnTo>
                <a:lnTo>
                  <a:pt x="929" y="2156"/>
                </a:lnTo>
                <a:lnTo>
                  <a:pt x="932" y="2163"/>
                </a:lnTo>
                <a:lnTo>
                  <a:pt x="935" y="2170"/>
                </a:lnTo>
                <a:lnTo>
                  <a:pt x="940" y="2176"/>
                </a:lnTo>
                <a:lnTo>
                  <a:pt x="946" y="2181"/>
                </a:lnTo>
                <a:lnTo>
                  <a:pt x="951" y="2185"/>
                </a:lnTo>
                <a:lnTo>
                  <a:pt x="954" y="2189"/>
                </a:lnTo>
                <a:lnTo>
                  <a:pt x="957" y="2194"/>
                </a:lnTo>
                <a:lnTo>
                  <a:pt x="957" y="2197"/>
                </a:lnTo>
                <a:lnTo>
                  <a:pt x="955" y="2201"/>
                </a:lnTo>
                <a:lnTo>
                  <a:pt x="952" y="2204"/>
                </a:lnTo>
                <a:lnTo>
                  <a:pt x="948" y="2209"/>
                </a:lnTo>
                <a:lnTo>
                  <a:pt x="943" y="2214"/>
                </a:lnTo>
                <a:lnTo>
                  <a:pt x="940" y="2217"/>
                </a:lnTo>
                <a:lnTo>
                  <a:pt x="939" y="2222"/>
                </a:lnTo>
                <a:lnTo>
                  <a:pt x="939" y="2227"/>
                </a:lnTo>
                <a:lnTo>
                  <a:pt x="939" y="2232"/>
                </a:lnTo>
                <a:lnTo>
                  <a:pt x="942" y="2242"/>
                </a:lnTo>
                <a:lnTo>
                  <a:pt x="945" y="2248"/>
                </a:lnTo>
                <a:lnTo>
                  <a:pt x="946" y="2254"/>
                </a:lnTo>
                <a:lnTo>
                  <a:pt x="947" y="2266"/>
                </a:lnTo>
                <a:lnTo>
                  <a:pt x="947" y="2271"/>
                </a:lnTo>
                <a:lnTo>
                  <a:pt x="946" y="2273"/>
                </a:lnTo>
                <a:lnTo>
                  <a:pt x="946" y="2276"/>
                </a:lnTo>
                <a:lnTo>
                  <a:pt x="943" y="2277"/>
                </a:lnTo>
                <a:lnTo>
                  <a:pt x="942" y="2277"/>
                </a:lnTo>
                <a:lnTo>
                  <a:pt x="940" y="2277"/>
                </a:lnTo>
                <a:lnTo>
                  <a:pt x="939" y="2276"/>
                </a:lnTo>
                <a:lnTo>
                  <a:pt x="936" y="2273"/>
                </a:lnTo>
                <a:lnTo>
                  <a:pt x="934" y="2271"/>
                </a:lnTo>
                <a:lnTo>
                  <a:pt x="932" y="2271"/>
                </a:lnTo>
                <a:lnTo>
                  <a:pt x="928" y="2271"/>
                </a:lnTo>
                <a:lnTo>
                  <a:pt x="924" y="2272"/>
                </a:lnTo>
                <a:lnTo>
                  <a:pt x="921" y="2275"/>
                </a:lnTo>
                <a:lnTo>
                  <a:pt x="917" y="2278"/>
                </a:lnTo>
                <a:lnTo>
                  <a:pt x="914" y="2283"/>
                </a:lnTo>
                <a:lnTo>
                  <a:pt x="910" y="2289"/>
                </a:lnTo>
                <a:lnTo>
                  <a:pt x="904" y="2304"/>
                </a:lnTo>
                <a:lnTo>
                  <a:pt x="899" y="2321"/>
                </a:lnTo>
                <a:lnTo>
                  <a:pt x="896" y="2335"/>
                </a:lnTo>
                <a:lnTo>
                  <a:pt x="894" y="2343"/>
                </a:lnTo>
                <a:lnTo>
                  <a:pt x="901" y="2354"/>
                </a:lnTo>
                <a:lnTo>
                  <a:pt x="904" y="2364"/>
                </a:lnTo>
                <a:lnTo>
                  <a:pt x="901" y="2370"/>
                </a:lnTo>
                <a:lnTo>
                  <a:pt x="899" y="2376"/>
                </a:lnTo>
                <a:lnTo>
                  <a:pt x="899" y="2378"/>
                </a:lnTo>
                <a:lnTo>
                  <a:pt x="901" y="2380"/>
                </a:lnTo>
                <a:lnTo>
                  <a:pt x="903" y="2383"/>
                </a:lnTo>
                <a:lnTo>
                  <a:pt x="908" y="2385"/>
                </a:lnTo>
                <a:lnTo>
                  <a:pt x="913" y="2387"/>
                </a:lnTo>
                <a:lnTo>
                  <a:pt x="917" y="2391"/>
                </a:lnTo>
                <a:lnTo>
                  <a:pt x="921" y="2393"/>
                </a:lnTo>
                <a:lnTo>
                  <a:pt x="923" y="2397"/>
                </a:lnTo>
                <a:lnTo>
                  <a:pt x="926" y="2401"/>
                </a:lnTo>
                <a:lnTo>
                  <a:pt x="927" y="2404"/>
                </a:lnTo>
                <a:lnTo>
                  <a:pt x="928" y="2408"/>
                </a:lnTo>
                <a:lnTo>
                  <a:pt x="928" y="2411"/>
                </a:lnTo>
                <a:lnTo>
                  <a:pt x="927" y="2414"/>
                </a:lnTo>
                <a:lnTo>
                  <a:pt x="926" y="2416"/>
                </a:lnTo>
                <a:lnTo>
                  <a:pt x="923" y="2418"/>
                </a:lnTo>
                <a:lnTo>
                  <a:pt x="921" y="2420"/>
                </a:lnTo>
                <a:lnTo>
                  <a:pt x="914" y="2422"/>
                </a:lnTo>
                <a:lnTo>
                  <a:pt x="905" y="2422"/>
                </a:lnTo>
                <a:lnTo>
                  <a:pt x="897" y="2422"/>
                </a:lnTo>
                <a:lnTo>
                  <a:pt x="890" y="2421"/>
                </a:lnTo>
                <a:lnTo>
                  <a:pt x="883" y="2417"/>
                </a:lnTo>
                <a:lnTo>
                  <a:pt x="877" y="2412"/>
                </a:lnTo>
                <a:lnTo>
                  <a:pt x="870" y="2406"/>
                </a:lnTo>
                <a:lnTo>
                  <a:pt x="860" y="2401"/>
                </a:lnTo>
                <a:lnTo>
                  <a:pt x="852" y="2396"/>
                </a:lnTo>
                <a:lnTo>
                  <a:pt x="845" y="2393"/>
                </a:lnTo>
                <a:lnTo>
                  <a:pt x="839" y="2391"/>
                </a:lnTo>
                <a:lnTo>
                  <a:pt x="832" y="2384"/>
                </a:lnTo>
                <a:lnTo>
                  <a:pt x="825" y="2376"/>
                </a:lnTo>
                <a:lnTo>
                  <a:pt x="817" y="2366"/>
                </a:lnTo>
                <a:lnTo>
                  <a:pt x="810" y="2357"/>
                </a:lnTo>
                <a:lnTo>
                  <a:pt x="802" y="2347"/>
                </a:lnTo>
                <a:lnTo>
                  <a:pt x="794" y="2339"/>
                </a:lnTo>
                <a:lnTo>
                  <a:pt x="785" y="2334"/>
                </a:lnTo>
                <a:lnTo>
                  <a:pt x="777" y="2332"/>
                </a:lnTo>
                <a:lnTo>
                  <a:pt x="766" y="2330"/>
                </a:lnTo>
                <a:lnTo>
                  <a:pt x="762" y="2332"/>
                </a:lnTo>
                <a:lnTo>
                  <a:pt x="757" y="2333"/>
                </a:lnTo>
                <a:lnTo>
                  <a:pt x="752" y="2334"/>
                </a:lnTo>
                <a:lnTo>
                  <a:pt x="749" y="2338"/>
                </a:lnTo>
                <a:lnTo>
                  <a:pt x="743" y="2343"/>
                </a:lnTo>
                <a:lnTo>
                  <a:pt x="738" y="2347"/>
                </a:lnTo>
                <a:lnTo>
                  <a:pt x="733" y="2349"/>
                </a:lnTo>
                <a:lnTo>
                  <a:pt x="726" y="2349"/>
                </a:lnTo>
                <a:lnTo>
                  <a:pt x="719" y="2349"/>
                </a:lnTo>
                <a:lnTo>
                  <a:pt x="712" y="2349"/>
                </a:lnTo>
                <a:lnTo>
                  <a:pt x="706" y="2352"/>
                </a:lnTo>
                <a:lnTo>
                  <a:pt x="700" y="2358"/>
                </a:lnTo>
                <a:lnTo>
                  <a:pt x="691" y="2366"/>
                </a:lnTo>
                <a:lnTo>
                  <a:pt x="683" y="2374"/>
                </a:lnTo>
                <a:lnTo>
                  <a:pt x="678" y="2378"/>
                </a:lnTo>
                <a:lnTo>
                  <a:pt x="674" y="2380"/>
                </a:lnTo>
                <a:lnTo>
                  <a:pt x="668" y="2382"/>
                </a:lnTo>
                <a:lnTo>
                  <a:pt x="661" y="2383"/>
                </a:lnTo>
                <a:lnTo>
                  <a:pt x="647" y="2383"/>
                </a:lnTo>
                <a:lnTo>
                  <a:pt x="633" y="2383"/>
                </a:lnTo>
                <a:lnTo>
                  <a:pt x="620" y="2383"/>
                </a:lnTo>
                <a:lnTo>
                  <a:pt x="608" y="2383"/>
                </a:lnTo>
                <a:lnTo>
                  <a:pt x="602" y="2384"/>
                </a:lnTo>
                <a:lnTo>
                  <a:pt x="596" y="2385"/>
                </a:lnTo>
                <a:lnTo>
                  <a:pt x="592" y="2387"/>
                </a:lnTo>
                <a:lnTo>
                  <a:pt x="587" y="2390"/>
                </a:lnTo>
                <a:lnTo>
                  <a:pt x="583" y="2393"/>
                </a:lnTo>
                <a:lnTo>
                  <a:pt x="580" y="2397"/>
                </a:lnTo>
                <a:lnTo>
                  <a:pt x="576" y="2402"/>
                </a:lnTo>
                <a:lnTo>
                  <a:pt x="574" y="2406"/>
                </a:lnTo>
                <a:lnTo>
                  <a:pt x="570" y="2415"/>
                </a:lnTo>
                <a:lnTo>
                  <a:pt x="568" y="2422"/>
                </a:lnTo>
                <a:lnTo>
                  <a:pt x="567" y="2427"/>
                </a:lnTo>
                <a:lnTo>
                  <a:pt x="563" y="2430"/>
                </a:lnTo>
                <a:lnTo>
                  <a:pt x="561" y="2431"/>
                </a:lnTo>
                <a:lnTo>
                  <a:pt x="557" y="2430"/>
                </a:lnTo>
                <a:lnTo>
                  <a:pt x="554" y="2429"/>
                </a:lnTo>
                <a:lnTo>
                  <a:pt x="550" y="2428"/>
                </a:lnTo>
                <a:lnTo>
                  <a:pt x="542" y="2423"/>
                </a:lnTo>
                <a:lnTo>
                  <a:pt x="533" y="2420"/>
                </a:lnTo>
                <a:lnTo>
                  <a:pt x="525" y="2417"/>
                </a:lnTo>
                <a:lnTo>
                  <a:pt x="518" y="2417"/>
                </a:lnTo>
                <a:lnTo>
                  <a:pt x="516" y="2418"/>
                </a:lnTo>
                <a:lnTo>
                  <a:pt x="512" y="2420"/>
                </a:lnTo>
                <a:lnTo>
                  <a:pt x="511" y="2422"/>
                </a:lnTo>
                <a:lnTo>
                  <a:pt x="508" y="2425"/>
                </a:lnTo>
                <a:lnTo>
                  <a:pt x="505" y="2437"/>
                </a:lnTo>
                <a:lnTo>
                  <a:pt x="501" y="2445"/>
                </a:lnTo>
                <a:lnTo>
                  <a:pt x="498" y="2447"/>
                </a:lnTo>
                <a:lnTo>
                  <a:pt x="493" y="2447"/>
                </a:lnTo>
                <a:lnTo>
                  <a:pt x="489" y="2446"/>
                </a:lnTo>
                <a:lnTo>
                  <a:pt x="485" y="2441"/>
                </a:lnTo>
                <a:lnTo>
                  <a:pt x="482" y="2439"/>
                </a:lnTo>
                <a:lnTo>
                  <a:pt x="480" y="2437"/>
                </a:lnTo>
                <a:lnTo>
                  <a:pt x="476" y="2437"/>
                </a:lnTo>
                <a:lnTo>
                  <a:pt x="473" y="2439"/>
                </a:lnTo>
                <a:lnTo>
                  <a:pt x="464" y="2441"/>
                </a:lnTo>
                <a:lnTo>
                  <a:pt x="456" y="2446"/>
                </a:lnTo>
                <a:lnTo>
                  <a:pt x="445" y="2450"/>
                </a:lnTo>
                <a:lnTo>
                  <a:pt x="432" y="2456"/>
                </a:lnTo>
                <a:lnTo>
                  <a:pt x="419" y="2462"/>
                </a:lnTo>
                <a:lnTo>
                  <a:pt x="407" y="2468"/>
                </a:lnTo>
                <a:lnTo>
                  <a:pt x="401" y="2471"/>
                </a:lnTo>
                <a:lnTo>
                  <a:pt x="397" y="2473"/>
                </a:lnTo>
                <a:lnTo>
                  <a:pt x="392" y="2473"/>
                </a:lnTo>
                <a:lnTo>
                  <a:pt x="387" y="2473"/>
                </a:lnTo>
                <a:lnTo>
                  <a:pt x="384" y="2472"/>
                </a:lnTo>
                <a:lnTo>
                  <a:pt x="380" y="2471"/>
                </a:lnTo>
                <a:lnTo>
                  <a:pt x="378" y="2468"/>
                </a:lnTo>
                <a:lnTo>
                  <a:pt x="376" y="2465"/>
                </a:lnTo>
                <a:lnTo>
                  <a:pt x="374" y="2458"/>
                </a:lnTo>
                <a:lnTo>
                  <a:pt x="369" y="2448"/>
                </a:lnTo>
                <a:lnTo>
                  <a:pt x="367" y="2443"/>
                </a:lnTo>
                <a:lnTo>
                  <a:pt x="363" y="2440"/>
                </a:lnTo>
                <a:lnTo>
                  <a:pt x="360" y="2437"/>
                </a:lnTo>
                <a:lnTo>
                  <a:pt x="356" y="2435"/>
                </a:lnTo>
                <a:lnTo>
                  <a:pt x="347" y="2434"/>
                </a:lnTo>
                <a:lnTo>
                  <a:pt x="340" y="2433"/>
                </a:lnTo>
                <a:lnTo>
                  <a:pt x="336" y="2433"/>
                </a:lnTo>
                <a:lnTo>
                  <a:pt x="332" y="2431"/>
                </a:lnTo>
                <a:lnTo>
                  <a:pt x="330" y="2429"/>
                </a:lnTo>
                <a:lnTo>
                  <a:pt x="328" y="2425"/>
                </a:lnTo>
                <a:lnTo>
                  <a:pt x="324" y="2420"/>
                </a:lnTo>
                <a:lnTo>
                  <a:pt x="319" y="2415"/>
                </a:lnTo>
                <a:lnTo>
                  <a:pt x="315" y="2412"/>
                </a:lnTo>
                <a:lnTo>
                  <a:pt x="308" y="2410"/>
                </a:lnTo>
                <a:lnTo>
                  <a:pt x="302" y="2409"/>
                </a:lnTo>
                <a:lnTo>
                  <a:pt x="297" y="2406"/>
                </a:lnTo>
                <a:lnTo>
                  <a:pt x="294" y="2404"/>
                </a:lnTo>
                <a:lnTo>
                  <a:pt x="294" y="2402"/>
                </a:lnTo>
                <a:lnTo>
                  <a:pt x="294" y="2399"/>
                </a:lnTo>
                <a:lnTo>
                  <a:pt x="296" y="2396"/>
                </a:lnTo>
                <a:lnTo>
                  <a:pt x="298" y="2392"/>
                </a:lnTo>
                <a:lnTo>
                  <a:pt x="303" y="2390"/>
                </a:lnTo>
                <a:lnTo>
                  <a:pt x="308" y="2387"/>
                </a:lnTo>
                <a:lnTo>
                  <a:pt x="313" y="2385"/>
                </a:lnTo>
                <a:lnTo>
                  <a:pt x="327" y="2380"/>
                </a:lnTo>
                <a:lnTo>
                  <a:pt x="337" y="2374"/>
                </a:lnTo>
                <a:lnTo>
                  <a:pt x="346" y="2365"/>
                </a:lnTo>
                <a:lnTo>
                  <a:pt x="355" y="2353"/>
                </a:lnTo>
                <a:lnTo>
                  <a:pt x="362" y="2341"/>
                </a:lnTo>
                <a:lnTo>
                  <a:pt x="367" y="2332"/>
                </a:lnTo>
                <a:lnTo>
                  <a:pt x="368" y="2322"/>
                </a:lnTo>
                <a:lnTo>
                  <a:pt x="369" y="2314"/>
                </a:lnTo>
                <a:lnTo>
                  <a:pt x="368" y="2304"/>
                </a:lnTo>
                <a:lnTo>
                  <a:pt x="368" y="2296"/>
                </a:lnTo>
                <a:lnTo>
                  <a:pt x="367" y="2289"/>
                </a:lnTo>
                <a:lnTo>
                  <a:pt x="368" y="2282"/>
                </a:lnTo>
                <a:lnTo>
                  <a:pt x="371" y="2277"/>
                </a:lnTo>
                <a:lnTo>
                  <a:pt x="373" y="2272"/>
                </a:lnTo>
                <a:lnTo>
                  <a:pt x="378" y="2267"/>
                </a:lnTo>
                <a:lnTo>
                  <a:pt x="385" y="2260"/>
                </a:lnTo>
                <a:lnTo>
                  <a:pt x="398" y="2247"/>
                </a:lnTo>
                <a:lnTo>
                  <a:pt x="411" y="2238"/>
                </a:lnTo>
                <a:lnTo>
                  <a:pt x="423" y="2229"/>
                </a:lnTo>
                <a:lnTo>
                  <a:pt x="436" y="2223"/>
                </a:lnTo>
                <a:lnTo>
                  <a:pt x="450" y="2217"/>
                </a:lnTo>
                <a:lnTo>
                  <a:pt x="462" y="2212"/>
                </a:lnTo>
                <a:lnTo>
                  <a:pt x="474" y="2204"/>
                </a:lnTo>
                <a:lnTo>
                  <a:pt x="485" y="2195"/>
                </a:lnTo>
                <a:lnTo>
                  <a:pt x="488" y="2190"/>
                </a:lnTo>
                <a:lnTo>
                  <a:pt x="491" y="2187"/>
                </a:lnTo>
                <a:lnTo>
                  <a:pt x="492" y="2183"/>
                </a:lnTo>
                <a:lnTo>
                  <a:pt x="492" y="2179"/>
                </a:lnTo>
                <a:lnTo>
                  <a:pt x="491" y="2177"/>
                </a:lnTo>
                <a:lnTo>
                  <a:pt x="488" y="2175"/>
                </a:lnTo>
                <a:lnTo>
                  <a:pt x="486" y="2174"/>
                </a:lnTo>
                <a:lnTo>
                  <a:pt x="483" y="2172"/>
                </a:lnTo>
                <a:lnTo>
                  <a:pt x="481" y="2171"/>
                </a:lnTo>
                <a:lnTo>
                  <a:pt x="480" y="2170"/>
                </a:lnTo>
                <a:lnTo>
                  <a:pt x="479" y="2168"/>
                </a:lnTo>
                <a:lnTo>
                  <a:pt x="480" y="2165"/>
                </a:lnTo>
                <a:lnTo>
                  <a:pt x="482" y="2159"/>
                </a:lnTo>
                <a:lnTo>
                  <a:pt x="487" y="2151"/>
                </a:lnTo>
                <a:lnTo>
                  <a:pt x="489" y="2146"/>
                </a:lnTo>
                <a:lnTo>
                  <a:pt x="492" y="2141"/>
                </a:lnTo>
                <a:lnTo>
                  <a:pt x="493" y="2137"/>
                </a:lnTo>
                <a:lnTo>
                  <a:pt x="493" y="2132"/>
                </a:lnTo>
                <a:lnTo>
                  <a:pt x="493" y="2127"/>
                </a:lnTo>
                <a:lnTo>
                  <a:pt x="492" y="2124"/>
                </a:lnTo>
                <a:lnTo>
                  <a:pt x="489" y="2120"/>
                </a:lnTo>
                <a:lnTo>
                  <a:pt x="486" y="2116"/>
                </a:lnTo>
                <a:lnTo>
                  <a:pt x="475" y="2111"/>
                </a:lnTo>
                <a:lnTo>
                  <a:pt x="464" y="2103"/>
                </a:lnTo>
                <a:lnTo>
                  <a:pt x="453" y="2096"/>
                </a:lnTo>
                <a:lnTo>
                  <a:pt x="443" y="2088"/>
                </a:lnTo>
                <a:lnTo>
                  <a:pt x="434" y="2081"/>
                </a:lnTo>
                <a:lnTo>
                  <a:pt x="425" y="2075"/>
                </a:lnTo>
                <a:lnTo>
                  <a:pt x="420" y="2072"/>
                </a:lnTo>
                <a:lnTo>
                  <a:pt x="416" y="2071"/>
                </a:lnTo>
                <a:lnTo>
                  <a:pt x="412" y="2070"/>
                </a:lnTo>
                <a:lnTo>
                  <a:pt x="407" y="2070"/>
                </a:lnTo>
                <a:lnTo>
                  <a:pt x="403" y="2070"/>
                </a:lnTo>
                <a:lnTo>
                  <a:pt x="398" y="2072"/>
                </a:lnTo>
                <a:lnTo>
                  <a:pt x="394" y="2075"/>
                </a:lnTo>
                <a:lnTo>
                  <a:pt x="390" y="2078"/>
                </a:lnTo>
                <a:lnTo>
                  <a:pt x="381" y="2087"/>
                </a:lnTo>
                <a:lnTo>
                  <a:pt x="375" y="2095"/>
                </a:lnTo>
                <a:lnTo>
                  <a:pt x="368" y="2103"/>
                </a:lnTo>
                <a:lnTo>
                  <a:pt x="361" y="2112"/>
                </a:lnTo>
                <a:lnTo>
                  <a:pt x="351" y="2118"/>
                </a:lnTo>
                <a:lnTo>
                  <a:pt x="342" y="2122"/>
                </a:lnTo>
                <a:lnTo>
                  <a:pt x="332" y="2125"/>
                </a:lnTo>
                <a:lnTo>
                  <a:pt x="322" y="2126"/>
                </a:lnTo>
                <a:lnTo>
                  <a:pt x="310" y="2126"/>
                </a:lnTo>
                <a:lnTo>
                  <a:pt x="299" y="2124"/>
                </a:lnTo>
                <a:lnTo>
                  <a:pt x="288" y="2122"/>
                </a:lnTo>
                <a:lnTo>
                  <a:pt x="279" y="2120"/>
                </a:lnTo>
                <a:lnTo>
                  <a:pt x="274" y="2120"/>
                </a:lnTo>
                <a:lnTo>
                  <a:pt x="268" y="2121"/>
                </a:lnTo>
                <a:lnTo>
                  <a:pt x="262" y="2122"/>
                </a:lnTo>
                <a:lnTo>
                  <a:pt x="256" y="2125"/>
                </a:lnTo>
                <a:lnTo>
                  <a:pt x="246" y="2132"/>
                </a:lnTo>
                <a:lnTo>
                  <a:pt x="237" y="2137"/>
                </a:lnTo>
                <a:lnTo>
                  <a:pt x="231" y="2140"/>
                </a:lnTo>
                <a:lnTo>
                  <a:pt x="225" y="2141"/>
                </a:lnTo>
                <a:lnTo>
                  <a:pt x="223" y="2140"/>
                </a:lnTo>
                <a:lnTo>
                  <a:pt x="222" y="2137"/>
                </a:lnTo>
                <a:lnTo>
                  <a:pt x="222" y="2132"/>
                </a:lnTo>
                <a:lnTo>
                  <a:pt x="222" y="2127"/>
                </a:lnTo>
                <a:lnTo>
                  <a:pt x="223" y="2114"/>
                </a:lnTo>
                <a:lnTo>
                  <a:pt x="222" y="2103"/>
                </a:lnTo>
                <a:lnTo>
                  <a:pt x="217" y="2094"/>
                </a:lnTo>
                <a:lnTo>
                  <a:pt x="210" y="2084"/>
                </a:lnTo>
                <a:lnTo>
                  <a:pt x="203" y="2076"/>
                </a:lnTo>
                <a:lnTo>
                  <a:pt x="197" y="2070"/>
                </a:lnTo>
                <a:lnTo>
                  <a:pt x="192" y="2067"/>
                </a:lnTo>
                <a:lnTo>
                  <a:pt x="186" y="2063"/>
                </a:lnTo>
                <a:lnTo>
                  <a:pt x="185" y="2061"/>
                </a:lnTo>
                <a:lnTo>
                  <a:pt x="184" y="2058"/>
                </a:lnTo>
                <a:lnTo>
                  <a:pt x="183" y="2055"/>
                </a:lnTo>
                <a:lnTo>
                  <a:pt x="184" y="2051"/>
                </a:lnTo>
                <a:lnTo>
                  <a:pt x="187" y="2042"/>
                </a:lnTo>
                <a:lnTo>
                  <a:pt x="190" y="2029"/>
                </a:lnTo>
                <a:lnTo>
                  <a:pt x="191" y="2021"/>
                </a:lnTo>
                <a:lnTo>
                  <a:pt x="191" y="2014"/>
                </a:lnTo>
                <a:lnTo>
                  <a:pt x="191" y="2007"/>
                </a:lnTo>
                <a:lnTo>
                  <a:pt x="190" y="1999"/>
                </a:lnTo>
                <a:lnTo>
                  <a:pt x="187" y="1993"/>
                </a:lnTo>
                <a:lnTo>
                  <a:pt x="184" y="1987"/>
                </a:lnTo>
                <a:lnTo>
                  <a:pt x="180" y="1982"/>
                </a:lnTo>
                <a:lnTo>
                  <a:pt x="177" y="1977"/>
                </a:lnTo>
                <a:lnTo>
                  <a:pt x="172" y="1971"/>
                </a:lnTo>
                <a:lnTo>
                  <a:pt x="170" y="1966"/>
                </a:lnTo>
                <a:lnTo>
                  <a:pt x="166" y="1957"/>
                </a:lnTo>
                <a:lnTo>
                  <a:pt x="165" y="1948"/>
                </a:lnTo>
                <a:lnTo>
                  <a:pt x="165" y="1942"/>
                </a:lnTo>
                <a:lnTo>
                  <a:pt x="165" y="1937"/>
                </a:lnTo>
                <a:lnTo>
                  <a:pt x="166" y="1932"/>
                </a:lnTo>
                <a:lnTo>
                  <a:pt x="168" y="1929"/>
                </a:lnTo>
                <a:lnTo>
                  <a:pt x="172" y="1920"/>
                </a:lnTo>
                <a:lnTo>
                  <a:pt x="178" y="1912"/>
                </a:lnTo>
                <a:lnTo>
                  <a:pt x="183" y="1904"/>
                </a:lnTo>
                <a:lnTo>
                  <a:pt x="189" y="1895"/>
                </a:lnTo>
                <a:lnTo>
                  <a:pt x="192" y="1886"/>
                </a:lnTo>
                <a:lnTo>
                  <a:pt x="195" y="1874"/>
                </a:lnTo>
                <a:lnTo>
                  <a:pt x="197" y="1851"/>
                </a:lnTo>
                <a:lnTo>
                  <a:pt x="201" y="1830"/>
                </a:lnTo>
                <a:lnTo>
                  <a:pt x="202" y="1822"/>
                </a:lnTo>
                <a:lnTo>
                  <a:pt x="205" y="1813"/>
                </a:lnTo>
                <a:lnTo>
                  <a:pt x="209" y="1806"/>
                </a:lnTo>
                <a:lnTo>
                  <a:pt x="212" y="1800"/>
                </a:lnTo>
                <a:lnTo>
                  <a:pt x="228" y="1790"/>
                </a:lnTo>
                <a:lnTo>
                  <a:pt x="247" y="1778"/>
                </a:lnTo>
                <a:lnTo>
                  <a:pt x="256" y="1772"/>
                </a:lnTo>
                <a:lnTo>
                  <a:pt x="265" y="1766"/>
                </a:lnTo>
                <a:lnTo>
                  <a:pt x="271" y="1761"/>
                </a:lnTo>
                <a:lnTo>
                  <a:pt x="274" y="1755"/>
                </a:lnTo>
                <a:lnTo>
                  <a:pt x="275" y="1749"/>
                </a:lnTo>
                <a:lnTo>
                  <a:pt x="275" y="1744"/>
                </a:lnTo>
                <a:lnTo>
                  <a:pt x="273" y="1741"/>
                </a:lnTo>
                <a:lnTo>
                  <a:pt x="271" y="1737"/>
                </a:lnTo>
                <a:lnTo>
                  <a:pt x="266" y="1736"/>
                </a:lnTo>
                <a:lnTo>
                  <a:pt x="261" y="1735"/>
                </a:lnTo>
                <a:lnTo>
                  <a:pt x="255" y="1735"/>
                </a:lnTo>
                <a:lnTo>
                  <a:pt x="248" y="1736"/>
                </a:lnTo>
                <a:lnTo>
                  <a:pt x="234" y="1741"/>
                </a:lnTo>
                <a:lnTo>
                  <a:pt x="222" y="1746"/>
                </a:lnTo>
                <a:lnTo>
                  <a:pt x="210" y="1750"/>
                </a:lnTo>
                <a:lnTo>
                  <a:pt x="197" y="1753"/>
                </a:lnTo>
                <a:lnTo>
                  <a:pt x="190" y="1753"/>
                </a:lnTo>
                <a:lnTo>
                  <a:pt x="185" y="1750"/>
                </a:lnTo>
                <a:lnTo>
                  <a:pt x="181" y="1747"/>
                </a:lnTo>
                <a:lnTo>
                  <a:pt x="179" y="1743"/>
                </a:lnTo>
                <a:lnTo>
                  <a:pt x="179" y="1738"/>
                </a:lnTo>
                <a:lnTo>
                  <a:pt x="180" y="1733"/>
                </a:lnTo>
                <a:lnTo>
                  <a:pt x="183" y="1728"/>
                </a:lnTo>
                <a:lnTo>
                  <a:pt x="187" y="1722"/>
                </a:lnTo>
                <a:lnTo>
                  <a:pt x="197" y="1712"/>
                </a:lnTo>
                <a:lnTo>
                  <a:pt x="203" y="1704"/>
                </a:lnTo>
                <a:lnTo>
                  <a:pt x="204" y="1699"/>
                </a:lnTo>
                <a:lnTo>
                  <a:pt x="205" y="1695"/>
                </a:lnTo>
                <a:lnTo>
                  <a:pt x="205" y="1690"/>
                </a:lnTo>
                <a:lnTo>
                  <a:pt x="204" y="1685"/>
                </a:lnTo>
                <a:lnTo>
                  <a:pt x="202" y="1675"/>
                </a:lnTo>
                <a:lnTo>
                  <a:pt x="203" y="1666"/>
                </a:lnTo>
                <a:lnTo>
                  <a:pt x="204" y="1661"/>
                </a:lnTo>
                <a:lnTo>
                  <a:pt x="205" y="1656"/>
                </a:lnTo>
                <a:lnTo>
                  <a:pt x="208" y="1653"/>
                </a:lnTo>
                <a:lnTo>
                  <a:pt x="212" y="1648"/>
                </a:lnTo>
                <a:lnTo>
                  <a:pt x="215" y="1642"/>
                </a:lnTo>
                <a:lnTo>
                  <a:pt x="218" y="1636"/>
                </a:lnTo>
                <a:lnTo>
                  <a:pt x="220" y="1629"/>
                </a:lnTo>
                <a:lnTo>
                  <a:pt x="221" y="1621"/>
                </a:lnTo>
                <a:lnTo>
                  <a:pt x="222" y="1605"/>
                </a:lnTo>
                <a:lnTo>
                  <a:pt x="221" y="1593"/>
                </a:lnTo>
                <a:lnTo>
                  <a:pt x="220" y="1589"/>
                </a:lnTo>
                <a:lnTo>
                  <a:pt x="216" y="1584"/>
                </a:lnTo>
                <a:lnTo>
                  <a:pt x="212" y="1580"/>
                </a:lnTo>
                <a:lnTo>
                  <a:pt x="208" y="1577"/>
                </a:lnTo>
                <a:lnTo>
                  <a:pt x="202" y="1573"/>
                </a:lnTo>
                <a:lnTo>
                  <a:pt x="195" y="1570"/>
                </a:lnTo>
                <a:lnTo>
                  <a:pt x="187" y="1567"/>
                </a:lnTo>
                <a:lnTo>
                  <a:pt x="178" y="1566"/>
                </a:lnTo>
                <a:lnTo>
                  <a:pt x="159" y="1564"/>
                </a:lnTo>
                <a:lnTo>
                  <a:pt x="142" y="1559"/>
                </a:lnTo>
                <a:lnTo>
                  <a:pt x="135" y="1555"/>
                </a:lnTo>
                <a:lnTo>
                  <a:pt x="129" y="1552"/>
                </a:lnTo>
                <a:lnTo>
                  <a:pt x="124" y="1547"/>
                </a:lnTo>
                <a:lnTo>
                  <a:pt x="121" y="1541"/>
                </a:lnTo>
                <a:lnTo>
                  <a:pt x="118" y="1534"/>
                </a:lnTo>
                <a:lnTo>
                  <a:pt x="117" y="1527"/>
                </a:lnTo>
                <a:lnTo>
                  <a:pt x="115" y="1517"/>
                </a:lnTo>
                <a:lnTo>
                  <a:pt x="115" y="1508"/>
                </a:lnTo>
                <a:lnTo>
                  <a:pt x="115" y="1498"/>
                </a:lnTo>
                <a:lnTo>
                  <a:pt x="116" y="1489"/>
                </a:lnTo>
                <a:lnTo>
                  <a:pt x="120" y="1478"/>
                </a:lnTo>
                <a:lnTo>
                  <a:pt x="123" y="1470"/>
                </a:lnTo>
                <a:lnTo>
                  <a:pt x="133" y="1453"/>
                </a:lnTo>
                <a:lnTo>
                  <a:pt x="140" y="1439"/>
                </a:lnTo>
                <a:lnTo>
                  <a:pt x="142" y="1432"/>
                </a:lnTo>
                <a:lnTo>
                  <a:pt x="143" y="1426"/>
                </a:lnTo>
                <a:lnTo>
                  <a:pt x="145" y="1421"/>
                </a:lnTo>
                <a:lnTo>
                  <a:pt x="143" y="1415"/>
                </a:lnTo>
                <a:lnTo>
                  <a:pt x="141" y="1410"/>
                </a:lnTo>
                <a:lnTo>
                  <a:pt x="139" y="1406"/>
                </a:lnTo>
                <a:lnTo>
                  <a:pt x="134" y="1401"/>
                </a:lnTo>
                <a:lnTo>
                  <a:pt x="130" y="1395"/>
                </a:lnTo>
                <a:lnTo>
                  <a:pt x="121" y="1385"/>
                </a:lnTo>
                <a:lnTo>
                  <a:pt x="111" y="1377"/>
                </a:lnTo>
                <a:lnTo>
                  <a:pt x="103" y="1368"/>
                </a:lnTo>
                <a:lnTo>
                  <a:pt x="94" y="1357"/>
                </a:lnTo>
                <a:lnTo>
                  <a:pt x="91" y="1351"/>
                </a:lnTo>
                <a:lnTo>
                  <a:pt x="89" y="1346"/>
                </a:lnTo>
                <a:lnTo>
                  <a:pt x="88" y="1340"/>
                </a:lnTo>
                <a:lnTo>
                  <a:pt x="89" y="1333"/>
                </a:lnTo>
                <a:lnTo>
                  <a:pt x="94" y="1321"/>
                </a:lnTo>
                <a:lnTo>
                  <a:pt x="102" y="1308"/>
                </a:lnTo>
                <a:lnTo>
                  <a:pt x="108" y="1296"/>
                </a:lnTo>
                <a:lnTo>
                  <a:pt x="111" y="1287"/>
                </a:lnTo>
                <a:lnTo>
                  <a:pt x="113" y="1277"/>
                </a:lnTo>
                <a:lnTo>
                  <a:pt x="113" y="1265"/>
                </a:lnTo>
                <a:lnTo>
                  <a:pt x="113" y="1254"/>
                </a:lnTo>
                <a:lnTo>
                  <a:pt x="114" y="1243"/>
                </a:lnTo>
                <a:lnTo>
                  <a:pt x="114" y="1238"/>
                </a:lnTo>
                <a:lnTo>
                  <a:pt x="114" y="1235"/>
                </a:lnTo>
                <a:lnTo>
                  <a:pt x="113" y="1232"/>
                </a:lnTo>
                <a:lnTo>
                  <a:pt x="111" y="1230"/>
                </a:lnTo>
                <a:lnTo>
                  <a:pt x="109" y="1229"/>
                </a:lnTo>
                <a:lnTo>
                  <a:pt x="107" y="1229"/>
                </a:lnTo>
                <a:lnTo>
                  <a:pt x="103" y="1230"/>
                </a:lnTo>
                <a:lnTo>
                  <a:pt x="99" y="1231"/>
                </a:lnTo>
                <a:lnTo>
                  <a:pt x="89" y="1236"/>
                </a:lnTo>
                <a:lnTo>
                  <a:pt x="78" y="1242"/>
                </a:lnTo>
                <a:lnTo>
                  <a:pt x="66" y="1246"/>
                </a:lnTo>
                <a:lnTo>
                  <a:pt x="57" y="1251"/>
                </a:lnTo>
                <a:lnTo>
                  <a:pt x="51" y="1252"/>
                </a:lnTo>
                <a:lnTo>
                  <a:pt x="46" y="1252"/>
                </a:lnTo>
                <a:lnTo>
                  <a:pt x="40" y="1251"/>
                </a:lnTo>
                <a:lnTo>
                  <a:pt x="35" y="1249"/>
                </a:lnTo>
                <a:lnTo>
                  <a:pt x="29" y="1246"/>
                </a:lnTo>
                <a:lnTo>
                  <a:pt x="26" y="1244"/>
                </a:lnTo>
                <a:lnTo>
                  <a:pt x="22" y="1242"/>
                </a:lnTo>
                <a:lnTo>
                  <a:pt x="20" y="1238"/>
                </a:lnTo>
                <a:lnTo>
                  <a:pt x="20" y="1235"/>
                </a:lnTo>
                <a:lnTo>
                  <a:pt x="21" y="1232"/>
                </a:lnTo>
                <a:lnTo>
                  <a:pt x="23" y="1230"/>
                </a:lnTo>
                <a:lnTo>
                  <a:pt x="27" y="1226"/>
                </a:lnTo>
                <a:lnTo>
                  <a:pt x="29" y="1224"/>
                </a:lnTo>
                <a:lnTo>
                  <a:pt x="29" y="1220"/>
                </a:lnTo>
                <a:lnTo>
                  <a:pt x="29" y="1217"/>
                </a:lnTo>
                <a:lnTo>
                  <a:pt x="28" y="1214"/>
                </a:lnTo>
                <a:lnTo>
                  <a:pt x="27" y="1211"/>
                </a:lnTo>
                <a:lnTo>
                  <a:pt x="25" y="1208"/>
                </a:lnTo>
                <a:lnTo>
                  <a:pt x="22" y="1207"/>
                </a:lnTo>
                <a:lnTo>
                  <a:pt x="19" y="1207"/>
                </a:lnTo>
                <a:lnTo>
                  <a:pt x="15" y="1208"/>
                </a:lnTo>
                <a:lnTo>
                  <a:pt x="13" y="1207"/>
                </a:lnTo>
                <a:lnTo>
                  <a:pt x="10" y="1207"/>
                </a:lnTo>
                <a:lnTo>
                  <a:pt x="9" y="1205"/>
                </a:lnTo>
                <a:lnTo>
                  <a:pt x="8" y="1201"/>
                </a:lnTo>
                <a:lnTo>
                  <a:pt x="8" y="1196"/>
                </a:lnTo>
                <a:lnTo>
                  <a:pt x="12" y="1187"/>
                </a:lnTo>
                <a:lnTo>
                  <a:pt x="16" y="1179"/>
                </a:lnTo>
                <a:lnTo>
                  <a:pt x="17" y="1176"/>
                </a:lnTo>
                <a:lnTo>
                  <a:pt x="19" y="1175"/>
                </a:lnTo>
                <a:lnTo>
                  <a:pt x="17" y="1173"/>
                </a:lnTo>
                <a:lnTo>
                  <a:pt x="16" y="1172"/>
                </a:lnTo>
                <a:lnTo>
                  <a:pt x="14" y="1170"/>
                </a:lnTo>
                <a:lnTo>
                  <a:pt x="9" y="1169"/>
                </a:lnTo>
                <a:lnTo>
                  <a:pt x="7" y="1169"/>
                </a:lnTo>
                <a:lnTo>
                  <a:pt x="4" y="1167"/>
                </a:lnTo>
                <a:lnTo>
                  <a:pt x="2" y="1164"/>
                </a:lnTo>
                <a:lnTo>
                  <a:pt x="1" y="1161"/>
                </a:lnTo>
                <a:lnTo>
                  <a:pt x="0" y="1156"/>
                </a:lnTo>
                <a:lnTo>
                  <a:pt x="1" y="1150"/>
                </a:lnTo>
                <a:lnTo>
                  <a:pt x="1" y="1144"/>
                </a:lnTo>
                <a:lnTo>
                  <a:pt x="3" y="1137"/>
                </a:lnTo>
                <a:lnTo>
                  <a:pt x="7" y="1129"/>
                </a:lnTo>
                <a:lnTo>
                  <a:pt x="12" y="1119"/>
                </a:lnTo>
                <a:lnTo>
                  <a:pt x="17" y="1111"/>
                </a:lnTo>
                <a:lnTo>
                  <a:pt x="23" y="1103"/>
                </a:lnTo>
                <a:lnTo>
                  <a:pt x="36" y="1088"/>
                </a:lnTo>
                <a:lnTo>
                  <a:pt x="48" y="1078"/>
                </a:lnTo>
                <a:lnTo>
                  <a:pt x="52" y="1074"/>
                </a:lnTo>
                <a:lnTo>
                  <a:pt x="54" y="1067"/>
                </a:lnTo>
                <a:lnTo>
                  <a:pt x="57" y="1060"/>
                </a:lnTo>
                <a:lnTo>
                  <a:pt x="57" y="1051"/>
                </a:lnTo>
                <a:lnTo>
                  <a:pt x="57" y="1032"/>
                </a:lnTo>
                <a:lnTo>
                  <a:pt x="57" y="1016"/>
                </a:lnTo>
                <a:lnTo>
                  <a:pt x="55" y="1009"/>
                </a:lnTo>
                <a:lnTo>
                  <a:pt x="57" y="1002"/>
                </a:lnTo>
                <a:lnTo>
                  <a:pt x="58" y="994"/>
                </a:lnTo>
                <a:lnTo>
                  <a:pt x="59" y="988"/>
                </a:lnTo>
                <a:lnTo>
                  <a:pt x="61" y="984"/>
                </a:lnTo>
                <a:lnTo>
                  <a:pt x="65" y="979"/>
                </a:lnTo>
                <a:lnTo>
                  <a:pt x="70" y="975"/>
                </a:lnTo>
                <a:lnTo>
                  <a:pt x="76" y="971"/>
                </a:lnTo>
                <a:lnTo>
                  <a:pt x="89" y="965"/>
                </a:lnTo>
                <a:lnTo>
                  <a:pt x="102" y="961"/>
                </a:lnTo>
                <a:lnTo>
                  <a:pt x="116" y="956"/>
                </a:lnTo>
                <a:lnTo>
                  <a:pt x="130" y="953"/>
                </a:lnTo>
                <a:lnTo>
                  <a:pt x="145" y="949"/>
                </a:lnTo>
                <a:lnTo>
                  <a:pt x="158" y="945"/>
                </a:lnTo>
                <a:lnTo>
                  <a:pt x="162" y="942"/>
                </a:lnTo>
                <a:lnTo>
                  <a:pt x="166" y="939"/>
                </a:lnTo>
                <a:lnTo>
                  <a:pt x="170" y="936"/>
                </a:lnTo>
                <a:lnTo>
                  <a:pt x="172" y="934"/>
                </a:lnTo>
                <a:lnTo>
                  <a:pt x="172" y="930"/>
                </a:lnTo>
                <a:lnTo>
                  <a:pt x="171" y="927"/>
                </a:lnTo>
                <a:lnTo>
                  <a:pt x="170" y="922"/>
                </a:lnTo>
                <a:lnTo>
                  <a:pt x="167" y="917"/>
                </a:lnTo>
                <a:lnTo>
                  <a:pt x="162" y="908"/>
                </a:lnTo>
                <a:lnTo>
                  <a:pt x="158" y="901"/>
                </a:lnTo>
                <a:lnTo>
                  <a:pt x="154" y="893"/>
                </a:lnTo>
                <a:lnTo>
                  <a:pt x="153" y="887"/>
                </a:lnTo>
                <a:lnTo>
                  <a:pt x="153" y="884"/>
                </a:lnTo>
                <a:lnTo>
                  <a:pt x="155" y="882"/>
                </a:lnTo>
                <a:lnTo>
                  <a:pt x="158" y="880"/>
                </a:lnTo>
                <a:lnTo>
                  <a:pt x="162" y="880"/>
                </a:lnTo>
                <a:lnTo>
                  <a:pt x="172" y="879"/>
                </a:lnTo>
                <a:lnTo>
                  <a:pt x="180" y="877"/>
                </a:lnTo>
                <a:lnTo>
                  <a:pt x="185" y="874"/>
                </a:lnTo>
                <a:lnTo>
                  <a:pt x="189" y="871"/>
                </a:lnTo>
                <a:lnTo>
                  <a:pt x="192" y="867"/>
                </a:lnTo>
                <a:lnTo>
                  <a:pt x="197" y="864"/>
                </a:lnTo>
                <a:lnTo>
                  <a:pt x="205" y="852"/>
                </a:lnTo>
                <a:lnTo>
                  <a:pt x="217" y="840"/>
                </a:lnTo>
                <a:lnTo>
                  <a:pt x="229" y="829"/>
                </a:lnTo>
                <a:lnTo>
                  <a:pt x="239" y="819"/>
                </a:lnTo>
                <a:lnTo>
                  <a:pt x="246" y="809"/>
                </a:lnTo>
                <a:lnTo>
                  <a:pt x="249" y="802"/>
                </a:lnTo>
                <a:lnTo>
                  <a:pt x="250" y="795"/>
                </a:lnTo>
                <a:lnTo>
                  <a:pt x="249" y="788"/>
                </a:lnTo>
                <a:lnTo>
                  <a:pt x="248" y="784"/>
                </a:lnTo>
                <a:lnTo>
                  <a:pt x="246" y="782"/>
                </a:lnTo>
                <a:lnTo>
                  <a:pt x="242" y="778"/>
                </a:lnTo>
                <a:lnTo>
                  <a:pt x="239" y="776"/>
                </a:lnTo>
                <a:lnTo>
                  <a:pt x="231" y="772"/>
                </a:lnTo>
                <a:lnTo>
                  <a:pt x="224" y="770"/>
                </a:lnTo>
                <a:lnTo>
                  <a:pt x="221" y="767"/>
                </a:lnTo>
                <a:lnTo>
                  <a:pt x="220" y="766"/>
                </a:lnTo>
                <a:lnTo>
                  <a:pt x="218" y="763"/>
                </a:lnTo>
                <a:lnTo>
                  <a:pt x="217" y="760"/>
                </a:lnTo>
                <a:lnTo>
                  <a:pt x="218" y="758"/>
                </a:lnTo>
                <a:lnTo>
                  <a:pt x="220" y="756"/>
                </a:lnTo>
                <a:lnTo>
                  <a:pt x="221" y="753"/>
                </a:lnTo>
                <a:lnTo>
                  <a:pt x="223" y="752"/>
                </a:lnTo>
                <a:lnTo>
                  <a:pt x="227" y="751"/>
                </a:lnTo>
                <a:lnTo>
                  <a:pt x="229" y="748"/>
                </a:lnTo>
                <a:lnTo>
                  <a:pt x="231" y="746"/>
                </a:lnTo>
                <a:lnTo>
                  <a:pt x="233" y="742"/>
                </a:lnTo>
                <a:lnTo>
                  <a:pt x="233" y="740"/>
                </a:lnTo>
                <a:lnTo>
                  <a:pt x="233" y="737"/>
                </a:lnTo>
                <a:lnTo>
                  <a:pt x="230" y="734"/>
                </a:lnTo>
                <a:lnTo>
                  <a:pt x="228" y="732"/>
                </a:lnTo>
                <a:lnTo>
                  <a:pt x="220" y="727"/>
                </a:lnTo>
                <a:lnTo>
                  <a:pt x="210" y="723"/>
                </a:lnTo>
                <a:lnTo>
                  <a:pt x="202" y="719"/>
                </a:lnTo>
                <a:lnTo>
                  <a:pt x="193" y="713"/>
                </a:lnTo>
                <a:lnTo>
                  <a:pt x="191" y="709"/>
                </a:lnTo>
                <a:lnTo>
                  <a:pt x="190" y="704"/>
                </a:lnTo>
                <a:lnTo>
                  <a:pt x="189" y="700"/>
                </a:lnTo>
                <a:lnTo>
                  <a:pt x="189" y="694"/>
                </a:lnTo>
                <a:lnTo>
                  <a:pt x="190" y="682"/>
                </a:lnTo>
                <a:lnTo>
                  <a:pt x="193" y="671"/>
                </a:lnTo>
                <a:lnTo>
                  <a:pt x="196" y="657"/>
                </a:lnTo>
                <a:lnTo>
                  <a:pt x="198" y="640"/>
                </a:lnTo>
                <a:lnTo>
                  <a:pt x="199" y="624"/>
                </a:lnTo>
                <a:lnTo>
                  <a:pt x="199" y="612"/>
                </a:lnTo>
                <a:lnTo>
                  <a:pt x="198" y="607"/>
                </a:lnTo>
                <a:lnTo>
                  <a:pt x="198" y="603"/>
                </a:lnTo>
                <a:lnTo>
                  <a:pt x="196" y="600"/>
                </a:lnTo>
                <a:lnTo>
                  <a:pt x="193" y="596"/>
                </a:lnTo>
                <a:lnTo>
                  <a:pt x="191" y="594"/>
                </a:lnTo>
                <a:lnTo>
                  <a:pt x="187" y="592"/>
                </a:lnTo>
                <a:lnTo>
                  <a:pt x="184" y="590"/>
                </a:lnTo>
                <a:lnTo>
                  <a:pt x="179" y="590"/>
                </a:lnTo>
                <a:lnTo>
                  <a:pt x="176" y="590"/>
                </a:lnTo>
                <a:lnTo>
                  <a:pt x="172" y="589"/>
                </a:lnTo>
                <a:lnTo>
                  <a:pt x="170" y="588"/>
                </a:lnTo>
                <a:lnTo>
                  <a:pt x="167" y="586"/>
                </a:lnTo>
                <a:lnTo>
                  <a:pt x="164" y="580"/>
                </a:lnTo>
                <a:lnTo>
                  <a:pt x="160" y="574"/>
                </a:lnTo>
                <a:lnTo>
                  <a:pt x="155" y="567"/>
                </a:lnTo>
                <a:lnTo>
                  <a:pt x="147" y="558"/>
                </a:lnTo>
                <a:lnTo>
                  <a:pt x="139" y="551"/>
                </a:lnTo>
                <a:lnTo>
                  <a:pt x="132" y="546"/>
                </a:lnTo>
                <a:lnTo>
                  <a:pt x="128" y="545"/>
                </a:lnTo>
                <a:lnTo>
                  <a:pt x="126" y="543"/>
                </a:lnTo>
                <a:lnTo>
                  <a:pt x="123" y="540"/>
                </a:lnTo>
                <a:lnTo>
                  <a:pt x="122" y="537"/>
                </a:lnTo>
                <a:lnTo>
                  <a:pt x="120" y="530"/>
                </a:lnTo>
                <a:lnTo>
                  <a:pt x="118" y="521"/>
                </a:lnTo>
                <a:lnTo>
                  <a:pt x="117" y="513"/>
                </a:lnTo>
                <a:lnTo>
                  <a:pt x="117" y="502"/>
                </a:lnTo>
                <a:lnTo>
                  <a:pt x="118" y="498"/>
                </a:lnTo>
                <a:lnTo>
                  <a:pt x="120" y="492"/>
                </a:lnTo>
                <a:lnTo>
                  <a:pt x="122" y="486"/>
                </a:lnTo>
                <a:lnTo>
                  <a:pt x="126" y="480"/>
                </a:lnTo>
                <a:lnTo>
                  <a:pt x="145" y="461"/>
                </a:lnTo>
                <a:lnTo>
                  <a:pt x="160" y="445"/>
                </a:lnTo>
                <a:lnTo>
                  <a:pt x="162" y="442"/>
                </a:lnTo>
                <a:lnTo>
                  <a:pt x="166" y="438"/>
                </a:lnTo>
                <a:lnTo>
                  <a:pt x="168" y="436"/>
                </a:lnTo>
                <a:lnTo>
                  <a:pt x="172" y="433"/>
                </a:lnTo>
                <a:lnTo>
                  <a:pt x="180" y="431"/>
                </a:lnTo>
                <a:lnTo>
                  <a:pt x="189" y="429"/>
                </a:lnTo>
                <a:lnTo>
                  <a:pt x="199" y="427"/>
                </a:lnTo>
                <a:lnTo>
                  <a:pt x="209" y="426"/>
                </a:lnTo>
                <a:lnTo>
                  <a:pt x="214" y="425"/>
                </a:lnTo>
                <a:lnTo>
                  <a:pt x="218" y="423"/>
                </a:lnTo>
                <a:lnTo>
                  <a:pt x="222" y="419"/>
                </a:lnTo>
                <a:lnTo>
                  <a:pt x="224" y="413"/>
                </a:lnTo>
                <a:lnTo>
                  <a:pt x="228" y="401"/>
                </a:lnTo>
                <a:lnTo>
                  <a:pt x="229" y="389"/>
                </a:lnTo>
                <a:lnTo>
                  <a:pt x="230" y="384"/>
                </a:lnTo>
                <a:lnTo>
                  <a:pt x="231" y="379"/>
                </a:lnTo>
                <a:lnTo>
                  <a:pt x="234" y="375"/>
                </a:lnTo>
                <a:lnTo>
                  <a:pt x="236" y="373"/>
                </a:lnTo>
                <a:lnTo>
                  <a:pt x="241" y="370"/>
                </a:lnTo>
                <a:lnTo>
                  <a:pt x="246" y="370"/>
                </a:lnTo>
                <a:lnTo>
                  <a:pt x="250" y="370"/>
                </a:lnTo>
                <a:lnTo>
                  <a:pt x="256" y="370"/>
                </a:lnTo>
                <a:lnTo>
                  <a:pt x="267" y="372"/>
                </a:lnTo>
                <a:lnTo>
                  <a:pt x="277" y="375"/>
                </a:lnTo>
                <a:lnTo>
                  <a:pt x="288" y="376"/>
                </a:lnTo>
                <a:lnTo>
                  <a:pt x="305" y="378"/>
                </a:lnTo>
                <a:lnTo>
                  <a:pt x="313" y="376"/>
                </a:lnTo>
                <a:lnTo>
                  <a:pt x="323" y="375"/>
                </a:lnTo>
                <a:lnTo>
                  <a:pt x="331" y="373"/>
                </a:lnTo>
                <a:lnTo>
                  <a:pt x="338" y="370"/>
                </a:lnTo>
                <a:lnTo>
                  <a:pt x="350" y="362"/>
                </a:lnTo>
                <a:lnTo>
                  <a:pt x="361" y="353"/>
                </a:lnTo>
                <a:lnTo>
                  <a:pt x="368" y="348"/>
                </a:lnTo>
                <a:lnTo>
                  <a:pt x="374" y="344"/>
                </a:lnTo>
                <a:lnTo>
                  <a:pt x="382" y="343"/>
                </a:lnTo>
                <a:lnTo>
                  <a:pt x="391" y="344"/>
                </a:lnTo>
                <a:lnTo>
                  <a:pt x="399" y="345"/>
                </a:lnTo>
                <a:lnTo>
                  <a:pt x="407" y="347"/>
                </a:lnTo>
                <a:lnTo>
                  <a:pt x="416" y="347"/>
                </a:lnTo>
                <a:lnTo>
                  <a:pt x="424" y="345"/>
                </a:lnTo>
                <a:lnTo>
                  <a:pt x="438" y="342"/>
                </a:lnTo>
                <a:lnTo>
                  <a:pt x="453" y="337"/>
                </a:lnTo>
                <a:lnTo>
                  <a:pt x="458" y="334"/>
                </a:lnTo>
                <a:lnTo>
                  <a:pt x="464" y="330"/>
                </a:lnTo>
                <a:lnTo>
                  <a:pt x="469" y="326"/>
                </a:lnTo>
                <a:lnTo>
                  <a:pt x="472" y="324"/>
                </a:lnTo>
                <a:lnTo>
                  <a:pt x="473" y="321"/>
                </a:lnTo>
                <a:lnTo>
                  <a:pt x="473" y="318"/>
                </a:lnTo>
                <a:lnTo>
                  <a:pt x="469" y="316"/>
                </a:lnTo>
                <a:lnTo>
                  <a:pt x="464" y="315"/>
                </a:lnTo>
                <a:lnTo>
                  <a:pt x="458" y="313"/>
                </a:lnTo>
                <a:lnTo>
                  <a:pt x="454" y="311"/>
                </a:lnTo>
                <a:lnTo>
                  <a:pt x="451" y="309"/>
                </a:lnTo>
                <a:lnTo>
                  <a:pt x="450" y="306"/>
                </a:lnTo>
                <a:lnTo>
                  <a:pt x="450" y="303"/>
                </a:lnTo>
                <a:lnTo>
                  <a:pt x="450" y="300"/>
                </a:lnTo>
                <a:lnTo>
                  <a:pt x="451" y="297"/>
                </a:lnTo>
                <a:lnTo>
                  <a:pt x="454" y="294"/>
                </a:lnTo>
                <a:lnTo>
                  <a:pt x="457" y="290"/>
                </a:lnTo>
                <a:lnTo>
                  <a:pt x="462" y="287"/>
                </a:lnTo>
                <a:lnTo>
                  <a:pt x="468" y="287"/>
                </a:lnTo>
                <a:lnTo>
                  <a:pt x="475" y="290"/>
                </a:lnTo>
                <a:lnTo>
                  <a:pt x="479" y="291"/>
                </a:lnTo>
                <a:lnTo>
                  <a:pt x="482" y="292"/>
                </a:lnTo>
                <a:lnTo>
                  <a:pt x="485" y="292"/>
                </a:lnTo>
                <a:lnTo>
                  <a:pt x="486" y="291"/>
                </a:lnTo>
                <a:lnTo>
                  <a:pt x="487" y="288"/>
                </a:lnTo>
                <a:lnTo>
                  <a:pt x="487" y="286"/>
                </a:lnTo>
                <a:lnTo>
                  <a:pt x="486" y="284"/>
                </a:lnTo>
                <a:lnTo>
                  <a:pt x="485" y="280"/>
                </a:lnTo>
                <a:lnTo>
                  <a:pt x="483" y="277"/>
                </a:lnTo>
                <a:lnTo>
                  <a:pt x="483" y="273"/>
                </a:lnTo>
                <a:lnTo>
                  <a:pt x="485" y="269"/>
                </a:lnTo>
                <a:lnTo>
                  <a:pt x="487" y="267"/>
                </a:lnTo>
                <a:lnTo>
                  <a:pt x="492" y="262"/>
                </a:lnTo>
                <a:lnTo>
                  <a:pt x="499" y="259"/>
                </a:lnTo>
                <a:lnTo>
                  <a:pt x="506" y="258"/>
                </a:lnTo>
                <a:lnTo>
                  <a:pt x="516" y="259"/>
                </a:lnTo>
                <a:lnTo>
                  <a:pt x="519" y="260"/>
                </a:lnTo>
                <a:lnTo>
                  <a:pt x="524" y="262"/>
                </a:lnTo>
                <a:lnTo>
                  <a:pt x="529" y="265"/>
                </a:lnTo>
                <a:lnTo>
                  <a:pt x="533" y="268"/>
                </a:lnTo>
                <a:lnTo>
                  <a:pt x="537" y="272"/>
                </a:lnTo>
                <a:lnTo>
                  <a:pt x="542" y="273"/>
                </a:lnTo>
                <a:lnTo>
                  <a:pt x="545" y="274"/>
                </a:lnTo>
                <a:lnTo>
                  <a:pt x="549" y="273"/>
                </a:lnTo>
                <a:lnTo>
                  <a:pt x="552" y="272"/>
                </a:lnTo>
                <a:lnTo>
                  <a:pt x="555" y="268"/>
                </a:lnTo>
                <a:lnTo>
                  <a:pt x="555" y="265"/>
                </a:lnTo>
                <a:lnTo>
                  <a:pt x="556" y="260"/>
                </a:lnTo>
                <a:lnTo>
                  <a:pt x="554" y="248"/>
                </a:lnTo>
                <a:lnTo>
                  <a:pt x="552" y="235"/>
                </a:lnTo>
                <a:lnTo>
                  <a:pt x="550" y="229"/>
                </a:lnTo>
                <a:lnTo>
                  <a:pt x="549" y="223"/>
                </a:lnTo>
                <a:lnTo>
                  <a:pt x="546" y="218"/>
                </a:lnTo>
                <a:lnTo>
                  <a:pt x="544" y="216"/>
                </a:lnTo>
                <a:lnTo>
                  <a:pt x="542" y="212"/>
                </a:lnTo>
                <a:lnTo>
                  <a:pt x="540" y="210"/>
                </a:lnTo>
                <a:lnTo>
                  <a:pt x="539" y="208"/>
                </a:lnTo>
                <a:lnTo>
                  <a:pt x="540" y="206"/>
                </a:lnTo>
                <a:lnTo>
                  <a:pt x="542" y="204"/>
                </a:lnTo>
                <a:lnTo>
                  <a:pt x="544" y="203"/>
                </a:lnTo>
                <a:lnTo>
                  <a:pt x="548" y="203"/>
                </a:lnTo>
                <a:lnTo>
                  <a:pt x="552" y="203"/>
                </a:lnTo>
                <a:lnTo>
                  <a:pt x="564" y="205"/>
                </a:lnTo>
                <a:lnTo>
                  <a:pt x="576" y="209"/>
                </a:lnTo>
                <a:lnTo>
                  <a:pt x="588" y="212"/>
                </a:lnTo>
                <a:lnTo>
                  <a:pt x="595" y="217"/>
                </a:lnTo>
                <a:lnTo>
                  <a:pt x="600" y="218"/>
                </a:lnTo>
                <a:lnTo>
                  <a:pt x="605" y="219"/>
                </a:lnTo>
                <a:lnTo>
                  <a:pt x="611" y="219"/>
                </a:lnTo>
                <a:lnTo>
                  <a:pt x="617" y="219"/>
                </a:lnTo>
                <a:lnTo>
                  <a:pt x="624" y="218"/>
                </a:lnTo>
                <a:lnTo>
                  <a:pt x="630" y="216"/>
                </a:lnTo>
                <a:lnTo>
                  <a:pt x="634" y="214"/>
                </a:lnTo>
                <a:lnTo>
                  <a:pt x="639" y="210"/>
                </a:lnTo>
                <a:lnTo>
                  <a:pt x="645" y="203"/>
                </a:lnTo>
                <a:lnTo>
                  <a:pt x="652" y="192"/>
                </a:lnTo>
                <a:lnTo>
                  <a:pt x="656" y="185"/>
                </a:lnTo>
                <a:lnTo>
                  <a:pt x="659" y="175"/>
                </a:lnTo>
                <a:lnTo>
                  <a:pt x="663" y="165"/>
                </a:lnTo>
                <a:lnTo>
                  <a:pt x="665" y="152"/>
                </a:lnTo>
                <a:lnTo>
                  <a:pt x="669" y="141"/>
                </a:lnTo>
                <a:lnTo>
                  <a:pt x="671" y="135"/>
                </a:lnTo>
                <a:lnTo>
                  <a:pt x="675" y="132"/>
                </a:lnTo>
                <a:lnTo>
                  <a:pt x="678" y="129"/>
                </a:lnTo>
                <a:lnTo>
                  <a:pt x="691" y="129"/>
                </a:lnTo>
                <a:lnTo>
                  <a:pt x="712" y="128"/>
                </a:lnTo>
                <a:lnTo>
                  <a:pt x="732" y="124"/>
                </a:lnTo>
                <a:lnTo>
                  <a:pt x="745" y="122"/>
                </a:lnTo>
                <a:lnTo>
                  <a:pt x="753" y="123"/>
                </a:lnTo>
                <a:lnTo>
                  <a:pt x="759" y="124"/>
                </a:lnTo>
                <a:lnTo>
                  <a:pt x="766" y="130"/>
                </a:lnTo>
                <a:lnTo>
                  <a:pt x="773" y="137"/>
                </a:lnTo>
                <a:lnTo>
                  <a:pt x="778" y="145"/>
                </a:lnTo>
                <a:lnTo>
                  <a:pt x="784" y="151"/>
                </a:lnTo>
                <a:lnTo>
                  <a:pt x="790" y="156"/>
                </a:lnTo>
                <a:lnTo>
                  <a:pt x="798" y="162"/>
                </a:lnTo>
                <a:lnTo>
                  <a:pt x="804" y="165"/>
                </a:lnTo>
                <a:lnTo>
                  <a:pt x="813" y="167"/>
                </a:lnTo>
                <a:lnTo>
                  <a:pt x="822" y="168"/>
                </a:lnTo>
                <a:lnTo>
                  <a:pt x="833" y="168"/>
                </a:lnTo>
                <a:lnTo>
                  <a:pt x="839" y="167"/>
                </a:lnTo>
                <a:lnTo>
                  <a:pt x="845" y="166"/>
                </a:lnTo>
                <a:lnTo>
                  <a:pt x="851" y="164"/>
                </a:lnTo>
                <a:lnTo>
                  <a:pt x="856" y="160"/>
                </a:lnTo>
                <a:lnTo>
                  <a:pt x="865" y="152"/>
                </a:lnTo>
                <a:lnTo>
                  <a:pt x="876" y="143"/>
                </a:lnTo>
                <a:lnTo>
                  <a:pt x="885" y="135"/>
                </a:lnTo>
                <a:lnTo>
                  <a:pt x="896" y="128"/>
                </a:lnTo>
                <a:lnTo>
                  <a:pt x="902" y="126"/>
                </a:lnTo>
                <a:lnTo>
                  <a:pt x="908" y="123"/>
                </a:lnTo>
                <a:lnTo>
                  <a:pt x="914" y="123"/>
                </a:lnTo>
                <a:lnTo>
                  <a:pt x="921" y="123"/>
                </a:lnTo>
                <a:lnTo>
                  <a:pt x="945" y="126"/>
                </a:lnTo>
                <a:lnTo>
                  <a:pt x="960" y="127"/>
                </a:lnTo>
                <a:lnTo>
                  <a:pt x="967" y="124"/>
                </a:lnTo>
                <a:lnTo>
                  <a:pt x="973" y="122"/>
                </a:lnTo>
                <a:lnTo>
                  <a:pt x="979" y="117"/>
                </a:lnTo>
                <a:lnTo>
                  <a:pt x="985" y="110"/>
                </a:lnTo>
                <a:lnTo>
                  <a:pt x="992" y="103"/>
                </a:lnTo>
                <a:lnTo>
                  <a:pt x="1001" y="97"/>
                </a:lnTo>
                <a:lnTo>
                  <a:pt x="1008" y="93"/>
                </a:lnTo>
                <a:lnTo>
                  <a:pt x="1016" y="90"/>
                </a:lnTo>
                <a:lnTo>
                  <a:pt x="1024" y="86"/>
                </a:lnTo>
                <a:lnTo>
                  <a:pt x="1033" y="83"/>
                </a:lnTo>
                <a:lnTo>
                  <a:pt x="1041" y="79"/>
                </a:lnTo>
                <a:lnTo>
                  <a:pt x="1049" y="73"/>
                </a:lnTo>
                <a:lnTo>
                  <a:pt x="1053" y="70"/>
                </a:lnTo>
                <a:lnTo>
                  <a:pt x="1055" y="66"/>
                </a:lnTo>
                <a:lnTo>
                  <a:pt x="1058" y="63"/>
                </a:lnTo>
                <a:lnTo>
                  <a:pt x="1060" y="58"/>
                </a:lnTo>
                <a:lnTo>
                  <a:pt x="1062" y="48"/>
                </a:lnTo>
                <a:lnTo>
                  <a:pt x="1065" y="39"/>
                </a:lnTo>
                <a:lnTo>
                  <a:pt x="1067" y="29"/>
                </a:lnTo>
                <a:lnTo>
                  <a:pt x="1072" y="20"/>
                </a:lnTo>
                <a:lnTo>
                  <a:pt x="1074" y="16"/>
                </a:lnTo>
                <a:lnTo>
                  <a:pt x="1078" y="13"/>
                </a:lnTo>
                <a:lnTo>
                  <a:pt x="1081" y="9"/>
                </a:lnTo>
                <a:lnTo>
                  <a:pt x="1086" y="6"/>
                </a:lnTo>
                <a:lnTo>
                  <a:pt x="1093" y="3"/>
                </a:lnTo>
                <a:lnTo>
                  <a:pt x="1102" y="1"/>
                </a:lnTo>
                <a:lnTo>
                  <a:pt x="1109" y="0"/>
                </a:lnTo>
                <a:lnTo>
                  <a:pt x="1117" y="0"/>
                </a:lnTo>
                <a:lnTo>
                  <a:pt x="1124" y="2"/>
                </a:lnTo>
                <a:lnTo>
                  <a:pt x="1131" y="6"/>
                </a:lnTo>
                <a:lnTo>
                  <a:pt x="1137" y="11"/>
                </a:lnTo>
                <a:lnTo>
                  <a:pt x="1143" y="19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3" name="黑龙江"/>
          <p:cNvSpPr/>
          <p:nvPr/>
        </p:nvSpPr>
        <p:spPr bwMode="auto">
          <a:xfrm>
            <a:off x="7501890" y="215900"/>
            <a:ext cx="1708785" cy="1649095"/>
          </a:xfrm>
          <a:custGeom>
            <a:avLst/>
            <a:gdLst>
              <a:gd name="T0" fmla="*/ 385 w 4137"/>
              <a:gd name="T1" fmla="*/ 68 h 3992"/>
              <a:gd name="T2" fmla="*/ 616 w 4137"/>
              <a:gd name="T3" fmla="*/ 2 h 3992"/>
              <a:gd name="T4" fmla="*/ 893 w 4137"/>
              <a:gd name="T5" fmla="*/ 105 h 3992"/>
              <a:gd name="T6" fmla="*/ 1227 w 4137"/>
              <a:gd name="T7" fmla="*/ 198 h 3992"/>
              <a:gd name="T8" fmla="*/ 1337 w 4137"/>
              <a:gd name="T9" fmla="*/ 327 h 3992"/>
              <a:gd name="T10" fmla="*/ 1458 w 4137"/>
              <a:gd name="T11" fmla="*/ 485 h 3992"/>
              <a:gd name="T12" fmla="*/ 1574 w 4137"/>
              <a:gd name="T13" fmla="*/ 700 h 3992"/>
              <a:gd name="T14" fmla="*/ 1623 w 4137"/>
              <a:gd name="T15" fmla="*/ 786 h 3992"/>
              <a:gd name="T16" fmla="*/ 1780 w 4137"/>
              <a:gd name="T17" fmla="*/ 1046 h 3992"/>
              <a:gd name="T18" fmla="*/ 1874 w 4137"/>
              <a:gd name="T19" fmla="*/ 1293 h 3992"/>
              <a:gd name="T20" fmla="*/ 2045 w 4137"/>
              <a:gd name="T21" fmla="*/ 1461 h 3992"/>
              <a:gd name="T22" fmla="*/ 2302 w 4137"/>
              <a:gd name="T23" fmla="*/ 1468 h 3992"/>
              <a:gd name="T24" fmla="*/ 2485 w 4137"/>
              <a:gd name="T25" fmla="*/ 1457 h 3992"/>
              <a:gd name="T26" fmla="*/ 2681 w 4137"/>
              <a:gd name="T27" fmla="*/ 1624 h 3992"/>
              <a:gd name="T28" fmla="*/ 2844 w 4137"/>
              <a:gd name="T29" fmla="*/ 1695 h 3992"/>
              <a:gd name="T30" fmla="*/ 2942 w 4137"/>
              <a:gd name="T31" fmla="*/ 1854 h 3992"/>
              <a:gd name="T32" fmla="*/ 3074 w 4137"/>
              <a:gd name="T33" fmla="*/ 2101 h 3992"/>
              <a:gd name="T34" fmla="*/ 3345 w 4137"/>
              <a:gd name="T35" fmla="*/ 2034 h 3992"/>
              <a:gd name="T36" fmla="*/ 3520 w 4137"/>
              <a:gd name="T37" fmla="*/ 1878 h 3992"/>
              <a:gd name="T38" fmla="*/ 3652 w 4137"/>
              <a:gd name="T39" fmla="*/ 1771 h 3992"/>
              <a:gd name="T40" fmla="*/ 3909 w 4137"/>
              <a:gd name="T41" fmla="*/ 1599 h 3992"/>
              <a:gd name="T42" fmla="*/ 4124 w 4137"/>
              <a:gd name="T43" fmla="*/ 1502 h 3992"/>
              <a:gd name="T44" fmla="*/ 4074 w 4137"/>
              <a:gd name="T45" fmla="*/ 1766 h 3992"/>
              <a:gd name="T46" fmla="*/ 4009 w 4137"/>
              <a:gd name="T47" fmla="*/ 2032 h 3992"/>
              <a:gd name="T48" fmla="*/ 3993 w 4137"/>
              <a:gd name="T49" fmla="*/ 2413 h 3992"/>
              <a:gd name="T50" fmla="*/ 3947 w 4137"/>
              <a:gd name="T51" fmla="*/ 2706 h 3992"/>
              <a:gd name="T52" fmla="*/ 3915 w 4137"/>
              <a:gd name="T53" fmla="*/ 3042 h 3992"/>
              <a:gd name="T54" fmla="*/ 3518 w 4137"/>
              <a:gd name="T55" fmla="*/ 3043 h 3992"/>
              <a:gd name="T56" fmla="*/ 3363 w 4137"/>
              <a:gd name="T57" fmla="*/ 3261 h 3992"/>
              <a:gd name="T58" fmla="*/ 3446 w 4137"/>
              <a:gd name="T59" fmla="*/ 3579 h 3992"/>
              <a:gd name="T60" fmla="*/ 3484 w 4137"/>
              <a:gd name="T61" fmla="*/ 3907 h 3992"/>
              <a:gd name="T62" fmla="*/ 3256 w 4137"/>
              <a:gd name="T63" fmla="*/ 3855 h 3992"/>
              <a:gd name="T64" fmla="*/ 3121 w 4137"/>
              <a:gd name="T65" fmla="*/ 3790 h 3992"/>
              <a:gd name="T66" fmla="*/ 2932 w 4137"/>
              <a:gd name="T67" fmla="*/ 3832 h 3992"/>
              <a:gd name="T68" fmla="*/ 2812 w 4137"/>
              <a:gd name="T69" fmla="*/ 3991 h 3992"/>
              <a:gd name="T70" fmla="*/ 2588 w 4137"/>
              <a:gd name="T71" fmla="*/ 3700 h 3992"/>
              <a:gd name="T72" fmla="*/ 2480 w 4137"/>
              <a:gd name="T73" fmla="*/ 3784 h 3992"/>
              <a:gd name="T74" fmla="*/ 2322 w 4137"/>
              <a:gd name="T75" fmla="*/ 3737 h 3992"/>
              <a:gd name="T76" fmla="*/ 2178 w 4137"/>
              <a:gd name="T77" fmla="*/ 3632 h 3992"/>
              <a:gd name="T78" fmla="*/ 2098 w 4137"/>
              <a:gd name="T79" fmla="*/ 3465 h 3992"/>
              <a:gd name="T80" fmla="*/ 1802 w 4137"/>
              <a:gd name="T81" fmla="*/ 3460 h 3992"/>
              <a:gd name="T82" fmla="*/ 1598 w 4137"/>
              <a:gd name="T83" fmla="*/ 3370 h 3992"/>
              <a:gd name="T84" fmla="*/ 1383 w 4137"/>
              <a:gd name="T85" fmla="*/ 3393 h 3992"/>
              <a:gd name="T86" fmla="*/ 1134 w 4137"/>
              <a:gd name="T87" fmla="*/ 3214 h 3992"/>
              <a:gd name="T88" fmla="*/ 974 w 4137"/>
              <a:gd name="T89" fmla="*/ 3093 h 3992"/>
              <a:gd name="T90" fmla="*/ 869 w 4137"/>
              <a:gd name="T91" fmla="*/ 2964 h 3992"/>
              <a:gd name="T92" fmla="*/ 961 w 4137"/>
              <a:gd name="T93" fmla="*/ 2837 h 3992"/>
              <a:gd name="T94" fmla="*/ 855 w 4137"/>
              <a:gd name="T95" fmla="*/ 2860 h 3992"/>
              <a:gd name="T96" fmla="*/ 705 w 4137"/>
              <a:gd name="T97" fmla="*/ 2767 h 3992"/>
              <a:gd name="T98" fmla="*/ 803 w 4137"/>
              <a:gd name="T99" fmla="*/ 2410 h 3992"/>
              <a:gd name="T100" fmla="*/ 1094 w 4137"/>
              <a:gd name="T101" fmla="*/ 2176 h 3992"/>
              <a:gd name="T102" fmla="*/ 1163 w 4137"/>
              <a:gd name="T103" fmla="*/ 1909 h 3992"/>
              <a:gd name="T104" fmla="*/ 1242 w 4137"/>
              <a:gd name="T105" fmla="*/ 1570 h 3992"/>
              <a:gd name="T106" fmla="*/ 1302 w 4137"/>
              <a:gd name="T107" fmla="*/ 1221 h 3992"/>
              <a:gd name="T108" fmla="*/ 1361 w 4137"/>
              <a:gd name="T109" fmla="*/ 926 h 3992"/>
              <a:gd name="T110" fmla="*/ 1089 w 4137"/>
              <a:gd name="T111" fmla="*/ 774 h 3992"/>
              <a:gd name="T112" fmla="*/ 912 w 4137"/>
              <a:gd name="T113" fmla="*/ 916 h 3992"/>
              <a:gd name="T114" fmla="*/ 669 w 4137"/>
              <a:gd name="T115" fmla="*/ 959 h 3992"/>
              <a:gd name="T116" fmla="*/ 505 w 4137"/>
              <a:gd name="T117" fmla="*/ 840 h 3992"/>
              <a:gd name="T118" fmla="*/ 429 w 4137"/>
              <a:gd name="T119" fmla="*/ 592 h 3992"/>
              <a:gd name="T120" fmla="*/ 262 w 4137"/>
              <a:gd name="T121" fmla="*/ 518 h 3992"/>
              <a:gd name="T122" fmla="*/ 0 w 4137"/>
              <a:gd name="T123" fmla="*/ 496 h 3992"/>
              <a:gd name="T124" fmla="*/ 87 w 4137"/>
              <a:gd name="T125" fmla="*/ 216 h 3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37" h="3992">
                <a:moveTo>
                  <a:pt x="49" y="156"/>
                </a:moveTo>
                <a:lnTo>
                  <a:pt x="60" y="153"/>
                </a:lnTo>
                <a:lnTo>
                  <a:pt x="71" y="150"/>
                </a:lnTo>
                <a:lnTo>
                  <a:pt x="82" y="145"/>
                </a:lnTo>
                <a:lnTo>
                  <a:pt x="92" y="139"/>
                </a:lnTo>
                <a:lnTo>
                  <a:pt x="102" y="132"/>
                </a:lnTo>
                <a:lnTo>
                  <a:pt x="114" y="124"/>
                </a:lnTo>
                <a:lnTo>
                  <a:pt x="120" y="120"/>
                </a:lnTo>
                <a:lnTo>
                  <a:pt x="127" y="118"/>
                </a:lnTo>
                <a:lnTo>
                  <a:pt x="134" y="115"/>
                </a:lnTo>
                <a:lnTo>
                  <a:pt x="144" y="114"/>
                </a:lnTo>
                <a:lnTo>
                  <a:pt x="161" y="114"/>
                </a:lnTo>
                <a:lnTo>
                  <a:pt x="175" y="113"/>
                </a:lnTo>
                <a:lnTo>
                  <a:pt x="182" y="112"/>
                </a:lnTo>
                <a:lnTo>
                  <a:pt x="187" y="111"/>
                </a:lnTo>
                <a:lnTo>
                  <a:pt x="192" y="108"/>
                </a:lnTo>
                <a:lnTo>
                  <a:pt x="195" y="106"/>
                </a:lnTo>
                <a:lnTo>
                  <a:pt x="202" y="97"/>
                </a:lnTo>
                <a:lnTo>
                  <a:pt x="212" y="89"/>
                </a:lnTo>
                <a:lnTo>
                  <a:pt x="217" y="86"/>
                </a:lnTo>
                <a:lnTo>
                  <a:pt x="222" y="82"/>
                </a:lnTo>
                <a:lnTo>
                  <a:pt x="228" y="80"/>
                </a:lnTo>
                <a:lnTo>
                  <a:pt x="234" y="77"/>
                </a:lnTo>
                <a:lnTo>
                  <a:pt x="245" y="76"/>
                </a:lnTo>
                <a:lnTo>
                  <a:pt x="255" y="77"/>
                </a:lnTo>
                <a:lnTo>
                  <a:pt x="262" y="80"/>
                </a:lnTo>
                <a:lnTo>
                  <a:pt x="269" y="82"/>
                </a:lnTo>
                <a:lnTo>
                  <a:pt x="275" y="84"/>
                </a:lnTo>
                <a:lnTo>
                  <a:pt x="283" y="86"/>
                </a:lnTo>
                <a:lnTo>
                  <a:pt x="293" y="84"/>
                </a:lnTo>
                <a:lnTo>
                  <a:pt x="302" y="81"/>
                </a:lnTo>
                <a:lnTo>
                  <a:pt x="313" y="76"/>
                </a:lnTo>
                <a:lnTo>
                  <a:pt x="326" y="71"/>
                </a:lnTo>
                <a:lnTo>
                  <a:pt x="334" y="69"/>
                </a:lnTo>
                <a:lnTo>
                  <a:pt x="341" y="68"/>
                </a:lnTo>
                <a:lnTo>
                  <a:pt x="348" y="68"/>
                </a:lnTo>
                <a:lnTo>
                  <a:pt x="357" y="68"/>
                </a:lnTo>
                <a:lnTo>
                  <a:pt x="371" y="69"/>
                </a:lnTo>
                <a:lnTo>
                  <a:pt x="385" y="68"/>
                </a:lnTo>
                <a:lnTo>
                  <a:pt x="396" y="65"/>
                </a:lnTo>
                <a:lnTo>
                  <a:pt x="407" y="61"/>
                </a:lnTo>
                <a:lnTo>
                  <a:pt x="415" y="53"/>
                </a:lnTo>
                <a:lnTo>
                  <a:pt x="425" y="46"/>
                </a:lnTo>
                <a:lnTo>
                  <a:pt x="430" y="43"/>
                </a:lnTo>
                <a:lnTo>
                  <a:pt x="436" y="40"/>
                </a:lnTo>
                <a:lnTo>
                  <a:pt x="444" y="38"/>
                </a:lnTo>
                <a:lnTo>
                  <a:pt x="449" y="37"/>
                </a:lnTo>
                <a:lnTo>
                  <a:pt x="463" y="37"/>
                </a:lnTo>
                <a:lnTo>
                  <a:pt x="473" y="34"/>
                </a:lnTo>
                <a:lnTo>
                  <a:pt x="477" y="33"/>
                </a:lnTo>
                <a:lnTo>
                  <a:pt x="480" y="31"/>
                </a:lnTo>
                <a:lnTo>
                  <a:pt x="483" y="29"/>
                </a:lnTo>
                <a:lnTo>
                  <a:pt x="485" y="25"/>
                </a:lnTo>
                <a:lnTo>
                  <a:pt x="489" y="18"/>
                </a:lnTo>
                <a:lnTo>
                  <a:pt x="495" y="12"/>
                </a:lnTo>
                <a:lnTo>
                  <a:pt x="498" y="10"/>
                </a:lnTo>
                <a:lnTo>
                  <a:pt x="502" y="7"/>
                </a:lnTo>
                <a:lnTo>
                  <a:pt x="505" y="6"/>
                </a:lnTo>
                <a:lnTo>
                  <a:pt x="510" y="6"/>
                </a:lnTo>
                <a:lnTo>
                  <a:pt x="520" y="7"/>
                </a:lnTo>
                <a:lnTo>
                  <a:pt x="527" y="10"/>
                </a:lnTo>
                <a:lnTo>
                  <a:pt x="533" y="13"/>
                </a:lnTo>
                <a:lnTo>
                  <a:pt x="536" y="15"/>
                </a:lnTo>
                <a:lnTo>
                  <a:pt x="540" y="18"/>
                </a:lnTo>
                <a:lnTo>
                  <a:pt x="545" y="19"/>
                </a:lnTo>
                <a:lnTo>
                  <a:pt x="548" y="19"/>
                </a:lnTo>
                <a:lnTo>
                  <a:pt x="551" y="18"/>
                </a:lnTo>
                <a:lnTo>
                  <a:pt x="553" y="17"/>
                </a:lnTo>
                <a:lnTo>
                  <a:pt x="556" y="14"/>
                </a:lnTo>
                <a:lnTo>
                  <a:pt x="561" y="8"/>
                </a:lnTo>
                <a:lnTo>
                  <a:pt x="566" y="5"/>
                </a:lnTo>
                <a:lnTo>
                  <a:pt x="571" y="4"/>
                </a:lnTo>
                <a:lnTo>
                  <a:pt x="577" y="4"/>
                </a:lnTo>
                <a:lnTo>
                  <a:pt x="584" y="8"/>
                </a:lnTo>
                <a:lnTo>
                  <a:pt x="589" y="12"/>
                </a:lnTo>
                <a:lnTo>
                  <a:pt x="596" y="6"/>
                </a:lnTo>
                <a:lnTo>
                  <a:pt x="608" y="0"/>
                </a:lnTo>
                <a:lnTo>
                  <a:pt x="616" y="2"/>
                </a:lnTo>
                <a:lnTo>
                  <a:pt x="625" y="7"/>
                </a:lnTo>
                <a:lnTo>
                  <a:pt x="636" y="12"/>
                </a:lnTo>
                <a:lnTo>
                  <a:pt x="647" y="17"/>
                </a:lnTo>
                <a:lnTo>
                  <a:pt x="658" y="19"/>
                </a:lnTo>
                <a:lnTo>
                  <a:pt x="668" y="21"/>
                </a:lnTo>
                <a:lnTo>
                  <a:pt x="673" y="23"/>
                </a:lnTo>
                <a:lnTo>
                  <a:pt x="678" y="25"/>
                </a:lnTo>
                <a:lnTo>
                  <a:pt x="682" y="27"/>
                </a:lnTo>
                <a:lnTo>
                  <a:pt x="687" y="31"/>
                </a:lnTo>
                <a:lnTo>
                  <a:pt x="694" y="39"/>
                </a:lnTo>
                <a:lnTo>
                  <a:pt x="702" y="46"/>
                </a:lnTo>
                <a:lnTo>
                  <a:pt x="706" y="49"/>
                </a:lnTo>
                <a:lnTo>
                  <a:pt x="711" y="51"/>
                </a:lnTo>
                <a:lnTo>
                  <a:pt x="717" y="52"/>
                </a:lnTo>
                <a:lnTo>
                  <a:pt x="724" y="52"/>
                </a:lnTo>
                <a:lnTo>
                  <a:pt x="737" y="51"/>
                </a:lnTo>
                <a:lnTo>
                  <a:pt x="748" y="49"/>
                </a:lnTo>
                <a:lnTo>
                  <a:pt x="759" y="46"/>
                </a:lnTo>
                <a:lnTo>
                  <a:pt x="769" y="45"/>
                </a:lnTo>
                <a:lnTo>
                  <a:pt x="774" y="46"/>
                </a:lnTo>
                <a:lnTo>
                  <a:pt x="780" y="48"/>
                </a:lnTo>
                <a:lnTo>
                  <a:pt x="785" y="50"/>
                </a:lnTo>
                <a:lnTo>
                  <a:pt x="789" y="53"/>
                </a:lnTo>
                <a:lnTo>
                  <a:pt x="798" y="61"/>
                </a:lnTo>
                <a:lnTo>
                  <a:pt x="804" y="69"/>
                </a:lnTo>
                <a:lnTo>
                  <a:pt x="809" y="78"/>
                </a:lnTo>
                <a:lnTo>
                  <a:pt x="813" y="88"/>
                </a:lnTo>
                <a:lnTo>
                  <a:pt x="819" y="96"/>
                </a:lnTo>
                <a:lnTo>
                  <a:pt x="825" y="103"/>
                </a:lnTo>
                <a:lnTo>
                  <a:pt x="831" y="107"/>
                </a:lnTo>
                <a:lnTo>
                  <a:pt x="841" y="111"/>
                </a:lnTo>
                <a:lnTo>
                  <a:pt x="845" y="111"/>
                </a:lnTo>
                <a:lnTo>
                  <a:pt x="850" y="111"/>
                </a:lnTo>
                <a:lnTo>
                  <a:pt x="855" y="111"/>
                </a:lnTo>
                <a:lnTo>
                  <a:pt x="860" y="109"/>
                </a:lnTo>
                <a:lnTo>
                  <a:pt x="870" y="106"/>
                </a:lnTo>
                <a:lnTo>
                  <a:pt x="882" y="103"/>
                </a:lnTo>
                <a:lnTo>
                  <a:pt x="887" y="103"/>
                </a:lnTo>
                <a:lnTo>
                  <a:pt x="893" y="105"/>
                </a:lnTo>
                <a:lnTo>
                  <a:pt x="899" y="107"/>
                </a:lnTo>
                <a:lnTo>
                  <a:pt x="904" y="109"/>
                </a:lnTo>
                <a:lnTo>
                  <a:pt x="921" y="125"/>
                </a:lnTo>
                <a:lnTo>
                  <a:pt x="936" y="133"/>
                </a:lnTo>
                <a:lnTo>
                  <a:pt x="938" y="134"/>
                </a:lnTo>
                <a:lnTo>
                  <a:pt x="942" y="134"/>
                </a:lnTo>
                <a:lnTo>
                  <a:pt x="945" y="133"/>
                </a:lnTo>
                <a:lnTo>
                  <a:pt x="949" y="132"/>
                </a:lnTo>
                <a:lnTo>
                  <a:pt x="951" y="130"/>
                </a:lnTo>
                <a:lnTo>
                  <a:pt x="955" y="127"/>
                </a:lnTo>
                <a:lnTo>
                  <a:pt x="956" y="125"/>
                </a:lnTo>
                <a:lnTo>
                  <a:pt x="958" y="121"/>
                </a:lnTo>
                <a:lnTo>
                  <a:pt x="962" y="112"/>
                </a:lnTo>
                <a:lnTo>
                  <a:pt x="968" y="102"/>
                </a:lnTo>
                <a:lnTo>
                  <a:pt x="971" y="96"/>
                </a:lnTo>
                <a:lnTo>
                  <a:pt x="975" y="93"/>
                </a:lnTo>
                <a:lnTo>
                  <a:pt x="980" y="90"/>
                </a:lnTo>
                <a:lnTo>
                  <a:pt x="983" y="88"/>
                </a:lnTo>
                <a:lnTo>
                  <a:pt x="994" y="88"/>
                </a:lnTo>
                <a:lnTo>
                  <a:pt x="1008" y="87"/>
                </a:lnTo>
                <a:lnTo>
                  <a:pt x="1022" y="86"/>
                </a:lnTo>
                <a:lnTo>
                  <a:pt x="1036" y="87"/>
                </a:lnTo>
                <a:lnTo>
                  <a:pt x="1049" y="90"/>
                </a:lnTo>
                <a:lnTo>
                  <a:pt x="1061" y="95"/>
                </a:lnTo>
                <a:lnTo>
                  <a:pt x="1072" y="102"/>
                </a:lnTo>
                <a:lnTo>
                  <a:pt x="1083" y="108"/>
                </a:lnTo>
                <a:lnTo>
                  <a:pt x="1094" y="114"/>
                </a:lnTo>
                <a:lnTo>
                  <a:pt x="1108" y="120"/>
                </a:lnTo>
                <a:lnTo>
                  <a:pt x="1122" y="124"/>
                </a:lnTo>
                <a:lnTo>
                  <a:pt x="1134" y="126"/>
                </a:lnTo>
                <a:lnTo>
                  <a:pt x="1140" y="127"/>
                </a:lnTo>
                <a:lnTo>
                  <a:pt x="1147" y="130"/>
                </a:lnTo>
                <a:lnTo>
                  <a:pt x="1154" y="133"/>
                </a:lnTo>
                <a:lnTo>
                  <a:pt x="1160" y="137"/>
                </a:lnTo>
                <a:lnTo>
                  <a:pt x="1173" y="147"/>
                </a:lnTo>
                <a:lnTo>
                  <a:pt x="1187" y="160"/>
                </a:lnTo>
                <a:lnTo>
                  <a:pt x="1201" y="176"/>
                </a:lnTo>
                <a:lnTo>
                  <a:pt x="1217" y="190"/>
                </a:lnTo>
                <a:lnTo>
                  <a:pt x="1227" y="198"/>
                </a:lnTo>
                <a:lnTo>
                  <a:pt x="1236" y="206"/>
                </a:lnTo>
                <a:lnTo>
                  <a:pt x="1247" y="214"/>
                </a:lnTo>
                <a:lnTo>
                  <a:pt x="1259" y="221"/>
                </a:lnTo>
                <a:lnTo>
                  <a:pt x="1266" y="222"/>
                </a:lnTo>
                <a:lnTo>
                  <a:pt x="1273" y="222"/>
                </a:lnTo>
                <a:lnTo>
                  <a:pt x="1282" y="221"/>
                </a:lnTo>
                <a:lnTo>
                  <a:pt x="1289" y="221"/>
                </a:lnTo>
                <a:lnTo>
                  <a:pt x="1291" y="221"/>
                </a:lnTo>
                <a:lnTo>
                  <a:pt x="1294" y="221"/>
                </a:lnTo>
                <a:lnTo>
                  <a:pt x="1296" y="222"/>
                </a:lnTo>
                <a:lnTo>
                  <a:pt x="1297" y="225"/>
                </a:lnTo>
                <a:lnTo>
                  <a:pt x="1299" y="231"/>
                </a:lnTo>
                <a:lnTo>
                  <a:pt x="1299" y="239"/>
                </a:lnTo>
                <a:lnTo>
                  <a:pt x="1299" y="244"/>
                </a:lnTo>
                <a:lnTo>
                  <a:pt x="1298" y="248"/>
                </a:lnTo>
                <a:lnTo>
                  <a:pt x="1297" y="253"/>
                </a:lnTo>
                <a:lnTo>
                  <a:pt x="1295" y="257"/>
                </a:lnTo>
                <a:lnTo>
                  <a:pt x="1292" y="260"/>
                </a:lnTo>
                <a:lnTo>
                  <a:pt x="1290" y="263"/>
                </a:lnTo>
                <a:lnTo>
                  <a:pt x="1286" y="265"/>
                </a:lnTo>
                <a:lnTo>
                  <a:pt x="1283" y="266"/>
                </a:lnTo>
                <a:lnTo>
                  <a:pt x="1278" y="270"/>
                </a:lnTo>
                <a:lnTo>
                  <a:pt x="1273" y="275"/>
                </a:lnTo>
                <a:lnTo>
                  <a:pt x="1272" y="279"/>
                </a:lnTo>
                <a:lnTo>
                  <a:pt x="1272" y="284"/>
                </a:lnTo>
                <a:lnTo>
                  <a:pt x="1274" y="289"/>
                </a:lnTo>
                <a:lnTo>
                  <a:pt x="1280" y="294"/>
                </a:lnTo>
                <a:lnTo>
                  <a:pt x="1283" y="295"/>
                </a:lnTo>
                <a:lnTo>
                  <a:pt x="1288" y="297"/>
                </a:lnTo>
                <a:lnTo>
                  <a:pt x="1291" y="298"/>
                </a:lnTo>
                <a:lnTo>
                  <a:pt x="1296" y="298"/>
                </a:lnTo>
                <a:lnTo>
                  <a:pt x="1305" y="300"/>
                </a:lnTo>
                <a:lnTo>
                  <a:pt x="1316" y="302"/>
                </a:lnTo>
                <a:lnTo>
                  <a:pt x="1320" y="303"/>
                </a:lnTo>
                <a:lnTo>
                  <a:pt x="1324" y="305"/>
                </a:lnTo>
                <a:lnTo>
                  <a:pt x="1327" y="308"/>
                </a:lnTo>
                <a:lnTo>
                  <a:pt x="1329" y="311"/>
                </a:lnTo>
                <a:lnTo>
                  <a:pt x="1334" y="319"/>
                </a:lnTo>
                <a:lnTo>
                  <a:pt x="1337" y="327"/>
                </a:lnTo>
                <a:lnTo>
                  <a:pt x="1343" y="335"/>
                </a:lnTo>
                <a:lnTo>
                  <a:pt x="1351" y="341"/>
                </a:lnTo>
                <a:lnTo>
                  <a:pt x="1367" y="351"/>
                </a:lnTo>
                <a:lnTo>
                  <a:pt x="1381" y="360"/>
                </a:lnTo>
                <a:lnTo>
                  <a:pt x="1386" y="366"/>
                </a:lnTo>
                <a:lnTo>
                  <a:pt x="1389" y="373"/>
                </a:lnTo>
                <a:lnTo>
                  <a:pt x="1390" y="379"/>
                </a:lnTo>
                <a:lnTo>
                  <a:pt x="1387" y="386"/>
                </a:lnTo>
                <a:lnTo>
                  <a:pt x="1386" y="392"/>
                </a:lnTo>
                <a:lnTo>
                  <a:pt x="1386" y="397"/>
                </a:lnTo>
                <a:lnTo>
                  <a:pt x="1387" y="399"/>
                </a:lnTo>
                <a:lnTo>
                  <a:pt x="1390" y="401"/>
                </a:lnTo>
                <a:lnTo>
                  <a:pt x="1392" y="402"/>
                </a:lnTo>
                <a:lnTo>
                  <a:pt x="1395" y="402"/>
                </a:lnTo>
                <a:lnTo>
                  <a:pt x="1400" y="403"/>
                </a:lnTo>
                <a:lnTo>
                  <a:pt x="1405" y="405"/>
                </a:lnTo>
                <a:lnTo>
                  <a:pt x="1409" y="408"/>
                </a:lnTo>
                <a:lnTo>
                  <a:pt x="1411" y="411"/>
                </a:lnTo>
                <a:lnTo>
                  <a:pt x="1410" y="415"/>
                </a:lnTo>
                <a:lnTo>
                  <a:pt x="1406" y="420"/>
                </a:lnTo>
                <a:lnTo>
                  <a:pt x="1402" y="423"/>
                </a:lnTo>
                <a:lnTo>
                  <a:pt x="1397" y="426"/>
                </a:lnTo>
                <a:lnTo>
                  <a:pt x="1392" y="429"/>
                </a:lnTo>
                <a:lnTo>
                  <a:pt x="1389" y="433"/>
                </a:lnTo>
                <a:lnTo>
                  <a:pt x="1387" y="436"/>
                </a:lnTo>
                <a:lnTo>
                  <a:pt x="1387" y="441"/>
                </a:lnTo>
                <a:lnTo>
                  <a:pt x="1389" y="445"/>
                </a:lnTo>
                <a:lnTo>
                  <a:pt x="1391" y="447"/>
                </a:lnTo>
                <a:lnTo>
                  <a:pt x="1395" y="448"/>
                </a:lnTo>
                <a:lnTo>
                  <a:pt x="1399" y="449"/>
                </a:lnTo>
                <a:lnTo>
                  <a:pt x="1409" y="452"/>
                </a:lnTo>
                <a:lnTo>
                  <a:pt x="1418" y="454"/>
                </a:lnTo>
                <a:lnTo>
                  <a:pt x="1427" y="456"/>
                </a:lnTo>
                <a:lnTo>
                  <a:pt x="1436" y="459"/>
                </a:lnTo>
                <a:lnTo>
                  <a:pt x="1444" y="462"/>
                </a:lnTo>
                <a:lnTo>
                  <a:pt x="1452" y="467"/>
                </a:lnTo>
                <a:lnTo>
                  <a:pt x="1455" y="474"/>
                </a:lnTo>
                <a:lnTo>
                  <a:pt x="1458" y="481"/>
                </a:lnTo>
                <a:lnTo>
                  <a:pt x="1458" y="485"/>
                </a:lnTo>
                <a:lnTo>
                  <a:pt x="1458" y="490"/>
                </a:lnTo>
                <a:lnTo>
                  <a:pt x="1456" y="493"/>
                </a:lnTo>
                <a:lnTo>
                  <a:pt x="1455" y="498"/>
                </a:lnTo>
                <a:lnTo>
                  <a:pt x="1450" y="505"/>
                </a:lnTo>
                <a:lnTo>
                  <a:pt x="1446" y="510"/>
                </a:lnTo>
                <a:lnTo>
                  <a:pt x="1443" y="513"/>
                </a:lnTo>
                <a:lnTo>
                  <a:pt x="1441" y="517"/>
                </a:lnTo>
                <a:lnTo>
                  <a:pt x="1441" y="521"/>
                </a:lnTo>
                <a:lnTo>
                  <a:pt x="1441" y="524"/>
                </a:lnTo>
                <a:lnTo>
                  <a:pt x="1443" y="535"/>
                </a:lnTo>
                <a:lnTo>
                  <a:pt x="1449" y="546"/>
                </a:lnTo>
                <a:lnTo>
                  <a:pt x="1455" y="555"/>
                </a:lnTo>
                <a:lnTo>
                  <a:pt x="1461" y="563"/>
                </a:lnTo>
                <a:lnTo>
                  <a:pt x="1468" y="571"/>
                </a:lnTo>
                <a:lnTo>
                  <a:pt x="1478" y="579"/>
                </a:lnTo>
                <a:lnTo>
                  <a:pt x="1481" y="582"/>
                </a:lnTo>
                <a:lnTo>
                  <a:pt x="1486" y="587"/>
                </a:lnTo>
                <a:lnTo>
                  <a:pt x="1488" y="591"/>
                </a:lnTo>
                <a:lnTo>
                  <a:pt x="1492" y="595"/>
                </a:lnTo>
                <a:lnTo>
                  <a:pt x="1497" y="605"/>
                </a:lnTo>
                <a:lnTo>
                  <a:pt x="1503" y="612"/>
                </a:lnTo>
                <a:lnTo>
                  <a:pt x="1509" y="618"/>
                </a:lnTo>
                <a:lnTo>
                  <a:pt x="1516" y="622"/>
                </a:lnTo>
                <a:lnTo>
                  <a:pt x="1523" y="626"/>
                </a:lnTo>
                <a:lnTo>
                  <a:pt x="1531" y="632"/>
                </a:lnTo>
                <a:lnTo>
                  <a:pt x="1534" y="636"/>
                </a:lnTo>
                <a:lnTo>
                  <a:pt x="1536" y="639"/>
                </a:lnTo>
                <a:lnTo>
                  <a:pt x="1538" y="643"/>
                </a:lnTo>
                <a:lnTo>
                  <a:pt x="1540" y="648"/>
                </a:lnTo>
                <a:lnTo>
                  <a:pt x="1538" y="664"/>
                </a:lnTo>
                <a:lnTo>
                  <a:pt x="1536" y="676"/>
                </a:lnTo>
                <a:lnTo>
                  <a:pt x="1536" y="680"/>
                </a:lnTo>
                <a:lnTo>
                  <a:pt x="1538" y="683"/>
                </a:lnTo>
                <a:lnTo>
                  <a:pt x="1541" y="686"/>
                </a:lnTo>
                <a:lnTo>
                  <a:pt x="1546" y="687"/>
                </a:lnTo>
                <a:lnTo>
                  <a:pt x="1551" y="688"/>
                </a:lnTo>
                <a:lnTo>
                  <a:pt x="1560" y="691"/>
                </a:lnTo>
                <a:lnTo>
                  <a:pt x="1568" y="694"/>
                </a:lnTo>
                <a:lnTo>
                  <a:pt x="1574" y="700"/>
                </a:lnTo>
                <a:lnTo>
                  <a:pt x="1579" y="706"/>
                </a:lnTo>
                <a:lnTo>
                  <a:pt x="1581" y="712"/>
                </a:lnTo>
                <a:lnTo>
                  <a:pt x="1580" y="718"/>
                </a:lnTo>
                <a:lnTo>
                  <a:pt x="1578" y="725"/>
                </a:lnTo>
                <a:lnTo>
                  <a:pt x="1575" y="733"/>
                </a:lnTo>
                <a:lnTo>
                  <a:pt x="1575" y="740"/>
                </a:lnTo>
                <a:lnTo>
                  <a:pt x="1576" y="743"/>
                </a:lnTo>
                <a:lnTo>
                  <a:pt x="1579" y="745"/>
                </a:lnTo>
                <a:lnTo>
                  <a:pt x="1581" y="748"/>
                </a:lnTo>
                <a:lnTo>
                  <a:pt x="1586" y="749"/>
                </a:lnTo>
                <a:lnTo>
                  <a:pt x="1594" y="750"/>
                </a:lnTo>
                <a:lnTo>
                  <a:pt x="1603" y="751"/>
                </a:lnTo>
                <a:lnTo>
                  <a:pt x="1605" y="752"/>
                </a:lnTo>
                <a:lnTo>
                  <a:pt x="1607" y="754"/>
                </a:lnTo>
                <a:lnTo>
                  <a:pt x="1610" y="756"/>
                </a:lnTo>
                <a:lnTo>
                  <a:pt x="1611" y="758"/>
                </a:lnTo>
                <a:lnTo>
                  <a:pt x="1611" y="762"/>
                </a:lnTo>
                <a:lnTo>
                  <a:pt x="1611" y="764"/>
                </a:lnTo>
                <a:lnTo>
                  <a:pt x="1609" y="768"/>
                </a:lnTo>
                <a:lnTo>
                  <a:pt x="1607" y="770"/>
                </a:lnTo>
                <a:lnTo>
                  <a:pt x="1601" y="776"/>
                </a:lnTo>
                <a:lnTo>
                  <a:pt x="1597" y="781"/>
                </a:lnTo>
                <a:lnTo>
                  <a:pt x="1592" y="787"/>
                </a:lnTo>
                <a:lnTo>
                  <a:pt x="1590" y="793"/>
                </a:lnTo>
                <a:lnTo>
                  <a:pt x="1587" y="800"/>
                </a:lnTo>
                <a:lnTo>
                  <a:pt x="1588" y="807"/>
                </a:lnTo>
                <a:lnTo>
                  <a:pt x="1590" y="811"/>
                </a:lnTo>
                <a:lnTo>
                  <a:pt x="1593" y="813"/>
                </a:lnTo>
                <a:lnTo>
                  <a:pt x="1595" y="815"/>
                </a:lnTo>
                <a:lnTo>
                  <a:pt x="1599" y="817"/>
                </a:lnTo>
                <a:lnTo>
                  <a:pt x="1603" y="818"/>
                </a:lnTo>
                <a:lnTo>
                  <a:pt x="1606" y="817"/>
                </a:lnTo>
                <a:lnTo>
                  <a:pt x="1610" y="815"/>
                </a:lnTo>
                <a:lnTo>
                  <a:pt x="1612" y="813"/>
                </a:lnTo>
                <a:lnTo>
                  <a:pt x="1616" y="806"/>
                </a:lnTo>
                <a:lnTo>
                  <a:pt x="1618" y="796"/>
                </a:lnTo>
                <a:lnTo>
                  <a:pt x="1619" y="793"/>
                </a:lnTo>
                <a:lnTo>
                  <a:pt x="1620" y="788"/>
                </a:lnTo>
                <a:lnTo>
                  <a:pt x="1623" y="786"/>
                </a:lnTo>
                <a:lnTo>
                  <a:pt x="1625" y="784"/>
                </a:lnTo>
                <a:lnTo>
                  <a:pt x="1629" y="784"/>
                </a:lnTo>
                <a:lnTo>
                  <a:pt x="1632" y="786"/>
                </a:lnTo>
                <a:lnTo>
                  <a:pt x="1635" y="787"/>
                </a:lnTo>
                <a:lnTo>
                  <a:pt x="1638" y="789"/>
                </a:lnTo>
                <a:lnTo>
                  <a:pt x="1639" y="792"/>
                </a:lnTo>
                <a:lnTo>
                  <a:pt x="1642" y="795"/>
                </a:lnTo>
                <a:lnTo>
                  <a:pt x="1643" y="799"/>
                </a:lnTo>
                <a:lnTo>
                  <a:pt x="1643" y="802"/>
                </a:lnTo>
                <a:lnTo>
                  <a:pt x="1641" y="812"/>
                </a:lnTo>
                <a:lnTo>
                  <a:pt x="1637" y="823"/>
                </a:lnTo>
                <a:lnTo>
                  <a:pt x="1633" y="834"/>
                </a:lnTo>
                <a:lnTo>
                  <a:pt x="1631" y="843"/>
                </a:lnTo>
                <a:lnTo>
                  <a:pt x="1630" y="852"/>
                </a:lnTo>
                <a:lnTo>
                  <a:pt x="1630" y="862"/>
                </a:lnTo>
                <a:lnTo>
                  <a:pt x="1632" y="871"/>
                </a:lnTo>
                <a:lnTo>
                  <a:pt x="1636" y="882"/>
                </a:lnTo>
                <a:lnTo>
                  <a:pt x="1643" y="893"/>
                </a:lnTo>
                <a:lnTo>
                  <a:pt x="1653" y="903"/>
                </a:lnTo>
                <a:lnTo>
                  <a:pt x="1662" y="913"/>
                </a:lnTo>
                <a:lnTo>
                  <a:pt x="1670" y="921"/>
                </a:lnTo>
                <a:lnTo>
                  <a:pt x="1686" y="933"/>
                </a:lnTo>
                <a:lnTo>
                  <a:pt x="1701" y="941"/>
                </a:lnTo>
                <a:lnTo>
                  <a:pt x="1706" y="945"/>
                </a:lnTo>
                <a:lnTo>
                  <a:pt x="1711" y="948"/>
                </a:lnTo>
                <a:lnTo>
                  <a:pt x="1716" y="954"/>
                </a:lnTo>
                <a:lnTo>
                  <a:pt x="1720" y="960"/>
                </a:lnTo>
                <a:lnTo>
                  <a:pt x="1725" y="968"/>
                </a:lnTo>
                <a:lnTo>
                  <a:pt x="1731" y="976"/>
                </a:lnTo>
                <a:lnTo>
                  <a:pt x="1738" y="984"/>
                </a:lnTo>
                <a:lnTo>
                  <a:pt x="1745" y="991"/>
                </a:lnTo>
                <a:lnTo>
                  <a:pt x="1752" y="996"/>
                </a:lnTo>
                <a:lnTo>
                  <a:pt x="1758" y="1002"/>
                </a:lnTo>
                <a:lnTo>
                  <a:pt x="1763" y="1009"/>
                </a:lnTo>
                <a:lnTo>
                  <a:pt x="1765" y="1017"/>
                </a:lnTo>
                <a:lnTo>
                  <a:pt x="1768" y="1027"/>
                </a:lnTo>
                <a:lnTo>
                  <a:pt x="1771" y="1034"/>
                </a:lnTo>
                <a:lnTo>
                  <a:pt x="1775" y="1041"/>
                </a:lnTo>
                <a:lnTo>
                  <a:pt x="1780" y="1046"/>
                </a:lnTo>
                <a:lnTo>
                  <a:pt x="1784" y="1052"/>
                </a:lnTo>
                <a:lnTo>
                  <a:pt x="1790" y="1059"/>
                </a:lnTo>
                <a:lnTo>
                  <a:pt x="1793" y="1063"/>
                </a:lnTo>
                <a:lnTo>
                  <a:pt x="1794" y="1066"/>
                </a:lnTo>
                <a:lnTo>
                  <a:pt x="1796" y="1071"/>
                </a:lnTo>
                <a:lnTo>
                  <a:pt x="1796" y="1076"/>
                </a:lnTo>
                <a:lnTo>
                  <a:pt x="1796" y="1086"/>
                </a:lnTo>
                <a:lnTo>
                  <a:pt x="1794" y="1095"/>
                </a:lnTo>
                <a:lnTo>
                  <a:pt x="1792" y="1103"/>
                </a:lnTo>
                <a:lnTo>
                  <a:pt x="1789" y="1109"/>
                </a:lnTo>
                <a:lnTo>
                  <a:pt x="1788" y="1116"/>
                </a:lnTo>
                <a:lnTo>
                  <a:pt x="1788" y="1123"/>
                </a:lnTo>
                <a:lnTo>
                  <a:pt x="1790" y="1129"/>
                </a:lnTo>
                <a:lnTo>
                  <a:pt x="1795" y="1136"/>
                </a:lnTo>
                <a:lnTo>
                  <a:pt x="1801" y="1141"/>
                </a:lnTo>
                <a:lnTo>
                  <a:pt x="1806" y="1147"/>
                </a:lnTo>
                <a:lnTo>
                  <a:pt x="1808" y="1149"/>
                </a:lnTo>
                <a:lnTo>
                  <a:pt x="1811" y="1153"/>
                </a:lnTo>
                <a:lnTo>
                  <a:pt x="1813" y="1156"/>
                </a:lnTo>
                <a:lnTo>
                  <a:pt x="1813" y="1161"/>
                </a:lnTo>
                <a:lnTo>
                  <a:pt x="1815" y="1173"/>
                </a:lnTo>
                <a:lnTo>
                  <a:pt x="1819" y="1184"/>
                </a:lnTo>
                <a:lnTo>
                  <a:pt x="1823" y="1192"/>
                </a:lnTo>
                <a:lnTo>
                  <a:pt x="1827" y="1199"/>
                </a:lnTo>
                <a:lnTo>
                  <a:pt x="1834" y="1204"/>
                </a:lnTo>
                <a:lnTo>
                  <a:pt x="1843" y="1208"/>
                </a:lnTo>
                <a:lnTo>
                  <a:pt x="1852" y="1211"/>
                </a:lnTo>
                <a:lnTo>
                  <a:pt x="1864" y="1214"/>
                </a:lnTo>
                <a:lnTo>
                  <a:pt x="1874" y="1216"/>
                </a:lnTo>
                <a:lnTo>
                  <a:pt x="1880" y="1218"/>
                </a:lnTo>
                <a:lnTo>
                  <a:pt x="1882" y="1219"/>
                </a:lnTo>
                <a:lnTo>
                  <a:pt x="1883" y="1222"/>
                </a:lnTo>
                <a:lnTo>
                  <a:pt x="1884" y="1227"/>
                </a:lnTo>
                <a:lnTo>
                  <a:pt x="1884" y="1231"/>
                </a:lnTo>
                <a:lnTo>
                  <a:pt x="1883" y="1244"/>
                </a:lnTo>
                <a:lnTo>
                  <a:pt x="1881" y="1259"/>
                </a:lnTo>
                <a:lnTo>
                  <a:pt x="1878" y="1273"/>
                </a:lnTo>
                <a:lnTo>
                  <a:pt x="1876" y="1284"/>
                </a:lnTo>
                <a:lnTo>
                  <a:pt x="1874" y="1293"/>
                </a:lnTo>
                <a:lnTo>
                  <a:pt x="1874" y="1302"/>
                </a:lnTo>
                <a:lnTo>
                  <a:pt x="1875" y="1310"/>
                </a:lnTo>
                <a:lnTo>
                  <a:pt x="1877" y="1317"/>
                </a:lnTo>
                <a:lnTo>
                  <a:pt x="1881" y="1323"/>
                </a:lnTo>
                <a:lnTo>
                  <a:pt x="1884" y="1331"/>
                </a:lnTo>
                <a:lnTo>
                  <a:pt x="1888" y="1340"/>
                </a:lnTo>
                <a:lnTo>
                  <a:pt x="1889" y="1349"/>
                </a:lnTo>
                <a:lnTo>
                  <a:pt x="1890" y="1361"/>
                </a:lnTo>
                <a:lnTo>
                  <a:pt x="1891" y="1373"/>
                </a:lnTo>
                <a:lnTo>
                  <a:pt x="1894" y="1384"/>
                </a:lnTo>
                <a:lnTo>
                  <a:pt x="1896" y="1391"/>
                </a:lnTo>
                <a:lnTo>
                  <a:pt x="1902" y="1395"/>
                </a:lnTo>
                <a:lnTo>
                  <a:pt x="1912" y="1400"/>
                </a:lnTo>
                <a:lnTo>
                  <a:pt x="1921" y="1404"/>
                </a:lnTo>
                <a:lnTo>
                  <a:pt x="1928" y="1406"/>
                </a:lnTo>
                <a:lnTo>
                  <a:pt x="1933" y="1408"/>
                </a:lnTo>
                <a:lnTo>
                  <a:pt x="1938" y="1411"/>
                </a:lnTo>
                <a:lnTo>
                  <a:pt x="1940" y="1416"/>
                </a:lnTo>
                <a:lnTo>
                  <a:pt x="1943" y="1422"/>
                </a:lnTo>
                <a:lnTo>
                  <a:pt x="1944" y="1430"/>
                </a:lnTo>
                <a:lnTo>
                  <a:pt x="1945" y="1437"/>
                </a:lnTo>
                <a:lnTo>
                  <a:pt x="1947" y="1443"/>
                </a:lnTo>
                <a:lnTo>
                  <a:pt x="1951" y="1447"/>
                </a:lnTo>
                <a:lnTo>
                  <a:pt x="1956" y="1447"/>
                </a:lnTo>
                <a:lnTo>
                  <a:pt x="1960" y="1448"/>
                </a:lnTo>
                <a:lnTo>
                  <a:pt x="1965" y="1450"/>
                </a:lnTo>
                <a:lnTo>
                  <a:pt x="1971" y="1455"/>
                </a:lnTo>
                <a:lnTo>
                  <a:pt x="1977" y="1462"/>
                </a:lnTo>
                <a:lnTo>
                  <a:pt x="1985" y="1468"/>
                </a:lnTo>
                <a:lnTo>
                  <a:pt x="1989" y="1469"/>
                </a:lnTo>
                <a:lnTo>
                  <a:pt x="1994" y="1471"/>
                </a:lnTo>
                <a:lnTo>
                  <a:pt x="1998" y="1471"/>
                </a:lnTo>
                <a:lnTo>
                  <a:pt x="2004" y="1470"/>
                </a:lnTo>
                <a:lnTo>
                  <a:pt x="2015" y="1467"/>
                </a:lnTo>
                <a:lnTo>
                  <a:pt x="2026" y="1462"/>
                </a:lnTo>
                <a:lnTo>
                  <a:pt x="2031" y="1460"/>
                </a:lnTo>
                <a:lnTo>
                  <a:pt x="2035" y="1458"/>
                </a:lnTo>
                <a:lnTo>
                  <a:pt x="2040" y="1460"/>
                </a:lnTo>
                <a:lnTo>
                  <a:pt x="2045" y="1461"/>
                </a:lnTo>
                <a:lnTo>
                  <a:pt x="2054" y="1468"/>
                </a:lnTo>
                <a:lnTo>
                  <a:pt x="2065" y="1473"/>
                </a:lnTo>
                <a:lnTo>
                  <a:pt x="2070" y="1474"/>
                </a:lnTo>
                <a:lnTo>
                  <a:pt x="2076" y="1474"/>
                </a:lnTo>
                <a:lnTo>
                  <a:pt x="2083" y="1474"/>
                </a:lnTo>
                <a:lnTo>
                  <a:pt x="2090" y="1473"/>
                </a:lnTo>
                <a:lnTo>
                  <a:pt x="2109" y="1467"/>
                </a:lnTo>
                <a:lnTo>
                  <a:pt x="2124" y="1464"/>
                </a:lnTo>
                <a:lnTo>
                  <a:pt x="2135" y="1462"/>
                </a:lnTo>
                <a:lnTo>
                  <a:pt x="2146" y="1458"/>
                </a:lnTo>
                <a:lnTo>
                  <a:pt x="2154" y="1454"/>
                </a:lnTo>
                <a:lnTo>
                  <a:pt x="2160" y="1448"/>
                </a:lnTo>
                <a:lnTo>
                  <a:pt x="2165" y="1442"/>
                </a:lnTo>
                <a:lnTo>
                  <a:pt x="2172" y="1436"/>
                </a:lnTo>
                <a:lnTo>
                  <a:pt x="2176" y="1433"/>
                </a:lnTo>
                <a:lnTo>
                  <a:pt x="2180" y="1432"/>
                </a:lnTo>
                <a:lnTo>
                  <a:pt x="2185" y="1430"/>
                </a:lnTo>
                <a:lnTo>
                  <a:pt x="2190" y="1430"/>
                </a:lnTo>
                <a:lnTo>
                  <a:pt x="2202" y="1430"/>
                </a:lnTo>
                <a:lnTo>
                  <a:pt x="2216" y="1430"/>
                </a:lnTo>
                <a:lnTo>
                  <a:pt x="2230" y="1430"/>
                </a:lnTo>
                <a:lnTo>
                  <a:pt x="2243" y="1430"/>
                </a:lnTo>
                <a:lnTo>
                  <a:pt x="2248" y="1431"/>
                </a:lnTo>
                <a:lnTo>
                  <a:pt x="2253" y="1432"/>
                </a:lnTo>
                <a:lnTo>
                  <a:pt x="2255" y="1433"/>
                </a:lnTo>
                <a:lnTo>
                  <a:pt x="2258" y="1436"/>
                </a:lnTo>
                <a:lnTo>
                  <a:pt x="2260" y="1441"/>
                </a:lnTo>
                <a:lnTo>
                  <a:pt x="2259" y="1447"/>
                </a:lnTo>
                <a:lnTo>
                  <a:pt x="2259" y="1452"/>
                </a:lnTo>
                <a:lnTo>
                  <a:pt x="2258" y="1460"/>
                </a:lnTo>
                <a:lnTo>
                  <a:pt x="2258" y="1462"/>
                </a:lnTo>
                <a:lnTo>
                  <a:pt x="2259" y="1466"/>
                </a:lnTo>
                <a:lnTo>
                  <a:pt x="2260" y="1468"/>
                </a:lnTo>
                <a:lnTo>
                  <a:pt x="2261" y="1469"/>
                </a:lnTo>
                <a:lnTo>
                  <a:pt x="2267" y="1470"/>
                </a:lnTo>
                <a:lnTo>
                  <a:pt x="2275" y="1470"/>
                </a:lnTo>
                <a:lnTo>
                  <a:pt x="2284" y="1468"/>
                </a:lnTo>
                <a:lnTo>
                  <a:pt x="2293" y="1467"/>
                </a:lnTo>
                <a:lnTo>
                  <a:pt x="2302" y="1468"/>
                </a:lnTo>
                <a:lnTo>
                  <a:pt x="2309" y="1470"/>
                </a:lnTo>
                <a:lnTo>
                  <a:pt x="2317" y="1474"/>
                </a:lnTo>
                <a:lnTo>
                  <a:pt x="2323" y="1476"/>
                </a:lnTo>
                <a:lnTo>
                  <a:pt x="2329" y="1479"/>
                </a:lnTo>
                <a:lnTo>
                  <a:pt x="2336" y="1482"/>
                </a:lnTo>
                <a:lnTo>
                  <a:pt x="2341" y="1486"/>
                </a:lnTo>
                <a:lnTo>
                  <a:pt x="2346" y="1492"/>
                </a:lnTo>
                <a:lnTo>
                  <a:pt x="2347" y="1495"/>
                </a:lnTo>
                <a:lnTo>
                  <a:pt x="2348" y="1498"/>
                </a:lnTo>
                <a:lnTo>
                  <a:pt x="2350" y="1499"/>
                </a:lnTo>
                <a:lnTo>
                  <a:pt x="2353" y="1500"/>
                </a:lnTo>
                <a:lnTo>
                  <a:pt x="2360" y="1501"/>
                </a:lnTo>
                <a:lnTo>
                  <a:pt x="2368" y="1502"/>
                </a:lnTo>
                <a:lnTo>
                  <a:pt x="2375" y="1501"/>
                </a:lnTo>
                <a:lnTo>
                  <a:pt x="2382" y="1500"/>
                </a:lnTo>
                <a:lnTo>
                  <a:pt x="2387" y="1498"/>
                </a:lnTo>
                <a:lnTo>
                  <a:pt x="2391" y="1493"/>
                </a:lnTo>
                <a:lnTo>
                  <a:pt x="2394" y="1489"/>
                </a:lnTo>
                <a:lnTo>
                  <a:pt x="2400" y="1486"/>
                </a:lnTo>
                <a:lnTo>
                  <a:pt x="2406" y="1485"/>
                </a:lnTo>
                <a:lnTo>
                  <a:pt x="2415" y="1486"/>
                </a:lnTo>
                <a:lnTo>
                  <a:pt x="2424" y="1488"/>
                </a:lnTo>
                <a:lnTo>
                  <a:pt x="2434" y="1490"/>
                </a:lnTo>
                <a:lnTo>
                  <a:pt x="2437" y="1490"/>
                </a:lnTo>
                <a:lnTo>
                  <a:pt x="2442" y="1489"/>
                </a:lnTo>
                <a:lnTo>
                  <a:pt x="2444" y="1487"/>
                </a:lnTo>
                <a:lnTo>
                  <a:pt x="2447" y="1482"/>
                </a:lnTo>
                <a:lnTo>
                  <a:pt x="2450" y="1471"/>
                </a:lnTo>
                <a:lnTo>
                  <a:pt x="2451" y="1462"/>
                </a:lnTo>
                <a:lnTo>
                  <a:pt x="2453" y="1458"/>
                </a:lnTo>
                <a:lnTo>
                  <a:pt x="2454" y="1455"/>
                </a:lnTo>
                <a:lnTo>
                  <a:pt x="2457" y="1454"/>
                </a:lnTo>
                <a:lnTo>
                  <a:pt x="2461" y="1451"/>
                </a:lnTo>
                <a:lnTo>
                  <a:pt x="2466" y="1451"/>
                </a:lnTo>
                <a:lnTo>
                  <a:pt x="2470" y="1451"/>
                </a:lnTo>
                <a:lnTo>
                  <a:pt x="2474" y="1451"/>
                </a:lnTo>
                <a:lnTo>
                  <a:pt x="2478" y="1452"/>
                </a:lnTo>
                <a:lnTo>
                  <a:pt x="2481" y="1455"/>
                </a:lnTo>
                <a:lnTo>
                  <a:pt x="2485" y="1457"/>
                </a:lnTo>
                <a:lnTo>
                  <a:pt x="2487" y="1461"/>
                </a:lnTo>
                <a:lnTo>
                  <a:pt x="2489" y="1466"/>
                </a:lnTo>
                <a:lnTo>
                  <a:pt x="2492" y="1476"/>
                </a:lnTo>
                <a:lnTo>
                  <a:pt x="2494" y="1487"/>
                </a:lnTo>
                <a:lnTo>
                  <a:pt x="2498" y="1496"/>
                </a:lnTo>
                <a:lnTo>
                  <a:pt x="2501" y="1504"/>
                </a:lnTo>
                <a:lnTo>
                  <a:pt x="2502" y="1507"/>
                </a:lnTo>
                <a:lnTo>
                  <a:pt x="2505" y="1510"/>
                </a:lnTo>
                <a:lnTo>
                  <a:pt x="2508" y="1511"/>
                </a:lnTo>
                <a:lnTo>
                  <a:pt x="2512" y="1512"/>
                </a:lnTo>
                <a:lnTo>
                  <a:pt x="2519" y="1513"/>
                </a:lnTo>
                <a:lnTo>
                  <a:pt x="2529" y="1511"/>
                </a:lnTo>
                <a:lnTo>
                  <a:pt x="2537" y="1510"/>
                </a:lnTo>
                <a:lnTo>
                  <a:pt x="2544" y="1510"/>
                </a:lnTo>
                <a:lnTo>
                  <a:pt x="2548" y="1511"/>
                </a:lnTo>
                <a:lnTo>
                  <a:pt x="2550" y="1512"/>
                </a:lnTo>
                <a:lnTo>
                  <a:pt x="2552" y="1514"/>
                </a:lnTo>
                <a:lnTo>
                  <a:pt x="2555" y="1518"/>
                </a:lnTo>
                <a:lnTo>
                  <a:pt x="2557" y="1525"/>
                </a:lnTo>
                <a:lnTo>
                  <a:pt x="2561" y="1530"/>
                </a:lnTo>
                <a:lnTo>
                  <a:pt x="2562" y="1533"/>
                </a:lnTo>
                <a:lnTo>
                  <a:pt x="2564" y="1534"/>
                </a:lnTo>
                <a:lnTo>
                  <a:pt x="2568" y="1536"/>
                </a:lnTo>
                <a:lnTo>
                  <a:pt x="2571" y="1537"/>
                </a:lnTo>
                <a:lnTo>
                  <a:pt x="2581" y="1540"/>
                </a:lnTo>
                <a:lnTo>
                  <a:pt x="2592" y="1546"/>
                </a:lnTo>
                <a:lnTo>
                  <a:pt x="2602" y="1553"/>
                </a:lnTo>
                <a:lnTo>
                  <a:pt x="2612" y="1561"/>
                </a:lnTo>
                <a:lnTo>
                  <a:pt x="2618" y="1568"/>
                </a:lnTo>
                <a:lnTo>
                  <a:pt x="2624" y="1576"/>
                </a:lnTo>
                <a:lnTo>
                  <a:pt x="2627" y="1583"/>
                </a:lnTo>
                <a:lnTo>
                  <a:pt x="2631" y="1589"/>
                </a:lnTo>
                <a:lnTo>
                  <a:pt x="2636" y="1596"/>
                </a:lnTo>
                <a:lnTo>
                  <a:pt x="2644" y="1606"/>
                </a:lnTo>
                <a:lnTo>
                  <a:pt x="2650" y="1609"/>
                </a:lnTo>
                <a:lnTo>
                  <a:pt x="2655" y="1614"/>
                </a:lnTo>
                <a:lnTo>
                  <a:pt x="2662" y="1618"/>
                </a:lnTo>
                <a:lnTo>
                  <a:pt x="2668" y="1620"/>
                </a:lnTo>
                <a:lnTo>
                  <a:pt x="2681" y="1624"/>
                </a:lnTo>
                <a:lnTo>
                  <a:pt x="2693" y="1627"/>
                </a:lnTo>
                <a:lnTo>
                  <a:pt x="2703" y="1631"/>
                </a:lnTo>
                <a:lnTo>
                  <a:pt x="2712" y="1634"/>
                </a:lnTo>
                <a:lnTo>
                  <a:pt x="2721" y="1638"/>
                </a:lnTo>
                <a:lnTo>
                  <a:pt x="2733" y="1639"/>
                </a:lnTo>
                <a:lnTo>
                  <a:pt x="2739" y="1640"/>
                </a:lnTo>
                <a:lnTo>
                  <a:pt x="2745" y="1639"/>
                </a:lnTo>
                <a:lnTo>
                  <a:pt x="2751" y="1638"/>
                </a:lnTo>
                <a:lnTo>
                  <a:pt x="2756" y="1637"/>
                </a:lnTo>
                <a:lnTo>
                  <a:pt x="2764" y="1631"/>
                </a:lnTo>
                <a:lnTo>
                  <a:pt x="2775" y="1627"/>
                </a:lnTo>
                <a:lnTo>
                  <a:pt x="2779" y="1626"/>
                </a:lnTo>
                <a:lnTo>
                  <a:pt x="2785" y="1625"/>
                </a:lnTo>
                <a:lnTo>
                  <a:pt x="2790" y="1625"/>
                </a:lnTo>
                <a:lnTo>
                  <a:pt x="2796" y="1626"/>
                </a:lnTo>
                <a:lnTo>
                  <a:pt x="2807" y="1628"/>
                </a:lnTo>
                <a:lnTo>
                  <a:pt x="2817" y="1628"/>
                </a:lnTo>
                <a:lnTo>
                  <a:pt x="2822" y="1628"/>
                </a:lnTo>
                <a:lnTo>
                  <a:pt x="2827" y="1627"/>
                </a:lnTo>
                <a:lnTo>
                  <a:pt x="2832" y="1625"/>
                </a:lnTo>
                <a:lnTo>
                  <a:pt x="2835" y="1622"/>
                </a:lnTo>
                <a:lnTo>
                  <a:pt x="2842" y="1619"/>
                </a:lnTo>
                <a:lnTo>
                  <a:pt x="2848" y="1618"/>
                </a:lnTo>
                <a:lnTo>
                  <a:pt x="2852" y="1618"/>
                </a:lnTo>
                <a:lnTo>
                  <a:pt x="2854" y="1619"/>
                </a:lnTo>
                <a:lnTo>
                  <a:pt x="2857" y="1620"/>
                </a:lnTo>
                <a:lnTo>
                  <a:pt x="2859" y="1622"/>
                </a:lnTo>
                <a:lnTo>
                  <a:pt x="2860" y="1625"/>
                </a:lnTo>
                <a:lnTo>
                  <a:pt x="2861" y="1628"/>
                </a:lnTo>
                <a:lnTo>
                  <a:pt x="2861" y="1633"/>
                </a:lnTo>
                <a:lnTo>
                  <a:pt x="2861" y="1638"/>
                </a:lnTo>
                <a:lnTo>
                  <a:pt x="2859" y="1647"/>
                </a:lnTo>
                <a:lnTo>
                  <a:pt x="2856" y="1655"/>
                </a:lnTo>
                <a:lnTo>
                  <a:pt x="2852" y="1660"/>
                </a:lnTo>
                <a:lnTo>
                  <a:pt x="2848" y="1666"/>
                </a:lnTo>
                <a:lnTo>
                  <a:pt x="2845" y="1672"/>
                </a:lnTo>
                <a:lnTo>
                  <a:pt x="2845" y="1679"/>
                </a:lnTo>
                <a:lnTo>
                  <a:pt x="2845" y="1688"/>
                </a:lnTo>
                <a:lnTo>
                  <a:pt x="2844" y="1695"/>
                </a:lnTo>
                <a:lnTo>
                  <a:pt x="2842" y="1702"/>
                </a:lnTo>
                <a:lnTo>
                  <a:pt x="2840" y="1708"/>
                </a:lnTo>
                <a:lnTo>
                  <a:pt x="2838" y="1713"/>
                </a:lnTo>
                <a:lnTo>
                  <a:pt x="2837" y="1720"/>
                </a:lnTo>
                <a:lnTo>
                  <a:pt x="2838" y="1723"/>
                </a:lnTo>
                <a:lnTo>
                  <a:pt x="2838" y="1727"/>
                </a:lnTo>
                <a:lnTo>
                  <a:pt x="2840" y="1731"/>
                </a:lnTo>
                <a:lnTo>
                  <a:pt x="2842" y="1733"/>
                </a:lnTo>
                <a:lnTo>
                  <a:pt x="2848" y="1738"/>
                </a:lnTo>
                <a:lnTo>
                  <a:pt x="2854" y="1741"/>
                </a:lnTo>
                <a:lnTo>
                  <a:pt x="2858" y="1744"/>
                </a:lnTo>
                <a:lnTo>
                  <a:pt x="2860" y="1747"/>
                </a:lnTo>
                <a:lnTo>
                  <a:pt x="2863" y="1751"/>
                </a:lnTo>
                <a:lnTo>
                  <a:pt x="2864" y="1757"/>
                </a:lnTo>
                <a:lnTo>
                  <a:pt x="2866" y="1767"/>
                </a:lnTo>
                <a:lnTo>
                  <a:pt x="2870" y="1776"/>
                </a:lnTo>
                <a:lnTo>
                  <a:pt x="2871" y="1778"/>
                </a:lnTo>
                <a:lnTo>
                  <a:pt x="2875" y="1779"/>
                </a:lnTo>
                <a:lnTo>
                  <a:pt x="2877" y="1781"/>
                </a:lnTo>
                <a:lnTo>
                  <a:pt x="2880" y="1779"/>
                </a:lnTo>
                <a:lnTo>
                  <a:pt x="2889" y="1776"/>
                </a:lnTo>
                <a:lnTo>
                  <a:pt x="2896" y="1773"/>
                </a:lnTo>
                <a:lnTo>
                  <a:pt x="2903" y="1771"/>
                </a:lnTo>
                <a:lnTo>
                  <a:pt x="2910" y="1771"/>
                </a:lnTo>
                <a:lnTo>
                  <a:pt x="2914" y="1772"/>
                </a:lnTo>
                <a:lnTo>
                  <a:pt x="2916" y="1773"/>
                </a:lnTo>
                <a:lnTo>
                  <a:pt x="2919" y="1776"/>
                </a:lnTo>
                <a:lnTo>
                  <a:pt x="2921" y="1777"/>
                </a:lnTo>
                <a:lnTo>
                  <a:pt x="2922" y="1783"/>
                </a:lnTo>
                <a:lnTo>
                  <a:pt x="2923" y="1789"/>
                </a:lnTo>
                <a:lnTo>
                  <a:pt x="2923" y="1796"/>
                </a:lnTo>
                <a:lnTo>
                  <a:pt x="2924" y="1803"/>
                </a:lnTo>
                <a:lnTo>
                  <a:pt x="2926" y="1811"/>
                </a:lnTo>
                <a:lnTo>
                  <a:pt x="2929" y="1817"/>
                </a:lnTo>
                <a:lnTo>
                  <a:pt x="2934" y="1823"/>
                </a:lnTo>
                <a:lnTo>
                  <a:pt x="2938" y="1829"/>
                </a:lnTo>
                <a:lnTo>
                  <a:pt x="2940" y="1836"/>
                </a:lnTo>
                <a:lnTo>
                  <a:pt x="2941" y="1844"/>
                </a:lnTo>
                <a:lnTo>
                  <a:pt x="2942" y="1854"/>
                </a:lnTo>
                <a:lnTo>
                  <a:pt x="2942" y="1865"/>
                </a:lnTo>
                <a:lnTo>
                  <a:pt x="2942" y="1876"/>
                </a:lnTo>
                <a:lnTo>
                  <a:pt x="2942" y="1885"/>
                </a:lnTo>
                <a:lnTo>
                  <a:pt x="2941" y="1893"/>
                </a:lnTo>
                <a:lnTo>
                  <a:pt x="2939" y="1903"/>
                </a:lnTo>
                <a:lnTo>
                  <a:pt x="2935" y="1912"/>
                </a:lnTo>
                <a:lnTo>
                  <a:pt x="2929" y="1922"/>
                </a:lnTo>
                <a:lnTo>
                  <a:pt x="2924" y="1930"/>
                </a:lnTo>
                <a:lnTo>
                  <a:pt x="2922" y="1939"/>
                </a:lnTo>
                <a:lnTo>
                  <a:pt x="2921" y="1946"/>
                </a:lnTo>
                <a:lnTo>
                  <a:pt x="2922" y="1953"/>
                </a:lnTo>
                <a:lnTo>
                  <a:pt x="2923" y="1956"/>
                </a:lnTo>
                <a:lnTo>
                  <a:pt x="2924" y="1960"/>
                </a:lnTo>
                <a:lnTo>
                  <a:pt x="2928" y="1964"/>
                </a:lnTo>
                <a:lnTo>
                  <a:pt x="2932" y="1967"/>
                </a:lnTo>
                <a:lnTo>
                  <a:pt x="2940" y="1974"/>
                </a:lnTo>
                <a:lnTo>
                  <a:pt x="2948" y="1981"/>
                </a:lnTo>
                <a:lnTo>
                  <a:pt x="2960" y="1990"/>
                </a:lnTo>
                <a:lnTo>
                  <a:pt x="2974" y="2000"/>
                </a:lnTo>
                <a:lnTo>
                  <a:pt x="2983" y="2005"/>
                </a:lnTo>
                <a:lnTo>
                  <a:pt x="2991" y="2012"/>
                </a:lnTo>
                <a:lnTo>
                  <a:pt x="2997" y="2018"/>
                </a:lnTo>
                <a:lnTo>
                  <a:pt x="3004" y="2025"/>
                </a:lnTo>
                <a:lnTo>
                  <a:pt x="3012" y="2037"/>
                </a:lnTo>
                <a:lnTo>
                  <a:pt x="3018" y="2047"/>
                </a:lnTo>
                <a:lnTo>
                  <a:pt x="3021" y="2056"/>
                </a:lnTo>
                <a:lnTo>
                  <a:pt x="3023" y="2065"/>
                </a:lnTo>
                <a:lnTo>
                  <a:pt x="3024" y="2068"/>
                </a:lnTo>
                <a:lnTo>
                  <a:pt x="3027" y="2073"/>
                </a:lnTo>
                <a:lnTo>
                  <a:pt x="3029" y="2078"/>
                </a:lnTo>
                <a:lnTo>
                  <a:pt x="3033" y="2082"/>
                </a:lnTo>
                <a:lnTo>
                  <a:pt x="3037" y="2087"/>
                </a:lnTo>
                <a:lnTo>
                  <a:pt x="3042" y="2092"/>
                </a:lnTo>
                <a:lnTo>
                  <a:pt x="3047" y="2094"/>
                </a:lnTo>
                <a:lnTo>
                  <a:pt x="3050" y="2097"/>
                </a:lnTo>
                <a:lnTo>
                  <a:pt x="3056" y="2099"/>
                </a:lnTo>
                <a:lnTo>
                  <a:pt x="3062" y="2100"/>
                </a:lnTo>
                <a:lnTo>
                  <a:pt x="3068" y="2101"/>
                </a:lnTo>
                <a:lnTo>
                  <a:pt x="3074" y="2101"/>
                </a:lnTo>
                <a:lnTo>
                  <a:pt x="3081" y="2100"/>
                </a:lnTo>
                <a:lnTo>
                  <a:pt x="3087" y="2099"/>
                </a:lnTo>
                <a:lnTo>
                  <a:pt x="3093" y="2095"/>
                </a:lnTo>
                <a:lnTo>
                  <a:pt x="3098" y="2092"/>
                </a:lnTo>
                <a:lnTo>
                  <a:pt x="3105" y="2082"/>
                </a:lnTo>
                <a:lnTo>
                  <a:pt x="3111" y="2075"/>
                </a:lnTo>
                <a:lnTo>
                  <a:pt x="3115" y="2073"/>
                </a:lnTo>
                <a:lnTo>
                  <a:pt x="3118" y="2071"/>
                </a:lnTo>
                <a:lnTo>
                  <a:pt x="3123" y="2068"/>
                </a:lnTo>
                <a:lnTo>
                  <a:pt x="3129" y="2067"/>
                </a:lnTo>
                <a:lnTo>
                  <a:pt x="3142" y="2063"/>
                </a:lnTo>
                <a:lnTo>
                  <a:pt x="3154" y="2060"/>
                </a:lnTo>
                <a:lnTo>
                  <a:pt x="3165" y="2056"/>
                </a:lnTo>
                <a:lnTo>
                  <a:pt x="3174" y="2054"/>
                </a:lnTo>
                <a:lnTo>
                  <a:pt x="3182" y="2053"/>
                </a:lnTo>
                <a:lnTo>
                  <a:pt x="3191" y="2053"/>
                </a:lnTo>
                <a:lnTo>
                  <a:pt x="3196" y="2053"/>
                </a:lnTo>
                <a:lnTo>
                  <a:pt x="3200" y="2054"/>
                </a:lnTo>
                <a:lnTo>
                  <a:pt x="3205" y="2056"/>
                </a:lnTo>
                <a:lnTo>
                  <a:pt x="3209" y="2059"/>
                </a:lnTo>
                <a:lnTo>
                  <a:pt x="3218" y="2063"/>
                </a:lnTo>
                <a:lnTo>
                  <a:pt x="3228" y="2068"/>
                </a:lnTo>
                <a:lnTo>
                  <a:pt x="3231" y="2068"/>
                </a:lnTo>
                <a:lnTo>
                  <a:pt x="3236" y="2068"/>
                </a:lnTo>
                <a:lnTo>
                  <a:pt x="3239" y="2067"/>
                </a:lnTo>
                <a:lnTo>
                  <a:pt x="3242" y="2065"/>
                </a:lnTo>
                <a:lnTo>
                  <a:pt x="3247" y="2060"/>
                </a:lnTo>
                <a:lnTo>
                  <a:pt x="3253" y="2056"/>
                </a:lnTo>
                <a:lnTo>
                  <a:pt x="3260" y="2054"/>
                </a:lnTo>
                <a:lnTo>
                  <a:pt x="3268" y="2053"/>
                </a:lnTo>
                <a:lnTo>
                  <a:pt x="3282" y="2053"/>
                </a:lnTo>
                <a:lnTo>
                  <a:pt x="3300" y="2053"/>
                </a:lnTo>
                <a:lnTo>
                  <a:pt x="3310" y="2052"/>
                </a:lnTo>
                <a:lnTo>
                  <a:pt x="3318" y="2050"/>
                </a:lnTo>
                <a:lnTo>
                  <a:pt x="3325" y="2049"/>
                </a:lnTo>
                <a:lnTo>
                  <a:pt x="3330" y="2047"/>
                </a:lnTo>
                <a:lnTo>
                  <a:pt x="3337" y="2042"/>
                </a:lnTo>
                <a:lnTo>
                  <a:pt x="3343" y="2036"/>
                </a:lnTo>
                <a:lnTo>
                  <a:pt x="3345" y="2034"/>
                </a:lnTo>
                <a:lnTo>
                  <a:pt x="3349" y="2031"/>
                </a:lnTo>
                <a:lnTo>
                  <a:pt x="3354" y="2030"/>
                </a:lnTo>
                <a:lnTo>
                  <a:pt x="3358" y="2029"/>
                </a:lnTo>
                <a:lnTo>
                  <a:pt x="3368" y="2029"/>
                </a:lnTo>
                <a:lnTo>
                  <a:pt x="3377" y="2029"/>
                </a:lnTo>
                <a:lnTo>
                  <a:pt x="3382" y="2028"/>
                </a:lnTo>
                <a:lnTo>
                  <a:pt x="3387" y="2025"/>
                </a:lnTo>
                <a:lnTo>
                  <a:pt x="3392" y="2022"/>
                </a:lnTo>
                <a:lnTo>
                  <a:pt x="3395" y="2018"/>
                </a:lnTo>
                <a:lnTo>
                  <a:pt x="3405" y="2008"/>
                </a:lnTo>
                <a:lnTo>
                  <a:pt x="3414" y="1998"/>
                </a:lnTo>
                <a:lnTo>
                  <a:pt x="3419" y="1993"/>
                </a:lnTo>
                <a:lnTo>
                  <a:pt x="3425" y="1990"/>
                </a:lnTo>
                <a:lnTo>
                  <a:pt x="3430" y="1987"/>
                </a:lnTo>
                <a:lnTo>
                  <a:pt x="3433" y="1986"/>
                </a:lnTo>
                <a:lnTo>
                  <a:pt x="3448" y="1989"/>
                </a:lnTo>
                <a:lnTo>
                  <a:pt x="3464" y="1993"/>
                </a:lnTo>
                <a:lnTo>
                  <a:pt x="3470" y="1993"/>
                </a:lnTo>
                <a:lnTo>
                  <a:pt x="3476" y="1992"/>
                </a:lnTo>
                <a:lnTo>
                  <a:pt x="3482" y="1991"/>
                </a:lnTo>
                <a:lnTo>
                  <a:pt x="3488" y="1989"/>
                </a:lnTo>
                <a:lnTo>
                  <a:pt x="3494" y="1986"/>
                </a:lnTo>
                <a:lnTo>
                  <a:pt x="3499" y="1981"/>
                </a:lnTo>
                <a:lnTo>
                  <a:pt x="3503" y="1977"/>
                </a:lnTo>
                <a:lnTo>
                  <a:pt x="3506" y="1971"/>
                </a:lnTo>
                <a:lnTo>
                  <a:pt x="3508" y="1965"/>
                </a:lnTo>
                <a:lnTo>
                  <a:pt x="3509" y="1958"/>
                </a:lnTo>
                <a:lnTo>
                  <a:pt x="3509" y="1952"/>
                </a:lnTo>
                <a:lnTo>
                  <a:pt x="3509" y="1945"/>
                </a:lnTo>
                <a:lnTo>
                  <a:pt x="3508" y="1933"/>
                </a:lnTo>
                <a:lnTo>
                  <a:pt x="3506" y="1923"/>
                </a:lnTo>
                <a:lnTo>
                  <a:pt x="3503" y="1914"/>
                </a:lnTo>
                <a:lnTo>
                  <a:pt x="3503" y="1902"/>
                </a:lnTo>
                <a:lnTo>
                  <a:pt x="3506" y="1891"/>
                </a:lnTo>
                <a:lnTo>
                  <a:pt x="3509" y="1883"/>
                </a:lnTo>
                <a:lnTo>
                  <a:pt x="3512" y="1880"/>
                </a:lnTo>
                <a:lnTo>
                  <a:pt x="3514" y="1879"/>
                </a:lnTo>
                <a:lnTo>
                  <a:pt x="3518" y="1878"/>
                </a:lnTo>
                <a:lnTo>
                  <a:pt x="3520" y="1878"/>
                </a:lnTo>
                <a:lnTo>
                  <a:pt x="3527" y="1880"/>
                </a:lnTo>
                <a:lnTo>
                  <a:pt x="3533" y="1883"/>
                </a:lnTo>
                <a:lnTo>
                  <a:pt x="3535" y="1884"/>
                </a:lnTo>
                <a:lnTo>
                  <a:pt x="3538" y="1885"/>
                </a:lnTo>
                <a:lnTo>
                  <a:pt x="3541" y="1885"/>
                </a:lnTo>
                <a:lnTo>
                  <a:pt x="3544" y="1885"/>
                </a:lnTo>
                <a:lnTo>
                  <a:pt x="3547" y="1884"/>
                </a:lnTo>
                <a:lnTo>
                  <a:pt x="3550" y="1882"/>
                </a:lnTo>
                <a:lnTo>
                  <a:pt x="3551" y="1878"/>
                </a:lnTo>
                <a:lnTo>
                  <a:pt x="3552" y="1873"/>
                </a:lnTo>
                <a:lnTo>
                  <a:pt x="3553" y="1868"/>
                </a:lnTo>
                <a:lnTo>
                  <a:pt x="3556" y="1864"/>
                </a:lnTo>
                <a:lnTo>
                  <a:pt x="3557" y="1859"/>
                </a:lnTo>
                <a:lnTo>
                  <a:pt x="3560" y="1855"/>
                </a:lnTo>
                <a:lnTo>
                  <a:pt x="3566" y="1848"/>
                </a:lnTo>
                <a:lnTo>
                  <a:pt x="3575" y="1844"/>
                </a:lnTo>
                <a:lnTo>
                  <a:pt x="3583" y="1841"/>
                </a:lnTo>
                <a:lnTo>
                  <a:pt x="3590" y="1838"/>
                </a:lnTo>
                <a:lnTo>
                  <a:pt x="3593" y="1835"/>
                </a:lnTo>
                <a:lnTo>
                  <a:pt x="3594" y="1832"/>
                </a:lnTo>
                <a:lnTo>
                  <a:pt x="3595" y="1828"/>
                </a:lnTo>
                <a:lnTo>
                  <a:pt x="3596" y="1822"/>
                </a:lnTo>
                <a:lnTo>
                  <a:pt x="3597" y="1810"/>
                </a:lnTo>
                <a:lnTo>
                  <a:pt x="3600" y="1800"/>
                </a:lnTo>
                <a:lnTo>
                  <a:pt x="3602" y="1796"/>
                </a:lnTo>
                <a:lnTo>
                  <a:pt x="3604" y="1794"/>
                </a:lnTo>
                <a:lnTo>
                  <a:pt x="3608" y="1791"/>
                </a:lnTo>
                <a:lnTo>
                  <a:pt x="3612" y="1790"/>
                </a:lnTo>
                <a:lnTo>
                  <a:pt x="3620" y="1790"/>
                </a:lnTo>
                <a:lnTo>
                  <a:pt x="3627" y="1789"/>
                </a:lnTo>
                <a:lnTo>
                  <a:pt x="3629" y="1788"/>
                </a:lnTo>
                <a:lnTo>
                  <a:pt x="3632" y="1786"/>
                </a:lnTo>
                <a:lnTo>
                  <a:pt x="3634" y="1784"/>
                </a:lnTo>
                <a:lnTo>
                  <a:pt x="3635" y="1782"/>
                </a:lnTo>
                <a:lnTo>
                  <a:pt x="3637" y="1778"/>
                </a:lnTo>
                <a:lnTo>
                  <a:pt x="3639" y="1776"/>
                </a:lnTo>
                <a:lnTo>
                  <a:pt x="3642" y="1773"/>
                </a:lnTo>
                <a:lnTo>
                  <a:pt x="3645" y="1772"/>
                </a:lnTo>
                <a:lnTo>
                  <a:pt x="3652" y="1771"/>
                </a:lnTo>
                <a:lnTo>
                  <a:pt x="3658" y="1771"/>
                </a:lnTo>
                <a:lnTo>
                  <a:pt x="3664" y="1771"/>
                </a:lnTo>
                <a:lnTo>
                  <a:pt x="3672" y="1770"/>
                </a:lnTo>
                <a:lnTo>
                  <a:pt x="3681" y="1767"/>
                </a:lnTo>
                <a:lnTo>
                  <a:pt x="3689" y="1765"/>
                </a:lnTo>
                <a:lnTo>
                  <a:pt x="3698" y="1763"/>
                </a:lnTo>
                <a:lnTo>
                  <a:pt x="3713" y="1759"/>
                </a:lnTo>
                <a:lnTo>
                  <a:pt x="3727" y="1756"/>
                </a:lnTo>
                <a:lnTo>
                  <a:pt x="3739" y="1751"/>
                </a:lnTo>
                <a:lnTo>
                  <a:pt x="3747" y="1746"/>
                </a:lnTo>
                <a:lnTo>
                  <a:pt x="3755" y="1739"/>
                </a:lnTo>
                <a:lnTo>
                  <a:pt x="3763" y="1732"/>
                </a:lnTo>
                <a:lnTo>
                  <a:pt x="3767" y="1723"/>
                </a:lnTo>
                <a:lnTo>
                  <a:pt x="3773" y="1713"/>
                </a:lnTo>
                <a:lnTo>
                  <a:pt x="3780" y="1701"/>
                </a:lnTo>
                <a:lnTo>
                  <a:pt x="3789" y="1689"/>
                </a:lnTo>
                <a:lnTo>
                  <a:pt x="3796" y="1681"/>
                </a:lnTo>
                <a:lnTo>
                  <a:pt x="3804" y="1675"/>
                </a:lnTo>
                <a:lnTo>
                  <a:pt x="3811" y="1671"/>
                </a:lnTo>
                <a:lnTo>
                  <a:pt x="3818" y="1669"/>
                </a:lnTo>
                <a:lnTo>
                  <a:pt x="3824" y="1668"/>
                </a:lnTo>
                <a:lnTo>
                  <a:pt x="3831" y="1668"/>
                </a:lnTo>
                <a:lnTo>
                  <a:pt x="3837" y="1666"/>
                </a:lnTo>
                <a:lnTo>
                  <a:pt x="3841" y="1664"/>
                </a:lnTo>
                <a:lnTo>
                  <a:pt x="3843" y="1662"/>
                </a:lnTo>
                <a:lnTo>
                  <a:pt x="3846" y="1659"/>
                </a:lnTo>
                <a:lnTo>
                  <a:pt x="3847" y="1656"/>
                </a:lnTo>
                <a:lnTo>
                  <a:pt x="3849" y="1649"/>
                </a:lnTo>
                <a:lnTo>
                  <a:pt x="3853" y="1641"/>
                </a:lnTo>
                <a:lnTo>
                  <a:pt x="3855" y="1638"/>
                </a:lnTo>
                <a:lnTo>
                  <a:pt x="3858" y="1635"/>
                </a:lnTo>
                <a:lnTo>
                  <a:pt x="3860" y="1633"/>
                </a:lnTo>
                <a:lnTo>
                  <a:pt x="3865" y="1631"/>
                </a:lnTo>
                <a:lnTo>
                  <a:pt x="3873" y="1627"/>
                </a:lnTo>
                <a:lnTo>
                  <a:pt x="3881" y="1624"/>
                </a:lnTo>
                <a:lnTo>
                  <a:pt x="3890" y="1618"/>
                </a:lnTo>
                <a:lnTo>
                  <a:pt x="3897" y="1611"/>
                </a:lnTo>
                <a:lnTo>
                  <a:pt x="3903" y="1603"/>
                </a:lnTo>
                <a:lnTo>
                  <a:pt x="3909" y="1599"/>
                </a:lnTo>
                <a:lnTo>
                  <a:pt x="3914" y="1596"/>
                </a:lnTo>
                <a:lnTo>
                  <a:pt x="3921" y="1595"/>
                </a:lnTo>
                <a:lnTo>
                  <a:pt x="3929" y="1595"/>
                </a:lnTo>
                <a:lnTo>
                  <a:pt x="3938" y="1594"/>
                </a:lnTo>
                <a:lnTo>
                  <a:pt x="3943" y="1593"/>
                </a:lnTo>
                <a:lnTo>
                  <a:pt x="3948" y="1590"/>
                </a:lnTo>
                <a:lnTo>
                  <a:pt x="3953" y="1588"/>
                </a:lnTo>
                <a:lnTo>
                  <a:pt x="3957" y="1586"/>
                </a:lnTo>
                <a:lnTo>
                  <a:pt x="3967" y="1578"/>
                </a:lnTo>
                <a:lnTo>
                  <a:pt x="3980" y="1570"/>
                </a:lnTo>
                <a:lnTo>
                  <a:pt x="3987" y="1568"/>
                </a:lnTo>
                <a:lnTo>
                  <a:pt x="3994" y="1564"/>
                </a:lnTo>
                <a:lnTo>
                  <a:pt x="4001" y="1562"/>
                </a:lnTo>
                <a:lnTo>
                  <a:pt x="4009" y="1561"/>
                </a:lnTo>
                <a:lnTo>
                  <a:pt x="4021" y="1559"/>
                </a:lnTo>
                <a:lnTo>
                  <a:pt x="4030" y="1561"/>
                </a:lnTo>
                <a:lnTo>
                  <a:pt x="4037" y="1562"/>
                </a:lnTo>
                <a:lnTo>
                  <a:pt x="4045" y="1563"/>
                </a:lnTo>
                <a:lnTo>
                  <a:pt x="4053" y="1564"/>
                </a:lnTo>
                <a:lnTo>
                  <a:pt x="4061" y="1564"/>
                </a:lnTo>
                <a:lnTo>
                  <a:pt x="4066" y="1563"/>
                </a:lnTo>
                <a:lnTo>
                  <a:pt x="4069" y="1561"/>
                </a:lnTo>
                <a:lnTo>
                  <a:pt x="4072" y="1559"/>
                </a:lnTo>
                <a:lnTo>
                  <a:pt x="4074" y="1556"/>
                </a:lnTo>
                <a:lnTo>
                  <a:pt x="4078" y="1550"/>
                </a:lnTo>
                <a:lnTo>
                  <a:pt x="4082" y="1544"/>
                </a:lnTo>
                <a:lnTo>
                  <a:pt x="4087" y="1539"/>
                </a:lnTo>
                <a:lnTo>
                  <a:pt x="4095" y="1534"/>
                </a:lnTo>
                <a:lnTo>
                  <a:pt x="4105" y="1532"/>
                </a:lnTo>
                <a:lnTo>
                  <a:pt x="4112" y="1527"/>
                </a:lnTo>
                <a:lnTo>
                  <a:pt x="4114" y="1524"/>
                </a:lnTo>
                <a:lnTo>
                  <a:pt x="4117" y="1521"/>
                </a:lnTo>
                <a:lnTo>
                  <a:pt x="4119" y="1518"/>
                </a:lnTo>
                <a:lnTo>
                  <a:pt x="4120" y="1514"/>
                </a:lnTo>
                <a:lnTo>
                  <a:pt x="4120" y="1508"/>
                </a:lnTo>
                <a:lnTo>
                  <a:pt x="4120" y="1504"/>
                </a:lnTo>
                <a:lnTo>
                  <a:pt x="4120" y="1502"/>
                </a:lnTo>
                <a:lnTo>
                  <a:pt x="4122" y="1501"/>
                </a:lnTo>
                <a:lnTo>
                  <a:pt x="4124" y="1502"/>
                </a:lnTo>
                <a:lnTo>
                  <a:pt x="4126" y="1505"/>
                </a:lnTo>
                <a:lnTo>
                  <a:pt x="4130" y="1507"/>
                </a:lnTo>
                <a:lnTo>
                  <a:pt x="4133" y="1511"/>
                </a:lnTo>
                <a:lnTo>
                  <a:pt x="4136" y="1515"/>
                </a:lnTo>
                <a:lnTo>
                  <a:pt x="4137" y="1521"/>
                </a:lnTo>
                <a:lnTo>
                  <a:pt x="4137" y="1526"/>
                </a:lnTo>
                <a:lnTo>
                  <a:pt x="4135" y="1531"/>
                </a:lnTo>
                <a:lnTo>
                  <a:pt x="4132" y="1536"/>
                </a:lnTo>
                <a:lnTo>
                  <a:pt x="4129" y="1540"/>
                </a:lnTo>
                <a:lnTo>
                  <a:pt x="4118" y="1549"/>
                </a:lnTo>
                <a:lnTo>
                  <a:pt x="4105" y="1558"/>
                </a:lnTo>
                <a:lnTo>
                  <a:pt x="4091" y="1568"/>
                </a:lnTo>
                <a:lnTo>
                  <a:pt x="4080" y="1578"/>
                </a:lnTo>
                <a:lnTo>
                  <a:pt x="4069" y="1588"/>
                </a:lnTo>
                <a:lnTo>
                  <a:pt x="4061" y="1597"/>
                </a:lnTo>
                <a:lnTo>
                  <a:pt x="4057" y="1602"/>
                </a:lnTo>
                <a:lnTo>
                  <a:pt x="4055" y="1608"/>
                </a:lnTo>
                <a:lnTo>
                  <a:pt x="4053" y="1614"/>
                </a:lnTo>
                <a:lnTo>
                  <a:pt x="4051" y="1620"/>
                </a:lnTo>
                <a:lnTo>
                  <a:pt x="4049" y="1634"/>
                </a:lnTo>
                <a:lnTo>
                  <a:pt x="4049" y="1647"/>
                </a:lnTo>
                <a:lnTo>
                  <a:pt x="4049" y="1660"/>
                </a:lnTo>
                <a:lnTo>
                  <a:pt x="4049" y="1671"/>
                </a:lnTo>
                <a:lnTo>
                  <a:pt x="4048" y="1682"/>
                </a:lnTo>
                <a:lnTo>
                  <a:pt x="4045" y="1693"/>
                </a:lnTo>
                <a:lnTo>
                  <a:pt x="4043" y="1704"/>
                </a:lnTo>
                <a:lnTo>
                  <a:pt x="4040" y="1719"/>
                </a:lnTo>
                <a:lnTo>
                  <a:pt x="4038" y="1732"/>
                </a:lnTo>
                <a:lnTo>
                  <a:pt x="4037" y="1744"/>
                </a:lnTo>
                <a:lnTo>
                  <a:pt x="4038" y="1748"/>
                </a:lnTo>
                <a:lnTo>
                  <a:pt x="4041" y="1752"/>
                </a:lnTo>
                <a:lnTo>
                  <a:pt x="4043" y="1756"/>
                </a:lnTo>
                <a:lnTo>
                  <a:pt x="4047" y="1759"/>
                </a:lnTo>
                <a:lnTo>
                  <a:pt x="4051" y="1763"/>
                </a:lnTo>
                <a:lnTo>
                  <a:pt x="4056" y="1764"/>
                </a:lnTo>
                <a:lnTo>
                  <a:pt x="4061" y="1765"/>
                </a:lnTo>
                <a:lnTo>
                  <a:pt x="4066" y="1765"/>
                </a:lnTo>
                <a:lnTo>
                  <a:pt x="4070" y="1765"/>
                </a:lnTo>
                <a:lnTo>
                  <a:pt x="4074" y="1766"/>
                </a:lnTo>
                <a:lnTo>
                  <a:pt x="4078" y="1766"/>
                </a:lnTo>
                <a:lnTo>
                  <a:pt x="4080" y="1769"/>
                </a:lnTo>
                <a:lnTo>
                  <a:pt x="4082" y="1770"/>
                </a:lnTo>
                <a:lnTo>
                  <a:pt x="4084" y="1772"/>
                </a:lnTo>
                <a:lnTo>
                  <a:pt x="4085" y="1775"/>
                </a:lnTo>
                <a:lnTo>
                  <a:pt x="4085" y="1778"/>
                </a:lnTo>
                <a:lnTo>
                  <a:pt x="4085" y="1782"/>
                </a:lnTo>
                <a:lnTo>
                  <a:pt x="4087" y="1784"/>
                </a:lnTo>
                <a:lnTo>
                  <a:pt x="4088" y="1788"/>
                </a:lnTo>
                <a:lnTo>
                  <a:pt x="4091" y="1791"/>
                </a:lnTo>
                <a:lnTo>
                  <a:pt x="4098" y="1797"/>
                </a:lnTo>
                <a:lnTo>
                  <a:pt x="4105" y="1804"/>
                </a:lnTo>
                <a:lnTo>
                  <a:pt x="4113" y="1814"/>
                </a:lnTo>
                <a:lnTo>
                  <a:pt x="4118" y="1822"/>
                </a:lnTo>
                <a:lnTo>
                  <a:pt x="4122" y="1832"/>
                </a:lnTo>
                <a:lnTo>
                  <a:pt x="4123" y="1841"/>
                </a:lnTo>
                <a:lnTo>
                  <a:pt x="4122" y="1853"/>
                </a:lnTo>
                <a:lnTo>
                  <a:pt x="4119" y="1868"/>
                </a:lnTo>
                <a:lnTo>
                  <a:pt x="4117" y="1886"/>
                </a:lnTo>
                <a:lnTo>
                  <a:pt x="4112" y="1901"/>
                </a:lnTo>
                <a:lnTo>
                  <a:pt x="4106" y="1914"/>
                </a:lnTo>
                <a:lnTo>
                  <a:pt x="4101" y="1927"/>
                </a:lnTo>
                <a:lnTo>
                  <a:pt x="4097" y="1941"/>
                </a:lnTo>
                <a:lnTo>
                  <a:pt x="4093" y="1954"/>
                </a:lnTo>
                <a:lnTo>
                  <a:pt x="4092" y="1959"/>
                </a:lnTo>
                <a:lnTo>
                  <a:pt x="4088" y="1964"/>
                </a:lnTo>
                <a:lnTo>
                  <a:pt x="4085" y="1967"/>
                </a:lnTo>
                <a:lnTo>
                  <a:pt x="4080" y="1971"/>
                </a:lnTo>
                <a:lnTo>
                  <a:pt x="4070" y="1974"/>
                </a:lnTo>
                <a:lnTo>
                  <a:pt x="4059" y="1979"/>
                </a:lnTo>
                <a:lnTo>
                  <a:pt x="4053" y="1981"/>
                </a:lnTo>
                <a:lnTo>
                  <a:pt x="4047" y="1984"/>
                </a:lnTo>
                <a:lnTo>
                  <a:pt x="4041" y="1989"/>
                </a:lnTo>
                <a:lnTo>
                  <a:pt x="4035" y="1993"/>
                </a:lnTo>
                <a:lnTo>
                  <a:pt x="4024" y="2004"/>
                </a:lnTo>
                <a:lnTo>
                  <a:pt x="4016" y="2013"/>
                </a:lnTo>
                <a:lnTo>
                  <a:pt x="4012" y="2019"/>
                </a:lnTo>
                <a:lnTo>
                  <a:pt x="4010" y="2025"/>
                </a:lnTo>
                <a:lnTo>
                  <a:pt x="4009" y="2032"/>
                </a:lnTo>
                <a:lnTo>
                  <a:pt x="4006" y="2040"/>
                </a:lnTo>
                <a:lnTo>
                  <a:pt x="4006" y="2047"/>
                </a:lnTo>
                <a:lnTo>
                  <a:pt x="4006" y="2054"/>
                </a:lnTo>
                <a:lnTo>
                  <a:pt x="4006" y="2060"/>
                </a:lnTo>
                <a:lnTo>
                  <a:pt x="4007" y="2066"/>
                </a:lnTo>
                <a:lnTo>
                  <a:pt x="4012" y="2076"/>
                </a:lnTo>
                <a:lnTo>
                  <a:pt x="4019" y="2090"/>
                </a:lnTo>
                <a:lnTo>
                  <a:pt x="4022" y="2098"/>
                </a:lnTo>
                <a:lnTo>
                  <a:pt x="4024" y="2105"/>
                </a:lnTo>
                <a:lnTo>
                  <a:pt x="4025" y="2113"/>
                </a:lnTo>
                <a:lnTo>
                  <a:pt x="4026" y="2120"/>
                </a:lnTo>
                <a:lnTo>
                  <a:pt x="4025" y="2129"/>
                </a:lnTo>
                <a:lnTo>
                  <a:pt x="4023" y="2135"/>
                </a:lnTo>
                <a:lnTo>
                  <a:pt x="4019" y="2141"/>
                </a:lnTo>
                <a:lnTo>
                  <a:pt x="4017" y="2145"/>
                </a:lnTo>
                <a:lnTo>
                  <a:pt x="4013" y="2151"/>
                </a:lnTo>
                <a:lnTo>
                  <a:pt x="4010" y="2156"/>
                </a:lnTo>
                <a:lnTo>
                  <a:pt x="4007" y="2162"/>
                </a:lnTo>
                <a:lnTo>
                  <a:pt x="4005" y="2168"/>
                </a:lnTo>
                <a:lnTo>
                  <a:pt x="4004" y="2185"/>
                </a:lnTo>
                <a:lnTo>
                  <a:pt x="4005" y="2204"/>
                </a:lnTo>
                <a:lnTo>
                  <a:pt x="4007" y="2224"/>
                </a:lnTo>
                <a:lnTo>
                  <a:pt x="4011" y="2242"/>
                </a:lnTo>
                <a:lnTo>
                  <a:pt x="4013" y="2264"/>
                </a:lnTo>
                <a:lnTo>
                  <a:pt x="4016" y="2294"/>
                </a:lnTo>
                <a:lnTo>
                  <a:pt x="4017" y="2321"/>
                </a:lnTo>
                <a:lnTo>
                  <a:pt x="4016" y="2342"/>
                </a:lnTo>
                <a:lnTo>
                  <a:pt x="4015" y="2347"/>
                </a:lnTo>
                <a:lnTo>
                  <a:pt x="4012" y="2353"/>
                </a:lnTo>
                <a:lnTo>
                  <a:pt x="4010" y="2358"/>
                </a:lnTo>
                <a:lnTo>
                  <a:pt x="4006" y="2363"/>
                </a:lnTo>
                <a:lnTo>
                  <a:pt x="4001" y="2369"/>
                </a:lnTo>
                <a:lnTo>
                  <a:pt x="3998" y="2374"/>
                </a:lnTo>
                <a:lnTo>
                  <a:pt x="3996" y="2380"/>
                </a:lnTo>
                <a:lnTo>
                  <a:pt x="3993" y="2387"/>
                </a:lnTo>
                <a:lnTo>
                  <a:pt x="3992" y="2394"/>
                </a:lnTo>
                <a:lnTo>
                  <a:pt x="3991" y="2401"/>
                </a:lnTo>
                <a:lnTo>
                  <a:pt x="3992" y="2407"/>
                </a:lnTo>
                <a:lnTo>
                  <a:pt x="3993" y="2413"/>
                </a:lnTo>
                <a:lnTo>
                  <a:pt x="3996" y="2419"/>
                </a:lnTo>
                <a:lnTo>
                  <a:pt x="3998" y="2424"/>
                </a:lnTo>
                <a:lnTo>
                  <a:pt x="4000" y="2429"/>
                </a:lnTo>
                <a:lnTo>
                  <a:pt x="4005" y="2433"/>
                </a:lnTo>
                <a:lnTo>
                  <a:pt x="4013" y="2446"/>
                </a:lnTo>
                <a:lnTo>
                  <a:pt x="4022" y="2462"/>
                </a:lnTo>
                <a:lnTo>
                  <a:pt x="4025" y="2471"/>
                </a:lnTo>
                <a:lnTo>
                  <a:pt x="4028" y="2479"/>
                </a:lnTo>
                <a:lnTo>
                  <a:pt x="4029" y="2488"/>
                </a:lnTo>
                <a:lnTo>
                  <a:pt x="4029" y="2496"/>
                </a:lnTo>
                <a:lnTo>
                  <a:pt x="4028" y="2503"/>
                </a:lnTo>
                <a:lnTo>
                  <a:pt x="4025" y="2510"/>
                </a:lnTo>
                <a:lnTo>
                  <a:pt x="4022" y="2517"/>
                </a:lnTo>
                <a:lnTo>
                  <a:pt x="4018" y="2523"/>
                </a:lnTo>
                <a:lnTo>
                  <a:pt x="4009" y="2535"/>
                </a:lnTo>
                <a:lnTo>
                  <a:pt x="4000" y="2547"/>
                </a:lnTo>
                <a:lnTo>
                  <a:pt x="3997" y="2553"/>
                </a:lnTo>
                <a:lnTo>
                  <a:pt x="3994" y="2560"/>
                </a:lnTo>
                <a:lnTo>
                  <a:pt x="3992" y="2567"/>
                </a:lnTo>
                <a:lnTo>
                  <a:pt x="3992" y="2574"/>
                </a:lnTo>
                <a:lnTo>
                  <a:pt x="3992" y="2580"/>
                </a:lnTo>
                <a:lnTo>
                  <a:pt x="3992" y="2586"/>
                </a:lnTo>
                <a:lnTo>
                  <a:pt x="3993" y="2591"/>
                </a:lnTo>
                <a:lnTo>
                  <a:pt x="3996" y="2595"/>
                </a:lnTo>
                <a:lnTo>
                  <a:pt x="3999" y="2601"/>
                </a:lnTo>
                <a:lnTo>
                  <a:pt x="4001" y="2608"/>
                </a:lnTo>
                <a:lnTo>
                  <a:pt x="4001" y="2616"/>
                </a:lnTo>
                <a:lnTo>
                  <a:pt x="4000" y="2626"/>
                </a:lnTo>
                <a:lnTo>
                  <a:pt x="3998" y="2639"/>
                </a:lnTo>
                <a:lnTo>
                  <a:pt x="3992" y="2654"/>
                </a:lnTo>
                <a:lnTo>
                  <a:pt x="3984" y="2668"/>
                </a:lnTo>
                <a:lnTo>
                  <a:pt x="3977" y="2681"/>
                </a:lnTo>
                <a:lnTo>
                  <a:pt x="3973" y="2687"/>
                </a:lnTo>
                <a:lnTo>
                  <a:pt x="3968" y="2692"/>
                </a:lnTo>
                <a:lnTo>
                  <a:pt x="3962" y="2696"/>
                </a:lnTo>
                <a:lnTo>
                  <a:pt x="3956" y="2698"/>
                </a:lnTo>
                <a:lnTo>
                  <a:pt x="3952" y="2700"/>
                </a:lnTo>
                <a:lnTo>
                  <a:pt x="3948" y="2703"/>
                </a:lnTo>
                <a:lnTo>
                  <a:pt x="3947" y="2706"/>
                </a:lnTo>
                <a:lnTo>
                  <a:pt x="3947" y="2714"/>
                </a:lnTo>
                <a:lnTo>
                  <a:pt x="3949" y="2734"/>
                </a:lnTo>
                <a:lnTo>
                  <a:pt x="3950" y="2748"/>
                </a:lnTo>
                <a:lnTo>
                  <a:pt x="3949" y="2754"/>
                </a:lnTo>
                <a:lnTo>
                  <a:pt x="3949" y="2762"/>
                </a:lnTo>
                <a:lnTo>
                  <a:pt x="3950" y="2769"/>
                </a:lnTo>
                <a:lnTo>
                  <a:pt x="3953" y="2777"/>
                </a:lnTo>
                <a:lnTo>
                  <a:pt x="3955" y="2784"/>
                </a:lnTo>
                <a:lnTo>
                  <a:pt x="3956" y="2793"/>
                </a:lnTo>
                <a:lnTo>
                  <a:pt x="3956" y="2803"/>
                </a:lnTo>
                <a:lnTo>
                  <a:pt x="3954" y="2811"/>
                </a:lnTo>
                <a:lnTo>
                  <a:pt x="3949" y="2817"/>
                </a:lnTo>
                <a:lnTo>
                  <a:pt x="3940" y="2826"/>
                </a:lnTo>
                <a:lnTo>
                  <a:pt x="3929" y="2837"/>
                </a:lnTo>
                <a:lnTo>
                  <a:pt x="3917" y="2851"/>
                </a:lnTo>
                <a:lnTo>
                  <a:pt x="3911" y="2859"/>
                </a:lnTo>
                <a:lnTo>
                  <a:pt x="3906" y="2868"/>
                </a:lnTo>
                <a:lnTo>
                  <a:pt x="3902" y="2876"/>
                </a:lnTo>
                <a:lnTo>
                  <a:pt x="3898" y="2885"/>
                </a:lnTo>
                <a:lnTo>
                  <a:pt x="3892" y="2901"/>
                </a:lnTo>
                <a:lnTo>
                  <a:pt x="3889" y="2913"/>
                </a:lnTo>
                <a:lnTo>
                  <a:pt x="3887" y="2925"/>
                </a:lnTo>
                <a:lnTo>
                  <a:pt x="3887" y="2939"/>
                </a:lnTo>
                <a:lnTo>
                  <a:pt x="3886" y="2955"/>
                </a:lnTo>
                <a:lnTo>
                  <a:pt x="3886" y="2968"/>
                </a:lnTo>
                <a:lnTo>
                  <a:pt x="3886" y="2974"/>
                </a:lnTo>
                <a:lnTo>
                  <a:pt x="3887" y="2980"/>
                </a:lnTo>
                <a:lnTo>
                  <a:pt x="3889" y="2985"/>
                </a:lnTo>
                <a:lnTo>
                  <a:pt x="3891" y="2990"/>
                </a:lnTo>
                <a:lnTo>
                  <a:pt x="3893" y="2995"/>
                </a:lnTo>
                <a:lnTo>
                  <a:pt x="3896" y="2999"/>
                </a:lnTo>
                <a:lnTo>
                  <a:pt x="3899" y="3002"/>
                </a:lnTo>
                <a:lnTo>
                  <a:pt x="3903" y="3005"/>
                </a:lnTo>
                <a:lnTo>
                  <a:pt x="3905" y="3007"/>
                </a:lnTo>
                <a:lnTo>
                  <a:pt x="3908" y="3011"/>
                </a:lnTo>
                <a:lnTo>
                  <a:pt x="3910" y="3015"/>
                </a:lnTo>
                <a:lnTo>
                  <a:pt x="3912" y="3020"/>
                </a:lnTo>
                <a:lnTo>
                  <a:pt x="3915" y="3030"/>
                </a:lnTo>
                <a:lnTo>
                  <a:pt x="3915" y="3042"/>
                </a:lnTo>
                <a:lnTo>
                  <a:pt x="3915" y="3046"/>
                </a:lnTo>
                <a:lnTo>
                  <a:pt x="3914" y="3052"/>
                </a:lnTo>
                <a:lnTo>
                  <a:pt x="3911" y="3058"/>
                </a:lnTo>
                <a:lnTo>
                  <a:pt x="3909" y="3064"/>
                </a:lnTo>
                <a:lnTo>
                  <a:pt x="3905" y="3070"/>
                </a:lnTo>
                <a:lnTo>
                  <a:pt x="3900" y="3076"/>
                </a:lnTo>
                <a:lnTo>
                  <a:pt x="3896" y="3082"/>
                </a:lnTo>
                <a:lnTo>
                  <a:pt x="3889" y="3088"/>
                </a:lnTo>
                <a:lnTo>
                  <a:pt x="3884" y="3090"/>
                </a:lnTo>
                <a:lnTo>
                  <a:pt x="3878" y="3093"/>
                </a:lnTo>
                <a:lnTo>
                  <a:pt x="3873" y="3095"/>
                </a:lnTo>
                <a:lnTo>
                  <a:pt x="3867" y="3096"/>
                </a:lnTo>
                <a:lnTo>
                  <a:pt x="3854" y="3097"/>
                </a:lnTo>
                <a:lnTo>
                  <a:pt x="3843" y="3097"/>
                </a:lnTo>
                <a:lnTo>
                  <a:pt x="3829" y="3096"/>
                </a:lnTo>
                <a:lnTo>
                  <a:pt x="3816" y="3095"/>
                </a:lnTo>
                <a:lnTo>
                  <a:pt x="3803" y="3093"/>
                </a:lnTo>
                <a:lnTo>
                  <a:pt x="3789" y="3092"/>
                </a:lnTo>
                <a:lnTo>
                  <a:pt x="3753" y="3088"/>
                </a:lnTo>
                <a:lnTo>
                  <a:pt x="3713" y="3084"/>
                </a:lnTo>
                <a:lnTo>
                  <a:pt x="3672" y="3082"/>
                </a:lnTo>
                <a:lnTo>
                  <a:pt x="3635" y="3080"/>
                </a:lnTo>
                <a:lnTo>
                  <a:pt x="3614" y="3078"/>
                </a:lnTo>
                <a:lnTo>
                  <a:pt x="3596" y="3077"/>
                </a:lnTo>
                <a:lnTo>
                  <a:pt x="3582" y="3076"/>
                </a:lnTo>
                <a:lnTo>
                  <a:pt x="3571" y="3074"/>
                </a:lnTo>
                <a:lnTo>
                  <a:pt x="3563" y="3071"/>
                </a:lnTo>
                <a:lnTo>
                  <a:pt x="3557" y="3069"/>
                </a:lnTo>
                <a:lnTo>
                  <a:pt x="3552" y="3065"/>
                </a:lnTo>
                <a:lnTo>
                  <a:pt x="3547" y="3063"/>
                </a:lnTo>
                <a:lnTo>
                  <a:pt x="3541" y="3055"/>
                </a:lnTo>
                <a:lnTo>
                  <a:pt x="3538" y="3049"/>
                </a:lnTo>
                <a:lnTo>
                  <a:pt x="3535" y="3046"/>
                </a:lnTo>
                <a:lnTo>
                  <a:pt x="3533" y="3044"/>
                </a:lnTo>
                <a:lnTo>
                  <a:pt x="3531" y="3042"/>
                </a:lnTo>
                <a:lnTo>
                  <a:pt x="3527" y="3042"/>
                </a:lnTo>
                <a:lnTo>
                  <a:pt x="3524" y="3040"/>
                </a:lnTo>
                <a:lnTo>
                  <a:pt x="3520" y="3042"/>
                </a:lnTo>
                <a:lnTo>
                  <a:pt x="3518" y="3043"/>
                </a:lnTo>
                <a:lnTo>
                  <a:pt x="3515" y="3045"/>
                </a:lnTo>
                <a:lnTo>
                  <a:pt x="3509" y="3053"/>
                </a:lnTo>
                <a:lnTo>
                  <a:pt x="3505" y="3068"/>
                </a:lnTo>
                <a:lnTo>
                  <a:pt x="3500" y="3083"/>
                </a:lnTo>
                <a:lnTo>
                  <a:pt x="3496" y="3095"/>
                </a:lnTo>
                <a:lnTo>
                  <a:pt x="3492" y="3103"/>
                </a:lnTo>
                <a:lnTo>
                  <a:pt x="3484" y="3112"/>
                </a:lnTo>
                <a:lnTo>
                  <a:pt x="3477" y="3118"/>
                </a:lnTo>
                <a:lnTo>
                  <a:pt x="3472" y="3121"/>
                </a:lnTo>
                <a:lnTo>
                  <a:pt x="3471" y="3124"/>
                </a:lnTo>
                <a:lnTo>
                  <a:pt x="3471" y="3126"/>
                </a:lnTo>
                <a:lnTo>
                  <a:pt x="3471" y="3128"/>
                </a:lnTo>
                <a:lnTo>
                  <a:pt x="3472" y="3132"/>
                </a:lnTo>
                <a:lnTo>
                  <a:pt x="3474" y="3138"/>
                </a:lnTo>
                <a:lnTo>
                  <a:pt x="3474" y="3145"/>
                </a:lnTo>
                <a:lnTo>
                  <a:pt x="3471" y="3153"/>
                </a:lnTo>
                <a:lnTo>
                  <a:pt x="3465" y="3164"/>
                </a:lnTo>
                <a:lnTo>
                  <a:pt x="3458" y="3175"/>
                </a:lnTo>
                <a:lnTo>
                  <a:pt x="3451" y="3184"/>
                </a:lnTo>
                <a:lnTo>
                  <a:pt x="3445" y="3193"/>
                </a:lnTo>
                <a:lnTo>
                  <a:pt x="3439" y="3200"/>
                </a:lnTo>
                <a:lnTo>
                  <a:pt x="3434" y="3206"/>
                </a:lnTo>
                <a:lnTo>
                  <a:pt x="3431" y="3213"/>
                </a:lnTo>
                <a:lnTo>
                  <a:pt x="3430" y="3220"/>
                </a:lnTo>
                <a:lnTo>
                  <a:pt x="3431" y="3226"/>
                </a:lnTo>
                <a:lnTo>
                  <a:pt x="3431" y="3228"/>
                </a:lnTo>
                <a:lnTo>
                  <a:pt x="3431" y="3231"/>
                </a:lnTo>
                <a:lnTo>
                  <a:pt x="3429" y="3232"/>
                </a:lnTo>
                <a:lnTo>
                  <a:pt x="3426" y="3232"/>
                </a:lnTo>
                <a:lnTo>
                  <a:pt x="3418" y="3233"/>
                </a:lnTo>
                <a:lnTo>
                  <a:pt x="3405" y="3233"/>
                </a:lnTo>
                <a:lnTo>
                  <a:pt x="3399" y="3233"/>
                </a:lnTo>
                <a:lnTo>
                  <a:pt x="3393" y="3235"/>
                </a:lnTo>
                <a:lnTo>
                  <a:pt x="3387" y="3237"/>
                </a:lnTo>
                <a:lnTo>
                  <a:pt x="3382" y="3240"/>
                </a:lnTo>
                <a:lnTo>
                  <a:pt x="3375" y="3247"/>
                </a:lnTo>
                <a:lnTo>
                  <a:pt x="3369" y="3256"/>
                </a:lnTo>
                <a:lnTo>
                  <a:pt x="3367" y="3259"/>
                </a:lnTo>
                <a:lnTo>
                  <a:pt x="3363" y="3261"/>
                </a:lnTo>
                <a:lnTo>
                  <a:pt x="3360" y="3264"/>
                </a:lnTo>
                <a:lnTo>
                  <a:pt x="3356" y="3265"/>
                </a:lnTo>
                <a:lnTo>
                  <a:pt x="3348" y="3265"/>
                </a:lnTo>
                <a:lnTo>
                  <a:pt x="3341" y="3264"/>
                </a:lnTo>
                <a:lnTo>
                  <a:pt x="3333" y="3264"/>
                </a:lnTo>
                <a:lnTo>
                  <a:pt x="3326" y="3265"/>
                </a:lnTo>
                <a:lnTo>
                  <a:pt x="3324" y="3267"/>
                </a:lnTo>
                <a:lnTo>
                  <a:pt x="3322" y="3270"/>
                </a:lnTo>
                <a:lnTo>
                  <a:pt x="3320" y="3273"/>
                </a:lnTo>
                <a:lnTo>
                  <a:pt x="3320" y="3278"/>
                </a:lnTo>
                <a:lnTo>
                  <a:pt x="3318" y="3285"/>
                </a:lnTo>
                <a:lnTo>
                  <a:pt x="3316" y="3291"/>
                </a:lnTo>
                <a:lnTo>
                  <a:pt x="3311" y="3295"/>
                </a:lnTo>
                <a:lnTo>
                  <a:pt x="3305" y="3297"/>
                </a:lnTo>
                <a:lnTo>
                  <a:pt x="3301" y="3298"/>
                </a:lnTo>
                <a:lnTo>
                  <a:pt x="3299" y="3301"/>
                </a:lnTo>
                <a:lnTo>
                  <a:pt x="3298" y="3304"/>
                </a:lnTo>
                <a:lnTo>
                  <a:pt x="3298" y="3309"/>
                </a:lnTo>
                <a:lnTo>
                  <a:pt x="3298" y="3314"/>
                </a:lnTo>
                <a:lnTo>
                  <a:pt x="3300" y="3317"/>
                </a:lnTo>
                <a:lnTo>
                  <a:pt x="3302" y="3322"/>
                </a:lnTo>
                <a:lnTo>
                  <a:pt x="3307" y="3326"/>
                </a:lnTo>
                <a:lnTo>
                  <a:pt x="3317" y="3330"/>
                </a:lnTo>
                <a:lnTo>
                  <a:pt x="3324" y="3334"/>
                </a:lnTo>
                <a:lnTo>
                  <a:pt x="3327" y="3336"/>
                </a:lnTo>
                <a:lnTo>
                  <a:pt x="3331" y="3341"/>
                </a:lnTo>
                <a:lnTo>
                  <a:pt x="3335" y="3346"/>
                </a:lnTo>
                <a:lnTo>
                  <a:pt x="3338" y="3354"/>
                </a:lnTo>
                <a:lnTo>
                  <a:pt x="3348" y="3373"/>
                </a:lnTo>
                <a:lnTo>
                  <a:pt x="3357" y="3392"/>
                </a:lnTo>
                <a:lnTo>
                  <a:pt x="3367" y="3411"/>
                </a:lnTo>
                <a:lnTo>
                  <a:pt x="3374" y="3427"/>
                </a:lnTo>
                <a:lnTo>
                  <a:pt x="3383" y="3446"/>
                </a:lnTo>
                <a:lnTo>
                  <a:pt x="3396" y="3473"/>
                </a:lnTo>
                <a:lnTo>
                  <a:pt x="3409" y="3502"/>
                </a:lnTo>
                <a:lnTo>
                  <a:pt x="3420" y="3524"/>
                </a:lnTo>
                <a:lnTo>
                  <a:pt x="3429" y="3543"/>
                </a:lnTo>
                <a:lnTo>
                  <a:pt x="3437" y="3561"/>
                </a:lnTo>
                <a:lnTo>
                  <a:pt x="3446" y="3579"/>
                </a:lnTo>
                <a:lnTo>
                  <a:pt x="3452" y="3594"/>
                </a:lnTo>
                <a:lnTo>
                  <a:pt x="3456" y="3601"/>
                </a:lnTo>
                <a:lnTo>
                  <a:pt x="3458" y="3610"/>
                </a:lnTo>
                <a:lnTo>
                  <a:pt x="3462" y="3619"/>
                </a:lnTo>
                <a:lnTo>
                  <a:pt x="3462" y="3626"/>
                </a:lnTo>
                <a:lnTo>
                  <a:pt x="3457" y="3638"/>
                </a:lnTo>
                <a:lnTo>
                  <a:pt x="3452" y="3651"/>
                </a:lnTo>
                <a:lnTo>
                  <a:pt x="3453" y="3667"/>
                </a:lnTo>
                <a:lnTo>
                  <a:pt x="3455" y="3683"/>
                </a:lnTo>
                <a:lnTo>
                  <a:pt x="3457" y="3701"/>
                </a:lnTo>
                <a:lnTo>
                  <a:pt x="3456" y="3717"/>
                </a:lnTo>
                <a:lnTo>
                  <a:pt x="3455" y="3731"/>
                </a:lnTo>
                <a:lnTo>
                  <a:pt x="3455" y="3742"/>
                </a:lnTo>
                <a:lnTo>
                  <a:pt x="3456" y="3746"/>
                </a:lnTo>
                <a:lnTo>
                  <a:pt x="3457" y="3751"/>
                </a:lnTo>
                <a:lnTo>
                  <a:pt x="3459" y="3755"/>
                </a:lnTo>
                <a:lnTo>
                  <a:pt x="3462" y="3760"/>
                </a:lnTo>
                <a:lnTo>
                  <a:pt x="3468" y="3768"/>
                </a:lnTo>
                <a:lnTo>
                  <a:pt x="3472" y="3780"/>
                </a:lnTo>
                <a:lnTo>
                  <a:pt x="3475" y="3786"/>
                </a:lnTo>
                <a:lnTo>
                  <a:pt x="3476" y="3793"/>
                </a:lnTo>
                <a:lnTo>
                  <a:pt x="3476" y="3800"/>
                </a:lnTo>
                <a:lnTo>
                  <a:pt x="3476" y="3808"/>
                </a:lnTo>
                <a:lnTo>
                  <a:pt x="3475" y="3824"/>
                </a:lnTo>
                <a:lnTo>
                  <a:pt x="3476" y="3838"/>
                </a:lnTo>
                <a:lnTo>
                  <a:pt x="3477" y="3845"/>
                </a:lnTo>
                <a:lnTo>
                  <a:pt x="3478" y="3851"/>
                </a:lnTo>
                <a:lnTo>
                  <a:pt x="3482" y="3856"/>
                </a:lnTo>
                <a:lnTo>
                  <a:pt x="3487" y="3861"/>
                </a:lnTo>
                <a:lnTo>
                  <a:pt x="3501" y="3866"/>
                </a:lnTo>
                <a:lnTo>
                  <a:pt x="3509" y="3871"/>
                </a:lnTo>
                <a:lnTo>
                  <a:pt x="3512" y="3875"/>
                </a:lnTo>
                <a:lnTo>
                  <a:pt x="3512" y="3878"/>
                </a:lnTo>
                <a:lnTo>
                  <a:pt x="3512" y="3881"/>
                </a:lnTo>
                <a:lnTo>
                  <a:pt x="3509" y="3883"/>
                </a:lnTo>
                <a:lnTo>
                  <a:pt x="3505" y="3889"/>
                </a:lnTo>
                <a:lnTo>
                  <a:pt x="3497" y="3894"/>
                </a:lnTo>
                <a:lnTo>
                  <a:pt x="3490" y="3901"/>
                </a:lnTo>
                <a:lnTo>
                  <a:pt x="3484" y="3907"/>
                </a:lnTo>
                <a:lnTo>
                  <a:pt x="3480" y="3912"/>
                </a:lnTo>
                <a:lnTo>
                  <a:pt x="3476" y="3915"/>
                </a:lnTo>
                <a:lnTo>
                  <a:pt x="3474" y="3915"/>
                </a:lnTo>
                <a:lnTo>
                  <a:pt x="3471" y="3915"/>
                </a:lnTo>
                <a:lnTo>
                  <a:pt x="3468" y="3914"/>
                </a:lnTo>
                <a:lnTo>
                  <a:pt x="3464" y="3910"/>
                </a:lnTo>
                <a:lnTo>
                  <a:pt x="3450" y="3899"/>
                </a:lnTo>
                <a:lnTo>
                  <a:pt x="3436" y="3887"/>
                </a:lnTo>
                <a:lnTo>
                  <a:pt x="3431" y="3883"/>
                </a:lnTo>
                <a:lnTo>
                  <a:pt x="3426" y="3881"/>
                </a:lnTo>
                <a:lnTo>
                  <a:pt x="3424" y="3881"/>
                </a:lnTo>
                <a:lnTo>
                  <a:pt x="3423" y="3881"/>
                </a:lnTo>
                <a:lnTo>
                  <a:pt x="3420" y="3882"/>
                </a:lnTo>
                <a:lnTo>
                  <a:pt x="3419" y="3884"/>
                </a:lnTo>
                <a:lnTo>
                  <a:pt x="3412" y="3896"/>
                </a:lnTo>
                <a:lnTo>
                  <a:pt x="3407" y="3908"/>
                </a:lnTo>
                <a:lnTo>
                  <a:pt x="3405" y="3912"/>
                </a:lnTo>
                <a:lnTo>
                  <a:pt x="3402" y="3915"/>
                </a:lnTo>
                <a:lnTo>
                  <a:pt x="3399" y="3918"/>
                </a:lnTo>
                <a:lnTo>
                  <a:pt x="3395" y="3919"/>
                </a:lnTo>
                <a:lnTo>
                  <a:pt x="3392" y="3919"/>
                </a:lnTo>
                <a:lnTo>
                  <a:pt x="3387" y="3919"/>
                </a:lnTo>
                <a:lnTo>
                  <a:pt x="3382" y="3916"/>
                </a:lnTo>
                <a:lnTo>
                  <a:pt x="3379" y="3914"/>
                </a:lnTo>
                <a:lnTo>
                  <a:pt x="3369" y="3906"/>
                </a:lnTo>
                <a:lnTo>
                  <a:pt x="3360" y="3899"/>
                </a:lnTo>
                <a:lnTo>
                  <a:pt x="3349" y="3891"/>
                </a:lnTo>
                <a:lnTo>
                  <a:pt x="3338" y="3887"/>
                </a:lnTo>
                <a:lnTo>
                  <a:pt x="3327" y="3883"/>
                </a:lnTo>
                <a:lnTo>
                  <a:pt x="3318" y="3878"/>
                </a:lnTo>
                <a:lnTo>
                  <a:pt x="3310" y="3874"/>
                </a:lnTo>
                <a:lnTo>
                  <a:pt x="3302" y="3866"/>
                </a:lnTo>
                <a:lnTo>
                  <a:pt x="3297" y="3862"/>
                </a:lnTo>
                <a:lnTo>
                  <a:pt x="3289" y="3859"/>
                </a:lnTo>
                <a:lnTo>
                  <a:pt x="3282" y="3858"/>
                </a:lnTo>
                <a:lnTo>
                  <a:pt x="3275" y="3858"/>
                </a:lnTo>
                <a:lnTo>
                  <a:pt x="3268" y="3858"/>
                </a:lnTo>
                <a:lnTo>
                  <a:pt x="3260" y="3857"/>
                </a:lnTo>
                <a:lnTo>
                  <a:pt x="3256" y="3855"/>
                </a:lnTo>
                <a:lnTo>
                  <a:pt x="3251" y="3853"/>
                </a:lnTo>
                <a:lnTo>
                  <a:pt x="3248" y="3850"/>
                </a:lnTo>
                <a:lnTo>
                  <a:pt x="3245" y="3846"/>
                </a:lnTo>
                <a:lnTo>
                  <a:pt x="3238" y="3833"/>
                </a:lnTo>
                <a:lnTo>
                  <a:pt x="3231" y="3821"/>
                </a:lnTo>
                <a:lnTo>
                  <a:pt x="3226" y="3819"/>
                </a:lnTo>
                <a:lnTo>
                  <a:pt x="3222" y="3819"/>
                </a:lnTo>
                <a:lnTo>
                  <a:pt x="3218" y="3819"/>
                </a:lnTo>
                <a:lnTo>
                  <a:pt x="3213" y="3821"/>
                </a:lnTo>
                <a:lnTo>
                  <a:pt x="3211" y="3823"/>
                </a:lnTo>
                <a:lnTo>
                  <a:pt x="3209" y="3820"/>
                </a:lnTo>
                <a:lnTo>
                  <a:pt x="3207" y="3817"/>
                </a:lnTo>
                <a:lnTo>
                  <a:pt x="3206" y="3812"/>
                </a:lnTo>
                <a:lnTo>
                  <a:pt x="3205" y="3800"/>
                </a:lnTo>
                <a:lnTo>
                  <a:pt x="3204" y="3788"/>
                </a:lnTo>
                <a:lnTo>
                  <a:pt x="3203" y="3779"/>
                </a:lnTo>
                <a:lnTo>
                  <a:pt x="3200" y="3769"/>
                </a:lnTo>
                <a:lnTo>
                  <a:pt x="3199" y="3761"/>
                </a:lnTo>
                <a:lnTo>
                  <a:pt x="3196" y="3752"/>
                </a:lnTo>
                <a:lnTo>
                  <a:pt x="3192" y="3743"/>
                </a:lnTo>
                <a:lnTo>
                  <a:pt x="3186" y="3733"/>
                </a:lnTo>
                <a:lnTo>
                  <a:pt x="3182" y="3723"/>
                </a:lnTo>
                <a:lnTo>
                  <a:pt x="3180" y="3713"/>
                </a:lnTo>
                <a:lnTo>
                  <a:pt x="3179" y="3704"/>
                </a:lnTo>
                <a:lnTo>
                  <a:pt x="3178" y="3697"/>
                </a:lnTo>
                <a:lnTo>
                  <a:pt x="3176" y="3694"/>
                </a:lnTo>
                <a:lnTo>
                  <a:pt x="3176" y="3692"/>
                </a:lnTo>
                <a:lnTo>
                  <a:pt x="3175" y="3692"/>
                </a:lnTo>
                <a:lnTo>
                  <a:pt x="3173" y="3693"/>
                </a:lnTo>
                <a:lnTo>
                  <a:pt x="3169" y="3698"/>
                </a:lnTo>
                <a:lnTo>
                  <a:pt x="3165" y="3707"/>
                </a:lnTo>
                <a:lnTo>
                  <a:pt x="3157" y="3718"/>
                </a:lnTo>
                <a:lnTo>
                  <a:pt x="3152" y="3730"/>
                </a:lnTo>
                <a:lnTo>
                  <a:pt x="3146" y="3743"/>
                </a:lnTo>
                <a:lnTo>
                  <a:pt x="3136" y="3758"/>
                </a:lnTo>
                <a:lnTo>
                  <a:pt x="3129" y="3774"/>
                </a:lnTo>
                <a:lnTo>
                  <a:pt x="3123" y="3787"/>
                </a:lnTo>
                <a:lnTo>
                  <a:pt x="3122" y="3788"/>
                </a:lnTo>
                <a:lnTo>
                  <a:pt x="3121" y="3790"/>
                </a:lnTo>
                <a:lnTo>
                  <a:pt x="3119" y="3792"/>
                </a:lnTo>
                <a:lnTo>
                  <a:pt x="3117" y="3792"/>
                </a:lnTo>
                <a:lnTo>
                  <a:pt x="3112" y="3792"/>
                </a:lnTo>
                <a:lnTo>
                  <a:pt x="3108" y="3789"/>
                </a:lnTo>
                <a:lnTo>
                  <a:pt x="3103" y="3787"/>
                </a:lnTo>
                <a:lnTo>
                  <a:pt x="3098" y="3782"/>
                </a:lnTo>
                <a:lnTo>
                  <a:pt x="3094" y="3777"/>
                </a:lnTo>
                <a:lnTo>
                  <a:pt x="3092" y="3773"/>
                </a:lnTo>
                <a:lnTo>
                  <a:pt x="3089" y="3762"/>
                </a:lnTo>
                <a:lnTo>
                  <a:pt x="3086" y="3752"/>
                </a:lnTo>
                <a:lnTo>
                  <a:pt x="3084" y="3743"/>
                </a:lnTo>
                <a:lnTo>
                  <a:pt x="3079" y="3733"/>
                </a:lnTo>
                <a:lnTo>
                  <a:pt x="3075" y="3731"/>
                </a:lnTo>
                <a:lnTo>
                  <a:pt x="3070" y="3729"/>
                </a:lnTo>
                <a:lnTo>
                  <a:pt x="3065" y="3727"/>
                </a:lnTo>
                <a:lnTo>
                  <a:pt x="3058" y="3729"/>
                </a:lnTo>
                <a:lnTo>
                  <a:pt x="3050" y="3730"/>
                </a:lnTo>
                <a:lnTo>
                  <a:pt x="3045" y="3733"/>
                </a:lnTo>
                <a:lnTo>
                  <a:pt x="3037" y="3738"/>
                </a:lnTo>
                <a:lnTo>
                  <a:pt x="3031" y="3743"/>
                </a:lnTo>
                <a:lnTo>
                  <a:pt x="3027" y="3749"/>
                </a:lnTo>
                <a:lnTo>
                  <a:pt x="3024" y="3755"/>
                </a:lnTo>
                <a:lnTo>
                  <a:pt x="3022" y="3761"/>
                </a:lnTo>
                <a:lnTo>
                  <a:pt x="3022" y="3767"/>
                </a:lnTo>
                <a:lnTo>
                  <a:pt x="3022" y="3777"/>
                </a:lnTo>
                <a:lnTo>
                  <a:pt x="3022" y="3788"/>
                </a:lnTo>
                <a:lnTo>
                  <a:pt x="3020" y="3793"/>
                </a:lnTo>
                <a:lnTo>
                  <a:pt x="3017" y="3796"/>
                </a:lnTo>
                <a:lnTo>
                  <a:pt x="3015" y="3800"/>
                </a:lnTo>
                <a:lnTo>
                  <a:pt x="3011" y="3802"/>
                </a:lnTo>
                <a:lnTo>
                  <a:pt x="3002" y="3805"/>
                </a:lnTo>
                <a:lnTo>
                  <a:pt x="2991" y="3807"/>
                </a:lnTo>
                <a:lnTo>
                  <a:pt x="2979" y="3808"/>
                </a:lnTo>
                <a:lnTo>
                  <a:pt x="2966" y="3811"/>
                </a:lnTo>
                <a:lnTo>
                  <a:pt x="2960" y="3812"/>
                </a:lnTo>
                <a:lnTo>
                  <a:pt x="2954" y="3814"/>
                </a:lnTo>
                <a:lnTo>
                  <a:pt x="2948" y="3818"/>
                </a:lnTo>
                <a:lnTo>
                  <a:pt x="2942" y="3821"/>
                </a:lnTo>
                <a:lnTo>
                  <a:pt x="2932" y="3832"/>
                </a:lnTo>
                <a:lnTo>
                  <a:pt x="2921" y="3843"/>
                </a:lnTo>
                <a:lnTo>
                  <a:pt x="2914" y="3849"/>
                </a:lnTo>
                <a:lnTo>
                  <a:pt x="2908" y="3853"/>
                </a:lnTo>
                <a:lnTo>
                  <a:pt x="2901" y="3857"/>
                </a:lnTo>
                <a:lnTo>
                  <a:pt x="2894" y="3859"/>
                </a:lnTo>
                <a:lnTo>
                  <a:pt x="2888" y="3861"/>
                </a:lnTo>
                <a:lnTo>
                  <a:pt x="2880" y="3864"/>
                </a:lnTo>
                <a:lnTo>
                  <a:pt x="2876" y="3868"/>
                </a:lnTo>
                <a:lnTo>
                  <a:pt x="2871" y="3872"/>
                </a:lnTo>
                <a:lnTo>
                  <a:pt x="2869" y="3877"/>
                </a:lnTo>
                <a:lnTo>
                  <a:pt x="2866" y="3882"/>
                </a:lnTo>
                <a:lnTo>
                  <a:pt x="2865" y="3888"/>
                </a:lnTo>
                <a:lnTo>
                  <a:pt x="2865" y="3894"/>
                </a:lnTo>
                <a:lnTo>
                  <a:pt x="2867" y="3905"/>
                </a:lnTo>
                <a:lnTo>
                  <a:pt x="2871" y="3918"/>
                </a:lnTo>
                <a:lnTo>
                  <a:pt x="2877" y="3929"/>
                </a:lnTo>
                <a:lnTo>
                  <a:pt x="2883" y="3944"/>
                </a:lnTo>
                <a:lnTo>
                  <a:pt x="2885" y="3951"/>
                </a:lnTo>
                <a:lnTo>
                  <a:pt x="2886" y="3956"/>
                </a:lnTo>
                <a:lnTo>
                  <a:pt x="2885" y="3959"/>
                </a:lnTo>
                <a:lnTo>
                  <a:pt x="2883" y="3962"/>
                </a:lnTo>
                <a:lnTo>
                  <a:pt x="2878" y="3964"/>
                </a:lnTo>
                <a:lnTo>
                  <a:pt x="2873" y="3964"/>
                </a:lnTo>
                <a:lnTo>
                  <a:pt x="2867" y="3963"/>
                </a:lnTo>
                <a:lnTo>
                  <a:pt x="2860" y="3962"/>
                </a:lnTo>
                <a:lnTo>
                  <a:pt x="2857" y="3960"/>
                </a:lnTo>
                <a:lnTo>
                  <a:pt x="2854" y="3962"/>
                </a:lnTo>
                <a:lnTo>
                  <a:pt x="2851" y="3962"/>
                </a:lnTo>
                <a:lnTo>
                  <a:pt x="2850" y="3963"/>
                </a:lnTo>
                <a:lnTo>
                  <a:pt x="2845" y="3968"/>
                </a:lnTo>
                <a:lnTo>
                  <a:pt x="2841" y="3973"/>
                </a:lnTo>
                <a:lnTo>
                  <a:pt x="2838" y="3979"/>
                </a:lnTo>
                <a:lnTo>
                  <a:pt x="2834" y="3985"/>
                </a:lnTo>
                <a:lnTo>
                  <a:pt x="2832" y="3988"/>
                </a:lnTo>
                <a:lnTo>
                  <a:pt x="2828" y="3989"/>
                </a:lnTo>
                <a:lnTo>
                  <a:pt x="2826" y="3991"/>
                </a:lnTo>
                <a:lnTo>
                  <a:pt x="2822" y="3991"/>
                </a:lnTo>
                <a:lnTo>
                  <a:pt x="2816" y="3992"/>
                </a:lnTo>
                <a:lnTo>
                  <a:pt x="2812" y="3991"/>
                </a:lnTo>
                <a:lnTo>
                  <a:pt x="2806" y="3987"/>
                </a:lnTo>
                <a:lnTo>
                  <a:pt x="2796" y="3978"/>
                </a:lnTo>
                <a:lnTo>
                  <a:pt x="2793" y="3976"/>
                </a:lnTo>
                <a:lnTo>
                  <a:pt x="2789" y="3975"/>
                </a:lnTo>
                <a:lnTo>
                  <a:pt x="2784" y="3976"/>
                </a:lnTo>
                <a:lnTo>
                  <a:pt x="2781" y="3976"/>
                </a:lnTo>
                <a:lnTo>
                  <a:pt x="2774" y="3978"/>
                </a:lnTo>
                <a:lnTo>
                  <a:pt x="2768" y="3979"/>
                </a:lnTo>
                <a:lnTo>
                  <a:pt x="2762" y="3976"/>
                </a:lnTo>
                <a:lnTo>
                  <a:pt x="2757" y="3971"/>
                </a:lnTo>
                <a:lnTo>
                  <a:pt x="2752" y="3964"/>
                </a:lnTo>
                <a:lnTo>
                  <a:pt x="2746" y="3951"/>
                </a:lnTo>
                <a:lnTo>
                  <a:pt x="2740" y="3934"/>
                </a:lnTo>
                <a:lnTo>
                  <a:pt x="2733" y="3918"/>
                </a:lnTo>
                <a:lnTo>
                  <a:pt x="2727" y="3902"/>
                </a:lnTo>
                <a:lnTo>
                  <a:pt x="2721" y="3888"/>
                </a:lnTo>
                <a:lnTo>
                  <a:pt x="2719" y="3883"/>
                </a:lnTo>
                <a:lnTo>
                  <a:pt x="2715" y="3878"/>
                </a:lnTo>
                <a:lnTo>
                  <a:pt x="2712" y="3874"/>
                </a:lnTo>
                <a:lnTo>
                  <a:pt x="2707" y="3870"/>
                </a:lnTo>
                <a:lnTo>
                  <a:pt x="2702" y="3868"/>
                </a:lnTo>
                <a:lnTo>
                  <a:pt x="2697" y="3865"/>
                </a:lnTo>
                <a:lnTo>
                  <a:pt x="2693" y="3864"/>
                </a:lnTo>
                <a:lnTo>
                  <a:pt x="2687" y="3863"/>
                </a:lnTo>
                <a:lnTo>
                  <a:pt x="2676" y="3859"/>
                </a:lnTo>
                <a:lnTo>
                  <a:pt x="2667" y="3856"/>
                </a:lnTo>
                <a:lnTo>
                  <a:pt x="2659" y="3850"/>
                </a:lnTo>
                <a:lnTo>
                  <a:pt x="2651" y="3842"/>
                </a:lnTo>
                <a:lnTo>
                  <a:pt x="2645" y="3830"/>
                </a:lnTo>
                <a:lnTo>
                  <a:pt x="2640" y="3815"/>
                </a:lnTo>
                <a:lnTo>
                  <a:pt x="2636" y="3801"/>
                </a:lnTo>
                <a:lnTo>
                  <a:pt x="2631" y="3790"/>
                </a:lnTo>
                <a:lnTo>
                  <a:pt x="2618" y="3774"/>
                </a:lnTo>
                <a:lnTo>
                  <a:pt x="2601" y="3756"/>
                </a:lnTo>
                <a:lnTo>
                  <a:pt x="2598" y="3750"/>
                </a:lnTo>
                <a:lnTo>
                  <a:pt x="2594" y="3742"/>
                </a:lnTo>
                <a:lnTo>
                  <a:pt x="2593" y="3732"/>
                </a:lnTo>
                <a:lnTo>
                  <a:pt x="2590" y="3721"/>
                </a:lnTo>
                <a:lnTo>
                  <a:pt x="2588" y="3700"/>
                </a:lnTo>
                <a:lnTo>
                  <a:pt x="2587" y="3682"/>
                </a:lnTo>
                <a:lnTo>
                  <a:pt x="2584" y="3669"/>
                </a:lnTo>
                <a:lnTo>
                  <a:pt x="2580" y="3657"/>
                </a:lnTo>
                <a:lnTo>
                  <a:pt x="2575" y="3648"/>
                </a:lnTo>
                <a:lnTo>
                  <a:pt x="2569" y="3639"/>
                </a:lnTo>
                <a:lnTo>
                  <a:pt x="2562" y="3632"/>
                </a:lnTo>
                <a:lnTo>
                  <a:pt x="2554" y="3625"/>
                </a:lnTo>
                <a:lnTo>
                  <a:pt x="2551" y="3623"/>
                </a:lnTo>
                <a:lnTo>
                  <a:pt x="2548" y="3620"/>
                </a:lnTo>
                <a:lnTo>
                  <a:pt x="2545" y="3619"/>
                </a:lnTo>
                <a:lnTo>
                  <a:pt x="2542" y="3619"/>
                </a:lnTo>
                <a:lnTo>
                  <a:pt x="2536" y="3623"/>
                </a:lnTo>
                <a:lnTo>
                  <a:pt x="2529" y="3630"/>
                </a:lnTo>
                <a:lnTo>
                  <a:pt x="2520" y="3638"/>
                </a:lnTo>
                <a:lnTo>
                  <a:pt x="2514" y="3645"/>
                </a:lnTo>
                <a:lnTo>
                  <a:pt x="2510" y="3654"/>
                </a:lnTo>
                <a:lnTo>
                  <a:pt x="2505" y="3666"/>
                </a:lnTo>
                <a:lnTo>
                  <a:pt x="2500" y="3677"/>
                </a:lnTo>
                <a:lnTo>
                  <a:pt x="2497" y="3687"/>
                </a:lnTo>
                <a:lnTo>
                  <a:pt x="2494" y="3691"/>
                </a:lnTo>
                <a:lnTo>
                  <a:pt x="2491" y="3693"/>
                </a:lnTo>
                <a:lnTo>
                  <a:pt x="2486" y="3694"/>
                </a:lnTo>
                <a:lnTo>
                  <a:pt x="2482" y="3694"/>
                </a:lnTo>
                <a:lnTo>
                  <a:pt x="2473" y="3693"/>
                </a:lnTo>
                <a:lnTo>
                  <a:pt x="2464" y="3691"/>
                </a:lnTo>
                <a:lnTo>
                  <a:pt x="2461" y="3691"/>
                </a:lnTo>
                <a:lnTo>
                  <a:pt x="2460" y="3692"/>
                </a:lnTo>
                <a:lnTo>
                  <a:pt x="2458" y="3693"/>
                </a:lnTo>
                <a:lnTo>
                  <a:pt x="2457" y="3695"/>
                </a:lnTo>
                <a:lnTo>
                  <a:pt x="2460" y="3700"/>
                </a:lnTo>
                <a:lnTo>
                  <a:pt x="2463" y="3705"/>
                </a:lnTo>
                <a:lnTo>
                  <a:pt x="2468" y="3710"/>
                </a:lnTo>
                <a:lnTo>
                  <a:pt x="2472" y="3716"/>
                </a:lnTo>
                <a:lnTo>
                  <a:pt x="2474" y="3723"/>
                </a:lnTo>
                <a:lnTo>
                  <a:pt x="2474" y="3730"/>
                </a:lnTo>
                <a:lnTo>
                  <a:pt x="2474" y="3740"/>
                </a:lnTo>
                <a:lnTo>
                  <a:pt x="2474" y="3756"/>
                </a:lnTo>
                <a:lnTo>
                  <a:pt x="2476" y="3773"/>
                </a:lnTo>
                <a:lnTo>
                  <a:pt x="2480" y="3784"/>
                </a:lnTo>
                <a:lnTo>
                  <a:pt x="2483" y="3792"/>
                </a:lnTo>
                <a:lnTo>
                  <a:pt x="2486" y="3796"/>
                </a:lnTo>
                <a:lnTo>
                  <a:pt x="2486" y="3800"/>
                </a:lnTo>
                <a:lnTo>
                  <a:pt x="2485" y="3802"/>
                </a:lnTo>
                <a:lnTo>
                  <a:pt x="2483" y="3805"/>
                </a:lnTo>
                <a:lnTo>
                  <a:pt x="2480" y="3808"/>
                </a:lnTo>
                <a:lnTo>
                  <a:pt x="2470" y="3814"/>
                </a:lnTo>
                <a:lnTo>
                  <a:pt x="2457" y="3823"/>
                </a:lnTo>
                <a:lnTo>
                  <a:pt x="2450" y="3826"/>
                </a:lnTo>
                <a:lnTo>
                  <a:pt x="2443" y="3830"/>
                </a:lnTo>
                <a:lnTo>
                  <a:pt x="2435" y="3832"/>
                </a:lnTo>
                <a:lnTo>
                  <a:pt x="2426" y="3833"/>
                </a:lnTo>
                <a:lnTo>
                  <a:pt x="2419" y="3833"/>
                </a:lnTo>
                <a:lnTo>
                  <a:pt x="2412" y="3832"/>
                </a:lnTo>
                <a:lnTo>
                  <a:pt x="2407" y="3830"/>
                </a:lnTo>
                <a:lnTo>
                  <a:pt x="2403" y="3826"/>
                </a:lnTo>
                <a:lnTo>
                  <a:pt x="2395" y="3818"/>
                </a:lnTo>
                <a:lnTo>
                  <a:pt x="2392" y="3811"/>
                </a:lnTo>
                <a:lnTo>
                  <a:pt x="2390" y="3805"/>
                </a:lnTo>
                <a:lnTo>
                  <a:pt x="2387" y="3799"/>
                </a:lnTo>
                <a:lnTo>
                  <a:pt x="2385" y="3796"/>
                </a:lnTo>
                <a:lnTo>
                  <a:pt x="2384" y="3795"/>
                </a:lnTo>
                <a:lnTo>
                  <a:pt x="2381" y="3794"/>
                </a:lnTo>
                <a:lnTo>
                  <a:pt x="2378" y="3794"/>
                </a:lnTo>
                <a:lnTo>
                  <a:pt x="2372" y="3796"/>
                </a:lnTo>
                <a:lnTo>
                  <a:pt x="2366" y="3798"/>
                </a:lnTo>
                <a:lnTo>
                  <a:pt x="2360" y="3799"/>
                </a:lnTo>
                <a:lnTo>
                  <a:pt x="2355" y="3798"/>
                </a:lnTo>
                <a:lnTo>
                  <a:pt x="2351" y="3795"/>
                </a:lnTo>
                <a:lnTo>
                  <a:pt x="2350" y="3793"/>
                </a:lnTo>
                <a:lnTo>
                  <a:pt x="2348" y="3790"/>
                </a:lnTo>
                <a:lnTo>
                  <a:pt x="2347" y="3787"/>
                </a:lnTo>
                <a:lnTo>
                  <a:pt x="2344" y="3780"/>
                </a:lnTo>
                <a:lnTo>
                  <a:pt x="2343" y="3773"/>
                </a:lnTo>
                <a:lnTo>
                  <a:pt x="2342" y="3767"/>
                </a:lnTo>
                <a:lnTo>
                  <a:pt x="2340" y="3761"/>
                </a:lnTo>
                <a:lnTo>
                  <a:pt x="2336" y="3754"/>
                </a:lnTo>
                <a:lnTo>
                  <a:pt x="2331" y="3748"/>
                </a:lnTo>
                <a:lnTo>
                  <a:pt x="2322" y="3737"/>
                </a:lnTo>
                <a:lnTo>
                  <a:pt x="2310" y="3724"/>
                </a:lnTo>
                <a:lnTo>
                  <a:pt x="2298" y="3710"/>
                </a:lnTo>
                <a:lnTo>
                  <a:pt x="2287" y="3699"/>
                </a:lnTo>
                <a:lnTo>
                  <a:pt x="2284" y="3694"/>
                </a:lnTo>
                <a:lnTo>
                  <a:pt x="2281" y="3689"/>
                </a:lnTo>
                <a:lnTo>
                  <a:pt x="2279" y="3685"/>
                </a:lnTo>
                <a:lnTo>
                  <a:pt x="2278" y="3680"/>
                </a:lnTo>
                <a:lnTo>
                  <a:pt x="2278" y="3675"/>
                </a:lnTo>
                <a:lnTo>
                  <a:pt x="2278" y="3672"/>
                </a:lnTo>
                <a:lnTo>
                  <a:pt x="2279" y="3667"/>
                </a:lnTo>
                <a:lnTo>
                  <a:pt x="2280" y="3663"/>
                </a:lnTo>
                <a:lnTo>
                  <a:pt x="2288" y="3655"/>
                </a:lnTo>
                <a:lnTo>
                  <a:pt x="2298" y="3647"/>
                </a:lnTo>
                <a:lnTo>
                  <a:pt x="2299" y="3645"/>
                </a:lnTo>
                <a:lnTo>
                  <a:pt x="2299" y="3644"/>
                </a:lnTo>
                <a:lnTo>
                  <a:pt x="2298" y="3643"/>
                </a:lnTo>
                <a:lnTo>
                  <a:pt x="2297" y="3642"/>
                </a:lnTo>
                <a:lnTo>
                  <a:pt x="2293" y="3639"/>
                </a:lnTo>
                <a:lnTo>
                  <a:pt x="2290" y="3638"/>
                </a:lnTo>
                <a:lnTo>
                  <a:pt x="2279" y="3632"/>
                </a:lnTo>
                <a:lnTo>
                  <a:pt x="2267" y="3625"/>
                </a:lnTo>
                <a:lnTo>
                  <a:pt x="2261" y="3623"/>
                </a:lnTo>
                <a:lnTo>
                  <a:pt x="2255" y="3623"/>
                </a:lnTo>
                <a:lnTo>
                  <a:pt x="2249" y="3623"/>
                </a:lnTo>
                <a:lnTo>
                  <a:pt x="2242" y="3622"/>
                </a:lnTo>
                <a:lnTo>
                  <a:pt x="2234" y="3620"/>
                </a:lnTo>
                <a:lnTo>
                  <a:pt x="2228" y="3620"/>
                </a:lnTo>
                <a:lnTo>
                  <a:pt x="2222" y="3623"/>
                </a:lnTo>
                <a:lnTo>
                  <a:pt x="2217" y="3626"/>
                </a:lnTo>
                <a:lnTo>
                  <a:pt x="2214" y="3628"/>
                </a:lnTo>
                <a:lnTo>
                  <a:pt x="2210" y="3629"/>
                </a:lnTo>
                <a:lnTo>
                  <a:pt x="2205" y="3628"/>
                </a:lnTo>
                <a:lnTo>
                  <a:pt x="2201" y="3626"/>
                </a:lnTo>
                <a:lnTo>
                  <a:pt x="2191" y="3623"/>
                </a:lnTo>
                <a:lnTo>
                  <a:pt x="2182" y="3620"/>
                </a:lnTo>
                <a:lnTo>
                  <a:pt x="2178" y="3622"/>
                </a:lnTo>
                <a:lnTo>
                  <a:pt x="2177" y="3624"/>
                </a:lnTo>
                <a:lnTo>
                  <a:pt x="2177" y="3628"/>
                </a:lnTo>
                <a:lnTo>
                  <a:pt x="2178" y="3632"/>
                </a:lnTo>
                <a:lnTo>
                  <a:pt x="2179" y="3636"/>
                </a:lnTo>
                <a:lnTo>
                  <a:pt x="2179" y="3639"/>
                </a:lnTo>
                <a:lnTo>
                  <a:pt x="2173" y="3650"/>
                </a:lnTo>
                <a:lnTo>
                  <a:pt x="2167" y="3660"/>
                </a:lnTo>
                <a:lnTo>
                  <a:pt x="2165" y="3661"/>
                </a:lnTo>
                <a:lnTo>
                  <a:pt x="2161" y="3661"/>
                </a:lnTo>
                <a:lnTo>
                  <a:pt x="2157" y="3658"/>
                </a:lnTo>
                <a:lnTo>
                  <a:pt x="2151" y="3655"/>
                </a:lnTo>
                <a:lnTo>
                  <a:pt x="2146" y="3650"/>
                </a:lnTo>
                <a:lnTo>
                  <a:pt x="2141" y="3645"/>
                </a:lnTo>
                <a:lnTo>
                  <a:pt x="2138" y="3639"/>
                </a:lnTo>
                <a:lnTo>
                  <a:pt x="2135" y="3634"/>
                </a:lnTo>
                <a:lnTo>
                  <a:pt x="2133" y="3622"/>
                </a:lnTo>
                <a:lnTo>
                  <a:pt x="2130" y="3609"/>
                </a:lnTo>
                <a:lnTo>
                  <a:pt x="2126" y="3597"/>
                </a:lnTo>
                <a:lnTo>
                  <a:pt x="2121" y="3585"/>
                </a:lnTo>
                <a:lnTo>
                  <a:pt x="2117" y="3579"/>
                </a:lnTo>
                <a:lnTo>
                  <a:pt x="2115" y="3571"/>
                </a:lnTo>
                <a:lnTo>
                  <a:pt x="2114" y="3561"/>
                </a:lnTo>
                <a:lnTo>
                  <a:pt x="2113" y="3552"/>
                </a:lnTo>
                <a:lnTo>
                  <a:pt x="2111" y="3542"/>
                </a:lnTo>
                <a:lnTo>
                  <a:pt x="2111" y="3534"/>
                </a:lnTo>
                <a:lnTo>
                  <a:pt x="2113" y="3527"/>
                </a:lnTo>
                <a:lnTo>
                  <a:pt x="2114" y="3523"/>
                </a:lnTo>
                <a:lnTo>
                  <a:pt x="2115" y="3519"/>
                </a:lnTo>
                <a:lnTo>
                  <a:pt x="2120" y="3518"/>
                </a:lnTo>
                <a:lnTo>
                  <a:pt x="2123" y="3516"/>
                </a:lnTo>
                <a:lnTo>
                  <a:pt x="2128" y="3515"/>
                </a:lnTo>
                <a:lnTo>
                  <a:pt x="2132" y="3515"/>
                </a:lnTo>
                <a:lnTo>
                  <a:pt x="2136" y="3513"/>
                </a:lnTo>
                <a:lnTo>
                  <a:pt x="2138" y="3513"/>
                </a:lnTo>
                <a:lnTo>
                  <a:pt x="2139" y="3512"/>
                </a:lnTo>
                <a:lnTo>
                  <a:pt x="2139" y="3511"/>
                </a:lnTo>
                <a:lnTo>
                  <a:pt x="2139" y="3509"/>
                </a:lnTo>
                <a:lnTo>
                  <a:pt x="2132" y="3499"/>
                </a:lnTo>
                <a:lnTo>
                  <a:pt x="2123" y="3491"/>
                </a:lnTo>
                <a:lnTo>
                  <a:pt x="2114" y="3481"/>
                </a:lnTo>
                <a:lnTo>
                  <a:pt x="2104" y="3472"/>
                </a:lnTo>
                <a:lnTo>
                  <a:pt x="2098" y="3465"/>
                </a:lnTo>
                <a:lnTo>
                  <a:pt x="2094" y="3459"/>
                </a:lnTo>
                <a:lnTo>
                  <a:pt x="2090" y="3453"/>
                </a:lnTo>
                <a:lnTo>
                  <a:pt x="2086" y="3447"/>
                </a:lnTo>
                <a:lnTo>
                  <a:pt x="2082" y="3436"/>
                </a:lnTo>
                <a:lnTo>
                  <a:pt x="2079" y="3427"/>
                </a:lnTo>
                <a:lnTo>
                  <a:pt x="2078" y="3424"/>
                </a:lnTo>
                <a:lnTo>
                  <a:pt x="2076" y="3422"/>
                </a:lnTo>
                <a:lnTo>
                  <a:pt x="2072" y="3421"/>
                </a:lnTo>
                <a:lnTo>
                  <a:pt x="2069" y="3420"/>
                </a:lnTo>
                <a:lnTo>
                  <a:pt x="2058" y="3420"/>
                </a:lnTo>
                <a:lnTo>
                  <a:pt x="2046" y="3422"/>
                </a:lnTo>
                <a:lnTo>
                  <a:pt x="2034" y="3424"/>
                </a:lnTo>
                <a:lnTo>
                  <a:pt x="2025" y="3426"/>
                </a:lnTo>
                <a:lnTo>
                  <a:pt x="2017" y="3424"/>
                </a:lnTo>
                <a:lnTo>
                  <a:pt x="2008" y="3421"/>
                </a:lnTo>
                <a:lnTo>
                  <a:pt x="1998" y="3414"/>
                </a:lnTo>
                <a:lnTo>
                  <a:pt x="1989" y="3406"/>
                </a:lnTo>
                <a:lnTo>
                  <a:pt x="1983" y="3403"/>
                </a:lnTo>
                <a:lnTo>
                  <a:pt x="1977" y="3401"/>
                </a:lnTo>
                <a:lnTo>
                  <a:pt x="1971" y="3398"/>
                </a:lnTo>
                <a:lnTo>
                  <a:pt x="1964" y="3397"/>
                </a:lnTo>
                <a:lnTo>
                  <a:pt x="1951" y="3396"/>
                </a:lnTo>
                <a:lnTo>
                  <a:pt x="1939" y="3397"/>
                </a:lnTo>
                <a:lnTo>
                  <a:pt x="1933" y="3399"/>
                </a:lnTo>
                <a:lnTo>
                  <a:pt x="1927" y="3402"/>
                </a:lnTo>
                <a:lnTo>
                  <a:pt x="1922" y="3405"/>
                </a:lnTo>
                <a:lnTo>
                  <a:pt x="1918" y="3409"/>
                </a:lnTo>
                <a:lnTo>
                  <a:pt x="1906" y="3420"/>
                </a:lnTo>
                <a:lnTo>
                  <a:pt x="1893" y="3431"/>
                </a:lnTo>
                <a:lnTo>
                  <a:pt x="1878" y="3443"/>
                </a:lnTo>
                <a:lnTo>
                  <a:pt x="1863" y="3453"/>
                </a:lnTo>
                <a:lnTo>
                  <a:pt x="1855" y="3458"/>
                </a:lnTo>
                <a:lnTo>
                  <a:pt x="1846" y="3460"/>
                </a:lnTo>
                <a:lnTo>
                  <a:pt x="1838" y="3462"/>
                </a:lnTo>
                <a:lnTo>
                  <a:pt x="1830" y="3464"/>
                </a:lnTo>
                <a:lnTo>
                  <a:pt x="1821" y="3464"/>
                </a:lnTo>
                <a:lnTo>
                  <a:pt x="1814" y="3462"/>
                </a:lnTo>
                <a:lnTo>
                  <a:pt x="1808" y="3461"/>
                </a:lnTo>
                <a:lnTo>
                  <a:pt x="1802" y="3460"/>
                </a:lnTo>
                <a:lnTo>
                  <a:pt x="1793" y="3456"/>
                </a:lnTo>
                <a:lnTo>
                  <a:pt x="1783" y="3454"/>
                </a:lnTo>
                <a:lnTo>
                  <a:pt x="1773" y="3453"/>
                </a:lnTo>
                <a:lnTo>
                  <a:pt x="1763" y="3453"/>
                </a:lnTo>
                <a:lnTo>
                  <a:pt x="1755" y="3452"/>
                </a:lnTo>
                <a:lnTo>
                  <a:pt x="1748" y="3448"/>
                </a:lnTo>
                <a:lnTo>
                  <a:pt x="1742" y="3443"/>
                </a:lnTo>
                <a:lnTo>
                  <a:pt x="1736" y="3436"/>
                </a:lnTo>
                <a:lnTo>
                  <a:pt x="1727" y="3428"/>
                </a:lnTo>
                <a:lnTo>
                  <a:pt x="1716" y="3420"/>
                </a:lnTo>
                <a:lnTo>
                  <a:pt x="1705" y="3411"/>
                </a:lnTo>
                <a:lnTo>
                  <a:pt x="1695" y="3404"/>
                </a:lnTo>
                <a:lnTo>
                  <a:pt x="1689" y="3398"/>
                </a:lnTo>
                <a:lnTo>
                  <a:pt x="1686" y="3393"/>
                </a:lnTo>
                <a:lnTo>
                  <a:pt x="1685" y="3387"/>
                </a:lnTo>
                <a:lnTo>
                  <a:pt x="1683" y="3382"/>
                </a:lnTo>
                <a:lnTo>
                  <a:pt x="1683" y="3374"/>
                </a:lnTo>
                <a:lnTo>
                  <a:pt x="1683" y="3368"/>
                </a:lnTo>
                <a:lnTo>
                  <a:pt x="1681" y="3361"/>
                </a:lnTo>
                <a:lnTo>
                  <a:pt x="1677" y="3354"/>
                </a:lnTo>
                <a:lnTo>
                  <a:pt x="1675" y="3348"/>
                </a:lnTo>
                <a:lnTo>
                  <a:pt x="1675" y="3341"/>
                </a:lnTo>
                <a:lnTo>
                  <a:pt x="1676" y="3334"/>
                </a:lnTo>
                <a:lnTo>
                  <a:pt x="1679" y="3328"/>
                </a:lnTo>
                <a:lnTo>
                  <a:pt x="1680" y="3322"/>
                </a:lnTo>
                <a:lnTo>
                  <a:pt x="1680" y="3321"/>
                </a:lnTo>
                <a:lnTo>
                  <a:pt x="1676" y="3321"/>
                </a:lnTo>
                <a:lnTo>
                  <a:pt x="1669" y="3322"/>
                </a:lnTo>
                <a:lnTo>
                  <a:pt x="1658" y="3324"/>
                </a:lnTo>
                <a:lnTo>
                  <a:pt x="1647" y="3327"/>
                </a:lnTo>
                <a:lnTo>
                  <a:pt x="1636" y="3329"/>
                </a:lnTo>
                <a:lnTo>
                  <a:pt x="1626" y="3333"/>
                </a:lnTo>
                <a:lnTo>
                  <a:pt x="1620" y="3336"/>
                </a:lnTo>
                <a:lnTo>
                  <a:pt x="1614" y="3340"/>
                </a:lnTo>
                <a:lnTo>
                  <a:pt x="1611" y="3344"/>
                </a:lnTo>
                <a:lnTo>
                  <a:pt x="1607" y="3348"/>
                </a:lnTo>
                <a:lnTo>
                  <a:pt x="1603" y="3358"/>
                </a:lnTo>
                <a:lnTo>
                  <a:pt x="1600" y="3366"/>
                </a:lnTo>
                <a:lnTo>
                  <a:pt x="1598" y="3370"/>
                </a:lnTo>
                <a:lnTo>
                  <a:pt x="1594" y="3372"/>
                </a:lnTo>
                <a:lnTo>
                  <a:pt x="1591" y="3374"/>
                </a:lnTo>
                <a:lnTo>
                  <a:pt x="1585" y="3377"/>
                </a:lnTo>
                <a:lnTo>
                  <a:pt x="1572" y="3379"/>
                </a:lnTo>
                <a:lnTo>
                  <a:pt x="1557" y="3380"/>
                </a:lnTo>
                <a:lnTo>
                  <a:pt x="1551" y="3380"/>
                </a:lnTo>
                <a:lnTo>
                  <a:pt x="1546" y="3383"/>
                </a:lnTo>
                <a:lnTo>
                  <a:pt x="1540" y="3385"/>
                </a:lnTo>
                <a:lnTo>
                  <a:pt x="1535" y="3387"/>
                </a:lnTo>
                <a:lnTo>
                  <a:pt x="1524" y="3392"/>
                </a:lnTo>
                <a:lnTo>
                  <a:pt x="1512" y="3396"/>
                </a:lnTo>
                <a:lnTo>
                  <a:pt x="1506" y="3397"/>
                </a:lnTo>
                <a:lnTo>
                  <a:pt x="1500" y="3396"/>
                </a:lnTo>
                <a:lnTo>
                  <a:pt x="1496" y="3395"/>
                </a:lnTo>
                <a:lnTo>
                  <a:pt x="1491" y="3391"/>
                </a:lnTo>
                <a:lnTo>
                  <a:pt x="1486" y="3387"/>
                </a:lnTo>
                <a:lnTo>
                  <a:pt x="1483" y="3383"/>
                </a:lnTo>
                <a:lnTo>
                  <a:pt x="1479" y="3378"/>
                </a:lnTo>
                <a:lnTo>
                  <a:pt x="1475" y="3372"/>
                </a:lnTo>
                <a:lnTo>
                  <a:pt x="1472" y="3366"/>
                </a:lnTo>
                <a:lnTo>
                  <a:pt x="1468" y="3361"/>
                </a:lnTo>
                <a:lnTo>
                  <a:pt x="1464" y="3358"/>
                </a:lnTo>
                <a:lnTo>
                  <a:pt x="1459" y="3354"/>
                </a:lnTo>
                <a:lnTo>
                  <a:pt x="1448" y="3349"/>
                </a:lnTo>
                <a:lnTo>
                  <a:pt x="1439" y="3346"/>
                </a:lnTo>
                <a:lnTo>
                  <a:pt x="1435" y="3346"/>
                </a:lnTo>
                <a:lnTo>
                  <a:pt x="1433" y="3347"/>
                </a:lnTo>
                <a:lnTo>
                  <a:pt x="1430" y="3349"/>
                </a:lnTo>
                <a:lnTo>
                  <a:pt x="1429" y="3353"/>
                </a:lnTo>
                <a:lnTo>
                  <a:pt x="1425" y="3364"/>
                </a:lnTo>
                <a:lnTo>
                  <a:pt x="1424" y="3374"/>
                </a:lnTo>
                <a:lnTo>
                  <a:pt x="1423" y="3379"/>
                </a:lnTo>
                <a:lnTo>
                  <a:pt x="1421" y="3384"/>
                </a:lnTo>
                <a:lnTo>
                  <a:pt x="1417" y="3386"/>
                </a:lnTo>
                <a:lnTo>
                  <a:pt x="1414" y="3389"/>
                </a:lnTo>
                <a:lnTo>
                  <a:pt x="1405" y="3390"/>
                </a:lnTo>
                <a:lnTo>
                  <a:pt x="1396" y="3391"/>
                </a:lnTo>
                <a:lnTo>
                  <a:pt x="1387" y="3391"/>
                </a:lnTo>
                <a:lnTo>
                  <a:pt x="1383" y="3393"/>
                </a:lnTo>
                <a:lnTo>
                  <a:pt x="1379" y="3396"/>
                </a:lnTo>
                <a:lnTo>
                  <a:pt x="1376" y="3398"/>
                </a:lnTo>
                <a:lnTo>
                  <a:pt x="1364" y="3403"/>
                </a:lnTo>
                <a:lnTo>
                  <a:pt x="1345" y="3409"/>
                </a:lnTo>
                <a:lnTo>
                  <a:pt x="1332" y="3412"/>
                </a:lnTo>
                <a:lnTo>
                  <a:pt x="1318" y="3414"/>
                </a:lnTo>
                <a:lnTo>
                  <a:pt x="1313" y="3414"/>
                </a:lnTo>
                <a:lnTo>
                  <a:pt x="1307" y="3412"/>
                </a:lnTo>
                <a:lnTo>
                  <a:pt x="1302" y="3411"/>
                </a:lnTo>
                <a:lnTo>
                  <a:pt x="1297" y="3410"/>
                </a:lnTo>
                <a:lnTo>
                  <a:pt x="1282" y="3396"/>
                </a:lnTo>
                <a:lnTo>
                  <a:pt x="1265" y="3378"/>
                </a:lnTo>
                <a:lnTo>
                  <a:pt x="1254" y="3368"/>
                </a:lnTo>
                <a:lnTo>
                  <a:pt x="1241" y="3359"/>
                </a:lnTo>
                <a:lnTo>
                  <a:pt x="1228" y="3349"/>
                </a:lnTo>
                <a:lnTo>
                  <a:pt x="1217" y="3345"/>
                </a:lnTo>
                <a:lnTo>
                  <a:pt x="1210" y="3341"/>
                </a:lnTo>
                <a:lnTo>
                  <a:pt x="1203" y="3338"/>
                </a:lnTo>
                <a:lnTo>
                  <a:pt x="1197" y="3333"/>
                </a:lnTo>
                <a:lnTo>
                  <a:pt x="1192" y="3327"/>
                </a:lnTo>
                <a:lnTo>
                  <a:pt x="1188" y="3320"/>
                </a:lnTo>
                <a:lnTo>
                  <a:pt x="1181" y="3314"/>
                </a:lnTo>
                <a:lnTo>
                  <a:pt x="1173" y="3310"/>
                </a:lnTo>
                <a:lnTo>
                  <a:pt x="1168" y="3305"/>
                </a:lnTo>
                <a:lnTo>
                  <a:pt x="1165" y="3302"/>
                </a:lnTo>
                <a:lnTo>
                  <a:pt x="1164" y="3298"/>
                </a:lnTo>
                <a:lnTo>
                  <a:pt x="1163" y="3295"/>
                </a:lnTo>
                <a:lnTo>
                  <a:pt x="1162" y="3290"/>
                </a:lnTo>
                <a:lnTo>
                  <a:pt x="1162" y="3278"/>
                </a:lnTo>
                <a:lnTo>
                  <a:pt x="1162" y="3263"/>
                </a:lnTo>
                <a:lnTo>
                  <a:pt x="1162" y="3256"/>
                </a:lnTo>
                <a:lnTo>
                  <a:pt x="1160" y="3248"/>
                </a:lnTo>
                <a:lnTo>
                  <a:pt x="1158" y="3242"/>
                </a:lnTo>
                <a:lnTo>
                  <a:pt x="1156" y="3238"/>
                </a:lnTo>
                <a:lnTo>
                  <a:pt x="1150" y="3229"/>
                </a:lnTo>
                <a:lnTo>
                  <a:pt x="1143" y="3222"/>
                </a:lnTo>
                <a:lnTo>
                  <a:pt x="1139" y="3220"/>
                </a:lnTo>
                <a:lnTo>
                  <a:pt x="1137" y="3216"/>
                </a:lnTo>
                <a:lnTo>
                  <a:pt x="1134" y="3214"/>
                </a:lnTo>
                <a:lnTo>
                  <a:pt x="1134" y="3212"/>
                </a:lnTo>
                <a:lnTo>
                  <a:pt x="1134" y="3206"/>
                </a:lnTo>
                <a:lnTo>
                  <a:pt x="1137" y="3200"/>
                </a:lnTo>
                <a:lnTo>
                  <a:pt x="1139" y="3193"/>
                </a:lnTo>
                <a:lnTo>
                  <a:pt x="1140" y="3185"/>
                </a:lnTo>
                <a:lnTo>
                  <a:pt x="1143" y="3179"/>
                </a:lnTo>
                <a:lnTo>
                  <a:pt x="1143" y="3172"/>
                </a:lnTo>
                <a:lnTo>
                  <a:pt x="1138" y="3158"/>
                </a:lnTo>
                <a:lnTo>
                  <a:pt x="1128" y="3138"/>
                </a:lnTo>
                <a:lnTo>
                  <a:pt x="1125" y="3126"/>
                </a:lnTo>
                <a:lnTo>
                  <a:pt x="1124" y="3113"/>
                </a:lnTo>
                <a:lnTo>
                  <a:pt x="1122" y="3100"/>
                </a:lnTo>
                <a:lnTo>
                  <a:pt x="1122" y="3087"/>
                </a:lnTo>
                <a:lnTo>
                  <a:pt x="1121" y="3082"/>
                </a:lnTo>
                <a:lnTo>
                  <a:pt x="1120" y="3077"/>
                </a:lnTo>
                <a:lnTo>
                  <a:pt x="1116" y="3074"/>
                </a:lnTo>
                <a:lnTo>
                  <a:pt x="1113" y="3071"/>
                </a:lnTo>
                <a:lnTo>
                  <a:pt x="1104" y="3069"/>
                </a:lnTo>
                <a:lnTo>
                  <a:pt x="1096" y="3068"/>
                </a:lnTo>
                <a:lnTo>
                  <a:pt x="1093" y="3068"/>
                </a:lnTo>
                <a:lnTo>
                  <a:pt x="1088" y="3068"/>
                </a:lnTo>
                <a:lnTo>
                  <a:pt x="1084" y="3065"/>
                </a:lnTo>
                <a:lnTo>
                  <a:pt x="1082" y="3064"/>
                </a:lnTo>
                <a:lnTo>
                  <a:pt x="1078" y="3062"/>
                </a:lnTo>
                <a:lnTo>
                  <a:pt x="1077" y="3061"/>
                </a:lnTo>
                <a:lnTo>
                  <a:pt x="1075" y="3061"/>
                </a:lnTo>
                <a:lnTo>
                  <a:pt x="1074" y="3061"/>
                </a:lnTo>
                <a:lnTo>
                  <a:pt x="1070" y="3064"/>
                </a:lnTo>
                <a:lnTo>
                  <a:pt x="1064" y="3068"/>
                </a:lnTo>
                <a:lnTo>
                  <a:pt x="1052" y="3074"/>
                </a:lnTo>
                <a:lnTo>
                  <a:pt x="1040" y="3080"/>
                </a:lnTo>
                <a:lnTo>
                  <a:pt x="1024" y="3088"/>
                </a:lnTo>
                <a:lnTo>
                  <a:pt x="1009" y="3094"/>
                </a:lnTo>
                <a:lnTo>
                  <a:pt x="1003" y="3096"/>
                </a:lnTo>
                <a:lnTo>
                  <a:pt x="998" y="3097"/>
                </a:lnTo>
                <a:lnTo>
                  <a:pt x="993" y="3099"/>
                </a:lnTo>
                <a:lnTo>
                  <a:pt x="989" y="3099"/>
                </a:lnTo>
                <a:lnTo>
                  <a:pt x="981" y="3095"/>
                </a:lnTo>
                <a:lnTo>
                  <a:pt x="974" y="3093"/>
                </a:lnTo>
                <a:lnTo>
                  <a:pt x="970" y="3092"/>
                </a:lnTo>
                <a:lnTo>
                  <a:pt x="967" y="3092"/>
                </a:lnTo>
                <a:lnTo>
                  <a:pt x="962" y="3094"/>
                </a:lnTo>
                <a:lnTo>
                  <a:pt x="958" y="3096"/>
                </a:lnTo>
                <a:lnTo>
                  <a:pt x="951" y="3102"/>
                </a:lnTo>
                <a:lnTo>
                  <a:pt x="944" y="3107"/>
                </a:lnTo>
                <a:lnTo>
                  <a:pt x="940" y="3108"/>
                </a:lnTo>
                <a:lnTo>
                  <a:pt x="936" y="3109"/>
                </a:lnTo>
                <a:lnTo>
                  <a:pt x="930" y="3109"/>
                </a:lnTo>
                <a:lnTo>
                  <a:pt x="923" y="3108"/>
                </a:lnTo>
                <a:lnTo>
                  <a:pt x="899" y="3107"/>
                </a:lnTo>
                <a:lnTo>
                  <a:pt x="880" y="3103"/>
                </a:lnTo>
                <a:lnTo>
                  <a:pt x="872" y="3101"/>
                </a:lnTo>
                <a:lnTo>
                  <a:pt x="863" y="3097"/>
                </a:lnTo>
                <a:lnTo>
                  <a:pt x="855" y="3092"/>
                </a:lnTo>
                <a:lnTo>
                  <a:pt x="847" y="3082"/>
                </a:lnTo>
                <a:lnTo>
                  <a:pt x="836" y="3069"/>
                </a:lnTo>
                <a:lnTo>
                  <a:pt x="826" y="3057"/>
                </a:lnTo>
                <a:lnTo>
                  <a:pt x="822" y="3051"/>
                </a:lnTo>
                <a:lnTo>
                  <a:pt x="817" y="3045"/>
                </a:lnTo>
                <a:lnTo>
                  <a:pt x="814" y="3038"/>
                </a:lnTo>
                <a:lnTo>
                  <a:pt x="811" y="3030"/>
                </a:lnTo>
                <a:lnTo>
                  <a:pt x="807" y="3013"/>
                </a:lnTo>
                <a:lnTo>
                  <a:pt x="805" y="2999"/>
                </a:lnTo>
                <a:lnTo>
                  <a:pt x="805" y="2992"/>
                </a:lnTo>
                <a:lnTo>
                  <a:pt x="805" y="2986"/>
                </a:lnTo>
                <a:lnTo>
                  <a:pt x="806" y="2981"/>
                </a:lnTo>
                <a:lnTo>
                  <a:pt x="807" y="2977"/>
                </a:lnTo>
                <a:lnTo>
                  <a:pt x="810" y="2974"/>
                </a:lnTo>
                <a:lnTo>
                  <a:pt x="812" y="2971"/>
                </a:lnTo>
                <a:lnTo>
                  <a:pt x="816" y="2969"/>
                </a:lnTo>
                <a:lnTo>
                  <a:pt x="819" y="2968"/>
                </a:lnTo>
                <a:lnTo>
                  <a:pt x="828" y="2967"/>
                </a:lnTo>
                <a:lnTo>
                  <a:pt x="837" y="2967"/>
                </a:lnTo>
                <a:lnTo>
                  <a:pt x="847" y="2968"/>
                </a:lnTo>
                <a:lnTo>
                  <a:pt x="857" y="2968"/>
                </a:lnTo>
                <a:lnTo>
                  <a:pt x="862" y="2967"/>
                </a:lnTo>
                <a:lnTo>
                  <a:pt x="866" y="2967"/>
                </a:lnTo>
                <a:lnTo>
                  <a:pt x="869" y="2964"/>
                </a:lnTo>
                <a:lnTo>
                  <a:pt x="872" y="2963"/>
                </a:lnTo>
                <a:lnTo>
                  <a:pt x="876" y="2956"/>
                </a:lnTo>
                <a:lnTo>
                  <a:pt x="879" y="2947"/>
                </a:lnTo>
                <a:lnTo>
                  <a:pt x="880" y="2941"/>
                </a:lnTo>
                <a:lnTo>
                  <a:pt x="883" y="2936"/>
                </a:lnTo>
                <a:lnTo>
                  <a:pt x="887" y="2932"/>
                </a:lnTo>
                <a:lnTo>
                  <a:pt x="891" y="2929"/>
                </a:lnTo>
                <a:lnTo>
                  <a:pt x="896" y="2925"/>
                </a:lnTo>
                <a:lnTo>
                  <a:pt x="902" y="2923"/>
                </a:lnTo>
                <a:lnTo>
                  <a:pt x="908" y="2922"/>
                </a:lnTo>
                <a:lnTo>
                  <a:pt x="917" y="2922"/>
                </a:lnTo>
                <a:lnTo>
                  <a:pt x="932" y="2920"/>
                </a:lnTo>
                <a:lnTo>
                  <a:pt x="949" y="2919"/>
                </a:lnTo>
                <a:lnTo>
                  <a:pt x="956" y="2918"/>
                </a:lnTo>
                <a:lnTo>
                  <a:pt x="962" y="2916"/>
                </a:lnTo>
                <a:lnTo>
                  <a:pt x="963" y="2914"/>
                </a:lnTo>
                <a:lnTo>
                  <a:pt x="965" y="2912"/>
                </a:lnTo>
                <a:lnTo>
                  <a:pt x="965" y="2910"/>
                </a:lnTo>
                <a:lnTo>
                  <a:pt x="967" y="2908"/>
                </a:lnTo>
                <a:lnTo>
                  <a:pt x="965" y="2893"/>
                </a:lnTo>
                <a:lnTo>
                  <a:pt x="964" y="2879"/>
                </a:lnTo>
                <a:lnTo>
                  <a:pt x="964" y="2872"/>
                </a:lnTo>
                <a:lnTo>
                  <a:pt x="965" y="2867"/>
                </a:lnTo>
                <a:lnTo>
                  <a:pt x="969" y="2864"/>
                </a:lnTo>
                <a:lnTo>
                  <a:pt x="976" y="2862"/>
                </a:lnTo>
                <a:lnTo>
                  <a:pt x="978" y="2861"/>
                </a:lnTo>
                <a:lnTo>
                  <a:pt x="981" y="2860"/>
                </a:lnTo>
                <a:lnTo>
                  <a:pt x="982" y="2859"/>
                </a:lnTo>
                <a:lnTo>
                  <a:pt x="981" y="2857"/>
                </a:lnTo>
                <a:lnTo>
                  <a:pt x="977" y="2851"/>
                </a:lnTo>
                <a:lnTo>
                  <a:pt x="975" y="2845"/>
                </a:lnTo>
                <a:lnTo>
                  <a:pt x="975" y="2842"/>
                </a:lnTo>
                <a:lnTo>
                  <a:pt x="974" y="2838"/>
                </a:lnTo>
                <a:lnTo>
                  <a:pt x="973" y="2836"/>
                </a:lnTo>
                <a:lnTo>
                  <a:pt x="970" y="2834"/>
                </a:lnTo>
                <a:lnTo>
                  <a:pt x="968" y="2834"/>
                </a:lnTo>
                <a:lnTo>
                  <a:pt x="965" y="2834"/>
                </a:lnTo>
                <a:lnTo>
                  <a:pt x="963" y="2835"/>
                </a:lnTo>
                <a:lnTo>
                  <a:pt x="961" y="2837"/>
                </a:lnTo>
                <a:lnTo>
                  <a:pt x="957" y="2840"/>
                </a:lnTo>
                <a:lnTo>
                  <a:pt x="955" y="2842"/>
                </a:lnTo>
                <a:lnTo>
                  <a:pt x="951" y="2843"/>
                </a:lnTo>
                <a:lnTo>
                  <a:pt x="949" y="2844"/>
                </a:lnTo>
                <a:lnTo>
                  <a:pt x="946" y="2843"/>
                </a:lnTo>
                <a:lnTo>
                  <a:pt x="944" y="2841"/>
                </a:lnTo>
                <a:lnTo>
                  <a:pt x="942" y="2837"/>
                </a:lnTo>
                <a:lnTo>
                  <a:pt x="940" y="2834"/>
                </a:lnTo>
                <a:lnTo>
                  <a:pt x="940" y="2823"/>
                </a:lnTo>
                <a:lnTo>
                  <a:pt x="942" y="2815"/>
                </a:lnTo>
                <a:lnTo>
                  <a:pt x="942" y="2811"/>
                </a:lnTo>
                <a:lnTo>
                  <a:pt x="940" y="2809"/>
                </a:lnTo>
                <a:lnTo>
                  <a:pt x="938" y="2806"/>
                </a:lnTo>
                <a:lnTo>
                  <a:pt x="936" y="2804"/>
                </a:lnTo>
                <a:lnTo>
                  <a:pt x="927" y="2800"/>
                </a:lnTo>
                <a:lnTo>
                  <a:pt x="918" y="2794"/>
                </a:lnTo>
                <a:lnTo>
                  <a:pt x="900" y="2788"/>
                </a:lnTo>
                <a:lnTo>
                  <a:pt x="885" y="2782"/>
                </a:lnTo>
                <a:lnTo>
                  <a:pt x="881" y="2780"/>
                </a:lnTo>
                <a:lnTo>
                  <a:pt x="879" y="2779"/>
                </a:lnTo>
                <a:lnTo>
                  <a:pt x="877" y="2779"/>
                </a:lnTo>
                <a:lnTo>
                  <a:pt x="876" y="2780"/>
                </a:lnTo>
                <a:lnTo>
                  <a:pt x="876" y="2780"/>
                </a:lnTo>
                <a:lnTo>
                  <a:pt x="876" y="2782"/>
                </a:lnTo>
                <a:lnTo>
                  <a:pt x="880" y="2792"/>
                </a:lnTo>
                <a:lnTo>
                  <a:pt x="885" y="2804"/>
                </a:lnTo>
                <a:lnTo>
                  <a:pt x="888" y="2812"/>
                </a:lnTo>
                <a:lnTo>
                  <a:pt x="889" y="2821"/>
                </a:lnTo>
                <a:lnTo>
                  <a:pt x="889" y="2830"/>
                </a:lnTo>
                <a:lnTo>
                  <a:pt x="888" y="2840"/>
                </a:lnTo>
                <a:lnTo>
                  <a:pt x="887" y="2844"/>
                </a:lnTo>
                <a:lnTo>
                  <a:pt x="886" y="2847"/>
                </a:lnTo>
                <a:lnTo>
                  <a:pt x="883" y="2849"/>
                </a:lnTo>
                <a:lnTo>
                  <a:pt x="882" y="2849"/>
                </a:lnTo>
                <a:lnTo>
                  <a:pt x="876" y="2848"/>
                </a:lnTo>
                <a:lnTo>
                  <a:pt x="867" y="2849"/>
                </a:lnTo>
                <a:lnTo>
                  <a:pt x="862" y="2851"/>
                </a:lnTo>
                <a:lnTo>
                  <a:pt x="858" y="2855"/>
                </a:lnTo>
                <a:lnTo>
                  <a:pt x="855" y="2860"/>
                </a:lnTo>
                <a:lnTo>
                  <a:pt x="854" y="2866"/>
                </a:lnTo>
                <a:lnTo>
                  <a:pt x="851" y="2872"/>
                </a:lnTo>
                <a:lnTo>
                  <a:pt x="849" y="2879"/>
                </a:lnTo>
                <a:lnTo>
                  <a:pt x="844" y="2885"/>
                </a:lnTo>
                <a:lnTo>
                  <a:pt x="837" y="2889"/>
                </a:lnTo>
                <a:lnTo>
                  <a:pt x="828" y="2894"/>
                </a:lnTo>
                <a:lnTo>
                  <a:pt x="816" y="2899"/>
                </a:lnTo>
                <a:lnTo>
                  <a:pt x="803" y="2901"/>
                </a:lnTo>
                <a:lnTo>
                  <a:pt x="794" y="2903"/>
                </a:lnTo>
                <a:lnTo>
                  <a:pt x="787" y="2903"/>
                </a:lnTo>
                <a:lnTo>
                  <a:pt x="776" y="2903"/>
                </a:lnTo>
                <a:lnTo>
                  <a:pt x="773" y="2901"/>
                </a:lnTo>
                <a:lnTo>
                  <a:pt x="768" y="2900"/>
                </a:lnTo>
                <a:lnTo>
                  <a:pt x="765" y="2899"/>
                </a:lnTo>
                <a:lnTo>
                  <a:pt x="763" y="2898"/>
                </a:lnTo>
                <a:lnTo>
                  <a:pt x="761" y="2893"/>
                </a:lnTo>
                <a:lnTo>
                  <a:pt x="757" y="2887"/>
                </a:lnTo>
                <a:lnTo>
                  <a:pt x="755" y="2879"/>
                </a:lnTo>
                <a:lnTo>
                  <a:pt x="753" y="2870"/>
                </a:lnTo>
                <a:lnTo>
                  <a:pt x="751" y="2856"/>
                </a:lnTo>
                <a:lnTo>
                  <a:pt x="750" y="2845"/>
                </a:lnTo>
                <a:lnTo>
                  <a:pt x="749" y="2841"/>
                </a:lnTo>
                <a:lnTo>
                  <a:pt x="747" y="2838"/>
                </a:lnTo>
                <a:lnTo>
                  <a:pt x="743" y="2836"/>
                </a:lnTo>
                <a:lnTo>
                  <a:pt x="738" y="2835"/>
                </a:lnTo>
                <a:lnTo>
                  <a:pt x="732" y="2835"/>
                </a:lnTo>
                <a:lnTo>
                  <a:pt x="728" y="2835"/>
                </a:lnTo>
                <a:lnTo>
                  <a:pt x="724" y="2835"/>
                </a:lnTo>
                <a:lnTo>
                  <a:pt x="721" y="2832"/>
                </a:lnTo>
                <a:lnTo>
                  <a:pt x="718" y="2830"/>
                </a:lnTo>
                <a:lnTo>
                  <a:pt x="717" y="2825"/>
                </a:lnTo>
                <a:lnTo>
                  <a:pt x="716" y="2819"/>
                </a:lnTo>
                <a:lnTo>
                  <a:pt x="716" y="2811"/>
                </a:lnTo>
                <a:lnTo>
                  <a:pt x="717" y="2796"/>
                </a:lnTo>
                <a:lnTo>
                  <a:pt x="716" y="2782"/>
                </a:lnTo>
                <a:lnTo>
                  <a:pt x="715" y="2778"/>
                </a:lnTo>
                <a:lnTo>
                  <a:pt x="713" y="2774"/>
                </a:lnTo>
                <a:lnTo>
                  <a:pt x="710" y="2771"/>
                </a:lnTo>
                <a:lnTo>
                  <a:pt x="705" y="2767"/>
                </a:lnTo>
                <a:lnTo>
                  <a:pt x="691" y="2761"/>
                </a:lnTo>
                <a:lnTo>
                  <a:pt x="675" y="2753"/>
                </a:lnTo>
                <a:lnTo>
                  <a:pt x="659" y="2746"/>
                </a:lnTo>
                <a:lnTo>
                  <a:pt x="646" y="2737"/>
                </a:lnTo>
                <a:lnTo>
                  <a:pt x="635" y="2730"/>
                </a:lnTo>
                <a:lnTo>
                  <a:pt x="627" y="2723"/>
                </a:lnTo>
                <a:lnTo>
                  <a:pt x="621" y="2714"/>
                </a:lnTo>
                <a:lnTo>
                  <a:pt x="616" y="2704"/>
                </a:lnTo>
                <a:lnTo>
                  <a:pt x="614" y="2695"/>
                </a:lnTo>
                <a:lnTo>
                  <a:pt x="611" y="2686"/>
                </a:lnTo>
                <a:lnTo>
                  <a:pt x="610" y="2683"/>
                </a:lnTo>
                <a:lnTo>
                  <a:pt x="608" y="2679"/>
                </a:lnTo>
                <a:lnTo>
                  <a:pt x="605" y="2676"/>
                </a:lnTo>
                <a:lnTo>
                  <a:pt x="600" y="2673"/>
                </a:lnTo>
                <a:lnTo>
                  <a:pt x="598" y="2670"/>
                </a:lnTo>
                <a:lnTo>
                  <a:pt x="597" y="2665"/>
                </a:lnTo>
                <a:lnTo>
                  <a:pt x="597" y="2660"/>
                </a:lnTo>
                <a:lnTo>
                  <a:pt x="599" y="2654"/>
                </a:lnTo>
                <a:lnTo>
                  <a:pt x="605" y="2642"/>
                </a:lnTo>
                <a:lnTo>
                  <a:pt x="610" y="2629"/>
                </a:lnTo>
                <a:lnTo>
                  <a:pt x="614" y="2615"/>
                </a:lnTo>
                <a:lnTo>
                  <a:pt x="618" y="2599"/>
                </a:lnTo>
                <a:lnTo>
                  <a:pt x="621" y="2590"/>
                </a:lnTo>
                <a:lnTo>
                  <a:pt x="624" y="2582"/>
                </a:lnTo>
                <a:lnTo>
                  <a:pt x="630" y="2574"/>
                </a:lnTo>
                <a:lnTo>
                  <a:pt x="636" y="2567"/>
                </a:lnTo>
                <a:lnTo>
                  <a:pt x="654" y="2551"/>
                </a:lnTo>
                <a:lnTo>
                  <a:pt x="677" y="2532"/>
                </a:lnTo>
                <a:lnTo>
                  <a:pt x="700" y="2513"/>
                </a:lnTo>
                <a:lnTo>
                  <a:pt x="721" y="2495"/>
                </a:lnTo>
                <a:lnTo>
                  <a:pt x="738" y="2482"/>
                </a:lnTo>
                <a:lnTo>
                  <a:pt x="757" y="2470"/>
                </a:lnTo>
                <a:lnTo>
                  <a:pt x="773" y="2460"/>
                </a:lnTo>
                <a:lnTo>
                  <a:pt x="785" y="2451"/>
                </a:lnTo>
                <a:lnTo>
                  <a:pt x="789" y="2446"/>
                </a:lnTo>
                <a:lnTo>
                  <a:pt x="793" y="2440"/>
                </a:lnTo>
                <a:lnTo>
                  <a:pt x="797" y="2433"/>
                </a:lnTo>
                <a:lnTo>
                  <a:pt x="799" y="2426"/>
                </a:lnTo>
                <a:lnTo>
                  <a:pt x="803" y="2410"/>
                </a:lnTo>
                <a:lnTo>
                  <a:pt x="806" y="2396"/>
                </a:lnTo>
                <a:lnTo>
                  <a:pt x="809" y="2390"/>
                </a:lnTo>
                <a:lnTo>
                  <a:pt x="811" y="2384"/>
                </a:lnTo>
                <a:lnTo>
                  <a:pt x="814" y="2380"/>
                </a:lnTo>
                <a:lnTo>
                  <a:pt x="818" y="2375"/>
                </a:lnTo>
                <a:lnTo>
                  <a:pt x="823" y="2371"/>
                </a:lnTo>
                <a:lnTo>
                  <a:pt x="828" y="2369"/>
                </a:lnTo>
                <a:lnTo>
                  <a:pt x="833" y="2366"/>
                </a:lnTo>
                <a:lnTo>
                  <a:pt x="839" y="2364"/>
                </a:lnTo>
                <a:lnTo>
                  <a:pt x="845" y="2362"/>
                </a:lnTo>
                <a:lnTo>
                  <a:pt x="852" y="2358"/>
                </a:lnTo>
                <a:lnTo>
                  <a:pt x="861" y="2353"/>
                </a:lnTo>
                <a:lnTo>
                  <a:pt x="869" y="2347"/>
                </a:lnTo>
                <a:lnTo>
                  <a:pt x="883" y="2336"/>
                </a:lnTo>
                <a:lnTo>
                  <a:pt x="894" y="2324"/>
                </a:lnTo>
                <a:lnTo>
                  <a:pt x="901" y="2312"/>
                </a:lnTo>
                <a:lnTo>
                  <a:pt x="907" y="2295"/>
                </a:lnTo>
                <a:lnTo>
                  <a:pt x="914" y="2276"/>
                </a:lnTo>
                <a:lnTo>
                  <a:pt x="925" y="2257"/>
                </a:lnTo>
                <a:lnTo>
                  <a:pt x="938" y="2236"/>
                </a:lnTo>
                <a:lnTo>
                  <a:pt x="955" y="2214"/>
                </a:lnTo>
                <a:lnTo>
                  <a:pt x="971" y="2192"/>
                </a:lnTo>
                <a:lnTo>
                  <a:pt x="987" y="2170"/>
                </a:lnTo>
                <a:lnTo>
                  <a:pt x="1000" y="2154"/>
                </a:lnTo>
                <a:lnTo>
                  <a:pt x="1015" y="2135"/>
                </a:lnTo>
                <a:lnTo>
                  <a:pt x="1031" y="2117"/>
                </a:lnTo>
                <a:lnTo>
                  <a:pt x="1046" y="2101"/>
                </a:lnTo>
                <a:lnTo>
                  <a:pt x="1052" y="2095"/>
                </a:lnTo>
                <a:lnTo>
                  <a:pt x="1057" y="2093"/>
                </a:lnTo>
                <a:lnTo>
                  <a:pt x="1059" y="2093"/>
                </a:lnTo>
                <a:lnTo>
                  <a:pt x="1061" y="2093"/>
                </a:lnTo>
                <a:lnTo>
                  <a:pt x="1063" y="2095"/>
                </a:lnTo>
                <a:lnTo>
                  <a:pt x="1065" y="2100"/>
                </a:lnTo>
                <a:lnTo>
                  <a:pt x="1070" y="2111"/>
                </a:lnTo>
                <a:lnTo>
                  <a:pt x="1075" y="2124"/>
                </a:lnTo>
                <a:lnTo>
                  <a:pt x="1080" y="2137"/>
                </a:lnTo>
                <a:lnTo>
                  <a:pt x="1083" y="2148"/>
                </a:lnTo>
                <a:lnTo>
                  <a:pt x="1088" y="2161"/>
                </a:lnTo>
                <a:lnTo>
                  <a:pt x="1094" y="2176"/>
                </a:lnTo>
                <a:lnTo>
                  <a:pt x="1100" y="2192"/>
                </a:lnTo>
                <a:lnTo>
                  <a:pt x="1104" y="2204"/>
                </a:lnTo>
                <a:lnTo>
                  <a:pt x="1109" y="2213"/>
                </a:lnTo>
                <a:lnTo>
                  <a:pt x="1114" y="2221"/>
                </a:lnTo>
                <a:lnTo>
                  <a:pt x="1120" y="2229"/>
                </a:lnTo>
                <a:lnTo>
                  <a:pt x="1126" y="2235"/>
                </a:lnTo>
                <a:lnTo>
                  <a:pt x="1129" y="2239"/>
                </a:lnTo>
                <a:lnTo>
                  <a:pt x="1132" y="2244"/>
                </a:lnTo>
                <a:lnTo>
                  <a:pt x="1134" y="2251"/>
                </a:lnTo>
                <a:lnTo>
                  <a:pt x="1135" y="2260"/>
                </a:lnTo>
                <a:lnTo>
                  <a:pt x="1135" y="2268"/>
                </a:lnTo>
                <a:lnTo>
                  <a:pt x="1135" y="2271"/>
                </a:lnTo>
                <a:lnTo>
                  <a:pt x="1138" y="2269"/>
                </a:lnTo>
                <a:lnTo>
                  <a:pt x="1144" y="2262"/>
                </a:lnTo>
                <a:lnTo>
                  <a:pt x="1148" y="2254"/>
                </a:lnTo>
                <a:lnTo>
                  <a:pt x="1152" y="2246"/>
                </a:lnTo>
                <a:lnTo>
                  <a:pt x="1153" y="2237"/>
                </a:lnTo>
                <a:lnTo>
                  <a:pt x="1154" y="2227"/>
                </a:lnTo>
                <a:lnTo>
                  <a:pt x="1157" y="2218"/>
                </a:lnTo>
                <a:lnTo>
                  <a:pt x="1159" y="2211"/>
                </a:lnTo>
                <a:lnTo>
                  <a:pt x="1162" y="2202"/>
                </a:lnTo>
                <a:lnTo>
                  <a:pt x="1165" y="2192"/>
                </a:lnTo>
                <a:lnTo>
                  <a:pt x="1165" y="2185"/>
                </a:lnTo>
                <a:lnTo>
                  <a:pt x="1165" y="2180"/>
                </a:lnTo>
                <a:lnTo>
                  <a:pt x="1164" y="2175"/>
                </a:lnTo>
                <a:lnTo>
                  <a:pt x="1163" y="2170"/>
                </a:lnTo>
                <a:lnTo>
                  <a:pt x="1158" y="2162"/>
                </a:lnTo>
                <a:lnTo>
                  <a:pt x="1153" y="2151"/>
                </a:lnTo>
                <a:lnTo>
                  <a:pt x="1150" y="2138"/>
                </a:lnTo>
                <a:lnTo>
                  <a:pt x="1145" y="2122"/>
                </a:lnTo>
                <a:lnTo>
                  <a:pt x="1141" y="2105"/>
                </a:lnTo>
                <a:lnTo>
                  <a:pt x="1140" y="2087"/>
                </a:lnTo>
                <a:lnTo>
                  <a:pt x="1140" y="2065"/>
                </a:lnTo>
                <a:lnTo>
                  <a:pt x="1143" y="2035"/>
                </a:lnTo>
                <a:lnTo>
                  <a:pt x="1145" y="2004"/>
                </a:lnTo>
                <a:lnTo>
                  <a:pt x="1147" y="1979"/>
                </a:lnTo>
                <a:lnTo>
                  <a:pt x="1151" y="1958"/>
                </a:lnTo>
                <a:lnTo>
                  <a:pt x="1157" y="1934"/>
                </a:lnTo>
                <a:lnTo>
                  <a:pt x="1163" y="1909"/>
                </a:lnTo>
                <a:lnTo>
                  <a:pt x="1170" y="1885"/>
                </a:lnTo>
                <a:lnTo>
                  <a:pt x="1175" y="1864"/>
                </a:lnTo>
                <a:lnTo>
                  <a:pt x="1178" y="1844"/>
                </a:lnTo>
                <a:lnTo>
                  <a:pt x="1181" y="1824"/>
                </a:lnTo>
                <a:lnTo>
                  <a:pt x="1185" y="1809"/>
                </a:lnTo>
                <a:lnTo>
                  <a:pt x="1189" y="1803"/>
                </a:lnTo>
                <a:lnTo>
                  <a:pt x="1192" y="1798"/>
                </a:lnTo>
                <a:lnTo>
                  <a:pt x="1198" y="1795"/>
                </a:lnTo>
                <a:lnTo>
                  <a:pt x="1206" y="1792"/>
                </a:lnTo>
                <a:lnTo>
                  <a:pt x="1219" y="1791"/>
                </a:lnTo>
                <a:lnTo>
                  <a:pt x="1233" y="1792"/>
                </a:lnTo>
                <a:lnTo>
                  <a:pt x="1245" y="1792"/>
                </a:lnTo>
                <a:lnTo>
                  <a:pt x="1255" y="1792"/>
                </a:lnTo>
                <a:lnTo>
                  <a:pt x="1259" y="1791"/>
                </a:lnTo>
                <a:lnTo>
                  <a:pt x="1264" y="1789"/>
                </a:lnTo>
                <a:lnTo>
                  <a:pt x="1267" y="1786"/>
                </a:lnTo>
                <a:lnTo>
                  <a:pt x="1271" y="1783"/>
                </a:lnTo>
                <a:lnTo>
                  <a:pt x="1274" y="1778"/>
                </a:lnTo>
                <a:lnTo>
                  <a:pt x="1277" y="1771"/>
                </a:lnTo>
                <a:lnTo>
                  <a:pt x="1280" y="1761"/>
                </a:lnTo>
                <a:lnTo>
                  <a:pt x="1283" y="1752"/>
                </a:lnTo>
                <a:lnTo>
                  <a:pt x="1288" y="1732"/>
                </a:lnTo>
                <a:lnTo>
                  <a:pt x="1290" y="1713"/>
                </a:lnTo>
                <a:lnTo>
                  <a:pt x="1290" y="1696"/>
                </a:lnTo>
                <a:lnTo>
                  <a:pt x="1290" y="1679"/>
                </a:lnTo>
                <a:lnTo>
                  <a:pt x="1289" y="1671"/>
                </a:lnTo>
                <a:lnTo>
                  <a:pt x="1288" y="1663"/>
                </a:lnTo>
                <a:lnTo>
                  <a:pt x="1285" y="1655"/>
                </a:lnTo>
                <a:lnTo>
                  <a:pt x="1282" y="1647"/>
                </a:lnTo>
                <a:lnTo>
                  <a:pt x="1273" y="1632"/>
                </a:lnTo>
                <a:lnTo>
                  <a:pt x="1263" y="1615"/>
                </a:lnTo>
                <a:lnTo>
                  <a:pt x="1252" y="1601"/>
                </a:lnTo>
                <a:lnTo>
                  <a:pt x="1244" y="1590"/>
                </a:lnTo>
                <a:lnTo>
                  <a:pt x="1238" y="1582"/>
                </a:lnTo>
                <a:lnTo>
                  <a:pt x="1236" y="1576"/>
                </a:lnTo>
                <a:lnTo>
                  <a:pt x="1238" y="1574"/>
                </a:lnTo>
                <a:lnTo>
                  <a:pt x="1238" y="1573"/>
                </a:lnTo>
                <a:lnTo>
                  <a:pt x="1240" y="1571"/>
                </a:lnTo>
                <a:lnTo>
                  <a:pt x="1242" y="1570"/>
                </a:lnTo>
                <a:lnTo>
                  <a:pt x="1247" y="1569"/>
                </a:lnTo>
                <a:lnTo>
                  <a:pt x="1251" y="1568"/>
                </a:lnTo>
                <a:lnTo>
                  <a:pt x="1252" y="1567"/>
                </a:lnTo>
                <a:lnTo>
                  <a:pt x="1253" y="1564"/>
                </a:lnTo>
                <a:lnTo>
                  <a:pt x="1254" y="1561"/>
                </a:lnTo>
                <a:lnTo>
                  <a:pt x="1254" y="1557"/>
                </a:lnTo>
                <a:lnTo>
                  <a:pt x="1254" y="1546"/>
                </a:lnTo>
                <a:lnTo>
                  <a:pt x="1253" y="1538"/>
                </a:lnTo>
                <a:lnTo>
                  <a:pt x="1252" y="1531"/>
                </a:lnTo>
                <a:lnTo>
                  <a:pt x="1250" y="1524"/>
                </a:lnTo>
                <a:lnTo>
                  <a:pt x="1247" y="1517"/>
                </a:lnTo>
                <a:lnTo>
                  <a:pt x="1246" y="1511"/>
                </a:lnTo>
                <a:lnTo>
                  <a:pt x="1245" y="1504"/>
                </a:lnTo>
                <a:lnTo>
                  <a:pt x="1244" y="1496"/>
                </a:lnTo>
                <a:lnTo>
                  <a:pt x="1244" y="1488"/>
                </a:lnTo>
                <a:lnTo>
                  <a:pt x="1244" y="1479"/>
                </a:lnTo>
                <a:lnTo>
                  <a:pt x="1242" y="1467"/>
                </a:lnTo>
                <a:lnTo>
                  <a:pt x="1241" y="1451"/>
                </a:lnTo>
                <a:lnTo>
                  <a:pt x="1241" y="1435"/>
                </a:lnTo>
                <a:lnTo>
                  <a:pt x="1242" y="1419"/>
                </a:lnTo>
                <a:lnTo>
                  <a:pt x="1246" y="1405"/>
                </a:lnTo>
                <a:lnTo>
                  <a:pt x="1248" y="1392"/>
                </a:lnTo>
                <a:lnTo>
                  <a:pt x="1253" y="1381"/>
                </a:lnTo>
                <a:lnTo>
                  <a:pt x="1258" y="1369"/>
                </a:lnTo>
                <a:lnTo>
                  <a:pt x="1264" y="1356"/>
                </a:lnTo>
                <a:lnTo>
                  <a:pt x="1267" y="1343"/>
                </a:lnTo>
                <a:lnTo>
                  <a:pt x="1272" y="1331"/>
                </a:lnTo>
                <a:lnTo>
                  <a:pt x="1278" y="1321"/>
                </a:lnTo>
                <a:lnTo>
                  <a:pt x="1284" y="1311"/>
                </a:lnTo>
                <a:lnTo>
                  <a:pt x="1289" y="1299"/>
                </a:lnTo>
                <a:lnTo>
                  <a:pt x="1292" y="1286"/>
                </a:lnTo>
                <a:lnTo>
                  <a:pt x="1295" y="1271"/>
                </a:lnTo>
                <a:lnTo>
                  <a:pt x="1296" y="1255"/>
                </a:lnTo>
                <a:lnTo>
                  <a:pt x="1295" y="1242"/>
                </a:lnTo>
                <a:lnTo>
                  <a:pt x="1295" y="1237"/>
                </a:lnTo>
                <a:lnTo>
                  <a:pt x="1295" y="1233"/>
                </a:lnTo>
                <a:lnTo>
                  <a:pt x="1296" y="1229"/>
                </a:lnTo>
                <a:lnTo>
                  <a:pt x="1297" y="1225"/>
                </a:lnTo>
                <a:lnTo>
                  <a:pt x="1302" y="1221"/>
                </a:lnTo>
                <a:lnTo>
                  <a:pt x="1308" y="1216"/>
                </a:lnTo>
                <a:lnTo>
                  <a:pt x="1314" y="1212"/>
                </a:lnTo>
                <a:lnTo>
                  <a:pt x="1322" y="1209"/>
                </a:lnTo>
                <a:lnTo>
                  <a:pt x="1330" y="1202"/>
                </a:lnTo>
                <a:lnTo>
                  <a:pt x="1340" y="1193"/>
                </a:lnTo>
                <a:lnTo>
                  <a:pt x="1348" y="1183"/>
                </a:lnTo>
                <a:lnTo>
                  <a:pt x="1354" y="1172"/>
                </a:lnTo>
                <a:lnTo>
                  <a:pt x="1358" y="1162"/>
                </a:lnTo>
                <a:lnTo>
                  <a:pt x="1359" y="1152"/>
                </a:lnTo>
                <a:lnTo>
                  <a:pt x="1358" y="1140"/>
                </a:lnTo>
                <a:lnTo>
                  <a:pt x="1355" y="1126"/>
                </a:lnTo>
                <a:lnTo>
                  <a:pt x="1352" y="1111"/>
                </a:lnTo>
                <a:lnTo>
                  <a:pt x="1348" y="1099"/>
                </a:lnTo>
                <a:lnTo>
                  <a:pt x="1347" y="1094"/>
                </a:lnTo>
                <a:lnTo>
                  <a:pt x="1347" y="1089"/>
                </a:lnTo>
                <a:lnTo>
                  <a:pt x="1347" y="1083"/>
                </a:lnTo>
                <a:lnTo>
                  <a:pt x="1348" y="1079"/>
                </a:lnTo>
                <a:lnTo>
                  <a:pt x="1351" y="1071"/>
                </a:lnTo>
                <a:lnTo>
                  <a:pt x="1354" y="1065"/>
                </a:lnTo>
                <a:lnTo>
                  <a:pt x="1360" y="1060"/>
                </a:lnTo>
                <a:lnTo>
                  <a:pt x="1366" y="1053"/>
                </a:lnTo>
                <a:lnTo>
                  <a:pt x="1372" y="1045"/>
                </a:lnTo>
                <a:lnTo>
                  <a:pt x="1377" y="1035"/>
                </a:lnTo>
                <a:lnTo>
                  <a:pt x="1381" y="1026"/>
                </a:lnTo>
                <a:lnTo>
                  <a:pt x="1390" y="1014"/>
                </a:lnTo>
                <a:lnTo>
                  <a:pt x="1397" y="1002"/>
                </a:lnTo>
                <a:lnTo>
                  <a:pt x="1402" y="994"/>
                </a:lnTo>
                <a:lnTo>
                  <a:pt x="1403" y="989"/>
                </a:lnTo>
                <a:lnTo>
                  <a:pt x="1403" y="983"/>
                </a:lnTo>
                <a:lnTo>
                  <a:pt x="1402" y="977"/>
                </a:lnTo>
                <a:lnTo>
                  <a:pt x="1400" y="971"/>
                </a:lnTo>
                <a:lnTo>
                  <a:pt x="1399" y="964"/>
                </a:lnTo>
                <a:lnTo>
                  <a:pt x="1397" y="957"/>
                </a:lnTo>
                <a:lnTo>
                  <a:pt x="1393" y="951"/>
                </a:lnTo>
                <a:lnTo>
                  <a:pt x="1390" y="946"/>
                </a:lnTo>
                <a:lnTo>
                  <a:pt x="1383" y="938"/>
                </a:lnTo>
                <a:lnTo>
                  <a:pt x="1377" y="932"/>
                </a:lnTo>
                <a:lnTo>
                  <a:pt x="1370" y="928"/>
                </a:lnTo>
                <a:lnTo>
                  <a:pt x="1361" y="926"/>
                </a:lnTo>
                <a:lnTo>
                  <a:pt x="1354" y="922"/>
                </a:lnTo>
                <a:lnTo>
                  <a:pt x="1348" y="916"/>
                </a:lnTo>
                <a:lnTo>
                  <a:pt x="1342" y="910"/>
                </a:lnTo>
                <a:lnTo>
                  <a:pt x="1335" y="903"/>
                </a:lnTo>
                <a:lnTo>
                  <a:pt x="1324" y="893"/>
                </a:lnTo>
                <a:lnTo>
                  <a:pt x="1315" y="881"/>
                </a:lnTo>
                <a:lnTo>
                  <a:pt x="1302" y="866"/>
                </a:lnTo>
                <a:lnTo>
                  <a:pt x="1285" y="852"/>
                </a:lnTo>
                <a:lnTo>
                  <a:pt x="1277" y="845"/>
                </a:lnTo>
                <a:lnTo>
                  <a:pt x="1269" y="836"/>
                </a:lnTo>
                <a:lnTo>
                  <a:pt x="1260" y="827"/>
                </a:lnTo>
                <a:lnTo>
                  <a:pt x="1252" y="818"/>
                </a:lnTo>
                <a:lnTo>
                  <a:pt x="1238" y="799"/>
                </a:lnTo>
                <a:lnTo>
                  <a:pt x="1227" y="784"/>
                </a:lnTo>
                <a:lnTo>
                  <a:pt x="1216" y="771"/>
                </a:lnTo>
                <a:lnTo>
                  <a:pt x="1204" y="760"/>
                </a:lnTo>
                <a:lnTo>
                  <a:pt x="1197" y="754"/>
                </a:lnTo>
                <a:lnTo>
                  <a:pt x="1190" y="748"/>
                </a:lnTo>
                <a:lnTo>
                  <a:pt x="1182" y="742"/>
                </a:lnTo>
                <a:lnTo>
                  <a:pt x="1172" y="737"/>
                </a:lnTo>
                <a:lnTo>
                  <a:pt x="1159" y="726"/>
                </a:lnTo>
                <a:lnTo>
                  <a:pt x="1148" y="717"/>
                </a:lnTo>
                <a:lnTo>
                  <a:pt x="1145" y="716"/>
                </a:lnTo>
                <a:lnTo>
                  <a:pt x="1141" y="716"/>
                </a:lnTo>
                <a:lnTo>
                  <a:pt x="1137" y="717"/>
                </a:lnTo>
                <a:lnTo>
                  <a:pt x="1132" y="719"/>
                </a:lnTo>
                <a:lnTo>
                  <a:pt x="1121" y="725"/>
                </a:lnTo>
                <a:lnTo>
                  <a:pt x="1110" y="727"/>
                </a:lnTo>
                <a:lnTo>
                  <a:pt x="1103" y="729"/>
                </a:lnTo>
                <a:lnTo>
                  <a:pt x="1097" y="729"/>
                </a:lnTo>
                <a:lnTo>
                  <a:pt x="1095" y="730"/>
                </a:lnTo>
                <a:lnTo>
                  <a:pt x="1093" y="731"/>
                </a:lnTo>
                <a:lnTo>
                  <a:pt x="1093" y="733"/>
                </a:lnTo>
                <a:lnTo>
                  <a:pt x="1093" y="736"/>
                </a:lnTo>
                <a:lnTo>
                  <a:pt x="1094" y="745"/>
                </a:lnTo>
                <a:lnTo>
                  <a:pt x="1094" y="757"/>
                </a:lnTo>
                <a:lnTo>
                  <a:pt x="1093" y="763"/>
                </a:lnTo>
                <a:lnTo>
                  <a:pt x="1091" y="769"/>
                </a:lnTo>
                <a:lnTo>
                  <a:pt x="1089" y="774"/>
                </a:lnTo>
                <a:lnTo>
                  <a:pt x="1085" y="777"/>
                </a:lnTo>
                <a:lnTo>
                  <a:pt x="1076" y="782"/>
                </a:lnTo>
                <a:lnTo>
                  <a:pt x="1068" y="788"/>
                </a:lnTo>
                <a:lnTo>
                  <a:pt x="1064" y="792"/>
                </a:lnTo>
                <a:lnTo>
                  <a:pt x="1062" y="795"/>
                </a:lnTo>
                <a:lnTo>
                  <a:pt x="1061" y="799"/>
                </a:lnTo>
                <a:lnTo>
                  <a:pt x="1062" y="803"/>
                </a:lnTo>
                <a:lnTo>
                  <a:pt x="1064" y="813"/>
                </a:lnTo>
                <a:lnTo>
                  <a:pt x="1064" y="823"/>
                </a:lnTo>
                <a:lnTo>
                  <a:pt x="1064" y="827"/>
                </a:lnTo>
                <a:lnTo>
                  <a:pt x="1062" y="831"/>
                </a:lnTo>
                <a:lnTo>
                  <a:pt x="1059" y="836"/>
                </a:lnTo>
                <a:lnTo>
                  <a:pt x="1056" y="838"/>
                </a:lnTo>
                <a:lnTo>
                  <a:pt x="1045" y="847"/>
                </a:lnTo>
                <a:lnTo>
                  <a:pt x="1028" y="858"/>
                </a:lnTo>
                <a:lnTo>
                  <a:pt x="1012" y="869"/>
                </a:lnTo>
                <a:lnTo>
                  <a:pt x="999" y="876"/>
                </a:lnTo>
                <a:lnTo>
                  <a:pt x="994" y="877"/>
                </a:lnTo>
                <a:lnTo>
                  <a:pt x="989" y="878"/>
                </a:lnTo>
                <a:lnTo>
                  <a:pt x="984" y="878"/>
                </a:lnTo>
                <a:lnTo>
                  <a:pt x="978" y="877"/>
                </a:lnTo>
                <a:lnTo>
                  <a:pt x="970" y="874"/>
                </a:lnTo>
                <a:lnTo>
                  <a:pt x="962" y="870"/>
                </a:lnTo>
                <a:lnTo>
                  <a:pt x="956" y="868"/>
                </a:lnTo>
                <a:lnTo>
                  <a:pt x="949" y="866"/>
                </a:lnTo>
                <a:lnTo>
                  <a:pt x="946" y="868"/>
                </a:lnTo>
                <a:lnTo>
                  <a:pt x="943" y="869"/>
                </a:lnTo>
                <a:lnTo>
                  <a:pt x="940" y="872"/>
                </a:lnTo>
                <a:lnTo>
                  <a:pt x="939" y="876"/>
                </a:lnTo>
                <a:lnTo>
                  <a:pt x="938" y="885"/>
                </a:lnTo>
                <a:lnTo>
                  <a:pt x="937" y="896"/>
                </a:lnTo>
                <a:lnTo>
                  <a:pt x="936" y="901"/>
                </a:lnTo>
                <a:lnTo>
                  <a:pt x="935" y="906"/>
                </a:lnTo>
                <a:lnTo>
                  <a:pt x="932" y="909"/>
                </a:lnTo>
                <a:lnTo>
                  <a:pt x="929" y="912"/>
                </a:lnTo>
                <a:lnTo>
                  <a:pt x="925" y="914"/>
                </a:lnTo>
                <a:lnTo>
                  <a:pt x="920" y="915"/>
                </a:lnTo>
                <a:lnTo>
                  <a:pt x="917" y="916"/>
                </a:lnTo>
                <a:lnTo>
                  <a:pt x="912" y="916"/>
                </a:lnTo>
                <a:lnTo>
                  <a:pt x="906" y="915"/>
                </a:lnTo>
                <a:lnTo>
                  <a:pt x="901" y="914"/>
                </a:lnTo>
                <a:lnTo>
                  <a:pt x="895" y="912"/>
                </a:lnTo>
                <a:lnTo>
                  <a:pt x="889" y="908"/>
                </a:lnTo>
                <a:lnTo>
                  <a:pt x="883" y="905"/>
                </a:lnTo>
                <a:lnTo>
                  <a:pt x="876" y="902"/>
                </a:lnTo>
                <a:lnTo>
                  <a:pt x="869" y="902"/>
                </a:lnTo>
                <a:lnTo>
                  <a:pt x="862" y="903"/>
                </a:lnTo>
                <a:lnTo>
                  <a:pt x="848" y="907"/>
                </a:lnTo>
                <a:lnTo>
                  <a:pt x="837" y="913"/>
                </a:lnTo>
                <a:lnTo>
                  <a:pt x="832" y="915"/>
                </a:lnTo>
                <a:lnTo>
                  <a:pt x="828" y="916"/>
                </a:lnTo>
                <a:lnTo>
                  <a:pt x="820" y="918"/>
                </a:lnTo>
                <a:lnTo>
                  <a:pt x="814" y="918"/>
                </a:lnTo>
                <a:lnTo>
                  <a:pt x="807" y="918"/>
                </a:lnTo>
                <a:lnTo>
                  <a:pt x="800" y="916"/>
                </a:lnTo>
                <a:lnTo>
                  <a:pt x="793" y="915"/>
                </a:lnTo>
                <a:lnTo>
                  <a:pt x="786" y="913"/>
                </a:lnTo>
                <a:lnTo>
                  <a:pt x="772" y="907"/>
                </a:lnTo>
                <a:lnTo>
                  <a:pt x="760" y="901"/>
                </a:lnTo>
                <a:lnTo>
                  <a:pt x="750" y="896"/>
                </a:lnTo>
                <a:lnTo>
                  <a:pt x="743" y="891"/>
                </a:lnTo>
                <a:lnTo>
                  <a:pt x="740" y="889"/>
                </a:lnTo>
                <a:lnTo>
                  <a:pt x="737" y="888"/>
                </a:lnTo>
                <a:lnTo>
                  <a:pt x="734" y="888"/>
                </a:lnTo>
                <a:lnTo>
                  <a:pt x="730" y="889"/>
                </a:lnTo>
                <a:lnTo>
                  <a:pt x="728" y="891"/>
                </a:lnTo>
                <a:lnTo>
                  <a:pt x="724" y="895"/>
                </a:lnTo>
                <a:lnTo>
                  <a:pt x="723" y="899"/>
                </a:lnTo>
                <a:lnTo>
                  <a:pt x="722" y="903"/>
                </a:lnTo>
                <a:lnTo>
                  <a:pt x="719" y="913"/>
                </a:lnTo>
                <a:lnTo>
                  <a:pt x="717" y="921"/>
                </a:lnTo>
                <a:lnTo>
                  <a:pt x="716" y="925"/>
                </a:lnTo>
                <a:lnTo>
                  <a:pt x="712" y="927"/>
                </a:lnTo>
                <a:lnTo>
                  <a:pt x="710" y="931"/>
                </a:lnTo>
                <a:lnTo>
                  <a:pt x="705" y="933"/>
                </a:lnTo>
                <a:lnTo>
                  <a:pt x="693" y="941"/>
                </a:lnTo>
                <a:lnTo>
                  <a:pt x="681" y="950"/>
                </a:lnTo>
                <a:lnTo>
                  <a:pt x="669" y="959"/>
                </a:lnTo>
                <a:lnTo>
                  <a:pt x="661" y="966"/>
                </a:lnTo>
                <a:lnTo>
                  <a:pt x="654" y="972"/>
                </a:lnTo>
                <a:lnTo>
                  <a:pt x="646" y="976"/>
                </a:lnTo>
                <a:lnTo>
                  <a:pt x="641" y="976"/>
                </a:lnTo>
                <a:lnTo>
                  <a:pt x="636" y="976"/>
                </a:lnTo>
                <a:lnTo>
                  <a:pt x="631" y="975"/>
                </a:lnTo>
                <a:lnTo>
                  <a:pt x="627" y="971"/>
                </a:lnTo>
                <a:lnTo>
                  <a:pt x="616" y="965"/>
                </a:lnTo>
                <a:lnTo>
                  <a:pt x="606" y="960"/>
                </a:lnTo>
                <a:lnTo>
                  <a:pt x="600" y="959"/>
                </a:lnTo>
                <a:lnTo>
                  <a:pt x="596" y="958"/>
                </a:lnTo>
                <a:lnTo>
                  <a:pt x="590" y="958"/>
                </a:lnTo>
                <a:lnTo>
                  <a:pt x="584" y="959"/>
                </a:lnTo>
                <a:lnTo>
                  <a:pt x="577" y="959"/>
                </a:lnTo>
                <a:lnTo>
                  <a:pt x="572" y="959"/>
                </a:lnTo>
                <a:lnTo>
                  <a:pt x="568" y="957"/>
                </a:lnTo>
                <a:lnTo>
                  <a:pt x="566" y="956"/>
                </a:lnTo>
                <a:lnTo>
                  <a:pt x="561" y="950"/>
                </a:lnTo>
                <a:lnTo>
                  <a:pt x="558" y="943"/>
                </a:lnTo>
                <a:lnTo>
                  <a:pt x="554" y="937"/>
                </a:lnTo>
                <a:lnTo>
                  <a:pt x="549" y="931"/>
                </a:lnTo>
                <a:lnTo>
                  <a:pt x="543" y="926"/>
                </a:lnTo>
                <a:lnTo>
                  <a:pt x="536" y="922"/>
                </a:lnTo>
                <a:lnTo>
                  <a:pt x="529" y="919"/>
                </a:lnTo>
                <a:lnTo>
                  <a:pt x="523" y="914"/>
                </a:lnTo>
                <a:lnTo>
                  <a:pt x="522" y="910"/>
                </a:lnTo>
                <a:lnTo>
                  <a:pt x="521" y="907"/>
                </a:lnTo>
                <a:lnTo>
                  <a:pt x="520" y="902"/>
                </a:lnTo>
                <a:lnTo>
                  <a:pt x="520" y="896"/>
                </a:lnTo>
                <a:lnTo>
                  <a:pt x="523" y="882"/>
                </a:lnTo>
                <a:lnTo>
                  <a:pt x="526" y="869"/>
                </a:lnTo>
                <a:lnTo>
                  <a:pt x="527" y="863"/>
                </a:lnTo>
                <a:lnTo>
                  <a:pt x="527" y="858"/>
                </a:lnTo>
                <a:lnTo>
                  <a:pt x="526" y="855"/>
                </a:lnTo>
                <a:lnTo>
                  <a:pt x="523" y="852"/>
                </a:lnTo>
                <a:lnTo>
                  <a:pt x="517" y="850"/>
                </a:lnTo>
                <a:lnTo>
                  <a:pt x="510" y="846"/>
                </a:lnTo>
                <a:lnTo>
                  <a:pt x="508" y="843"/>
                </a:lnTo>
                <a:lnTo>
                  <a:pt x="505" y="840"/>
                </a:lnTo>
                <a:lnTo>
                  <a:pt x="503" y="836"/>
                </a:lnTo>
                <a:lnTo>
                  <a:pt x="501" y="831"/>
                </a:lnTo>
                <a:lnTo>
                  <a:pt x="495" y="818"/>
                </a:lnTo>
                <a:lnTo>
                  <a:pt x="488" y="805"/>
                </a:lnTo>
                <a:lnTo>
                  <a:pt x="479" y="792"/>
                </a:lnTo>
                <a:lnTo>
                  <a:pt x="474" y="781"/>
                </a:lnTo>
                <a:lnTo>
                  <a:pt x="470" y="770"/>
                </a:lnTo>
                <a:lnTo>
                  <a:pt x="467" y="758"/>
                </a:lnTo>
                <a:lnTo>
                  <a:pt x="466" y="751"/>
                </a:lnTo>
                <a:lnTo>
                  <a:pt x="464" y="745"/>
                </a:lnTo>
                <a:lnTo>
                  <a:pt x="461" y="740"/>
                </a:lnTo>
                <a:lnTo>
                  <a:pt x="458" y="736"/>
                </a:lnTo>
                <a:lnTo>
                  <a:pt x="451" y="730"/>
                </a:lnTo>
                <a:lnTo>
                  <a:pt x="446" y="723"/>
                </a:lnTo>
                <a:lnTo>
                  <a:pt x="444" y="719"/>
                </a:lnTo>
                <a:lnTo>
                  <a:pt x="442" y="716"/>
                </a:lnTo>
                <a:lnTo>
                  <a:pt x="442" y="711"/>
                </a:lnTo>
                <a:lnTo>
                  <a:pt x="442" y="705"/>
                </a:lnTo>
                <a:lnTo>
                  <a:pt x="442" y="692"/>
                </a:lnTo>
                <a:lnTo>
                  <a:pt x="440" y="680"/>
                </a:lnTo>
                <a:lnTo>
                  <a:pt x="438" y="674"/>
                </a:lnTo>
                <a:lnTo>
                  <a:pt x="435" y="668"/>
                </a:lnTo>
                <a:lnTo>
                  <a:pt x="432" y="663"/>
                </a:lnTo>
                <a:lnTo>
                  <a:pt x="427" y="658"/>
                </a:lnTo>
                <a:lnTo>
                  <a:pt x="422" y="654"/>
                </a:lnTo>
                <a:lnTo>
                  <a:pt x="419" y="649"/>
                </a:lnTo>
                <a:lnTo>
                  <a:pt x="415" y="645"/>
                </a:lnTo>
                <a:lnTo>
                  <a:pt x="414" y="641"/>
                </a:lnTo>
                <a:lnTo>
                  <a:pt x="411" y="636"/>
                </a:lnTo>
                <a:lnTo>
                  <a:pt x="411" y="631"/>
                </a:lnTo>
                <a:lnTo>
                  <a:pt x="411" y="628"/>
                </a:lnTo>
                <a:lnTo>
                  <a:pt x="411" y="622"/>
                </a:lnTo>
                <a:lnTo>
                  <a:pt x="413" y="617"/>
                </a:lnTo>
                <a:lnTo>
                  <a:pt x="415" y="613"/>
                </a:lnTo>
                <a:lnTo>
                  <a:pt x="417" y="609"/>
                </a:lnTo>
                <a:lnTo>
                  <a:pt x="421" y="605"/>
                </a:lnTo>
                <a:lnTo>
                  <a:pt x="423" y="601"/>
                </a:lnTo>
                <a:lnTo>
                  <a:pt x="427" y="597"/>
                </a:lnTo>
                <a:lnTo>
                  <a:pt x="429" y="592"/>
                </a:lnTo>
                <a:lnTo>
                  <a:pt x="430" y="586"/>
                </a:lnTo>
                <a:lnTo>
                  <a:pt x="434" y="574"/>
                </a:lnTo>
                <a:lnTo>
                  <a:pt x="438" y="565"/>
                </a:lnTo>
                <a:lnTo>
                  <a:pt x="438" y="561"/>
                </a:lnTo>
                <a:lnTo>
                  <a:pt x="438" y="559"/>
                </a:lnTo>
                <a:lnTo>
                  <a:pt x="436" y="557"/>
                </a:lnTo>
                <a:lnTo>
                  <a:pt x="433" y="557"/>
                </a:lnTo>
                <a:lnTo>
                  <a:pt x="420" y="560"/>
                </a:lnTo>
                <a:lnTo>
                  <a:pt x="404" y="562"/>
                </a:lnTo>
                <a:lnTo>
                  <a:pt x="388" y="566"/>
                </a:lnTo>
                <a:lnTo>
                  <a:pt x="375" y="567"/>
                </a:lnTo>
                <a:lnTo>
                  <a:pt x="364" y="567"/>
                </a:lnTo>
                <a:lnTo>
                  <a:pt x="354" y="565"/>
                </a:lnTo>
                <a:lnTo>
                  <a:pt x="351" y="563"/>
                </a:lnTo>
                <a:lnTo>
                  <a:pt x="347" y="561"/>
                </a:lnTo>
                <a:lnTo>
                  <a:pt x="345" y="557"/>
                </a:lnTo>
                <a:lnTo>
                  <a:pt x="344" y="554"/>
                </a:lnTo>
                <a:lnTo>
                  <a:pt x="343" y="546"/>
                </a:lnTo>
                <a:lnTo>
                  <a:pt x="340" y="538"/>
                </a:lnTo>
                <a:lnTo>
                  <a:pt x="338" y="536"/>
                </a:lnTo>
                <a:lnTo>
                  <a:pt x="335" y="534"/>
                </a:lnTo>
                <a:lnTo>
                  <a:pt x="333" y="531"/>
                </a:lnTo>
                <a:lnTo>
                  <a:pt x="329" y="530"/>
                </a:lnTo>
                <a:lnTo>
                  <a:pt x="322" y="528"/>
                </a:lnTo>
                <a:lnTo>
                  <a:pt x="318" y="524"/>
                </a:lnTo>
                <a:lnTo>
                  <a:pt x="315" y="518"/>
                </a:lnTo>
                <a:lnTo>
                  <a:pt x="313" y="510"/>
                </a:lnTo>
                <a:lnTo>
                  <a:pt x="308" y="498"/>
                </a:lnTo>
                <a:lnTo>
                  <a:pt x="300" y="484"/>
                </a:lnTo>
                <a:lnTo>
                  <a:pt x="296" y="478"/>
                </a:lnTo>
                <a:lnTo>
                  <a:pt x="291" y="472"/>
                </a:lnTo>
                <a:lnTo>
                  <a:pt x="288" y="468"/>
                </a:lnTo>
                <a:lnTo>
                  <a:pt x="285" y="467"/>
                </a:lnTo>
                <a:lnTo>
                  <a:pt x="283" y="468"/>
                </a:lnTo>
                <a:lnTo>
                  <a:pt x="280" y="473"/>
                </a:lnTo>
                <a:lnTo>
                  <a:pt x="277" y="479"/>
                </a:lnTo>
                <a:lnTo>
                  <a:pt x="274" y="487"/>
                </a:lnTo>
                <a:lnTo>
                  <a:pt x="266" y="504"/>
                </a:lnTo>
                <a:lnTo>
                  <a:pt x="262" y="518"/>
                </a:lnTo>
                <a:lnTo>
                  <a:pt x="255" y="532"/>
                </a:lnTo>
                <a:lnTo>
                  <a:pt x="245" y="552"/>
                </a:lnTo>
                <a:lnTo>
                  <a:pt x="237" y="569"/>
                </a:lnTo>
                <a:lnTo>
                  <a:pt x="230" y="582"/>
                </a:lnTo>
                <a:lnTo>
                  <a:pt x="226" y="587"/>
                </a:lnTo>
                <a:lnTo>
                  <a:pt x="222" y="591"/>
                </a:lnTo>
                <a:lnTo>
                  <a:pt x="218" y="593"/>
                </a:lnTo>
                <a:lnTo>
                  <a:pt x="213" y="595"/>
                </a:lnTo>
                <a:lnTo>
                  <a:pt x="203" y="597"/>
                </a:lnTo>
                <a:lnTo>
                  <a:pt x="194" y="598"/>
                </a:lnTo>
                <a:lnTo>
                  <a:pt x="190" y="597"/>
                </a:lnTo>
                <a:lnTo>
                  <a:pt x="186" y="595"/>
                </a:lnTo>
                <a:lnTo>
                  <a:pt x="182" y="593"/>
                </a:lnTo>
                <a:lnTo>
                  <a:pt x="177" y="591"/>
                </a:lnTo>
                <a:lnTo>
                  <a:pt x="168" y="582"/>
                </a:lnTo>
                <a:lnTo>
                  <a:pt x="159" y="573"/>
                </a:lnTo>
                <a:lnTo>
                  <a:pt x="153" y="562"/>
                </a:lnTo>
                <a:lnTo>
                  <a:pt x="149" y="552"/>
                </a:lnTo>
                <a:lnTo>
                  <a:pt x="144" y="548"/>
                </a:lnTo>
                <a:lnTo>
                  <a:pt x="139" y="544"/>
                </a:lnTo>
                <a:lnTo>
                  <a:pt x="133" y="541"/>
                </a:lnTo>
                <a:lnTo>
                  <a:pt x="124" y="538"/>
                </a:lnTo>
                <a:lnTo>
                  <a:pt x="105" y="535"/>
                </a:lnTo>
                <a:lnTo>
                  <a:pt x="90" y="531"/>
                </a:lnTo>
                <a:lnTo>
                  <a:pt x="79" y="528"/>
                </a:lnTo>
                <a:lnTo>
                  <a:pt x="69" y="522"/>
                </a:lnTo>
                <a:lnTo>
                  <a:pt x="61" y="515"/>
                </a:lnTo>
                <a:lnTo>
                  <a:pt x="52" y="509"/>
                </a:lnTo>
                <a:lnTo>
                  <a:pt x="49" y="506"/>
                </a:lnTo>
                <a:lnTo>
                  <a:pt x="43" y="505"/>
                </a:lnTo>
                <a:lnTo>
                  <a:pt x="37" y="504"/>
                </a:lnTo>
                <a:lnTo>
                  <a:pt x="29" y="505"/>
                </a:lnTo>
                <a:lnTo>
                  <a:pt x="14" y="506"/>
                </a:lnTo>
                <a:lnTo>
                  <a:pt x="6" y="506"/>
                </a:lnTo>
                <a:lnTo>
                  <a:pt x="4" y="506"/>
                </a:lnTo>
                <a:lnTo>
                  <a:pt x="3" y="505"/>
                </a:lnTo>
                <a:lnTo>
                  <a:pt x="1" y="503"/>
                </a:lnTo>
                <a:lnTo>
                  <a:pt x="0" y="499"/>
                </a:lnTo>
                <a:lnTo>
                  <a:pt x="0" y="496"/>
                </a:lnTo>
                <a:lnTo>
                  <a:pt x="3" y="492"/>
                </a:lnTo>
                <a:lnTo>
                  <a:pt x="5" y="487"/>
                </a:lnTo>
                <a:lnTo>
                  <a:pt x="8" y="484"/>
                </a:lnTo>
                <a:lnTo>
                  <a:pt x="18" y="473"/>
                </a:lnTo>
                <a:lnTo>
                  <a:pt x="31" y="460"/>
                </a:lnTo>
                <a:lnTo>
                  <a:pt x="45" y="443"/>
                </a:lnTo>
                <a:lnTo>
                  <a:pt x="61" y="426"/>
                </a:lnTo>
                <a:lnTo>
                  <a:pt x="69" y="416"/>
                </a:lnTo>
                <a:lnTo>
                  <a:pt x="76" y="406"/>
                </a:lnTo>
                <a:lnTo>
                  <a:pt x="82" y="397"/>
                </a:lnTo>
                <a:lnTo>
                  <a:pt x="88" y="386"/>
                </a:lnTo>
                <a:lnTo>
                  <a:pt x="98" y="367"/>
                </a:lnTo>
                <a:lnTo>
                  <a:pt x="102" y="353"/>
                </a:lnTo>
                <a:lnTo>
                  <a:pt x="105" y="340"/>
                </a:lnTo>
                <a:lnTo>
                  <a:pt x="106" y="328"/>
                </a:lnTo>
                <a:lnTo>
                  <a:pt x="106" y="316"/>
                </a:lnTo>
                <a:lnTo>
                  <a:pt x="108" y="303"/>
                </a:lnTo>
                <a:lnTo>
                  <a:pt x="111" y="297"/>
                </a:lnTo>
                <a:lnTo>
                  <a:pt x="114" y="292"/>
                </a:lnTo>
                <a:lnTo>
                  <a:pt x="118" y="289"/>
                </a:lnTo>
                <a:lnTo>
                  <a:pt x="121" y="285"/>
                </a:lnTo>
                <a:lnTo>
                  <a:pt x="126" y="284"/>
                </a:lnTo>
                <a:lnTo>
                  <a:pt x="129" y="282"/>
                </a:lnTo>
                <a:lnTo>
                  <a:pt x="131" y="279"/>
                </a:lnTo>
                <a:lnTo>
                  <a:pt x="132" y="276"/>
                </a:lnTo>
                <a:lnTo>
                  <a:pt x="133" y="269"/>
                </a:lnTo>
                <a:lnTo>
                  <a:pt x="132" y="258"/>
                </a:lnTo>
                <a:lnTo>
                  <a:pt x="130" y="252"/>
                </a:lnTo>
                <a:lnTo>
                  <a:pt x="127" y="247"/>
                </a:lnTo>
                <a:lnTo>
                  <a:pt x="124" y="244"/>
                </a:lnTo>
                <a:lnTo>
                  <a:pt x="120" y="241"/>
                </a:lnTo>
                <a:lnTo>
                  <a:pt x="112" y="238"/>
                </a:lnTo>
                <a:lnTo>
                  <a:pt x="105" y="237"/>
                </a:lnTo>
                <a:lnTo>
                  <a:pt x="98" y="235"/>
                </a:lnTo>
                <a:lnTo>
                  <a:pt x="93" y="232"/>
                </a:lnTo>
                <a:lnTo>
                  <a:pt x="90" y="229"/>
                </a:lnTo>
                <a:lnTo>
                  <a:pt x="88" y="226"/>
                </a:lnTo>
                <a:lnTo>
                  <a:pt x="87" y="222"/>
                </a:lnTo>
                <a:lnTo>
                  <a:pt x="87" y="216"/>
                </a:lnTo>
                <a:lnTo>
                  <a:pt x="86" y="210"/>
                </a:lnTo>
                <a:lnTo>
                  <a:pt x="83" y="206"/>
                </a:lnTo>
                <a:lnTo>
                  <a:pt x="80" y="201"/>
                </a:lnTo>
                <a:lnTo>
                  <a:pt x="76" y="196"/>
                </a:lnTo>
                <a:lnTo>
                  <a:pt x="68" y="189"/>
                </a:lnTo>
                <a:lnTo>
                  <a:pt x="60" y="184"/>
                </a:lnTo>
                <a:lnTo>
                  <a:pt x="50" y="179"/>
                </a:lnTo>
                <a:lnTo>
                  <a:pt x="41" y="174"/>
                </a:lnTo>
                <a:lnTo>
                  <a:pt x="37" y="169"/>
                </a:lnTo>
                <a:lnTo>
                  <a:pt x="35" y="165"/>
                </a:lnTo>
                <a:lnTo>
                  <a:pt x="33" y="163"/>
                </a:lnTo>
                <a:lnTo>
                  <a:pt x="35" y="160"/>
                </a:lnTo>
                <a:lnTo>
                  <a:pt x="39" y="158"/>
                </a:lnTo>
                <a:lnTo>
                  <a:pt x="49" y="156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4" name="湖北"/>
          <p:cNvSpPr/>
          <p:nvPr/>
        </p:nvSpPr>
        <p:spPr bwMode="auto">
          <a:xfrm>
            <a:off x="5986145" y="3975100"/>
            <a:ext cx="1188720" cy="742950"/>
          </a:xfrm>
          <a:custGeom>
            <a:avLst/>
            <a:gdLst>
              <a:gd name="T0" fmla="*/ 2776 w 2869"/>
              <a:gd name="T1" fmla="*/ 1214 h 1815"/>
              <a:gd name="T2" fmla="*/ 2734 w 2869"/>
              <a:gd name="T3" fmla="*/ 1076 h 1815"/>
              <a:gd name="T4" fmla="*/ 2776 w 2869"/>
              <a:gd name="T5" fmla="*/ 956 h 1815"/>
              <a:gd name="T6" fmla="*/ 2706 w 2869"/>
              <a:gd name="T7" fmla="*/ 850 h 1815"/>
              <a:gd name="T8" fmla="*/ 2570 w 2869"/>
              <a:gd name="T9" fmla="*/ 763 h 1815"/>
              <a:gd name="T10" fmla="*/ 2494 w 2869"/>
              <a:gd name="T11" fmla="*/ 724 h 1815"/>
              <a:gd name="T12" fmla="*/ 2402 w 2869"/>
              <a:gd name="T13" fmla="*/ 735 h 1815"/>
              <a:gd name="T14" fmla="*/ 2267 w 2869"/>
              <a:gd name="T15" fmla="*/ 659 h 1815"/>
              <a:gd name="T16" fmla="*/ 2102 w 2869"/>
              <a:gd name="T17" fmla="*/ 596 h 1815"/>
              <a:gd name="T18" fmla="*/ 2015 w 2869"/>
              <a:gd name="T19" fmla="*/ 592 h 1815"/>
              <a:gd name="T20" fmla="*/ 1971 w 2869"/>
              <a:gd name="T21" fmla="*/ 457 h 1815"/>
              <a:gd name="T22" fmla="*/ 1939 w 2869"/>
              <a:gd name="T23" fmla="*/ 341 h 1815"/>
              <a:gd name="T24" fmla="*/ 1794 w 2869"/>
              <a:gd name="T25" fmla="*/ 377 h 1815"/>
              <a:gd name="T26" fmla="*/ 1662 w 2869"/>
              <a:gd name="T27" fmla="*/ 364 h 1815"/>
              <a:gd name="T28" fmla="*/ 1370 w 2869"/>
              <a:gd name="T29" fmla="*/ 356 h 1815"/>
              <a:gd name="T30" fmla="*/ 1187 w 2869"/>
              <a:gd name="T31" fmla="*/ 289 h 1815"/>
              <a:gd name="T32" fmla="*/ 1052 w 2869"/>
              <a:gd name="T33" fmla="*/ 146 h 1815"/>
              <a:gd name="T34" fmla="*/ 945 w 2869"/>
              <a:gd name="T35" fmla="*/ 4 h 1815"/>
              <a:gd name="T36" fmla="*/ 824 w 2869"/>
              <a:gd name="T37" fmla="*/ 43 h 1815"/>
              <a:gd name="T38" fmla="*/ 675 w 2869"/>
              <a:gd name="T39" fmla="*/ 30 h 1815"/>
              <a:gd name="T40" fmla="*/ 435 w 2869"/>
              <a:gd name="T41" fmla="*/ 7 h 1815"/>
              <a:gd name="T42" fmla="*/ 519 w 2869"/>
              <a:gd name="T43" fmla="*/ 101 h 1815"/>
              <a:gd name="T44" fmla="*/ 656 w 2869"/>
              <a:gd name="T45" fmla="*/ 195 h 1815"/>
              <a:gd name="T46" fmla="*/ 583 w 2869"/>
              <a:gd name="T47" fmla="*/ 305 h 1815"/>
              <a:gd name="T48" fmla="*/ 444 w 2869"/>
              <a:gd name="T49" fmla="*/ 341 h 1815"/>
              <a:gd name="T50" fmla="*/ 451 w 2869"/>
              <a:gd name="T51" fmla="*/ 530 h 1815"/>
              <a:gd name="T52" fmla="*/ 498 w 2869"/>
              <a:gd name="T53" fmla="*/ 705 h 1815"/>
              <a:gd name="T54" fmla="*/ 649 w 2869"/>
              <a:gd name="T55" fmla="*/ 804 h 1815"/>
              <a:gd name="T56" fmla="*/ 631 w 2869"/>
              <a:gd name="T57" fmla="*/ 1055 h 1815"/>
              <a:gd name="T58" fmla="*/ 453 w 2869"/>
              <a:gd name="T59" fmla="*/ 1121 h 1815"/>
              <a:gd name="T60" fmla="*/ 351 w 2869"/>
              <a:gd name="T61" fmla="*/ 1154 h 1815"/>
              <a:gd name="T62" fmla="*/ 233 w 2869"/>
              <a:gd name="T63" fmla="*/ 1135 h 1815"/>
              <a:gd name="T64" fmla="*/ 104 w 2869"/>
              <a:gd name="T65" fmla="*/ 1164 h 1815"/>
              <a:gd name="T66" fmla="*/ 44 w 2869"/>
              <a:gd name="T67" fmla="*/ 1284 h 1815"/>
              <a:gd name="T68" fmla="*/ 54 w 2869"/>
              <a:gd name="T69" fmla="*/ 1462 h 1815"/>
              <a:gd name="T70" fmla="*/ 54 w 2869"/>
              <a:gd name="T71" fmla="*/ 1545 h 1815"/>
              <a:gd name="T72" fmla="*/ 169 w 2869"/>
              <a:gd name="T73" fmla="*/ 1580 h 1815"/>
              <a:gd name="T74" fmla="*/ 213 w 2869"/>
              <a:gd name="T75" fmla="*/ 1718 h 1815"/>
              <a:gd name="T76" fmla="*/ 314 w 2869"/>
              <a:gd name="T77" fmla="*/ 1807 h 1815"/>
              <a:gd name="T78" fmla="*/ 359 w 2869"/>
              <a:gd name="T79" fmla="*/ 1706 h 1815"/>
              <a:gd name="T80" fmla="*/ 485 w 2869"/>
              <a:gd name="T81" fmla="*/ 1586 h 1815"/>
              <a:gd name="T82" fmla="*/ 672 w 2869"/>
              <a:gd name="T83" fmla="*/ 1524 h 1815"/>
              <a:gd name="T84" fmla="*/ 835 w 2869"/>
              <a:gd name="T85" fmla="*/ 1528 h 1815"/>
              <a:gd name="T86" fmla="*/ 776 w 2869"/>
              <a:gd name="T87" fmla="*/ 1402 h 1815"/>
              <a:gd name="T88" fmla="*/ 891 w 2869"/>
              <a:gd name="T89" fmla="*/ 1362 h 1815"/>
              <a:gd name="T90" fmla="*/ 1093 w 2869"/>
              <a:gd name="T91" fmla="*/ 1429 h 1815"/>
              <a:gd name="T92" fmla="*/ 1278 w 2869"/>
              <a:gd name="T93" fmla="*/ 1471 h 1815"/>
              <a:gd name="T94" fmla="*/ 1405 w 2869"/>
              <a:gd name="T95" fmla="*/ 1574 h 1815"/>
              <a:gd name="T96" fmla="*/ 1504 w 2869"/>
              <a:gd name="T97" fmla="*/ 1589 h 1815"/>
              <a:gd name="T98" fmla="*/ 1654 w 2869"/>
              <a:gd name="T99" fmla="*/ 1511 h 1815"/>
              <a:gd name="T100" fmla="*/ 1732 w 2869"/>
              <a:gd name="T101" fmla="*/ 1543 h 1815"/>
              <a:gd name="T102" fmla="*/ 1751 w 2869"/>
              <a:gd name="T103" fmla="*/ 1646 h 1815"/>
              <a:gd name="T104" fmla="*/ 1919 w 2869"/>
              <a:gd name="T105" fmla="*/ 1478 h 1815"/>
              <a:gd name="T106" fmla="*/ 1970 w 2869"/>
              <a:gd name="T107" fmla="*/ 1598 h 1815"/>
              <a:gd name="T108" fmla="*/ 1982 w 2869"/>
              <a:gd name="T109" fmla="*/ 1733 h 1815"/>
              <a:gd name="T110" fmla="*/ 2044 w 2869"/>
              <a:gd name="T111" fmla="*/ 1796 h 1815"/>
              <a:gd name="T112" fmla="*/ 2182 w 2869"/>
              <a:gd name="T113" fmla="*/ 1726 h 1815"/>
              <a:gd name="T114" fmla="*/ 2350 w 2869"/>
              <a:gd name="T115" fmla="*/ 1644 h 1815"/>
              <a:gd name="T116" fmla="*/ 2436 w 2869"/>
              <a:gd name="T117" fmla="*/ 1588 h 1815"/>
              <a:gd name="T118" fmla="*/ 2520 w 2869"/>
              <a:gd name="T119" fmla="*/ 1573 h 1815"/>
              <a:gd name="T120" fmla="*/ 2592 w 2869"/>
              <a:gd name="T121" fmla="*/ 1519 h 1815"/>
              <a:gd name="T122" fmla="*/ 2772 w 2869"/>
              <a:gd name="T123" fmla="*/ 1466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69" h="1815">
                <a:moveTo>
                  <a:pt x="2867" y="1427"/>
                </a:moveTo>
                <a:lnTo>
                  <a:pt x="2869" y="1424"/>
                </a:lnTo>
                <a:lnTo>
                  <a:pt x="2869" y="1422"/>
                </a:lnTo>
                <a:lnTo>
                  <a:pt x="2864" y="1405"/>
                </a:lnTo>
                <a:lnTo>
                  <a:pt x="2862" y="1396"/>
                </a:lnTo>
                <a:lnTo>
                  <a:pt x="2859" y="1386"/>
                </a:lnTo>
                <a:lnTo>
                  <a:pt x="2858" y="1377"/>
                </a:lnTo>
                <a:lnTo>
                  <a:pt x="2856" y="1367"/>
                </a:lnTo>
                <a:lnTo>
                  <a:pt x="2853" y="1359"/>
                </a:lnTo>
                <a:lnTo>
                  <a:pt x="2851" y="1351"/>
                </a:lnTo>
                <a:lnTo>
                  <a:pt x="2851" y="1343"/>
                </a:lnTo>
                <a:lnTo>
                  <a:pt x="2851" y="1335"/>
                </a:lnTo>
                <a:lnTo>
                  <a:pt x="2851" y="1327"/>
                </a:lnTo>
                <a:lnTo>
                  <a:pt x="2851" y="1318"/>
                </a:lnTo>
                <a:lnTo>
                  <a:pt x="2851" y="1309"/>
                </a:lnTo>
                <a:lnTo>
                  <a:pt x="2850" y="1299"/>
                </a:lnTo>
                <a:lnTo>
                  <a:pt x="2848" y="1290"/>
                </a:lnTo>
                <a:lnTo>
                  <a:pt x="2845" y="1280"/>
                </a:lnTo>
                <a:lnTo>
                  <a:pt x="2841" y="1270"/>
                </a:lnTo>
                <a:lnTo>
                  <a:pt x="2835" y="1260"/>
                </a:lnTo>
                <a:lnTo>
                  <a:pt x="2829" y="1252"/>
                </a:lnTo>
                <a:lnTo>
                  <a:pt x="2819" y="1238"/>
                </a:lnTo>
                <a:lnTo>
                  <a:pt x="2810" y="1228"/>
                </a:lnTo>
                <a:lnTo>
                  <a:pt x="2795" y="1221"/>
                </a:lnTo>
                <a:lnTo>
                  <a:pt x="2780" y="1216"/>
                </a:lnTo>
                <a:lnTo>
                  <a:pt x="2776" y="1214"/>
                </a:lnTo>
                <a:lnTo>
                  <a:pt x="2774" y="1210"/>
                </a:lnTo>
                <a:lnTo>
                  <a:pt x="2772" y="1205"/>
                </a:lnTo>
                <a:lnTo>
                  <a:pt x="2771" y="1200"/>
                </a:lnTo>
                <a:lnTo>
                  <a:pt x="2770" y="1195"/>
                </a:lnTo>
                <a:lnTo>
                  <a:pt x="2770" y="1189"/>
                </a:lnTo>
                <a:lnTo>
                  <a:pt x="2771" y="1183"/>
                </a:lnTo>
                <a:lnTo>
                  <a:pt x="2772" y="1177"/>
                </a:lnTo>
                <a:lnTo>
                  <a:pt x="2776" y="1167"/>
                </a:lnTo>
                <a:lnTo>
                  <a:pt x="2778" y="1158"/>
                </a:lnTo>
                <a:lnTo>
                  <a:pt x="2778" y="1154"/>
                </a:lnTo>
                <a:lnTo>
                  <a:pt x="2778" y="1150"/>
                </a:lnTo>
                <a:lnTo>
                  <a:pt x="2776" y="1145"/>
                </a:lnTo>
                <a:lnTo>
                  <a:pt x="2772" y="1140"/>
                </a:lnTo>
                <a:lnTo>
                  <a:pt x="2769" y="1135"/>
                </a:lnTo>
                <a:lnTo>
                  <a:pt x="2766" y="1131"/>
                </a:lnTo>
                <a:lnTo>
                  <a:pt x="2764" y="1126"/>
                </a:lnTo>
                <a:lnTo>
                  <a:pt x="2763" y="1121"/>
                </a:lnTo>
                <a:lnTo>
                  <a:pt x="2762" y="1112"/>
                </a:lnTo>
                <a:lnTo>
                  <a:pt x="2762" y="1103"/>
                </a:lnTo>
                <a:lnTo>
                  <a:pt x="2759" y="1095"/>
                </a:lnTo>
                <a:lnTo>
                  <a:pt x="2757" y="1089"/>
                </a:lnTo>
                <a:lnTo>
                  <a:pt x="2752" y="1085"/>
                </a:lnTo>
                <a:lnTo>
                  <a:pt x="2746" y="1083"/>
                </a:lnTo>
                <a:lnTo>
                  <a:pt x="2741" y="1082"/>
                </a:lnTo>
                <a:lnTo>
                  <a:pt x="2738" y="1080"/>
                </a:lnTo>
                <a:lnTo>
                  <a:pt x="2734" y="1076"/>
                </a:lnTo>
                <a:lnTo>
                  <a:pt x="2731" y="1072"/>
                </a:lnTo>
                <a:lnTo>
                  <a:pt x="2727" y="1068"/>
                </a:lnTo>
                <a:lnTo>
                  <a:pt x="2724" y="1063"/>
                </a:lnTo>
                <a:lnTo>
                  <a:pt x="2722" y="1058"/>
                </a:lnTo>
                <a:lnTo>
                  <a:pt x="2720" y="1052"/>
                </a:lnTo>
                <a:lnTo>
                  <a:pt x="2719" y="1046"/>
                </a:lnTo>
                <a:lnTo>
                  <a:pt x="2719" y="1040"/>
                </a:lnTo>
                <a:lnTo>
                  <a:pt x="2719" y="1036"/>
                </a:lnTo>
                <a:lnTo>
                  <a:pt x="2720" y="1031"/>
                </a:lnTo>
                <a:lnTo>
                  <a:pt x="2722" y="1027"/>
                </a:lnTo>
                <a:lnTo>
                  <a:pt x="2725" y="1024"/>
                </a:lnTo>
                <a:lnTo>
                  <a:pt x="2727" y="1020"/>
                </a:lnTo>
                <a:lnTo>
                  <a:pt x="2731" y="1017"/>
                </a:lnTo>
                <a:lnTo>
                  <a:pt x="2738" y="1011"/>
                </a:lnTo>
                <a:lnTo>
                  <a:pt x="2743" y="1006"/>
                </a:lnTo>
                <a:lnTo>
                  <a:pt x="2745" y="1001"/>
                </a:lnTo>
                <a:lnTo>
                  <a:pt x="2746" y="994"/>
                </a:lnTo>
                <a:lnTo>
                  <a:pt x="2745" y="986"/>
                </a:lnTo>
                <a:lnTo>
                  <a:pt x="2744" y="977"/>
                </a:lnTo>
                <a:lnTo>
                  <a:pt x="2745" y="974"/>
                </a:lnTo>
                <a:lnTo>
                  <a:pt x="2746" y="971"/>
                </a:lnTo>
                <a:lnTo>
                  <a:pt x="2749" y="968"/>
                </a:lnTo>
                <a:lnTo>
                  <a:pt x="2752" y="965"/>
                </a:lnTo>
                <a:lnTo>
                  <a:pt x="2762" y="962"/>
                </a:lnTo>
                <a:lnTo>
                  <a:pt x="2769" y="959"/>
                </a:lnTo>
                <a:lnTo>
                  <a:pt x="2776" y="956"/>
                </a:lnTo>
                <a:lnTo>
                  <a:pt x="2783" y="949"/>
                </a:lnTo>
                <a:lnTo>
                  <a:pt x="2793" y="938"/>
                </a:lnTo>
                <a:lnTo>
                  <a:pt x="2803" y="929"/>
                </a:lnTo>
                <a:lnTo>
                  <a:pt x="2813" y="919"/>
                </a:lnTo>
                <a:lnTo>
                  <a:pt x="2819" y="912"/>
                </a:lnTo>
                <a:lnTo>
                  <a:pt x="2820" y="908"/>
                </a:lnTo>
                <a:lnTo>
                  <a:pt x="2820" y="905"/>
                </a:lnTo>
                <a:lnTo>
                  <a:pt x="2819" y="902"/>
                </a:lnTo>
                <a:lnTo>
                  <a:pt x="2816" y="899"/>
                </a:lnTo>
                <a:lnTo>
                  <a:pt x="2808" y="895"/>
                </a:lnTo>
                <a:lnTo>
                  <a:pt x="2799" y="892"/>
                </a:lnTo>
                <a:lnTo>
                  <a:pt x="2789" y="889"/>
                </a:lnTo>
                <a:lnTo>
                  <a:pt x="2780" y="883"/>
                </a:lnTo>
                <a:lnTo>
                  <a:pt x="2775" y="880"/>
                </a:lnTo>
                <a:lnTo>
                  <a:pt x="2770" y="876"/>
                </a:lnTo>
                <a:lnTo>
                  <a:pt x="2766" y="872"/>
                </a:lnTo>
                <a:lnTo>
                  <a:pt x="2764" y="867"/>
                </a:lnTo>
                <a:lnTo>
                  <a:pt x="2758" y="857"/>
                </a:lnTo>
                <a:lnTo>
                  <a:pt x="2751" y="849"/>
                </a:lnTo>
                <a:lnTo>
                  <a:pt x="2747" y="847"/>
                </a:lnTo>
                <a:lnTo>
                  <a:pt x="2743" y="845"/>
                </a:lnTo>
                <a:lnTo>
                  <a:pt x="2737" y="844"/>
                </a:lnTo>
                <a:lnTo>
                  <a:pt x="2731" y="845"/>
                </a:lnTo>
                <a:lnTo>
                  <a:pt x="2720" y="849"/>
                </a:lnTo>
                <a:lnTo>
                  <a:pt x="2709" y="850"/>
                </a:lnTo>
                <a:lnTo>
                  <a:pt x="2706" y="850"/>
                </a:lnTo>
                <a:lnTo>
                  <a:pt x="2701" y="848"/>
                </a:lnTo>
                <a:lnTo>
                  <a:pt x="2698" y="845"/>
                </a:lnTo>
                <a:lnTo>
                  <a:pt x="2694" y="842"/>
                </a:lnTo>
                <a:lnTo>
                  <a:pt x="2687" y="832"/>
                </a:lnTo>
                <a:lnTo>
                  <a:pt x="2682" y="824"/>
                </a:lnTo>
                <a:lnTo>
                  <a:pt x="2678" y="822"/>
                </a:lnTo>
                <a:lnTo>
                  <a:pt x="2676" y="819"/>
                </a:lnTo>
                <a:lnTo>
                  <a:pt x="2674" y="819"/>
                </a:lnTo>
                <a:lnTo>
                  <a:pt x="2670" y="819"/>
                </a:lnTo>
                <a:lnTo>
                  <a:pt x="2656" y="826"/>
                </a:lnTo>
                <a:lnTo>
                  <a:pt x="2640" y="837"/>
                </a:lnTo>
                <a:lnTo>
                  <a:pt x="2637" y="838"/>
                </a:lnTo>
                <a:lnTo>
                  <a:pt x="2632" y="837"/>
                </a:lnTo>
                <a:lnTo>
                  <a:pt x="2629" y="835"/>
                </a:lnTo>
                <a:lnTo>
                  <a:pt x="2624" y="830"/>
                </a:lnTo>
                <a:lnTo>
                  <a:pt x="2617" y="819"/>
                </a:lnTo>
                <a:lnTo>
                  <a:pt x="2608" y="807"/>
                </a:lnTo>
                <a:lnTo>
                  <a:pt x="2602" y="793"/>
                </a:lnTo>
                <a:lnTo>
                  <a:pt x="2598" y="781"/>
                </a:lnTo>
                <a:lnTo>
                  <a:pt x="2595" y="775"/>
                </a:lnTo>
                <a:lnTo>
                  <a:pt x="2593" y="772"/>
                </a:lnTo>
                <a:lnTo>
                  <a:pt x="2589" y="768"/>
                </a:lnTo>
                <a:lnTo>
                  <a:pt x="2585" y="767"/>
                </a:lnTo>
                <a:lnTo>
                  <a:pt x="2579" y="766"/>
                </a:lnTo>
                <a:lnTo>
                  <a:pt x="2574" y="765"/>
                </a:lnTo>
                <a:lnTo>
                  <a:pt x="2570" y="763"/>
                </a:lnTo>
                <a:lnTo>
                  <a:pt x="2567" y="761"/>
                </a:lnTo>
                <a:lnTo>
                  <a:pt x="2563" y="757"/>
                </a:lnTo>
                <a:lnTo>
                  <a:pt x="2562" y="754"/>
                </a:lnTo>
                <a:lnTo>
                  <a:pt x="2562" y="750"/>
                </a:lnTo>
                <a:lnTo>
                  <a:pt x="2562" y="748"/>
                </a:lnTo>
                <a:lnTo>
                  <a:pt x="2562" y="747"/>
                </a:lnTo>
                <a:lnTo>
                  <a:pt x="2562" y="746"/>
                </a:lnTo>
                <a:lnTo>
                  <a:pt x="2561" y="744"/>
                </a:lnTo>
                <a:lnTo>
                  <a:pt x="2558" y="744"/>
                </a:lnTo>
                <a:lnTo>
                  <a:pt x="2552" y="746"/>
                </a:lnTo>
                <a:lnTo>
                  <a:pt x="2542" y="750"/>
                </a:lnTo>
                <a:lnTo>
                  <a:pt x="2532" y="753"/>
                </a:lnTo>
                <a:lnTo>
                  <a:pt x="2524" y="754"/>
                </a:lnTo>
                <a:lnTo>
                  <a:pt x="2520" y="754"/>
                </a:lnTo>
                <a:lnTo>
                  <a:pt x="2518" y="753"/>
                </a:lnTo>
                <a:lnTo>
                  <a:pt x="2517" y="751"/>
                </a:lnTo>
                <a:lnTo>
                  <a:pt x="2516" y="749"/>
                </a:lnTo>
                <a:lnTo>
                  <a:pt x="2516" y="744"/>
                </a:lnTo>
                <a:lnTo>
                  <a:pt x="2514" y="742"/>
                </a:lnTo>
                <a:lnTo>
                  <a:pt x="2512" y="741"/>
                </a:lnTo>
                <a:lnTo>
                  <a:pt x="2508" y="741"/>
                </a:lnTo>
                <a:lnTo>
                  <a:pt x="2504" y="741"/>
                </a:lnTo>
                <a:lnTo>
                  <a:pt x="2500" y="740"/>
                </a:lnTo>
                <a:lnTo>
                  <a:pt x="2497" y="736"/>
                </a:lnTo>
                <a:lnTo>
                  <a:pt x="2494" y="729"/>
                </a:lnTo>
                <a:lnTo>
                  <a:pt x="2494" y="724"/>
                </a:lnTo>
                <a:lnTo>
                  <a:pt x="2494" y="719"/>
                </a:lnTo>
                <a:lnTo>
                  <a:pt x="2495" y="713"/>
                </a:lnTo>
                <a:lnTo>
                  <a:pt x="2497" y="709"/>
                </a:lnTo>
                <a:lnTo>
                  <a:pt x="2499" y="698"/>
                </a:lnTo>
                <a:lnTo>
                  <a:pt x="2500" y="687"/>
                </a:lnTo>
                <a:lnTo>
                  <a:pt x="2499" y="683"/>
                </a:lnTo>
                <a:lnTo>
                  <a:pt x="2498" y="678"/>
                </a:lnTo>
                <a:lnTo>
                  <a:pt x="2494" y="674"/>
                </a:lnTo>
                <a:lnTo>
                  <a:pt x="2489" y="671"/>
                </a:lnTo>
                <a:lnTo>
                  <a:pt x="2485" y="668"/>
                </a:lnTo>
                <a:lnTo>
                  <a:pt x="2480" y="666"/>
                </a:lnTo>
                <a:lnTo>
                  <a:pt x="2474" y="666"/>
                </a:lnTo>
                <a:lnTo>
                  <a:pt x="2469" y="666"/>
                </a:lnTo>
                <a:lnTo>
                  <a:pt x="2465" y="669"/>
                </a:lnTo>
                <a:lnTo>
                  <a:pt x="2461" y="674"/>
                </a:lnTo>
                <a:lnTo>
                  <a:pt x="2459" y="680"/>
                </a:lnTo>
                <a:lnTo>
                  <a:pt x="2457" y="687"/>
                </a:lnTo>
                <a:lnTo>
                  <a:pt x="2454" y="703"/>
                </a:lnTo>
                <a:lnTo>
                  <a:pt x="2451" y="717"/>
                </a:lnTo>
                <a:lnTo>
                  <a:pt x="2449" y="722"/>
                </a:lnTo>
                <a:lnTo>
                  <a:pt x="2445" y="725"/>
                </a:lnTo>
                <a:lnTo>
                  <a:pt x="2442" y="728"/>
                </a:lnTo>
                <a:lnTo>
                  <a:pt x="2437" y="729"/>
                </a:lnTo>
                <a:lnTo>
                  <a:pt x="2426" y="731"/>
                </a:lnTo>
                <a:lnTo>
                  <a:pt x="2416" y="732"/>
                </a:lnTo>
                <a:lnTo>
                  <a:pt x="2402" y="735"/>
                </a:lnTo>
                <a:lnTo>
                  <a:pt x="2387" y="738"/>
                </a:lnTo>
                <a:lnTo>
                  <a:pt x="2380" y="740"/>
                </a:lnTo>
                <a:lnTo>
                  <a:pt x="2373" y="740"/>
                </a:lnTo>
                <a:lnTo>
                  <a:pt x="2367" y="740"/>
                </a:lnTo>
                <a:lnTo>
                  <a:pt x="2360" y="737"/>
                </a:lnTo>
                <a:lnTo>
                  <a:pt x="2354" y="735"/>
                </a:lnTo>
                <a:lnTo>
                  <a:pt x="2346" y="730"/>
                </a:lnTo>
                <a:lnTo>
                  <a:pt x="2337" y="725"/>
                </a:lnTo>
                <a:lnTo>
                  <a:pt x="2329" y="718"/>
                </a:lnTo>
                <a:lnTo>
                  <a:pt x="2314" y="706"/>
                </a:lnTo>
                <a:lnTo>
                  <a:pt x="2303" y="696"/>
                </a:lnTo>
                <a:lnTo>
                  <a:pt x="2299" y="691"/>
                </a:lnTo>
                <a:lnTo>
                  <a:pt x="2296" y="688"/>
                </a:lnTo>
                <a:lnTo>
                  <a:pt x="2293" y="686"/>
                </a:lnTo>
                <a:lnTo>
                  <a:pt x="2291" y="686"/>
                </a:lnTo>
                <a:lnTo>
                  <a:pt x="2285" y="687"/>
                </a:lnTo>
                <a:lnTo>
                  <a:pt x="2278" y="692"/>
                </a:lnTo>
                <a:lnTo>
                  <a:pt x="2273" y="694"/>
                </a:lnTo>
                <a:lnTo>
                  <a:pt x="2270" y="694"/>
                </a:lnTo>
                <a:lnTo>
                  <a:pt x="2267" y="693"/>
                </a:lnTo>
                <a:lnTo>
                  <a:pt x="2264" y="691"/>
                </a:lnTo>
                <a:lnTo>
                  <a:pt x="2262" y="687"/>
                </a:lnTo>
                <a:lnTo>
                  <a:pt x="2261" y="683"/>
                </a:lnTo>
                <a:lnTo>
                  <a:pt x="2261" y="678"/>
                </a:lnTo>
                <a:lnTo>
                  <a:pt x="2261" y="674"/>
                </a:lnTo>
                <a:lnTo>
                  <a:pt x="2267" y="659"/>
                </a:lnTo>
                <a:lnTo>
                  <a:pt x="2274" y="643"/>
                </a:lnTo>
                <a:lnTo>
                  <a:pt x="2274" y="633"/>
                </a:lnTo>
                <a:lnTo>
                  <a:pt x="2274" y="621"/>
                </a:lnTo>
                <a:lnTo>
                  <a:pt x="2273" y="616"/>
                </a:lnTo>
                <a:lnTo>
                  <a:pt x="2271" y="611"/>
                </a:lnTo>
                <a:lnTo>
                  <a:pt x="2267" y="609"/>
                </a:lnTo>
                <a:lnTo>
                  <a:pt x="2264" y="608"/>
                </a:lnTo>
                <a:lnTo>
                  <a:pt x="2248" y="616"/>
                </a:lnTo>
                <a:lnTo>
                  <a:pt x="2232" y="623"/>
                </a:lnTo>
                <a:lnTo>
                  <a:pt x="2218" y="624"/>
                </a:lnTo>
                <a:lnTo>
                  <a:pt x="2203" y="623"/>
                </a:lnTo>
                <a:lnTo>
                  <a:pt x="2189" y="622"/>
                </a:lnTo>
                <a:lnTo>
                  <a:pt x="2179" y="620"/>
                </a:lnTo>
                <a:lnTo>
                  <a:pt x="2171" y="614"/>
                </a:lnTo>
                <a:lnTo>
                  <a:pt x="2159" y="603"/>
                </a:lnTo>
                <a:lnTo>
                  <a:pt x="2148" y="592"/>
                </a:lnTo>
                <a:lnTo>
                  <a:pt x="2140" y="583"/>
                </a:lnTo>
                <a:lnTo>
                  <a:pt x="2136" y="579"/>
                </a:lnTo>
                <a:lnTo>
                  <a:pt x="2133" y="576"/>
                </a:lnTo>
                <a:lnTo>
                  <a:pt x="2129" y="573"/>
                </a:lnTo>
                <a:lnTo>
                  <a:pt x="2126" y="572"/>
                </a:lnTo>
                <a:lnTo>
                  <a:pt x="2122" y="572"/>
                </a:lnTo>
                <a:lnTo>
                  <a:pt x="2119" y="573"/>
                </a:lnTo>
                <a:lnTo>
                  <a:pt x="2115" y="577"/>
                </a:lnTo>
                <a:lnTo>
                  <a:pt x="2110" y="581"/>
                </a:lnTo>
                <a:lnTo>
                  <a:pt x="2102" y="596"/>
                </a:lnTo>
                <a:lnTo>
                  <a:pt x="2094" y="609"/>
                </a:lnTo>
                <a:lnTo>
                  <a:pt x="2089" y="615"/>
                </a:lnTo>
                <a:lnTo>
                  <a:pt x="2084" y="621"/>
                </a:lnTo>
                <a:lnTo>
                  <a:pt x="2078" y="625"/>
                </a:lnTo>
                <a:lnTo>
                  <a:pt x="2073" y="629"/>
                </a:lnTo>
                <a:lnTo>
                  <a:pt x="2063" y="635"/>
                </a:lnTo>
                <a:lnTo>
                  <a:pt x="2053" y="637"/>
                </a:lnTo>
                <a:lnTo>
                  <a:pt x="2050" y="637"/>
                </a:lnTo>
                <a:lnTo>
                  <a:pt x="2047" y="636"/>
                </a:lnTo>
                <a:lnTo>
                  <a:pt x="2045" y="635"/>
                </a:lnTo>
                <a:lnTo>
                  <a:pt x="2044" y="633"/>
                </a:lnTo>
                <a:lnTo>
                  <a:pt x="2043" y="624"/>
                </a:lnTo>
                <a:lnTo>
                  <a:pt x="2043" y="615"/>
                </a:lnTo>
                <a:lnTo>
                  <a:pt x="2044" y="604"/>
                </a:lnTo>
                <a:lnTo>
                  <a:pt x="2045" y="591"/>
                </a:lnTo>
                <a:lnTo>
                  <a:pt x="2044" y="586"/>
                </a:lnTo>
                <a:lnTo>
                  <a:pt x="2043" y="583"/>
                </a:lnTo>
                <a:lnTo>
                  <a:pt x="2040" y="579"/>
                </a:lnTo>
                <a:lnTo>
                  <a:pt x="2038" y="578"/>
                </a:lnTo>
                <a:lnTo>
                  <a:pt x="2034" y="578"/>
                </a:lnTo>
                <a:lnTo>
                  <a:pt x="2032" y="579"/>
                </a:lnTo>
                <a:lnTo>
                  <a:pt x="2028" y="580"/>
                </a:lnTo>
                <a:lnTo>
                  <a:pt x="2026" y="583"/>
                </a:lnTo>
                <a:lnTo>
                  <a:pt x="2022" y="587"/>
                </a:lnTo>
                <a:lnTo>
                  <a:pt x="2018" y="591"/>
                </a:lnTo>
                <a:lnTo>
                  <a:pt x="2015" y="592"/>
                </a:lnTo>
                <a:lnTo>
                  <a:pt x="2013" y="592"/>
                </a:lnTo>
                <a:lnTo>
                  <a:pt x="2010" y="591"/>
                </a:lnTo>
                <a:lnTo>
                  <a:pt x="2008" y="590"/>
                </a:lnTo>
                <a:lnTo>
                  <a:pt x="2004" y="584"/>
                </a:lnTo>
                <a:lnTo>
                  <a:pt x="2002" y="577"/>
                </a:lnTo>
                <a:lnTo>
                  <a:pt x="2000" y="567"/>
                </a:lnTo>
                <a:lnTo>
                  <a:pt x="1997" y="558"/>
                </a:lnTo>
                <a:lnTo>
                  <a:pt x="1994" y="547"/>
                </a:lnTo>
                <a:lnTo>
                  <a:pt x="1990" y="540"/>
                </a:lnTo>
                <a:lnTo>
                  <a:pt x="1987" y="535"/>
                </a:lnTo>
                <a:lnTo>
                  <a:pt x="1983" y="533"/>
                </a:lnTo>
                <a:lnTo>
                  <a:pt x="1978" y="530"/>
                </a:lnTo>
                <a:lnTo>
                  <a:pt x="1975" y="529"/>
                </a:lnTo>
                <a:lnTo>
                  <a:pt x="1972" y="527"/>
                </a:lnTo>
                <a:lnTo>
                  <a:pt x="1971" y="522"/>
                </a:lnTo>
                <a:lnTo>
                  <a:pt x="1971" y="516"/>
                </a:lnTo>
                <a:lnTo>
                  <a:pt x="1971" y="510"/>
                </a:lnTo>
                <a:lnTo>
                  <a:pt x="1970" y="504"/>
                </a:lnTo>
                <a:lnTo>
                  <a:pt x="1966" y="497"/>
                </a:lnTo>
                <a:lnTo>
                  <a:pt x="1964" y="494"/>
                </a:lnTo>
                <a:lnTo>
                  <a:pt x="1963" y="490"/>
                </a:lnTo>
                <a:lnTo>
                  <a:pt x="1962" y="486"/>
                </a:lnTo>
                <a:lnTo>
                  <a:pt x="1963" y="482"/>
                </a:lnTo>
                <a:lnTo>
                  <a:pt x="1964" y="472"/>
                </a:lnTo>
                <a:lnTo>
                  <a:pt x="1969" y="461"/>
                </a:lnTo>
                <a:lnTo>
                  <a:pt x="1971" y="457"/>
                </a:lnTo>
                <a:lnTo>
                  <a:pt x="1972" y="452"/>
                </a:lnTo>
                <a:lnTo>
                  <a:pt x="1972" y="447"/>
                </a:lnTo>
                <a:lnTo>
                  <a:pt x="1972" y="444"/>
                </a:lnTo>
                <a:lnTo>
                  <a:pt x="1970" y="439"/>
                </a:lnTo>
                <a:lnTo>
                  <a:pt x="1965" y="433"/>
                </a:lnTo>
                <a:lnTo>
                  <a:pt x="1960" y="427"/>
                </a:lnTo>
                <a:lnTo>
                  <a:pt x="1958" y="420"/>
                </a:lnTo>
                <a:lnTo>
                  <a:pt x="1957" y="415"/>
                </a:lnTo>
                <a:lnTo>
                  <a:pt x="1957" y="412"/>
                </a:lnTo>
                <a:lnTo>
                  <a:pt x="1958" y="409"/>
                </a:lnTo>
                <a:lnTo>
                  <a:pt x="1959" y="407"/>
                </a:lnTo>
                <a:lnTo>
                  <a:pt x="1964" y="401"/>
                </a:lnTo>
                <a:lnTo>
                  <a:pt x="1968" y="394"/>
                </a:lnTo>
                <a:lnTo>
                  <a:pt x="1970" y="390"/>
                </a:lnTo>
                <a:lnTo>
                  <a:pt x="1970" y="385"/>
                </a:lnTo>
                <a:lnTo>
                  <a:pt x="1971" y="381"/>
                </a:lnTo>
                <a:lnTo>
                  <a:pt x="1970" y="377"/>
                </a:lnTo>
                <a:lnTo>
                  <a:pt x="1966" y="365"/>
                </a:lnTo>
                <a:lnTo>
                  <a:pt x="1963" y="351"/>
                </a:lnTo>
                <a:lnTo>
                  <a:pt x="1960" y="345"/>
                </a:lnTo>
                <a:lnTo>
                  <a:pt x="1959" y="340"/>
                </a:lnTo>
                <a:lnTo>
                  <a:pt x="1957" y="339"/>
                </a:lnTo>
                <a:lnTo>
                  <a:pt x="1956" y="338"/>
                </a:lnTo>
                <a:lnTo>
                  <a:pt x="1952" y="338"/>
                </a:lnTo>
                <a:lnTo>
                  <a:pt x="1949" y="339"/>
                </a:lnTo>
                <a:lnTo>
                  <a:pt x="1939" y="341"/>
                </a:lnTo>
                <a:lnTo>
                  <a:pt x="1931" y="346"/>
                </a:lnTo>
                <a:lnTo>
                  <a:pt x="1915" y="360"/>
                </a:lnTo>
                <a:lnTo>
                  <a:pt x="1897" y="377"/>
                </a:lnTo>
                <a:lnTo>
                  <a:pt x="1894" y="379"/>
                </a:lnTo>
                <a:lnTo>
                  <a:pt x="1889" y="382"/>
                </a:lnTo>
                <a:lnTo>
                  <a:pt x="1884" y="384"/>
                </a:lnTo>
                <a:lnTo>
                  <a:pt x="1881" y="384"/>
                </a:lnTo>
                <a:lnTo>
                  <a:pt x="1873" y="385"/>
                </a:lnTo>
                <a:lnTo>
                  <a:pt x="1865" y="385"/>
                </a:lnTo>
                <a:lnTo>
                  <a:pt x="1861" y="385"/>
                </a:lnTo>
                <a:lnTo>
                  <a:pt x="1858" y="387"/>
                </a:lnTo>
                <a:lnTo>
                  <a:pt x="1855" y="390"/>
                </a:lnTo>
                <a:lnTo>
                  <a:pt x="1849" y="395"/>
                </a:lnTo>
                <a:lnTo>
                  <a:pt x="1846" y="397"/>
                </a:lnTo>
                <a:lnTo>
                  <a:pt x="1843" y="400"/>
                </a:lnTo>
                <a:lnTo>
                  <a:pt x="1838" y="401"/>
                </a:lnTo>
                <a:lnTo>
                  <a:pt x="1834" y="402"/>
                </a:lnTo>
                <a:lnTo>
                  <a:pt x="1831" y="403"/>
                </a:lnTo>
                <a:lnTo>
                  <a:pt x="1826" y="402"/>
                </a:lnTo>
                <a:lnTo>
                  <a:pt x="1823" y="401"/>
                </a:lnTo>
                <a:lnTo>
                  <a:pt x="1818" y="400"/>
                </a:lnTo>
                <a:lnTo>
                  <a:pt x="1813" y="397"/>
                </a:lnTo>
                <a:lnTo>
                  <a:pt x="1808" y="394"/>
                </a:lnTo>
                <a:lnTo>
                  <a:pt x="1804" y="390"/>
                </a:lnTo>
                <a:lnTo>
                  <a:pt x="1800" y="387"/>
                </a:lnTo>
                <a:lnTo>
                  <a:pt x="1794" y="377"/>
                </a:lnTo>
                <a:lnTo>
                  <a:pt x="1789" y="369"/>
                </a:lnTo>
                <a:lnTo>
                  <a:pt x="1785" y="360"/>
                </a:lnTo>
                <a:lnTo>
                  <a:pt x="1780" y="356"/>
                </a:lnTo>
                <a:lnTo>
                  <a:pt x="1773" y="352"/>
                </a:lnTo>
                <a:lnTo>
                  <a:pt x="1764" y="351"/>
                </a:lnTo>
                <a:lnTo>
                  <a:pt x="1758" y="351"/>
                </a:lnTo>
                <a:lnTo>
                  <a:pt x="1755" y="352"/>
                </a:lnTo>
                <a:lnTo>
                  <a:pt x="1751" y="353"/>
                </a:lnTo>
                <a:lnTo>
                  <a:pt x="1749" y="354"/>
                </a:lnTo>
                <a:lnTo>
                  <a:pt x="1744" y="359"/>
                </a:lnTo>
                <a:lnTo>
                  <a:pt x="1741" y="364"/>
                </a:lnTo>
                <a:lnTo>
                  <a:pt x="1738" y="368"/>
                </a:lnTo>
                <a:lnTo>
                  <a:pt x="1736" y="369"/>
                </a:lnTo>
                <a:lnTo>
                  <a:pt x="1733" y="370"/>
                </a:lnTo>
                <a:lnTo>
                  <a:pt x="1731" y="371"/>
                </a:lnTo>
                <a:lnTo>
                  <a:pt x="1725" y="370"/>
                </a:lnTo>
                <a:lnTo>
                  <a:pt x="1720" y="366"/>
                </a:lnTo>
                <a:lnTo>
                  <a:pt x="1717" y="363"/>
                </a:lnTo>
                <a:lnTo>
                  <a:pt x="1714" y="360"/>
                </a:lnTo>
                <a:lnTo>
                  <a:pt x="1708" y="357"/>
                </a:lnTo>
                <a:lnTo>
                  <a:pt x="1699" y="354"/>
                </a:lnTo>
                <a:lnTo>
                  <a:pt x="1693" y="353"/>
                </a:lnTo>
                <a:lnTo>
                  <a:pt x="1687" y="354"/>
                </a:lnTo>
                <a:lnTo>
                  <a:pt x="1681" y="356"/>
                </a:lnTo>
                <a:lnTo>
                  <a:pt x="1675" y="358"/>
                </a:lnTo>
                <a:lnTo>
                  <a:pt x="1662" y="364"/>
                </a:lnTo>
                <a:lnTo>
                  <a:pt x="1648" y="368"/>
                </a:lnTo>
                <a:lnTo>
                  <a:pt x="1634" y="372"/>
                </a:lnTo>
                <a:lnTo>
                  <a:pt x="1619" y="378"/>
                </a:lnTo>
                <a:lnTo>
                  <a:pt x="1613" y="381"/>
                </a:lnTo>
                <a:lnTo>
                  <a:pt x="1606" y="383"/>
                </a:lnTo>
                <a:lnTo>
                  <a:pt x="1600" y="384"/>
                </a:lnTo>
                <a:lnTo>
                  <a:pt x="1596" y="385"/>
                </a:lnTo>
                <a:lnTo>
                  <a:pt x="1584" y="384"/>
                </a:lnTo>
                <a:lnTo>
                  <a:pt x="1572" y="382"/>
                </a:lnTo>
                <a:lnTo>
                  <a:pt x="1556" y="381"/>
                </a:lnTo>
                <a:lnTo>
                  <a:pt x="1537" y="379"/>
                </a:lnTo>
                <a:lnTo>
                  <a:pt x="1516" y="381"/>
                </a:lnTo>
                <a:lnTo>
                  <a:pt x="1496" y="383"/>
                </a:lnTo>
                <a:lnTo>
                  <a:pt x="1479" y="387"/>
                </a:lnTo>
                <a:lnTo>
                  <a:pt x="1466" y="390"/>
                </a:lnTo>
                <a:lnTo>
                  <a:pt x="1456" y="391"/>
                </a:lnTo>
                <a:lnTo>
                  <a:pt x="1445" y="393"/>
                </a:lnTo>
                <a:lnTo>
                  <a:pt x="1439" y="391"/>
                </a:lnTo>
                <a:lnTo>
                  <a:pt x="1434" y="390"/>
                </a:lnTo>
                <a:lnTo>
                  <a:pt x="1428" y="389"/>
                </a:lnTo>
                <a:lnTo>
                  <a:pt x="1423" y="387"/>
                </a:lnTo>
                <a:lnTo>
                  <a:pt x="1411" y="379"/>
                </a:lnTo>
                <a:lnTo>
                  <a:pt x="1397" y="372"/>
                </a:lnTo>
                <a:lnTo>
                  <a:pt x="1384" y="366"/>
                </a:lnTo>
                <a:lnTo>
                  <a:pt x="1376" y="360"/>
                </a:lnTo>
                <a:lnTo>
                  <a:pt x="1370" y="356"/>
                </a:lnTo>
                <a:lnTo>
                  <a:pt x="1364" y="351"/>
                </a:lnTo>
                <a:lnTo>
                  <a:pt x="1354" y="349"/>
                </a:lnTo>
                <a:lnTo>
                  <a:pt x="1341" y="347"/>
                </a:lnTo>
                <a:lnTo>
                  <a:pt x="1334" y="347"/>
                </a:lnTo>
                <a:lnTo>
                  <a:pt x="1329" y="346"/>
                </a:lnTo>
                <a:lnTo>
                  <a:pt x="1325" y="345"/>
                </a:lnTo>
                <a:lnTo>
                  <a:pt x="1321" y="343"/>
                </a:lnTo>
                <a:lnTo>
                  <a:pt x="1315" y="337"/>
                </a:lnTo>
                <a:lnTo>
                  <a:pt x="1308" y="331"/>
                </a:lnTo>
                <a:lnTo>
                  <a:pt x="1298" y="325"/>
                </a:lnTo>
                <a:lnTo>
                  <a:pt x="1288" y="321"/>
                </a:lnTo>
                <a:lnTo>
                  <a:pt x="1276" y="319"/>
                </a:lnTo>
                <a:lnTo>
                  <a:pt x="1265" y="318"/>
                </a:lnTo>
                <a:lnTo>
                  <a:pt x="1260" y="316"/>
                </a:lnTo>
                <a:lnTo>
                  <a:pt x="1256" y="315"/>
                </a:lnTo>
                <a:lnTo>
                  <a:pt x="1251" y="313"/>
                </a:lnTo>
                <a:lnTo>
                  <a:pt x="1247" y="310"/>
                </a:lnTo>
                <a:lnTo>
                  <a:pt x="1241" y="302"/>
                </a:lnTo>
                <a:lnTo>
                  <a:pt x="1235" y="293"/>
                </a:lnTo>
                <a:lnTo>
                  <a:pt x="1233" y="289"/>
                </a:lnTo>
                <a:lnTo>
                  <a:pt x="1229" y="288"/>
                </a:lnTo>
                <a:lnTo>
                  <a:pt x="1225" y="287"/>
                </a:lnTo>
                <a:lnTo>
                  <a:pt x="1220" y="288"/>
                </a:lnTo>
                <a:lnTo>
                  <a:pt x="1208" y="290"/>
                </a:lnTo>
                <a:lnTo>
                  <a:pt x="1196" y="290"/>
                </a:lnTo>
                <a:lnTo>
                  <a:pt x="1187" y="289"/>
                </a:lnTo>
                <a:lnTo>
                  <a:pt x="1178" y="286"/>
                </a:lnTo>
                <a:lnTo>
                  <a:pt x="1170" y="281"/>
                </a:lnTo>
                <a:lnTo>
                  <a:pt x="1159" y="272"/>
                </a:lnTo>
                <a:lnTo>
                  <a:pt x="1149" y="262"/>
                </a:lnTo>
                <a:lnTo>
                  <a:pt x="1139" y="251"/>
                </a:lnTo>
                <a:lnTo>
                  <a:pt x="1132" y="242"/>
                </a:lnTo>
                <a:lnTo>
                  <a:pt x="1126" y="233"/>
                </a:lnTo>
                <a:lnTo>
                  <a:pt x="1121" y="225"/>
                </a:lnTo>
                <a:lnTo>
                  <a:pt x="1115" y="213"/>
                </a:lnTo>
                <a:lnTo>
                  <a:pt x="1114" y="207"/>
                </a:lnTo>
                <a:lnTo>
                  <a:pt x="1113" y="202"/>
                </a:lnTo>
                <a:lnTo>
                  <a:pt x="1113" y="198"/>
                </a:lnTo>
                <a:lnTo>
                  <a:pt x="1113" y="193"/>
                </a:lnTo>
                <a:lnTo>
                  <a:pt x="1114" y="189"/>
                </a:lnTo>
                <a:lnTo>
                  <a:pt x="1115" y="187"/>
                </a:lnTo>
                <a:lnTo>
                  <a:pt x="1115" y="183"/>
                </a:lnTo>
                <a:lnTo>
                  <a:pt x="1114" y="181"/>
                </a:lnTo>
                <a:lnTo>
                  <a:pt x="1113" y="179"/>
                </a:lnTo>
                <a:lnTo>
                  <a:pt x="1109" y="176"/>
                </a:lnTo>
                <a:lnTo>
                  <a:pt x="1106" y="175"/>
                </a:lnTo>
                <a:lnTo>
                  <a:pt x="1102" y="174"/>
                </a:lnTo>
                <a:lnTo>
                  <a:pt x="1090" y="170"/>
                </a:lnTo>
                <a:lnTo>
                  <a:pt x="1077" y="164"/>
                </a:lnTo>
                <a:lnTo>
                  <a:pt x="1064" y="157"/>
                </a:lnTo>
                <a:lnTo>
                  <a:pt x="1056" y="150"/>
                </a:lnTo>
                <a:lnTo>
                  <a:pt x="1052" y="146"/>
                </a:lnTo>
                <a:lnTo>
                  <a:pt x="1050" y="142"/>
                </a:lnTo>
                <a:lnTo>
                  <a:pt x="1049" y="136"/>
                </a:lnTo>
                <a:lnTo>
                  <a:pt x="1048" y="129"/>
                </a:lnTo>
                <a:lnTo>
                  <a:pt x="1046" y="117"/>
                </a:lnTo>
                <a:lnTo>
                  <a:pt x="1048" y="105"/>
                </a:lnTo>
                <a:lnTo>
                  <a:pt x="1048" y="100"/>
                </a:lnTo>
                <a:lnTo>
                  <a:pt x="1046" y="97"/>
                </a:lnTo>
                <a:lnTo>
                  <a:pt x="1045" y="93"/>
                </a:lnTo>
                <a:lnTo>
                  <a:pt x="1044" y="89"/>
                </a:lnTo>
                <a:lnTo>
                  <a:pt x="1042" y="87"/>
                </a:lnTo>
                <a:lnTo>
                  <a:pt x="1039" y="83"/>
                </a:lnTo>
                <a:lnTo>
                  <a:pt x="1036" y="82"/>
                </a:lnTo>
                <a:lnTo>
                  <a:pt x="1032" y="80"/>
                </a:lnTo>
                <a:lnTo>
                  <a:pt x="1024" y="76"/>
                </a:lnTo>
                <a:lnTo>
                  <a:pt x="1018" y="72"/>
                </a:lnTo>
                <a:lnTo>
                  <a:pt x="1013" y="67"/>
                </a:lnTo>
                <a:lnTo>
                  <a:pt x="1011" y="61"/>
                </a:lnTo>
                <a:lnTo>
                  <a:pt x="1008" y="54"/>
                </a:lnTo>
                <a:lnTo>
                  <a:pt x="1006" y="48"/>
                </a:lnTo>
                <a:lnTo>
                  <a:pt x="1002" y="42"/>
                </a:lnTo>
                <a:lnTo>
                  <a:pt x="996" y="36"/>
                </a:lnTo>
                <a:lnTo>
                  <a:pt x="981" y="24"/>
                </a:lnTo>
                <a:lnTo>
                  <a:pt x="962" y="9"/>
                </a:lnTo>
                <a:lnTo>
                  <a:pt x="952" y="1"/>
                </a:lnTo>
                <a:lnTo>
                  <a:pt x="949" y="0"/>
                </a:lnTo>
                <a:lnTo>
                  <a:pt x="945" y="4"/>
                </a:lnTo>
                <a:lnTo>
                  <a:pt x="939" y="12"/>
                </a:lnTo>
                <a:lnTo>
                  <a:pt x="935" y="18"/>
                </a:lnTo>
                <a:lnTo>
                  <a:pt x="931" y="19"/>
                </a:lnTo>
                <a:lnTo>
                  <a:pt x="927" y="19"/>
                </a:lnTo>
                <a:lnTo>
                  <a:pt x="923" y="17"/>
                </a:lnTo>
                <a:lnTo>
                  <a:pt x="919" y="16"/>
                </a:lnTo>
                <a:lnTo>
                  <a:pt x="916" y="17"/>
                </a:lnTo>
                <a:lnTo>
                  <a:pt x="911" y="18"/>
                </a:lnTo>
                <a:lnTo>
                  <a:pt x="907" y="19"/>
                </a:lnTo>
                <a:lnTo>
                  <a:pt x="899" y="25"/>
                </a:lnTo>
                <a:lnTo>
                  <a:pt x="889" y="32"/>
                </a:lnTo>
                <a:lnTo>
                  <a:pt x="873" y="43"/>
                </a:lnTo>
                <a:lnTo>
                  <a:pt x="861" y="50"/>
                </a:lnTo>
                <a:lnTo>
                  <a:pt x="860" y="53"/>
                </a:lnTo>
                <a:lnTo>
                  <a:pt x="857" y="54"/>
                </a:lnTo>
                <a:lnTo>
                  <a:pt x="855" y="54"/>
                </a:lnTo>
                <a:lnTo>
                  <a:pt x="851" y="55"/>
                </a:lnTo>
                <a:lnTo>
                  <a:pt x="849" y="54"/>
                </a:lnTo>
                <a:lnTo>
                  <a:pt x="847" y="53"/>
                </a:lnTo>
                <a:lnTo>
                  <a:pt x="844" y="51"/>
                </a:lnTo>
                <a:lnTo>
                  <a:pt x="842" y="48"/>
                </a:lnTo>
                <a:lnTo>
                  <a:pt x="839" y="44"/>
                </a:lnTo>
                <a:lnTo>
                  <a:pt x="836" y="42"/>
                </a:lnTo>
                <a:lnTo>
                  <a:pt x="834" y="42"/>
                </a:lnTo>
                <a:lnTo>
                  <a:pt x="829" y="43"/>
                </a:lnTo>
                <a:lnTo>
                  <a:pt x="824" y="43"/>
                </a:lnTo>
                <a:lnTo>
                  <a:pt x="820" y="41"/>
                </a:lnTo>
                <a:lnTo>
                  <a:pt x="819" y="36"/>
                </a:lnTo>
                <a:lnTo>
                  <a:pt x="817" y="26"/>
                </a:lnTo>
                <a:lnTo>
                  <a:pt x="816" y="16"/>
                </a:lnTo>
                <a:lnTo>
                  <a:pt x="812" y="9"/>
                </a:lnTo>
                <a:lnTo>
                  <a:pt x="809" y="5"/>
                </a:lnTo>
                <a:lnTo>
                  <a:pt x="805" y="1"/>
                </a:lnTo>
                <a:lnTo>
                  <a:pt x="803" y="1"/>
                </a:lnTo>
                <a:lnTo>
                  <a:pt x="800" y="1"/>
                </a:lnTo>
                <a:lnTo>
                  <a:pt x="798" y="1"/>
                </a:lnTo>
                <a:lnTo>
                  <a:pt x="796" y="3"/>
                </a:lnTo>
                <a:lnTo>
                  <a:pt x="790" y="7"/>
                </a:lnTo>
                <a:lnTo>
                  <a:pt x="785" y="13"/>
                </a:lnTo>
                <a:lnTo>
                  <a:pt x="779" y="18"/>
                </a:lnTo>
                <a:lnTo>
                  <a:pt x="773" y="22"/>
                </a:lnTo>
                <a:lnTo>
                  <a:pt x="766" y="24"/>
                </a:lnTo>
                <a:lnTo>
                  <a:pt x="756" y="26"/>
                </a:lnTo>
                <a:lnTo>
                  <a:pt x="744" y="26"/>
                </a:lnTo>
                <a:lnTo>
                  <a:pt x="734" y="28"/>
                </a:lnTo>
                <a:lnTo>
                  <a:pt x="722" y="30"/>
                </a:lnTo>
                <a:lnTo>
                  <a:pt x="708" y="34"/>
                </a:lnTo>
                <a:lnTo>
                  <a:pt x="700" y="35"/>
                </a:lnTo>
                <a:lnTo>
                  <a:pt x="694" y="36"/>
                </a:lnTo>
                <a:lnTo>
                  <a:pt x="689" y="35"/>
                </a:lnTo>
                <a:lnTo>
                  <a:pt x="684" y="34"/>
                </a:lnTo>
                <a:lnTo>
                  <a:pt x="675" y="30"/>
                </a:lnTo>
                <a:lnTo>
                  <a:pt x="667" y="25"/>
                </a:lnTo>
                <a:lnTo>
                  <a:pt x="664" y="22"/>
                </a:lnTo>
                <a:lnTo>
                  <a:pt x="658" y="19"/>
                </a:lnTo>
                <a:lnTo>
                  <a:pt x="652" y="18"/>
                </a:lnTo>
                <a:lnTo>
                  <a:pt x="646" y="17"/>
                </a:lnTo>
                <a:lnTo>
                  <a:pt x="633" y="16"/>
                </a:lnTo>
                <a:lnTo>
                  <a:pt x="622" y="17"/>
                </a:lnTo>
                <a:lnTo>
                  <a:pt x="611" y="18"/>
                </a:lnTo>
                <a:lnTo>
                  <a:pt x="598" y="18"/>
                </a:lnTo>
                <a:lnTo>
                  <a:pt x="583" y="17"/>
                </a:lnTo>
                <a:lnTo>
                  <a:pt x="568" y="13"/>
                </a:lnTo>
                <a:lnTo>
                  <a:pt x="553" y="10"/>
                </a:lnTo>
                <a:lnTo>
                  <a:pt x="538" y="7"/>
                </a:lnTo>
                <a:lnTo>
                  <a:pt x="523" y="7"/>
                </a:lnTo>
                <a:lnTo>
                  <a:pt x="516" y="7"/>
                </a:lnTo>
                <a:lnTo>
                  <a:pt x="510" y="5"/>
                </a:lnTo>
                <a:lnTo>
                  <a:pt x="501" y="3"/>
                </a:lnTo>
                <a:lnTo>
                  <a:pt x="495" y="1"/>
                </a:lnTo>
                <a:lnTo>
                  <a:pt x="489" y="0"/>
                </a:lnTo>
                <a:lnTo>
                  <a:pt x="483" y="1"/>
                </a:lnTo>
                <a:lnTo>
                  <a:pt x="477" y="3"/>
                </a:lnTo>
                <a:lnTo>
                  <a:pt x="467" y="5"/>
                </a:lnTo>
                <a:lnTo>
                  <a:pt x="459" y="7"/>
                </a:lnTo>
                <a:lnTo>
                  <a:pt x="451" y="7"/>
                </a:lnTo>
                <a:lnTo>
                  <a:pt x="441" y="7"/>
                </a:lnTo>
                <a:lnTo>
                  <a:pt x="435" y="7"/>
                </a:lnTo>
                <a:lnTo>
                  <a:pt x="431" y="9"/>
                </a:lnTo>
                <a:lnTo>
                  <a:pt x="425" y="11"/>
                </a:lnTo>
                <a:lnTo>
                  <a:pt x="420" y="15"/>
                </a:lnTo>
                <a:lnTo>
                  <a:pt x="412" y="20"/>
                </a:lnTo>
                <a:lnTo>
                  <a:pt x="406" y="28"/>
                </a:lnTo>
                <a:lnTo>
                  <a:pt x="404" y="31"/>
                </a:lnTo>
                <a:lnTo>
                  <a:pt x="402" y="34"/>
                </a:lnTo>
                <a:lnTo>
                  <a:pt x="402" y="37"/>
                </a:lnTo>
                <a:lnTo>
                  <a:pt x="402" y="41"/>
                </a:lnTo>
                <a:lnTo>
                  <a:pt x="403" y="44"/>
                </a:lnTo>
                <a:lnTo>
                  <a:pt x="404" y="48"/>
                </a:lnTo>
                <a:lnTo>
                  <a:pt x="408" y="50"/>
                </a:lnTo>
                <a:lnTo>
                  <a:pt x="413" y="51"/>
                </a:lnTo>
                <a:lnTo>
                  <a:pt x="427" y="55"/>
                </a:lnTo>
                <a:lnTo>
                  <a:pt x="446" y="57"/>
                </a:lnTo>
                <a:lnTo>
                  <a:pt x="465" y="60"/>
                </a:lnTo>
                <a:lnTo>
                  <a:pt x="480" y="62"/>
                </a:lnTo>
                <a:lnTo>
                  <a:pt x="488" y="63"/>
                </a:lnTo>
                <a:lnTo>
                  <a:pt x="494" y="66"/>
                </a:lnTo>
                <a:lnTo>
                  <a:pt x="500" y="69"/>
                </a:lnTo>
                <a:lnTo>
                  <a:pt x="505" y="73"/>
                </a:lnTo>
                <a:lnTo>
                  <a:pt x="510" y="78"/>
                </a:lnTo>
                <a:lnTo>
                  <a:pt x="514" y="81"/>
                </a:lnTo>
                <a:lnTo>
                  <a:pt x="516" y="86"/>
                </a:lnTo>
                <a:lnTo>
                  <a:pt x="517" y="91"/>
                </a:lnTo>
                <a:lnTo>
                  <a:pt x="519" y="101"/>
                </a:lnTo>
                <a:lnTo>
                  <a:pt x="519" y="118"/>
                </a:lnTo>
                <a:lnTo>
                  <a:pt x="517" y="136"/>
                </a:lnTo>
                <a:lnTo>
                  <a:pt x="517" y="152"/>
                </a:lnTo>
                <a:lnTo>
                  <a:pt x="517" y="160"/>
                </a:lnTo>
                <a:lnTo>
                  <a:pt x="519" y="164"/>
                </a:lnTo>
                <a:lnTo>
                  <a:pt x="521" y="167"/>
                </a:lnTo>
                <a:lnTo>
                  <a:pt x="523" y="168"/>
                </a:lnTo>
                <a:lnTo>
                  <a:pt x="529" y="169"/>
                </a:lnTo>
                <a:lnTo>
                  <a:pt x="535" y="167"/>
                </a:lnTo>
                <a:lnTo>
                  <a:pt x="547" y="163"/>
                </a:lnTo>
                <a:lnTo>
                  <a:pt x="560" y="160"/>
                </a:lnTo>
                <a:lnTo>
                  <a:pt x="566" y="160"/>
                </a:lnTo>
                <a:lnTo>
                  <a:pt x="571" y="161"/>
                </a:lnTo>
                <a:lnTo>
                  <a:pt x="574" y="163"/>
                </a:lnTo>
                <a:lnTo>
                  <a:pt x="577" y="165"/>
                </a:lnTo>
                <a:lnTo>
                  <a:pt x="580" y="168"/>
                </a:lnTo>
                <a:lnTo>
                  <a:pt x="585" y="171"/>
                </a:lnTo>
                <a:lnTo>
                  <a:pt x="592" y="173"/>
                </a:lnTo>
                <a:lnTo>
                  <a:pt x="601" y="174"/>
                </a:lnTo>
                <a:lnTo>
                  <a:pt x="610" y="173"/>
                </a:lnTo>
                <a:lnTo>
                  <a:pt x="620" y="173"/>
                </a:lnTo>
                <a:lnTo>
                  <a:pt x="628" y="175"/>
                </a:lnTo>
                <a:lnTo>
                  <a:pt x="634" y="177"/>
                </a:lnTo>
                <a:lnTo>
                  <a:pt x="643" y="186"/>
                </a:lnTo>
                <a:lnTo>
                  <a:pt x="652" y="192"/>
                </a:lnTo>
                <a:lnTo>
                  <a:pt x="656" y="195"/>
                </a:lnTo>
                <a:lnTo>
                  <a:pt x="658" y="198"/>
                </a:lnTo>
                <a:lnTo>
                  <a:pt x="658" y="202"/>
                </a:lnTo>
                <a:lnTo>
                  <a:pt x="658" y="208"/>
                </a:lnTo>
                <a:lnTo>
                  <a:pt x="656" y="218"/>
                </a:lnTo>
                <a:lnTo>
                  <a:pt x="658" y="228"/>
                </a:lnTo>
                <a:lnTo>
                  <a:pt x="662" y="247"/>
                </a:lnTo>
                <a:lnTo>
                  <a:pt x="668" y="263"/>
                </a:lnTo>
                <a:lnTo>
                  <a:pt x="670" y="272"/>
                </a:lnTo>
                <a:lnTo>
                  <a:pt x="668" y="280"/>
                </a:lnTo>
                <a:lnTo>
                  <a:pt x="666" y="282"/>
                </a:lnTo>
                <a:lnTo>
                  <a:pt x="664" y="284"/>
                </a:lnTo>
                <a:lnTo>
                  <a:pt x="661" y="284"/>
                </a:lnTo>
                <a:lnTo>
                  <a:pt x="656" y="284"/>
                </a:lnTo>
                <a:lnTo>
                  <a:pt x="649" y="284"/>
                </a:lnTo>
                <a:lnTo>
                  <a:pt x="645" y="286"/>
                </a:lnTo>
                <a:lnTo>
                  <a:pt x="641" y="289"/>
                </a:lnTo>
                <a:lnTo>
                  <a:pt x="637" y="294"/>
                </a:lnTo>
                <a:lnTo>
                  <a:pt x="631" y="300"/>
                </a:lnTo>
                <a:lnTo>
                  <a:pt x="624" y="306"/>
                </a:lnTo>
                <a:lnTo>
                  <a:pt x="616" y="313"/>
                </a:lnTo>
                <a:lnTo>
                  <a:pt x="609" y="318"/>
                </a:lnTo>
                <a:lnTo>
                  <a:pt x="605" y="319"/>
                </a:lnTo>
                <a:lnTo>
                  <a:pt x="602" y="318"/>
                </a:lnTo>
                <a:lnTo>
                  <a:pt x="597" y="315"/>
                </a:lnTo>
                <a:lnTo>
                  <a:pt x="592" y="313"/>
                </a:lnTo>
                <a:lnTo>
                  <a:pt x="583" y="305"/>
                </a:lnTo>
                <a:lnTo>
                  <a:pt x="574" y="296"/>
                </a:lnTo>
                <a:lnTo>
                  <a:pt x="570" y="294"/>
                </a:lnTo>
                <a:lnTo>
                  <a:pt x="566" y="291"/>
                </a:lnTo>
                <a:lnTo>
                  <a:pt x="563" y="291"/>
                </a:lnTo>
                <a:lnTo>
                  <a:pt x="559" y="291"/>
                </a:lnTo>
                <a:lnTo>
                  <a:pt x="552" y="294"/>
                </a:lnTo>
                <a:lnTo>
                  <a:pt x="546" y="299"/>
                </a:lnTo>
                <a:lnTo>
                  <a:pt x="540" y="303"/>
                </a:lnTo>
                <a:lnTo>
                  <a:pt x="535" y="306"/>
                </a:lnTo>
                <a:lnTo>
                  <a:pt x="530" y="305"/>
                </a:lnTo>
                <a:lnTo>
                  <a:pt x="523" y="302"/>
                </a:lnTo>
                <a:lnTo>
                  <a:pt x="515" y="300"/>
                </a:lnTo>
                <a:lnTo>
                  <a:pt x="505" y="300"/>
                </a:lnTo>
                <a:lnTo>
                  <a:pt x="496" y="300"/>
                </a:lnTo>
                <a:lnTo>
                  <a:pt x="488" y="299"/>
                </a:lnTo>
                <a:lnTo>
                  <a:pt x="482" y="297"/>
                </a:lnTo>
                <a:lnTo>
                  <a:pt x="475" y="297"/>
                </a:lnTo>
                <a:lnTo>
                  <a:pt x="471" y="297"/>
                </a:lnTo>
                <a:lnTo>
                  <a:pt x="469" y="299"/>
                </a:lnTo>
                <a:lnTo>
                  <a:pt x="465" y="301"/>
                </a:lnTo>
                <a:lnTo>
                  <a:pt x="461" y="303"/>
                </a:lnTo>
                <a:lnTo>
                  <a:pt x="456" y="312"/>
                </a:lnTo>
                <a:lnTo>
                  <a:pt x="450" y="322"/>
                </a:lnTo>
                <a:lnTo>
                  <a:pt x="447" y="328"/>
                </a:lnTo>
                <a:lnTo>
                  <a:pt x="445" y="335"/>
                </a:lnTo>
                <a:lnTo>
                  <a:pt x="444" y="341"/>
                </a:lnTo>
                <a:lnTo>
                  <a:pt x="444" y="349"/>
                </a:lnTo>
                <a:lnTo>
                  <a:pt x="444" y="354"/>
                </a:lnTo>
                <a:lnTo>
                  <a:pt x="442" y="360"/>
                </a:lnTo>
                <a:lnTo>
                  <a:pt x="441" y="364"/>
                </a:lnTo>
                <a:lnTo>
                  <a:pt x="440" y="368"/>
                </a:lnTo>
                <a:lnTo>
                  <a:pt x="437" y="372"/>
                </a:lnTo>
                <a:lnTo>
                  <a:pt x="432" y="376"/>
                </a:lnTo>
                <a:lnTo>
                  <a:pt x="426" y="382"/>
                </a:lnTo>
                <a:lnTo>
                  <a:pt x="421" y="390"/>
                </a:lnTo>
                <a:lnTo>
                  <a:pt x="419" y="396"/>
                </a:lnTo>
                <a:lnTo>
                  <a:pt x="416" y="403"/>
                </a:lnTo>
                <a:lnTo>
                  <a:pt x="416" y="409"/>
                </a:lnTo>
                <a:lnTo>
                  <a:pt x="416" y="417"/>
                </a:lnTo>
                <a:lnTo>
                  <a:pt x="417" y="425"/>
                </a:lnTo>
                <a:lnTo>
                  <a:pt x="420" y="431"/>
                </a:lnTo>
                <a:lnTo>
                  <a:pt x="423" y="435"/>
                </a:lnTo>
                <a:lnTo>
                  <a:pt x="427" y="440"/>
                </a:lnTo>
                <a:lnTo>
                  <a:pt x="435" y="446"/>
                </a:lnTo>
                <a:lnTo>
                  <a:pt x="442" y="452"/>
                </a:lnTo>
                <a:lnTo>
                  <a:pt x="445" y="455"/>
                </a:lnTo>
                <a:lnTo>
                  <a:pt x="447" y="460"/>
                </a:lnTo>
                <a:lnTo>
                  <a:pt x="448" y="466"/>
                </a:lnTo>
                <a:lnTo>
                  <a:pt x="450" y="475"/>
                </a:lnTo>
                <a:lnTo>
                  <a:pt x="451" y="490"/>
                </a:lnTo>
                <a:lnTo>
                  <a:pt x="452" y="508"/>
                </a:lnTo>
                <a:lnTo>
                  <a:pt x="451" y="530"/>
                </a:lnTo>
                <a:lnTo>
                  <a:pt x="450" y="560"/>
                </a:lnTo>
                <a:lnTo>
                  <a:pt x="450" y="576"/>
                </a:lnTo>
                <a:lnTo>
                  <a:pt x="451" y="591"/>
                </a:lnTo>
                <a:lnTo>
                  <a:pt x="451" y="604"/>
                </a:lnTo>
                <a:lnTo>
                  <a:pt x="453" y="615"/>
                </a:lnTo>
                <a:lnTo>
                  <a:pt x="454" y="627"/>
                </a:lnTo>
                <a:lnTo>
                  <a:pt x="454" y="637"/>
                </a:lnTo>
                <a:lnTo>
                  <a:pt x="452" y="646"/>
                </a:lnTo>
                <a:lnTo>
                  <a:pt x="448" y="654"/>
                </a:lnTo>
                <a:lnTo>
                  <a:pt x="444" y="662"/>
                </a:lnTo>
                <a:lnTo>
                  <a:pt x="440" y="667"/>
                </a:lnTo>
                <a:lnTo>
                  <a:pt x="440" y="668"/>
                </a:lnTo>
                <a:lnTo>
                  <a:pt x="442" y="669"/>
                </a:lnTo>
                <a:lnTo>
                  <a:pt x="446" y="669"/>
                </a:lnTo>
                <a:lnTo>
                  <a:pt x="451" y="668"/>
                </a:lnTo>
                <a:lnTo>
                  <a:pt x="457" y="668"/>
                </a:lnTo>
                <a:lnTo>
                  <a:pt x="463" y="669"/>
                </a:lnTo>
                <a:lnTo>
                  <a:pt x="469" y="671"/>
                </a:lnTo>
                <a:lnTo>
                  <a:pt x="476" y="672"/>
                </a:lnTo>
                <a:lnTo>
                  <a:pt x="482" y="675"/>
                </a:lnTo>
                <a:lnTo>
                  <a:pt x="488" y="678"/>
                </a:lnTo>
                <a:lnTo>
                  <a:pt x="491" y="680"/>
                </a:lnTo>
                <a:lnTo>
                  <a:pt x="495" y="684"/>
                </a:lnTo>
                <a:lnTo>
                  <a:pt x="496" y="688"/>
                </a:lnTo>
                <a:lnTo>
                  <a:pt x="498" y="697"/>
                </a:lnTo>
                <a:lnTo>
                  <a:pt x="498" y="705"/>
                </a:lnTo>
                <a:lnTo>
                  <a:pt x="500" y="716"/>
                </a:lnTo>
                <a:lnTo>
                  <a:pt x="500" y="725"/>
                </a:lnTo>
                <a:lnTo>
                  <a:pt x="501" y="735"/>
                </a:lnTo>
                <a:lnTo>
                  <a:pt x="502" y="742"/>
                </a:lnTo>
                <a:lnTo>
                  <a:pt x="504" y="747"/>
                </a:lnTo>
                <a:lnTo>
                  <a:pt x="508" y="749"/>
                </a:lnTo>
                <a:lnTo>
                  <a:pt x="511" y="750"/>
                </a:lnTo>
                <a:lnTo>
                  <a:pt x="517" y="753"/>
                </a:lnTo>
                <a:lnTo>
                  <a:pt x="523" y="754"/>
                </a:lnTo>
                <a:lnTo>
                  <a:pt x="534" y="755"/>
                </a:lnTo>
                <a:lnTo>
                  <a:pt x="542" y="755"/>
                </a:lnTo>
                <a:lnTo>
                  <a:pt x="548" y="755"/>
                </a:lnTo>
                <a:lnTo>
                  <a:pt x="555" y="756"/>
                </a:lnTo>
                <a:lnTo>
                  <a:pt x="564" y="757"/>
                </a:lnTo>
                <a:lnTo>
                  <a:pt x="571" y="761"/>
                </a:lnTo>
                <a:lnTo>
                  <a:pt x="587" y="775"/>
                </a:lnTo>
                <a:lnTo>
                  <a:pt x="605" y="793"/>
                </a:lnTo>
                <a:lnTo>
                  <a:pt x="608" y="795"/>
                </a:lnTo>
                <a:lnTo>
                  <a:pt x="611" y="798"/>
                </a:lnTo>
                <a:lnTo>
                  <a:pt x="614" y="799"/>
                </a:lnTo>
                <a:lnTo>
                  <a:pt x="617" y="799"/>
                </a:lnTo>
                <a:lnTo>
                  <a:pt x="626" y="799"/>
                </a:lnTo>
                <a:lnTo>
                  <a:pt x="635" y="798"/>
                </a:lnTo>
                <a:lnTo>
                  <a:pt x="640" y="798"/>
                </a:lnTo>
                <a:lnTo>
                  <a:pt x="645" y="800"/>
                </a:lnTo>
                <a:lnTo>
                  <a:pt x="649" y="804"/>
                </a:lnTo>
                <a:lnTo>
                  <a:pt x="653" y="809"/>
                </a:lnTo>
                <a:lnTo>
                  <a:pt x="656" y="814"/>
                </a:lnTo>
                <a:lnTo>
                  <a:pt x="659" y="822"/>
                </a:lnTo>
                <a:lnTo>
                  <a:pt x="661" y="829"/>
                </a:lnTo>
                <a:lnTo>
                  <a:pt x="664" y="837"/>
                </a:lnTo>
                <a:lnTo>
                  <a:pt x="666" y="860"/>
                </a:lnTo>
                <a:lnTo>
                  <a:pt x="666" y="885"/>
                </a:lnTo>
                <a:lnTo>
                  <a:pt x="665" y="896"/>
                </a:lnTo>
                <a:lnTo>
                  <a:pt x="664" y="907"/>
                </a:lnTo>
                <a:lnTo>
                  <a:pt x="661" y="917"/>
                </a:lnTo>
                <a:lnTo>
                  <a:pt x="658" y="925"/>
                </a:lnTo>
                <a:lnTo>
                  <a:pt x="654" y="931"/>
                </a:lnTo>
                <a:lnTo>
                  <a:pt x="652" y="937"/>
                </a:lnTo>
                <a:lnTo>
                  <a:pt x="652" y="943"/>
                </a:lnTo>
                <a:lnTo>
                  <a:pt x="652" y="949"/>
                </a:lnTo>
                <a:lnTo>
                  <a:pt x="653" y="961"/>
                </a:lnTo>
                <a:lnTo>
                  <a:pt x="656" y="970"/>
                </a:lnTo>
                <a:lnTo>
                  <a:pt x="659" y="980"/>
                </a:lnTo>
                <a:lnTo>
                  <a:pt x="660" y="992"/>
                </a:lnTo>
                <a:lnTo>
                  <a:pt x="660" y="1003"/>
                </a:lnTo>
                <a:lnTo>
                  <a:pt x="656" y="1015"/>
                </a:lnTo>
                <a:lnTo>
                  <a:pt x="652" y="1027"/>
                </a:lnTo>
                <a:lnTo>
                  <a:pt x="645" y="1039"/>
                </a:lnTo>
                <a:lnTo>
                  <a:pt x="641" y="1045"/>
                </a:lnTo>
                <a:lnTo>
                  <a:pt x="636" y="1050"/>
                </a:lnTo>
                <a:lnTo>
                  <a:pt x="631" y="1055"/>
                </a:lnTo>
                <a:lnTo>
                  <a:pt x="626" y="1058"/>
                </a:lnTo>
                <a:lnTo>
                  <a:pt x="621" y="1060"/>
                </a:lnTo>
                <a:lnTo>
                  <a:pt x="617" y="1063"/>
                </a:lnTo>
                <a:lnTo>
                  <a:pt x="612" y="1063"/>
                </a:lnTo>
                <a:lnTo>
                  <a:pt x="609" y="1063"/>
                </a:lnTo>
                <a:lnTo>
                  <a:pt x="605" y="1062"/>
                </a:lnTo>
                <a:lnTo>
                  <a:pt x="602" y="1059"/>
                </a:lnTo>
                <a:lnTo>
                  <a:pt x="598" y="1056"/>
                </a:lnTo>
                <a:lnTo>
                  <a:pt x="593" y="1051"/>
                </a:lnTo>
                <a:lnTo>
                  <a:pt x="587" y="1047"/>
                </a:lnTo>
                <a:lnTo>
                  <a:pt x="580" y="1044"/>
                </a:lnTo>
                <a:lnTo>
                  <a:pt x="572" y="1041"/>
                </a:lnTo>
                <a:lnTo>
                  <a:pt x="564" y="1041"/>
                </a:lnTo>
                <a:lnTo>
                  <a:pt x="553" y="1041"/>
                </a:lnTo>
                <a:lnTo>
                  <a:pt x="543" y="1043"/>
                </a:lnTo>
                <a:lnTo>
                  <a:pt x="533" y="1045"/>
                </a:lnTo>
                <a:lnTo>
                  <a:pt x="522" y="1050"/>
                </a:lnTo>
                <a:lnTo>
                  <a:pt x="513" y="1055"/>
                </a:lnTo>
                <a:lnTo>
                  <a:pt x="504" y="1060"/>
                </a:lnTo>
                <a:lnTo>
                  <a:pt x="496" y="1068"/>
                </a:lnTo>
                <a:lnTo>
                  <a:pt x="489" y="1075"/>
                </a:lnTo>
                <a:lnTo>
                  <a:pt x="477" y="1089"/>
                </a:lnTo>
                <a:lnTo>
                  <a:pt x="470" y="1101"/>
                </a:lnTo>
                <a:lnTo>
                  <a:pt x="464" y="1110"/>
                </a:lnTo>
                <a:lnTo>
                  <a:pt x="457" y="1119"/>
                </a:lnTo>
                <a:lnTo>
                  <a:pt x="453" y="1121"/>
                </a:lnTo>
                <a:lnTo>
                  <a:pt x="450" y="1125"/>
                </a:lnTo>
                <a:lnTo>
                  <a:pt x="446" y="1126"/>
                </a:lnTo>
                <a:lnTo>
                  <a:pt x="442" y="1127"/>
                </a:lnTo>
                <a:lnTo>
                  <a:pt x="435" y="1128"/>
                </a:lnTo>
                <a:lnTo>
                  <a:pt x="428" y="1132"/>
                </a:lnTo>
                <a:lnTo>
                  <a:pt x="420" y="1137"/>
                </a:lnTo>
                <a:lnTo>
                  <a:pt x="410" y="1144"/>
                </a:lnTo>
                <a:lnTo>
                  <a:pt x="400" y="1156"/>
                </a:lnTo>
                <a:lnTo>
                  <a:pt x="390" y="1167"/>
                </a:lnTo>
                <a:lnTo>
                  <a:pt x="382" y="1181"/>
                </a:lnTo>
                <a:lnTo>
                  <a:pt x="378" y="1192"/>
                </a:lnTo>
                <a:lnTo>
                  <a:pt x="376" y="1197"/>
                </a:lnTo>
                <a:lnTo>
                  <a:pt x="375" y="1201"/>
                </a:lnTo>
                <a:lnTo>
                  <a:pt x="372" y="1203"/>
                </a:lnTo>
                <a:lnTo>
                  <a:pt x="370" y="1205"/>
                </a:lnTo>
                <a:lnTo>
                  <a:pt x="369" y="1205"/>
                </a:lnTo>
                <a:lnTo>
                  <a:pt x="366" y="1205"/>
                </a:lnTo>
                <a:lnTo>
                  <a:pt x="364" y="1204"/>
                </a:lnTo>
                <a:lnTo>
                  <a:pt x="363" y="1202"/>
                </a:lnTo>
                <a:lnTo>
                  <a:pt x="360" y="1197"/>
                </a:lnTo>
                <a:lnTo>
                  <a:pt x="358" y="1189"/>
                </a:lnTo>
                <a:lnTo>
                  <a:pt x="356" y="1181"/>
                </a:lnTo>
                <a:lnTo>
                  <a:pt x="356" y="1171"/>
                </a:lnTo>
                <a:lnTo>
                  <a:pt x="354" y="1163"/>
                </a:lnTo>
                <a:lnTo>
                  <a:pt x="352" y="1157"/>
                </a:lnTo>
                <a:lnTo>
                  <a:pt x="351" y="1154"/>
                </a:lnTo>
                <a:lnTo>
                  <a:pt x="349" y="1153"/>
                </a:lnTo>
                <a:lnTo>
                  <a:pt x="346" y="1152"/>
                </a:lnTo>
                <a:lnTo>
                  <a:pt x="344" y="1152"/>
                </a:lnTo>
                <a:lnTo>
                  <a:pt x="338" y="1153"/>
                </a:lnTo>
                <a:lnTo>
                  <a:pt x="332" y="1156"/>
                </a:lnTo>
                <a:lnTo>
                  <a:pt x="326" y="1162"/>
                </a:lnTo>
                <a:lnTo>
                  <a:pt x="319" y="1169"/>
                </a:lnTo>
                <a:lnTo>
                  <a:pt x="310" y="1176"/>
                </a:lnTo>
                <a:lnTo>
                  <a:pt x="303" y="1182"/>
                </a:lnTo>
                <a:lnTo>
                  <a:pt x="299" y="1184"/>
                </a:lnTo>
                <a:lnTo>
                  <a:pt x="295" y="1185"/>
                </a:lnTo>
                <a:lnTo>
                  <a:pt x="291" y="1185"/>
                </a:lnTo>
                <a:lnTo>
                  <a:pt x="287" y="1184"/>
                </a:lnTo>
                <a:lnTo>
                  <a:pt x="283" y="1183"/>
                </a:lnTo>
                <a:lnTo>
                  <a:pt x="280" y="1181"/>
                </a:lnTo>
                <a:lnTo>
                  <a:pt x="277" y="1178"/>
                </a:lnTo>
                <a:lnTo>
                  <a:pt x="275" y="1175"/>
                </a:lnTo>
                <a:lnTo>
                  <a:pt x="270" y="1166"/>
                </a:lnTo>
                <a:lnTo>
                  <a:pt x="264" y="1153"/>
                </a:lnTo>
                <a:lnTo>
                  <a:pt x="262" y="1147"/>
                </a:lnTo>
                <a:lnTo>
                  <a:pt x="257" y="1143"/>
                </a:lnTo>
                <a:lnTo>
                  <a:pt x="252" y="1139"/>
                </a:lnTo>
                <a:lnTo>
                  <a:pt x="247" y="1137"/>
                </a:lnTo>
                <a:lnTo>
                  <a:pt x="243" y="1135"/>
                </a:lnTo>
                <a:lnTo>
                  <a:pt x="238" y="1135"/>
                </a:lnTo>
                <a:lnTo>
                  <a:pt x="233" y="1135"/>
                </a:lnTo>
                <a:lnTo>
                  <a:pt x="228" y="1137"/>
                </a:lnTo>
                <a:lnTo>
                  <a:pt x="224" y="1140"/>
                </a:lnTo>
                <a:lnTo>
                  <a:pt x="219" y="1144"/>
                </a:lnTo>
                <a:lnTo>
                  <a:pt x="213" y="1150"/>
                </a:lnTo>
                <a:lnTo>
                  <a:pt x="208" y="1156"/>
                </a:lnTo>
                <a:lnTo>
                  <a:pt x="196" y="1171"/>
                </a:lnTo>
                <a:lnTo>
                  <a:pt x="186" y="1185"/>
                </a:lnTo>
                <a:lnTo>
                  <a:pt x="180" y="1192"/>
                </a:lnTo>
                <a:lnTo>
                  <a:pt x="174" y="1197"/>
                </a:lnTo>
                <a:lnTo>
                  <a:pt x="169" y="1202"/>
                </a:lnTo>
                <a:lnTo>
                  <a:pt x="164" y="1204"/>
                </a:lnTo>
                <a:lnTo>
                  <a:pt x="160" y="1207"/>
                </a:lnTo>
                <a:lnTo>
                  <a:pt x="155" y="1207"/>
                </a:lnTo>
                <a:lnTo>
                  <a:pt x="150" y="1207"/>
                </a:lnTo>
                <a:lnTo>
                  <a:pt x="146" y="1207"/>
                </a:lnTo>
                <a:lnTo>
                  <a:pt x="143" y="1205"/>
                </a:lnTo>
                <a:lnTo>
                  <a:pt x="138" y="1203"/>
                </a:lnTo>
                <a:lnTo>
                  <a:pt x="135" y="1200"/>
                </a:lnTo>
                <a:lnTo>
                  <a:pt x="131" y="1196"/>
                </a:lnTo>
                <a:lnTo>
                  <a:pt x="124" y="1189"/>
                </a:lnTo>
                <a:lnTo>
                  <a:pt x="119" y="1181"/>
                </a:lnTo>
                <a:lnTo>
                  <a:pt x="114" y="1173"/>
                </a:lnTo>
                <a:lnTo>
                  <a:pt x="110" y="1167"/>
                </a:lnTo>
                <a:lnTo>
                  <a:pt x="107" y="1165"/>
                </a:lnTo>
                <a:lnTo>
                  <a:pt x="105" y="1164"/>
                </a:lnTo>
                <a:lnTo>
                  <a:pt x="104" y="1164"/>
                </a:lnTo>
                <a:lnTo>
                  <a:pt x="101" y="1166"/>
                </a:lnTo>
                <a:lnTo>
                  <a:pt x="98" y="1173"/>
                </a:lnTo>
                <a:lnTo>
                  <a:pt x="95" y="1183"/>
                </a:lnTo>
                <a:lnTo>
                  <a:pt x="93" y="1192"/>
                </a:lnTo>
                <a:lnTo>
                  <a:pt x="88" y="1203"/>
                </a:lnTo>
                <a:lnTo>
                  <a:pt x="86" y="1208"/>
                </a:lnTo>
                <a:lnTo>
                  <a:pt x="83" y="1210"/>
                </a:lnTo>
                <a:lnTo>
                  <a:pt x="80" y="1211"/>
                </a:lnTo>
                <a:lnTo>
                  <a:pt x="75" y="1213"/>
                </a:lnTo>
                <a:lnTo>
                  <a:pt x="66" y="1211"/>
                </a:lnTo>
                <a:lnTo>
                  <a:pt x="53" y="1208"/>
                </a:lnTo>
                <a:lnTo>
                  <a:pt x="45" y="1208"/>
                </a:lnTo>
                <a:lnTo>
                  <a:pt x="39" y="1209"/>
                </a:lnTo>
                <a:lnTo>
                  <a:pt x="34" y="1211"/>
                </a:lnTo>
                <a:lnTo>
                  <a:pt x="29" y="1216"/>
                </a:lnTo>
                <a:lnTo>
                  <a:pt x="19" y="1226"/>
                </a:lnTo>
                <a:lnTo>
                  <a:pt x="13" y="1236"/>
                </a:lnTo>
                <a:lnTo>
                  <a:pt x="9" y="1245"/>
                </a:lnTo>
                <a:lnTo>
                  <a:pt x="7" y="1251"/>
                </a:lnTo>
                <a:lnTo>
                  <a:pt x="7" y="1254"/>
                </a:lnTo>
                <a:lnTo>
                  <a:pt x="9" y="1257"/>
                </a:lnTo>
                <a:lnTo>
                  <a:pt x="11" y="1259"/>
                </a:lnTo>
                <a:lnTo>
                  <a:pt x="14" y="1263"/>
                </a:lnTo>
                <a:lnTo>
                  <a:pt x="23" y="1268"/>
                </a:lnTo>
                <a:lnTo>
                  <a:pt x="34" y="1276"/>
                </a:lnTo>
                <a:lnTo>
                  <a:pt x="44" y="1284"/>
                </a:lnTo>
                <a:lnTo>
                  <a:pt x="54" y="1293"/>
                </a:lnTo>
                <a:lnTo>
                  <a:pt x="58" y="1298"/>
                </a:lnTo>
                <a:lnTo>
                  <a:pt x="61" y="1304"/>
                </a:lnTo>
                <a:lnTo>
                  <a:pt x="63" y="1309"/>
                </a:lnTo>
                <a:lnTo>
                  <a:pt x="66" y="1314"/>
                </a:lnTo>
                <a:lnTo>
                  <a:pt x="67" y="1327"/>
                </a:lnTo>
                <a:lnTo>
                  <a:pt x="68" y="1343"/>
                </a:lnTo>
                <a:lnTo>
                  <a:pt x="68" y="1353"/>
                </a:lnTo>
                <a:lnTo>
                  <a:pt x="67" y="1359"/>
                </a:lnTo>
                <a:lnTo>
                  <a:pt x="66" y="1365"/>
                </a:lnTo>
                <a:lnTo>
                  <a:pt x="64" y="1368"/>
                </a:lnTo>
                <a:lnTo>
                  <a:pt x="61" y="1374"/>
                </a:lnTo>
                <a:lnTo>
                  <a:pt x="56" y="1383"/>
                </a:lnTo>
                <a:lnTo>
                  <a:pt x="54" y="1386"/>
                </a:lnTo>
                <a:lnTo>
                  <a:pt x="54" y="1390"/>
                </a:lnTo>
                <a:lnTo>
                  <a:pt x="55" y="1392"/>
                </a:lnTo>
                <a:lnTo>
                  <a:pt x="56" y="1394"/>
                </a:lnTo>
                <a:lnTo>
                  <a:pt x="60" y="1402"/>
                </a:lnTo>
                <a:lnTo>
                  <a:pt x="63" y="1412"/>
                </a:lnTo>
                <a:lnTo>
                  <a:pt x="64" y="1419"/>
                </a:lnTo>
                <a:lnTo>
                  <a:pt x="64" y="1427"/>
                </a:lnTo>
                <a:lnTo>
                  <a:pt x="63" y="1435"/>
                </a:lnTo>
                <a:lnTo>
                  <a:pt x="62" y="1442"/>
                </a:lnTo>
                <a:lnTo>
                  <a:pt x="60" y="1449"/>
                </a:lnTo>
                <a:lnTo>
                  <a:pt x="57" y="1456"/>
                </a:lnTo>
                <a:lnTo>
                  <a:pt x="54" y="1462"/>
                </a:lnTo>
                <a:lnTo>
                  <a:pt x="49" y="1466"/>
                </a:lnTo>
                <a:lnTo>
                  <a:pt x="44" y="1469"/>
                </a:lnTo>
                <a:lnTo>
                  <a:pt x="38" y="1473"/>
                </a:lnTo>
                <a:lnTo>
                  <a:pt x="32" y="1475"/>
                </a:lnTo>
                <a:lnTo>
                  <a:pt x="25" y="1478"/>
                </a:lnTo>
                <a:lnTo>
                  <a:pt x="13" y="1480"/>
                </a:lnTo>
                <a:lnTo>
                  <a:pt x="4" y="1484"/>
                </a:lnTo>
                <a:lnTo>
                  <a:pt x="3" y="1486"/>
                </a:lnTo>
                <a:lnTo>
                  <a:pt x="0" y="1487"/>
                </a:lnTo>
                <a:lnTo>
                  <a:pt x="0" y="1490"/>
                </a:lnTo>
                <a:lnTo>
                  <a:pt x="0" y="1492"/>
                </a:lnTo>
                <a:lnTo>
                  <a:pt x="1" y="1497"/>
                </a:lnTo>
                <a:lnTo>
                  <a:pt x="6" y="1500"/>
                </a:lnTo>
                <a:lnTo>
                  <a:pt x="11" y="1505"/>
                </a:lnTo>
                <a:lnTo>
                  <a:pt x="17" y="1510"/>
                </a:lnTo>
                <a:lnTo>
                  <a:pt x="20" y="1517"/>
                </a:lnTo>
                <a:lnTo>
                  <a:pt x="25" y="1526"/>
                </a:lnTo>
                <a:lnTo>
                  <a:pt x="29" y="1536"/>
                </a:lnTo>
                <a:lnTo>
                  <a:pt x="32" y="1544"/>
                </a:lnTo>
                <a:lnTo>
                  <a:pt x="35" y="1547"/>
                </a:lnTo>
                <a:lnTo>
                  <a:pt x="37" y="1549"/>
                </a:lnTo>
                <a:lnTo>
                  <a:pt x="39" y="1550"/>
                </a:lnTo>
                <a:lnTo>
                  <a:pt x="42" y="1551"/>
                </a:lnTo>
                <a:lnTo>
                  <a:pt x="45" y="1550"/>
                </a:lnTo>
                <a:lnTo>
                  <a:pt x="50" y="1549"/>
                </a:lnTo>
                <a:lnTo>
                  <a:pt x="54" y="1545"/>
                </a:lnTo>
                <a:lnTo>
                  <a:pt x="58" y="1538"/>
                </a:lnTo>
                <a:lnTo>
                  <a:pt x="63" y="1528"/>
                </a:lnTo>
                <a:lnTo>
                  <a:pt x="67" y="1516"/>
                </a:lnTo>
                <a:lnTo>
                  <a:pt x="73" y="1505"/>
                </a:lnTo>
                <a:lnTo>
                  <a:pt x="78" y="1497"/>
                </a:lnTo>
                <a:lnTo>
                  <a:pt x="85" y="1492"/>
                </a:lnTo>
                <a:lnTo>
                  <a:pt x="93" y="1490"/>
                </a:lnTo>
                <a:lnTo>
                  <a:pt x="97" y="1488"/>
                </a:lnTo>
                <a:lnTo>
                  <a:pt x="99" y="1488"/>
                </a:lnTo>
                <a:lnTo>
                  <a:pt x="102" y="1490"/>
                </a:lnTo>
                <a:lnTo>
                  <a:pt x="104" y="1491"/>
                </a:lnTo>
                <a:lnTo>
                  <a:pt x="106" y="1497"/>
                </a:lnTo>
                <a:lnTo>
                  <a:pt x="106" y="1506"/>
                </a:lnTo>
                <a:lnTo>
                  <a:pt x="106" y="1519"/>
                </a:lnTo>
                <a:lnTo>
                  <a:pt x="106" y="1534"/>
                </a:lnTo>
                <a:lnTo>
                  <a:pt x="107" y="1542"/>
                </a:lnTo>
                <a:lnTo>
                  <a:pt x="110" y="1548"/>
                </a:lnTo>
                <a:lnTo>
                  <a:pt x="113" y="1553"/>
                </a:lnTo>
                <a:lnTo>
                  <a:pt x="118" y="1557"/>
                </a:lnTo>
                <a:lnTo>
                  <a:pt x="127" y="1564"/>
                </a:lnTo>
                <a:lnTo>
                  <a:pt x="138" y="1568"/>
                </a:lnTo>
                <a:lnTo>
                  <a:pt x="148" y="1570"/>
                </a:lnTo>
                <a:lnTo>
                  <a:pt x="157" y="1574"/>
                </a:lnTo>
                <a:lnTo>
                  <a:pt x="162" y="1575"/>
                </a:lnTo>
                <a:lnTo>
                  <a:pt x="165" y="1578"/>
                </a:lnTo>
                <a:lnTo>
                  <a:pt x="169" y="1580"/>
                </a:lnTo>
                <a:lnTo>
                  <a:pt x="173" y="1583"/>
                </a:lnTo>
                <a:lnTo>
                  <a:pt x="179" y="1594"/>
                </a:lnTo>
                <a:lnTo>
                  <a:pt x="186" y="1610"/>
                </a:lnTo>
                <a:lnTo>
                  <a:pt x="188" y="1618"/>
                </a:lnTo>
                <a:lnTo>
                  <a:pt x="189" y="1626"/>
                </a:lnTo>
                <a:lnTo>
                  <a:pt x="189" y="1633"/>
                </a:lnTo>
                <a:lnTo>
                  <a:pt x="188" y="1639"/>
                </a:lnTo>
                <a:lnTo>
                  <a:pt x="186" y="1644"/>
                </a:lnTo>
                <a:lnTo>
                  <a:pt x="184" y="1649"/>
                </a:lnTo>
                <a:lnTo>
                  <a:pt x="184" y="1652"/>
                </a:lnTo>
                <a:lnTo>
                  <a:pt x="186" y="1657"/>
                </a:lnTo>
                <a:lnTo>
                  <a:pt x="189" y="1664"/>
                </a:lnTo>
                <a:lnTo>
                  <a:pt x="195" y="1671"/>
                </a:lnTo>
                <a:lnTo>
                  <a:pt x="198" y="1675"/>
                </a:lnTo>
                <a:lnTo>
                  <a:pt x="199" y="1679"/>
                </a:lnTo>
                <a:lnTo>
                  <a:pt x="200" y="1682"/>
                </a:lnTo>
                <a:lnTo>
                  <a:pt x="201" y="1686"/>
                </a:lnTo>
                <a:lnTo>
                  <a:pt x="200" y="1695"/>
                </a:lnTo>
                <a:lnTo>
                  <a:pt x="199" y="1706"/>
                </a:lnTo>
                <a:lnTo>
                  <a:pt x="198" y="1711"/>
                </a:lnTo>
                <a:lnTo>
                  <a:pt x="199" y="1714"/>
                </a:lnTo>
                <a:lnTo>
                  <a:pt x="201" y="1717"/>
                </a:lnTo>
                <a:lnTo>
                  <a:pt x="204" y="1719"/>
                </a:lnTo>
                <a:lnTo>
                  <a:pt x="206" y="1719"/>
                </a:lnTo>
                <a:lnTo>
                  <a:pt x="209" y="1719"/>
                </a:lnTo>
                <a:lnTo>
                  <a:pt x="213" y="1718"/>
                </a:lnTo>
                <a:lnTo>
                  <a:pt x="217" y="1717"/>
                </a:lnTo>
                <a:lnTo>
                  <a:pt x="224" y="1712"/>
                </a:lnTo>
                <a:lnTo>
                  <a:pt x="231" y="1707"/>
                </a:lnTo>
                <a:lnTo>
                  <a:pt x="238" y="1700"/>
                </a:lnTo>
                <a:lnTo>
                  <a:pt x="243" y="1694"/>
                </a:lnTo>
                <a:lnTo>
                  <a:pt x="247" y="1688"/>
                </a:lnTo>
                <a:lnTo>
                  <a:pt x="251" y="1685"/>
                </a:lnTo>
                <a:lnTo>
                  <a:pt x="252" y="1685"/>
                </a:lnTo>
                <a:lnTo>
                  <a:pt x="255" y="1686"/>
                </a:lnTo>
                <a:lnTo>
                  <a:pt x="257" y="1687"/>
                </a:lnTo>
                <a:lnTo>
                  <a:pt x="259" y="1689"/>
                </a:lnTo>
                <a:lnTo>
                  <a:pt x="263" y="1694"/>
                </a:lnTo>
                <a:lnTo>
                  <a:pt x="265" y="1699"/>
                </a:lnTo>
                <a:lnTo>
                  <a:pt x="267" y="1704"/>
                </a:lnTo>
                <a:lnTo>
                  <a:pt x="269" y="1709"/>
                </a:lnTo>
                <a:lnTo>
                  <a:pt x="271" y="1724"/>
                </a:lnTo>
                <a:lnTo>
                  <a:pt x="272" y="1739"/>
                </a:lnTo>
                <a:lnTo>
                  <a:pt x="274" y="1756"/>
                </a:lnTo>
                <a:lnTo>
                  <a:pt x="276" y="1770"/>
                </a:lnTo>
                <a:lnTo>
                  <a:pt x="277" y="1776"/>
                </a:lnTo>
                <a:lnTo>
                  <a:pt x="281" y="1782"/>
                </a:lnTo>
                <a:lnTo>
                  <a:pt x="284" y="1788"/>
                </a:lnTo>
                <a:lnTo>
                  <a:pt x="289" y="1793"/>
                </a:lnTo>
                <a:lnTo>
                  <a:pt x="300" y="1801"/>
                </a:lnTo>
                <a:lnTo>
                  <a:pt x="309" y="1805"/>
                </a:lnTo>
                <a:lnTo>
                  <a:pt x="314" y="1807"/>
                </a:lnTo>
                <a:lnTo>
                  <a:pt x="318" y="1808"/>
                </a:lnTo>
                <a:lnTo>
                  <a:pt x="320" y="1808"/>
                </a:lnTo>
                <a:lnTo>
                  <a:pt x="321" y="1807"/>
                </a:lnTo>
                <a:lnTo>
                  <a:pt x="322" y="1806"/>
                </a:lnTo>
                <a:lnTo>
                  <a:pt x="324" y="1803"/>
                </a:lnTo>
                <a:lnTo>
                  <a:pt x="327" y="1794"/>
                </a:lnTo>
                <a:lnTo>
                  <a:pt x="331" y="1789"/>
                </a:lnTo>
                <a:lnTo>
                  <a:pt x="333" y="1786"/>
                </a:lnTo>
                <a:lnTo>
                  <a:pt x="335" y="1783"/>
                </a:lnTo>
                <a:lnTo>
                  <a:pt x="337" y="1778"/>
                </a:lnTo>
                <a:lnTo>
                  <a:pt x="337" y="1772"/>
                </a:lnTo>
                <a:lnTo>
                  <a:pt x="338" y="1768"/>
                </a:lnTo>
                <a:lnTo>
                  <a:pt x="339" y="1764"/>
                </a:lnTo>
                <a:lnTo>
                  <a:pt x="340" y="1761"/>
                </a:lnTo>
                <a:lnTo>
                  <a:pt x="343" y="1758"/>
                </a:lnTo>
                <a:lnTo>
                  <a:pt x="346" y="1756"/>
                </a:lnTo>
                <a:lnTo>
                  <a:pt x="351" y="1755"/>
                </a:lnTo>
                <a:lnTo>
                  <a:pt x="354" y="1753"/>
                </a:lnTo>
                <a:lnTo>
                  <a:pt x="359" y="1751"/>
                </a:lnTo>
                <a:lnTo>
                  <a:pt x="362" y="1747"/>
                </a:lnTo>
                <a:lnTo>
                  <a:pt x="364" y="1743"/>
                </a:lnTo>
                <a:lnTo>
                  <a:pt x="362" y="1734"/>
                </a:lnTo>
                <a:lnTo>
                  <a:pt x="359" y="1724"/>
                </a:lnTo>
                <a:lnTo>
                  <a:pt x="358" y="1718"/>
                </a:lnTo>
                <a:lnTo>
                  <a:pt x="358" y="1712"/>
                </a:lnTo>
                <a:lnTo>
                  <a:pt x="359" y="1706"/>
                </a:lnTo>
                <a:lnTo>
                  <a:pt x="362" y="1701"/>
                </a:lnTo>
                <a:lnTo>
                  <a:pt x="370" y="1695"/>
                </a:lnTo>
                <a:lnTo>
                  <a:pt x="376" y="1692"/>
                </a:lnTo>
                <a:lnTo>
                  <a:pt x="381" y="1689"/>
                </a:lnTo>
                <a:lnTo>
                  <a:pt x="383" y="1687"/>
                </a:lnTo>
                <a:lnTo>
                  <a:pt x="385" y="1685"/>
                </a:lnTo>
                <a:lnTo>
                  <a:pt x="387" y="1682"/>
                </a:lnTo>
                <a:lnTo>
                  <a:pt x="387" y="1676"/>
                </a:lnTo>
                <a:lnTo>
                  <a:pt x="387" y="1668"/>
                </a:lnTo>
                <a:lnTo>
                  <a:pt x="387" y="1662"/>
                </a:lnTo>
                <a:lnTo>
                  <a:pt x="387" y="1655"/>
                </a:lnTo>
                <a:lnTo>
                  <a:pt x="388" y="1649"/>
                </a:lnTo>
                <a:lnTo>
                  <a:pt x="390" y="1644"/>
                </a:lnTo>
                <a:lnTo>
                  <a:pt x="396" y="1635"/>
                </a:lnTo>
                <a:lnTo>
                  <a:pt x="403" y="1623"/>
                </a:lnTo>
                <a:lnTo>
                  <a:pt x="410" y="1611"/>
                </a:lnTo>
                <a:lnTo>
                  <a:pt x="416" y="1602"/>
                </a:lnTo>
                <a:lnTo>
                  <a:pt x="421" y="1597"/>
                </a:lnTo>
                <a:lnTo>
                  <a:pt x="427" y="1591"/>
                </a:lnTo>
                <a:lnTo>
                  <a:pt x="434" y="1586"/>
                </a:lnTo>
                <a:lnTo>
                  <a:pt x="441" y="1583"/>
                </a:lnTo>
                <a:lnTo>
                  <a:pt x="456" y="1582"/>
                </a:lnTo>
                <a:lnTo>
                  <a:pt x="469" y="1582"/>
                </a:lnTo>
                <a:lnTo>
                  <a:pt x="478" y="1585"/>
                </a:lnTo>
                <a:lnTo>
                  <a:pt x="484" y="1586"/>
                </a:lnTo>
                <a:lnTo>
                  <a:pt x="485" y="1586"/>
                </a:lnTo>
                <a:lnTo>
                  <a:pt x="488" y="1585"/>
                </a:lnTo>
                <a:lnTo>
                  <a:pt x="491" y="1582"/>
                </a:lnTo>
                <a:lnTo>
                  <a:pt x="494" y="1580"/>
                </a:lnTo>
                <a:lnTo>
                  <a:pt x="497" y="1576"/>
                </a:lnTo>
                <a:lnTo>
                  <a:pt x="500" y="1572"/>
                </a:lnTo>
                <a:lnTo>
                  <a:pt x="503" y="1566"/>
                </a:lnTo>
                <a:lnTo>
                  <a:pt x="504" y="1560"/>
                </a:lnTo>
                <a:lnTo>
                  <a:pt x="507" y="1553"/>
                </a:lnTo>
                <a:lnTo>
                  <a:pt x="509" y="1547"/>
                </a:lnTo>
                <a:lnTo>
                  <a:pt x="513" y="1541"/>
                </a:lnTo>
                <a:lnTo>
                  <a:pt x="517" y="1536"/>
                </a:lnTo>
                <a:lnTo>
                  <a:pt x="523" y="1531"/>
                </a:lnTo>
                <a:lnTo>
                  <a:pt x="532" y="1528"/>
                </a:lnTo>
                <a:lnTo>
                  <a:pt x="541" y="1525"/>
                </a:lnTo>
                <a:lnTo>
                  <a:pt x="553" y="1523"/>
                </a:lnTo>
                <a:lnTo>
                  <a:pt x="576" y="1523"/>
                </a:lnTo>
                <a:lnTo>
                  <a:pt x="593" y="1524"/>
                </a:lnTo>
                <a:lnTo>
                  <a:pt x="602" y="1525"/>
                </a:lnTo>
                <a:lnTo>
                  <a:pt x="609" y="1525"/>
                </a:lnTo>
                <a:lnTo>
                  <a:pt x="616" y="1524"/>
                </a:lnTo>
                <a:lnTo>
                  <a:pt x="624" y="1523"/>
                </a:lnTo>
                <a:lnTo>
                  <a:pt x="639" y="1518"/>
                </a:lnTo>
                <a:lnTo>
                  <a:pt x="652" y="1517"/>
                </a:lnTo>
                <a:lnTo>
                  <a:pt x="659" y="1518"/>
                </a:lnTo>
                <a:lnTo>
                  <a:pt x="666" y="1520"/>
                </a:lnTo>
                <a:lnTo>
                  <a:pt x="672" y="1524"/>
                </a:lnTo>
                <a:lnTo>
                  <a:pt x="679" y="1530"/>
                </a:lnTo>
                <a:lnTo>
                  <a:pt x="698" y="1550"/>
                </a:lnTo>
                <a:lnTo>
                  <a:pt x="709" y="1564"/>
                </a:lnTo>
                <a:lnTo>
                  <a:pt x="712" y="1569"/>
                </a:lnTo>
                <a:lnTo>
                  <a:pt x="718" y="1572"/>
                </a:lnTo>
                <a:lnTo>
                  <a:pt x="724" y="1572"/>
                </a:lnTo>
                <a:lnTo>
                  <a:pt x="731" y="1572"/>
                </a:lnTo>
                <a:lnTo>
                  <a:pt x="736" y="1575"/>
                </a:lnTo>
                <a:lnTo>
                  <a:pt x="742" y="1578"/>
                </a:lnTo>
                <a:lnTo>
                  <a:pt x="747" y="1576"/>
                </a:lnTo>
                <a:lnTo>
                  <a:pt x="750" y="1575"/>
                </a:lnTo>
                <a:lnTo>
                  <a:pt x="753" y="1572"/>
                </a:lnTo>
                <a:lnTo>
                  <a:pt x="757" y="1567"/>
                </a:lnTo>
                <a:lnTo>
                  <a:pt x="761" y="1561"/>
                </a:lnTo>
                <a:lnTo>
                  <a:pt x="766" y="1557"/>
                </a:lnTo>
                <a:lnTo>
                  <a:pt x="772" y="1555"/>
                </a:lnTo>
                <a:lnTo>
                  <a:pt x="778" y="1554"/>
                </a:lnTo>
                <a:lnTo>
                  <a:pt x="786" y="1553"/>
                </a:lnTo>
                <a:lnTo>
                  <a:pt x="796" y="1551"/>
                </a:lnTo>
                <a:lnTo>
                  <a:pt x="805" y="1550"/>
                </a:lnTo>
                <a:lnTo>
                  <a:pt x="815" y="1547"/>
                </a:lnTo>
                <a:lnTo>
                  <a:pt x="820" y="1544"/>
                </a:lnTo>
                <a:lnTo>
                  <a:pt x="825" y="1542"/>
                </a:lnTo>
                <a:lnTo>
                  <a:pt x="829" y="1537"/>
                </a:lnTo>
                <a:lnTo>
                  <a:pt x="832" y="1532"/>
                </a:lnTo>
                <a:lnTo>
                  <a:pt x="835" y="1528"/>
                </a:lnTo>
                <a:lnTo>
                  <a:pt x="836" y="1523"/>
                </a:lnTo>
                <a:lnTo>
                  <a:pt x="837" y="1518"/>
                </a:lnTo>
                <a:lnTo>
                  <a:pt x="836" y="1513"/>
                </a:lnTo>
                <a:lnTo>
                  <a:pt x="835" y="1509"/>
                </a:lnTo>
                <a:lnTo>
                  <a:pt x="832" y="1504"/>
                </a:lnTo>
                <a:lnTo>
                  <a:pt x="830" y="1499"/>
                </a:lnTo>
                <a:lnTo>
                  <a:pt x="826" y="1496"/>
                </a:lnTo>
                <a:lnTo>
                  <a:pt x="818" y="1487"/>
                </a:lnTo>
                <a:lnTo>
                  <a:pt x="809" y="1480"/>
                </a:lnTo>
                <a:lnTo>
                  <a:pt x="799" y="1473"/>
                </a:lnTo>
                <a:lnTo>
                  <a:pt x="791" y="1466"/>
                </a:lnTo>
                <a:lnTo>
                  <a:pt x="785" y="1459"/>
                </a:lnTo>
                <a:lnTo>
                  <a:pt x="781" y="1452"/>
                </a:lnTo>
                <a:lnTo>
                  <a:pt x="780" y="1448"/>
                </a:lnTo>
                <a:lnTo>
                  <a:pt x="780" y="1444"/>
                </a:lnTo>
                <a:lnTo>
                  <a:pt x="781" y="1441"/>
                </a:lnTo>
                <a:lnTo>
                  <a:pt x="782" y="1438"/>
                </a:lnTo>
                <a:lnTo>
                  <a:pt x="787" y="1434"/>
                </a:lnTo>
                <a:lnTo>
                  <a:pt x="792" y="1431"/>
                </a:lnTo>
                <a:lnTo>
                  <a:pt x="794" y="1430"/>
                </a:lnTo>
                <a:lnTo>
                  <a:pt x="793" y="1428"/>
                </a:lnTo>
                <a:lnTo>
                  <a:pt x="792" y="1424"/>
                </a:lnTo>
                <a:lnTo>
                  <a:pt x="790" y="1421"/>
                </a:lnTo>
                <a:lnTo>
                  <a:pt x="784" y="1412"/>
                </a:lnTo>
                <a:lnTo>
                  <a:pt x="778" y="1405"/>
                </a:lnTo>
                <a:lnTo>
                  <a:pt x="776" y="1402"/>
                </a:lnTo>
                <a:lnTo>
                  <a:pt x="776" y="1398"/>
                </a:lnTo>
                <a:lnTo>
                  <a:pt x="776" y="1394"/>
                </a:lnTo>
                <a:lnTo>
                  <a:pt x="778" y="1392"/>
                </a:lnTo>
                <a:lnTo>
                  <a:pt x="782" y="1386"/>
                </a:lnTo>
                <a:lnTo>
                  <a:pt x="791" y="1380"/>
                </a:lnTo>
                <a:lnTo>
                  <a:pt x="797" y="1378"/>
                </a:lnTo>
                <a:lnTo>
                  <a:pt x="803" y="1377"/>
                </a:lnTo>
                <a:lnTo>
                  <a:pt x="811" y="1375"/>
                </a:lnTo>
                <a:lnTo>
                  <a:pt x="818" y="1377"/>
                </a:lnTo>
                <a:lnTo>
                  <a:pt x="826" y="1378"/>
                </a:lnTo>
                <a:lnTo>
                  <a:pt x="835" y="1380"/>
                </a:lnTo>
                <a:lnTo>
                  <a:pt x="842" y="1383"/>
                </a:lnTo>
                <a:lnTo>
                  <a:pt x="848" y="1386"/>
                </a:lnTo>
                <a:lnTo>
                  <a:pt x="853" y="1390"/>
                </a:lnTo>
                <a:lnTo>
                  <a:pt x="857" y="1392"/>
                </a:lnTo>
                <a:lnTo>
                  <a:pt x="863" y="1394"/>
                </a:lnTo>
                <a:lnTo>
                  <a:pt x="868" y="1394"/>
                </a:lnTo>
                <a:lnTo>
                  <a:pt x="872" y="1394"/>
                </a:lnTo>
                <a:lnTo>
                  <a:pt x="875" y="1393"/>
                </a:lnTo>
                <a:lnTo>
                  <a:pt x="878" y="1391"/>
                </a:lnTo>
                <a:lnTo>
                  <a:pt x="879" y="1386"/>
                </a:lnTo>
                <a:lnTo>
                  <a:pt x="881" y="1378"/>
                </a:lnTo>
                <a:lnTo>
                  <a:pt x="882" y="1370"/>
                </a:lnTo>
                <a:lnTo>
                  <a:pt x="885" y="1367"/>
                </a:lnTo>
                <a:lnTo>
                  <a:pt x="887" y="1365"/>
                </a:lnTo>
                <a:lnTo>
                  <a:pt x="891" y="1362"/>
                </a:lnTo>
                <a:lnTo>
                  <a:pt x="895" y="1361"/>
                </a:lnTo>
                <a:lnTo>
                  <a:pt x="908" y="1360"/>
                </a:lnTo>
                <a:lnTo>
                  <a:pt x="922" y="1360"/>
                </a:lnTo>
                <a:lnTo>
                  <a:pt x="929" y="1361"/>
                </a:lnTo>
                <a:lnTo>
                  <a:pt x="933" y="1362"/>
                </a:lnTo>
                <a:lnTo>
                  <a:pt x="938" y="1365"/>
                </a:lnTo>
                <a:lnTo>
                  <a:pt x="939" y="1367"/>
                </a:lnTo>
                <a:lnTo>
                  <a:pt x="943" y="1375"/>
                </a:lnTo>
                <a:lnTo>
                  <a:pt x="945" y="1385"/>
                </a:lnTo>
                <a:lnTo>
                  <a:pt x="948" y="1389"/>
                </a:lnTo>
                <a:lnTo>
                  <a:pt x="950" y="1392"/>
                </a:lnTo>
                <a:lnTo>
                  <a:pt x="952" y="1394"/>
                </a:lnTo>
                <a:lnTo>
                  <a:pt x="955" y="1396"/>
                </a:lnTo>
                <a:lnTo>
                  <a:pt x="967" y="1394"/>
                </a:lnTo>
                <a:lnTo>
                  <a:pt x="983" y="1394"/>
                </a:lnTo>
                <a:lnTo>
                  <a:pt x="1004" y="1394"/>
                </a:lnTo>
                <a:lnTo>
                  <a:pt x="1023" y="1394"/>
                </a:lnTo>
                <a:lnTo>
                  <a:pt x="1036" y="1396"/>
                </a:lnTo>
                <a:lnTo>
                  <a:pt x="1050" y="1398"/>
                </a:lnTo>
                <a:lnTo>
                  <a:pt x="1064" y="1403"/>
                </a:lnTo>
                <a:lnTo>
                  <a:pt x="1077" y="1410"/>
                </a:lnTo>
                <a:lnTo>
                  <a:pt x="1081" y="1412"/>
                </a:lnTo>
                <a:lnTo>
                  <a:pt x="1084" y="1415"/>
                </a:lnTo>
                <a:lnTo>
                  <a:pt x="1088" y="1418"/>
                </a:lnTo>
                <a:lnTo>
                  <a:pt x="1090" y="1424"/>
                </a:lnTo>
                <a:lnTo>
                  <a:pt x="1093" y="1429"/>
                </a:lnTo>
                <a:lnTo>
                  <a:pt x="1096" y="1434"/>
                </a:lnTo>
                <a:lnTo>
                  <a:pt x="1099" y="1437"/>
                </a:lnTo>
                <a:lnTo>
                  <a:pt x="1101" y="1438"/>
                </a:lnTo>
                <a:lnTo>
                  <a:pt x="1106" y="1440"/>
                </a:lnTo>
                <a:lnTo>
                  <a:pt x="1109" y="1442"/>
                </a:lnTo>
                <a:lnTo>
                  <a:pt x="1111" y="1447"/>
                </a:lnTo>
                <a:lnTo>
                  <a:pt x="1113" y="1450"/>
                </a:lnTo>
                <a:lnTo>
                  <a:pt x="1115" y="1454"/>
                </a:lnTo>
                <a:lnTo>
                  <a:pt x="1120" y="1455"/>
                </a:lnTo>
                <a:lnTo>
                  <a:pt x="1125" y="1455"/>
                </a:lnTo>
                <a:lnTo>
                  <a:pt x="1128" y="1453"/>
                </a:lnTo>
                <a:lnTo>
                  <a:pt x="1132" y="1450"/>
                </a:lnTo>
                <a:lnTo>
                  <a:pt x="1135" y="1448"/>
                </a:lnTo>
                <a:lnTo>
                  <a:pt x="1140" y="1448"/>
                </a:lnTo>
                <a:lnTo>
                  <a:pt x="1146" y="1450"/>
                </a:lnTo>
                <a:lnTo>
                  <a:pt x="1162" y="1457"/>
                </a:lnTo>
                <a:lnTo>
                  <a:pt x="1177" y="1462"/>
                </a:lnTo>
                <a:lnTo>
                  <a:pt x="1191" y="1462"/>
                </a:lnTo>
                <a:lnTo>
                  <a:pt x="1208" y="1461"/>
                </a:lnTo>
                <a:lnTo>
                  <a:pt x="1226" y="1460"/>
                </a:lnTo>
                <a:lnTo>
                  <a:pt x="1242" y="1459"/>
                </a:lnTo>
                <a:lnTo>
                  <a:pt x="1250" y="1459"/>
                </a:lnTo>
                <a:lnTo>
                  <a:pt x="1256" y="1460"/>
                </a:lnTo>
                <a:lnTo>
                  <a:pt x="1261" y="1462"/>
                </a:lnTo>
                <a:lnTo>
                  <a:pt x="1267" y="1465"/>
                </a:lnTo>
                <a:lnTo>
                  <a:pt x="1278" y="1471"/>
                </a:lnTo>
                <a:lnTo>
                  <a:pt x="1290" y="1476"/>
                </a:lnTo>
                <a:lnTo>
                  <a:pt x="1303" y="1485"/>
                </a:lnTo>
                <a:lnTo>
                  <a:pt x="1317" y="1493"/>
                </a:lnTo>
                <a:lnTo>
                  <a:pt x="1329" y="1501"/>
                </a:lnTo>
                <a:lnTo>
                  <a:pt x="1339" y="1510"/>
                </a:lnTo>
                <a:lnTo>
                  <a:pt x="1345" y="1516"/>
                </a:lnTo>
                <a:lnTo>
                  <a:pt x="1349" y="1519"/>
                </a:lnTo>
                <a:lnTo>
                  <a:pt x="1354" y="1522"/>
                </a:lnTo>
                <a:lnTo>
                  <a:pt x="1358" y="1522"/>
                </a:lnTo>
                <a:lnTo>
                  <a:pt x="1360" y="1523"/>
                </a:lnTo>
                <a:lnTo>
                  <a:pt x="1363" y="1523"/>
                </a:lnTo>
                <a:lnTo>
                  <a:pt x="1364" y="1525"/>
                </a:lnTo>
                <a:lnTo>
                  <a:pt x="1365" y="1528"/>
                </a:lnTo>
                <a:lnTo>
                  <a:pt x="1367" y="1534"/>
                </a:lnTo>
                <a:lnTo>
                  <a:pt x="1371" y="1542"/>
                </a:lnTo>
                <a:lnTo>
                  <a:pt x="1373" y="1549"/>
                </a:lnTo>
                <a:lnTo>
                  <a:pt x="1377" y="1555"/>
                </a:lnTo>
                <a:lnTo>
                  <a:pt x="1378" y="1557"/>
                </a:lnTo>
                <a:lnTo>
                  <a:pt x="1380" y="1559"/>
                </a:lnTo>
                <a:lnTo>
                  <a:pt x="1384" y="1560"/>
                </a:lnTo>
                <a:lnTo>
                  <a:pt x="1388" y="1560"/>
                </a:lnTo>
                <a:lnTo>
                  <a:pt x="1393" y="1561"/>
                </a:lnTo>
                <a:lnTo>
                  <a:pt x="1397" y="1563"/>
                </a:lnTo>
                <a:lnTo>
                  <a:pt x="1401" y="1567"/>
                </a:lnTo>
                <a:lnTo>
                  <a:pt x="1404" y="1572"/>
                </a:lnTo>
                <a:lnTo>
                  <a:pt x="1405" y="1574"/>
                </a:lnTo>
                <a:lnTo>
                  <a:pt x="1408" y="1575"/>
                </a:lnTo>
                <a:lnTo>
                  <a:pt x="1410" y="1576"/>
                </a:lnTo>
                <a:lnTo>
                  <a:pt x="1412" y="1576"/>
                </a:lnTo>
                <a:lnTo>
                  <a:pt x="1418" y="1575"/>
                </a:lnTo>
                <a:lnTo>
                  <a:pt x="1423" y="1572"/>
                </a:lnTo>
                <a:lnTo>
                  <a:pt x="1426" y="1569"/>
                </a:lnTo>
                <a:lnTo>
                  <a:pt x="1428" y="1567"/>
                </a:lnTo>
                <a:lnTo>
                  <a:pt x="1431" y="1566"/>
                </a:lnTo>
                <a:lnTo>
                  <a:pt x="1435" y="1564"/>
                </a:lnTo>
                <a:lnTo>
                  <a:pt x="1439" y="1566"/>
                </a:lnTo>
                <a:lnTo>
                  <a:pt x="1441" y="1567"/>
                </a:lnTo>
                <a:lnTo>
                  <a:pt x="1445" y="1572"/>
                </a:lnTo>
                <a:lnTo>
                  <a:pt x="1448" y="1578"/>
                </a:lnTo>
                <a:lnTo>
                  <a:pt x="1453" y="1589"/>
                </a:lnTo>
                <a:lnTo>
                  <a:pt x="1455" y="1600"/>
                </a:lnTo>
                <a:lnTo>
                  <a:pt x="1456" y="1608"/>
                </a:lnTo>
                <a:lnTo>
                  <a:pt x="1456" y="1617"/>
                </a:lnTo>
                <a:lnTo>
                  <a:pt x="1456" y="1620"/>
                </a:lnTo>
                <a:lnTo>
                  <a:pt x="1458" y="1622"/>
                </a:lnTo>
                <a:lnTo>
                  <a:pt x="1460" y="1623"/>
                </a:lnTo>
                <a:lnTo>
                  <a:pt x="1464" y="1623"/>
                </a:lnTo>
                <a:lnTo>
                  <a:pt x="1472" y="1619"/>
                </a:lnTo>
                <a:lnTo>
                  <a:pt x="1481" y="1613"/>
                </a:lnTo>
                <a:lnTo>
                  <a:pt x="1490" y="1606"/>
                </a:lnTo>
                <a:lnTo>
                  <a:pt x="1497" y="1598"/>
                </a:lnTo>
                <a:lnTo>
                  <a:pt x="1504" y="1589"/>
                </a:lnTo>
                <a:lnTo>
                  <a:pt x="1509" y="1582"/>
                </a:lnTo>
                <a:lnTo>
                  <a:pt x="1512" y="1579"/>
                </a:lnTo>
                <a:lnTo>
                  <a:pt x="1516" y="1576"/>
                </a:lnTo>
                <a:lnTo>
                  <a:pt x="1521" y="1574"/>
                </a:lnTo>
                <a:lnTo>
                  <a:pt x="1527" y="1573"/>
                </a:lnTo>
                <a:lnTo>
                  <a:pt x="1540" y="1573"/>
                </a:lnTo>
                <a:lnTo>
                  <a:pt x="1553" y="1575"/>
                </a:lnTo>
                <a:lnTo>
                  <a:pt x="1566" y="1578"/>
                </a:lnTo>
                <a:lnTo>
                  <a:pt x="1575" y="1581"/>
                </a:lnTo>
                <a:lnTo>
                  <a:pt x="1585" y="1585"/>
                </a:lnTo>
                <a:lnTo>
                  <a:pt x="1592" y="1588"/>
                </a:lnTo>
                <a:lnTo>
                  <a:pt x="1596" y="1589"/>
                </a:lnTo>
                <a:lnTo>
                  <a:pt x="1598" y="1589"/>
                </a:lnTo>
                <a:lnTo>
                  <a:pt x="1600" y="1589"/>
                </a:lnTo>
                <a:lnTo>
                  <a:pt x="1603" y="1588"/>
                </a:lnTo>
                <a:lnTo>
                  <a:pt x="1606" y="1583"/>
                </a:lnTo>
                <a:lnTo>
                  <a:pt x="1612" y="1575"/>
                </a:lnTo>
                <a:lnTo>
                  <a:pt x="1628" y="1561"/>
                </a:lnTo>
                <a:lnTo>
                  <a:pt x="1642" y="1547"/>
                </a:lnTo>
                <a:lnTo>
                  <a:pt x="1644" y="1542"/>
                </a:lnTo>
                <a:lnTo>
                  <a:pt x="1647" y="1537"/>
                </a:lnTo>
                <a:lnTo>
                  <a:pt x="1648" y="1534"/>
                </a:lnTo>
                <a:lnTo>
                  <a:pt x="1649" y="1529"/>
                </a:lnTo>
                <a:lnTo>
                  <a:pt x="1649" y="1522"/>
                </a:lnTo>
                <a:lnTo>
                  <a:pt x="1650" y="1516"/>
                </a:lnTo>
                <a:lnTo>
                  <a:pt x="1654" y="1511"/>
                </a:lnTo>
                <a:lnTo>
                  <a:pt x="1661" y="1506"/>
                </a:lnTo>
                <a:lnTo>
                  <a:pt x="1664" y="1503"/>
                </a:lnTo>
                <a:lnTo>
                  <a:pt x="1669" y="1500"/>
                </a:lnTo>
                <a:lnTo>
                  <a:pt x="1674" y="1500"/>
                </a:lnTo>
                <a:lnTo>
                  <a:pt x="1678" y="1501"/>
                </a:lnTo>
                <a:lnTo>
                  <a:pt x="1680" y="1505"/>
                </a:lnTo>
                <a:lnTo>
                  <a:pt x="1682" y="1509"/>
                </a:lnTo>
                <a:lnTo>
                  <a:pt x="1684" y="1513"/>
                </a:lnTo>
                <a:lnTo>
                  <a:pt x="1685" y="1518"/>
                </a:lnTo>
                <a:lnTo>
                  <a:pt x="1687" y="1530"/>
                </a:lnTo>
                <a:lnTo>
                  <a:pt x="1687" y="1543"/>
                </a:lnTo>
                <a:lnTo>
                  <a:pt x="1689" y="1542"/>
                </a:lnTo>
                <a:lnTo>
                  <a:pt x="1697" y="1536"/>
                </a:lnTo>
                <a:lnTo>
                  <a:pt x="1705" y="1528"/>
                </a:lnTo>
                <a:lnTo>
                  <a:pt x="1711" y="1518"/>
                </a:lnTo>
                <a:lnTo>
                  <a:pt x="1714" y="1511"/>
                </a:lnTo>
                <a:lnTo>
                  <a:pt x="1719" y="1504"/>
                </a:lnTo>
                <a:lnTo>
                  <a:pt x="1722" y="1501"/>
                </a:lnTo>
                <a:lnTo>
                  <a:pt x="1725" y="1500"/>
                </a:lnTo>
                <a:lnTo>
                  <a:pt x="1729" y="1500"/>
                </a:lnTo>
                <a:lnTo>
                  <a:pt x="1731" y="1504"/>
                </a:lnTo>
                <a:lnTo>
                  <a:pt x="1732" y="1511"/>
                </a:lnTo>
                <a:lnTo>
                  <a:pt x="1733" y="1524"/>
                </a:lnTo>
                <a:lnTo>
                  <a:pt x="1733" y="1530"/>
                </a:lnTo>
                <a:lnTo>
                  <a:pt x="1733" y="1537"/>
                </a:lnTo>
                <a:lnTo>
                  <a:pt x="1732" y="1543"/>
                </a:lnTo>
                <a:lnTo>
                  <a:pt x="1731" y="1548"/>
                </a:lnTo>
                <a:lnTo>
                  <a:pt x="1725" y="1556"/>
                </a:lnTo>
                <a:lnTo>
                  <a:pt x="1719" y="1563"/>
                </a:lnTo>
                <a:lnTo>
                  <a:pt x="1712" y="1570"/>
                </a:lnTo>
                <a:lnTo>
                  <a:pt x="1705" y="1575"/>
                </a:lnTo>
                <a:lnTo>
                  <a:pt x="1694" y="1583"/>
                </a:lnTo>
                <a:lnTo>
                  <a:pt x="1689" y="1589"/>
                </a:lnTo>
                <a:lnTo>
                  <a:pt x="1691" y="1599"/>
                </a:lnTo>
                <a:lnTo>
                  <a:pt x="1693" y="1608"/>
                </a:lnTo>
                <a:lnTo>
                  <a:pt x="1695" y="1619"/>
                </a:lnTo>
                <a:lnTo>
                  <a:pt x="1699" y="1630"/>
                </a:lnTo>
                <a:lnTo>
                  <a:pt x="1700" y="1633"/>
                </a:lnTo>
                <a:lnTo>
                  <a:pt x="1704" y="1635"/>
                </a:lnTo>
                <a:lnTo>
                  <a:pt x="1706" y="1636"/>
                </a:lnTo>
                <a:lnTo>
                  <a:pt x="1711" y="1633"/>
                </a:lnTo>
                <a:lnTo>
                  <a:pt x="1720" y="1629"/>
                </a:lnTo>
                <a:lnTo>
                  <a:pt x="1727" y="1627"/>
                </a:lnTo>
                <a:lnTo>
                  <a:pt x="1731" y="1627"/>
                </a:lnTo>
                <a:lnTo>
                  <a:pt x="1735" y="1629"/>
                </a:lnTo>
                <a:lnTo>
                  <a:pt x="1737" y="1632"/>
                </a:lnTo>
                <a:lnTo>
                  <a:pt x="1739" y="1636"/>
                </a:lnTo>
                <a:lnTo>
                  <a:pt x="1743" y="1644"/>
                </a:lnTo>
                <a:lnTo>
                  <a:pt x="1745" y="1649"/>
                </a:lnTo>
                <a:lnTo>
                  <a:pt x="1748" y="1649"/>
                </a:lnTo>
                <a:lnTo>
                  <a:pt x="1749" y="1649"/>
                </a:lnTo>
                <a:lnTo>
                  <a:pt x="1751" y="1646"/>
                </a:lnTo>
                <a:lnTo>
                  <a:pt x="1754" y="1644"/>
                </a:lnTo>
                <a:lnTo>
                  <a:pt x="1760" y="1637"/>
                </a:lnTo>
                <a:lnTo>
                  <a:pt x="1764" y="1635"/>
                </a:lnTo>
                <a:lnTo>
                  <a:pt x="1767" y="1633"/>
                </a:lnTo>
                <a:lnTo>
                  <a:pt x="1769" y="1635"/>
                </a:lnTo>
                <a:lnTo>
                  <a:pt x="1771" y="1636"/>
                </a:lnTo>
                <a:lnTo>
                  <a:pt x="1774" y="1637"/>
                </a:lnTo>
                <a:lnTo>
                  <a:pt x="1776" y="1639"/>
                </a:lnTo>
                <a:lnTo>
                  <a:pt x="1780" y="1639"/>
                </a:lnTo>
                <a:lnTo>
                  <a:pt x="1782" y="1639"/>
                </a:lnTo>
                <a:lnTo>
                  <a:pt x="1785" y="1637"/>
                </a:lnTo>
                <a:lnTo>
                  <a:pt x="1790" y="1631"/>
                </a:lnTo>
                <a:lnTo>
                  <a:pt x="1796" y="1622"/>
                </a:lnTo>
                <a:lnTo>
                  <a:pt x="1806" y="1606"/>
                </a:lnTo>
                <a:lnTo>
                  <a:pt x="1818" y="1587"/>
                </a:lnTo>
                <a:lnTo>
                  <a:pt x="1831" y="1566"/>
                </a:lnTo>
                <a:lnTo>
                  <a:pt x="1844" y="1548"/>
                </a:lnTo>
                <a:lnTo>
                  <a:pt x="1853" y="1537"/>
                </a:lnTo>
                <a:lnTo>
                  <a:pt x="1863" y="1525"/>
                </a:lnTo>
                <a:lnTo>
                  <a:pt x="1875" y="1513"/>
                </a:lnTo>
                <a:lnTo>
                  <a:pt x="1887" y="1500"/>
                </a:lnTo>
                <a:lnTo>
                  <a:pt x="1900" y="1488"/>
                </a:lnTo>
                <a:lnTo>
                  <a:pt x="1912" y="1478"/>
                </a:lnTo>
                <a:lnTo>
                  <a:pt x="1915" y="1475"/>
                </a:lnTo>
                <a:lnTo>
                  <a:pt x="1918" y="1475"/>
                </a:lnTo>
                <a:lnTo>
                  <a:pt x="1919" y="1478"/>
                </a:lnTo>
                <a:lnTo>
                  <a:pt x="1919" y="1484"/>
                </a:lnTo>
                <a:lnTo>
                  <a:pt x="1920" y="1494"/>
                </a:lnTo>
                <a:lnTo>
                  <a:pt x="1921" y="1506"/>
                </a:lnTo>
                <a:lnTo>
                  <a:pt x="1922" y="1517"/>
                </a:lnTo>
                <a:lnTo>
                  <a:pt x="1924" y="1526"/>
                </a:lnTo>
                <a:lnTo>
                  <a:pt x="1924" y="1532"/>
                </a:lnTo>
                <a:lnTo>
                  <a:pt x="1925" y="1536"/>
                </a:lnTo>
                <a:lnTo>
                  <a:pt x="1927" y="1538"/>
                </a:lnTo>
                <a:lnTo>
                  <a:pt x="1930" y="1539"/>
                </a:lnTo>
                <a:lnTo>
                  <a:pt x="1936" y="1539"/>
                </a:lnTo>
                <a:lnTo>
                  <a:pt x="1946" y="1538"/>
                </a:lnTo>
                <a:lnTo>
                  <a:pt x="1952" y="1538"/>
                </a:lnTo>
                <a:lnTo>
                  <a:pt x="1958" y="1538"/>
                </a:lnTo>
                <a:lnTo>
                  <a:pt x="1963" y="1539"/>
                </a:lnTo>
                <a:lnTo>
                  <a:pt x="1968" y="1541"/>
                </a:lnTo>
                <a:lnTo>
                  <a:pt x="1972" y="1543"/>
                </a:lnTo>
                <a:lnTo>
                  <a:pt x="1976" y="1545"/>
                </a:lnTo>
                <a:lnTo>
                  <a:pt x="1980" y="1549"/>
                </a:lnTo>
                <a:lnTo>
                  <a:pt x="1981" y="1554"/>
                </a:lnTo>
                <a:lnTo>
                  <a:pt x="1983" y="1561"/>
                </a:lnTo>
                <a:lnTo>
                  <a:pt x="1983" y="1567"/>
                </a:lnTo>
                <a:lnTo>
                  <a:pt x="1982" y="1572"/>
                </a:lnTo>
                <a:lnTo>
                  <a:pt x="1981" y="1578"/>
                </a:lnTo>
                <a:lnTo>
                  <a:pt x="1976" y="1587"/>
                </a:lnTo>
                <a:lnTo>
                  <a:pt x="1971" y="1594"/>
                </a:lnTo>
                <a:lnTo>
                  <a:pt x="1970" y="1598"/>
                </a:lnTo>
                <a:lnTo>
                  <a:pt x="1970" y="1601"/>
                </a:lnTo>
                <a:lnTo>
                  <a:pt x="1971" y="1604"/>
                </a:lnTo>
                <a:lnTo>
                  <a:pt x="1972" y="1607"/>
                </a:lnTo>
                <a:lnTo>
                  <a:pt x="1980" y="1613"/>
                </a:lnTo>
                <a:lnTo>
                  <a:pt x="1989" y="1618"/>
                </a:lnTo>
                <a:lnTo>
                  <a:pt x="1994" y="1622"/>
                </a:lnTo>
                <a:lnTo>
                  <a:pt x="1997" y="1626"/>
                </a:lnTo>
                <a:lnTo>
                  <a:pt x="2000" y="1630"/>
                </a:lnTo>
                <a:lnTo>
                  <a:pt x="2001" y="1635"/>
                </a:lnTo>
                <a:lnTo>
                  <a:pt x="2001" y="1641"/>
                </a:lnTo>
                <a:lnTo>
                  <a:pt x="2000" y="1645"/>
                </a:lnTo>
                <a:lnTo>
                  <a:pt x="1997" y="1650"/>
                </a:lnTo>
                <a:lnTo>
                  <a:pt x="1994" y="1654"/>
                </a:lnTo>
                <a:lnTo>
                  <a:pt x="1983" y="1663"/>
                </a:lnTo>
                <a:lnTo>
                  <a:pt x="1971" y="1676"/>
                </a:lnTo>
                <a:lnTo>
                  <a:pt x="1960" y="1688"/>
                </a:lnTo>
                <a:lnTo>
                  <a:pt x="1952" y="1698"/>
                </a:lnTo>
                <a:lnTo>
                  <a:pt x="1949" y="1705"/>
                </a:lnTo>
                <a:lnTo>
                  <a:pt x="1946" y="1712"/>
                </a:lnTo>
                <a:lnTo>
                  <a:pt x="1946" y="1715"/>
                </a:lnTo>
                <a:lnTo>
                  <a:pt x="1946" y="1719"/>
                </a:lnTo>
                <a:lnTo>
                  <a:pt x="1949" y="1721"/>
                </a:lnTo>
                <a:lnTo>
                  <a:pt x="1951" y="1723"/>
                </a:lnTo>
                <a:lnTo>
                  <a:pt x="1966" y="1726"/>
                </a:lnTo>
                <a:lnTo>
                  <a:pt x="1980" y="1731"/>
                </a:lnTo>
                <a:lnTo>
                  <a:pt x="1982" y="1733"/>
                </a:lnTo>
                <a:lnTo>
                  <a:pt x="1982" y="1736"/>
                </a:lnTo>
                <a:lnTo>
                  <a:pt x="1982" y="1740"/>
                </a:lnTo>
                <a:lnTo>
                  <a:pt x="1981" y="1744"/>
                </a:lnTo>
                <a:lnTo>
                  <a:pt x="1978" y="1753"/>
                </a:lnTo>
                <a:lnTo>
                  <a:pt x="1976" y="1764"/>
                </a:lnTo>
                <a:lnTo>
                  <a:pt x="1976" y="1770"/>
                </a:lnTo>
                <a:lnTo>
                  <a:pt x="1977" y="1776"/>
                </a:lnTo>
                <a:lnTo>
                  <a:pt x="1980" y="1782"/>
                </a:lnTo>
                <a:lnTo>
                  <a:pt x="1982" y="1787"/>
                </a:lnTo>
                <a:lnTo>
                  <a:pt x="1989" y="1796"/>
                </a:lnTo>
                <a:lnTo>
                  <a:pt x="1995" y="1802"/>
                </a:lnTo>
                <a:lnTo>
                  <a:pt x="2002" y="1806"/>
                </a:lnTo>
                <a:lnTo>
                  <a:pt x="2009" y="1806"/>
                </a:lnTo>
                <a:lnTo>
                  <a:pt x="2012" y="1806"/>
                </a:lnTo>
                <a:lnTo>
                  <a:pt x="2014" y="1805"/>
                </a:lnTo>
                <a:lnTo>
                  <a:pt x="2015" y="1803"/>
                </a:lnTo>
                <a:lnTo>
                  <a:pt x="2016" y="1801"/>
                </a:lnTo>
                <a:lnTo>
                  <a:pt x="2018" y="1795"/>
                </a:lnTo>
                <a:lnTo>
                  <a:pt x="2020" y="1790"/>
                </a:lnTo>
                <a:lnTo>
                  <a:pt x="2021" y="1787"/>
                </a:lnTo>
                <a:lnTo>
                  <a:pt x="2023" y="1786"/>
                </a:lnTo>
                <a:lnTo>
                  <a:pt x="2025" y="1784"/>
                </a:lnTo>
                <a:lnTo>
                  <a:pt x="2028" y="1783"/>
                </a:lnTo>
                <a:lnTo>
                  <a:pt x="2033" y="1786"/>
                </a:lnTo>
                <a:lnTo>
                  <a:pt x="2039" y="1790"/>
                </a:lnTo>
                <a:lnTo>
                  <a:pt x="2044" y="1796"/>
                </a:lnTo>
                <a:lnTo>
                  <a:pt x="2048" y="1803"/>
                </a:lnTo>
                <a:lnTo>
                  <a:pt x="2053" y="1809"/>
                </a:lnTo>
                <a:lnTo>
                  <a:pt x="2057" y="1814"/>
                </a:lnTo>
                <a:lnTo>
                  <a:pt x="2058" y="1815"/>
                </a:lnTo>
                <a:lnTo>
                  <a:pt x="2060" y="1815"/>
                </a:lnTo>
                <a:lnTo>
                  <a:pt x="2063" y="1815"/>
                </a:lnTo>
                <a:lnTo>
                  <a:pt x="2065" y="1814"/>
                </a:lnTo>
                <a:lnTo>
                  <a:pt x="2072" y="1808"/>
                </a:lnTo>
                <a:lnTo>
                  <a:pt x="2077" y="1806"/>
                </a:lnTo>
                <a:lnTo>
                  <a:pt x="2082" y="1805"/>
                </a:lnTo>
                <a:lnTo>
                  <a:pt x="2084" y="1806"/>
                </a:lnTo>
                <a:lnTo>
                  <a:pt x="2085" y="1805"/>
                </a:lnTo>
                <a:lnTo>
                  <a:pt x="2088" y="1797"/>
                </a:lnTo>
                <a:lnTo>
                  <a:pt x="2089" y="1789"/>
                </a:lnTo>
                <a:lnTo>
                  <a:pt x="2094" y="1781"/>
                </a:lnTo>
                <a:lnTo>
                  <a:pt x="2113" y="1762"/>
                </a:lnTo>
                <a:lnTo>
                  <a:pt x="2128" y="1746"/>
                </a:lnTo>
                <a:lnTo>
                  <a:pt x="2130" y="1743"/>
                </a:lnTo>
                <a:lnTo>
                  <a:pt x="2134" y="1739"/>
                </a:lnTo>
                <a:lnTo>
                  <a:pt x="2136" y="1737"/>
                </a:lnTo>
                <a:lnTo>
                  <a:pt x="2140" y="1734"/>
                </a:lnTo>
                <a:lnTo>
                  <a:pt x="2148" y="1732"/>
                </a:lnTo>
                <a:lnTo>
                  <a:pt x="2157" y="1730"/>
                </a:lnTo>
                <a:lnTo>
                  <a:pt x="2167" y="1728"/>
                </a:lnTo>
                <a:lnTo>
                  <a:pt x="2177" y="1727"/>
                </a:lnTo>
                <a:lnTo>
                  <a:pt x="2182" y="1726"/>
                </a:lnTo>
                <a:lnTo>
                  <a:pt x="2186" y="1724"/>
                </a:lnTo>
                <a:lnTo>
                  <a:pt x="2190" y="1720"/>
                </a:lnTo>
                <a:lnTo>
                  <a:pt x="2192" y="1714"/>
                </a:lnTo>
                <a:lnTo>
                  <a:pt x="2196" y="1702"/>
                </a:lnTo>
                <a:lnTo>
                  <a:pt x="2197" y="1690"/>
                </a:lnTo>
                <a:lnTo>
                  <a:pt x="2198" y="1685"/>
                </a:lnTo>
                <a:lnTo>
                  <a:pt x="2199" y="1680"/>
                </a:lnTo>
                <a:lnTo>
                  <a:pt x="2202" y="1676"/>
                </a:lnTo>
                <a:lnTo>
                  <a:pt x="2204" y="1674"/>
                </a:lnTo>
                <a:lnTo>
                  <a:pt x="2209" y="1671"/>
                </a:lnTo>
                <a:lnTo>
                  <a:pt x="2214" y="1671"/>
                </a:lnTo>
                <a:lnTo>
                  <a:pt x="2218" y="1671"/>
                </a:lnTo>
                <a:lnTo>
                  <a:pt x="2224" y="1671"/>
                </a:lnTo>
                <a:lnTo>
                  <a:pt x="2235" y="1673"/>
                </a:lnTo>
                <a:lnTo>
                  <a:pt x="2245" y="1676"/>
                </a:lnTo>
                <a:lnTo>
                  <a:pt x="2256" y="1677"/>
                </a:lnTo>
                <a:lnTo>
                  <a:pt x="2273" y="1679"/>
                </a:lnTo>
                <a:lnTo>
                  <a:pt x="2281" y="1677"/>
                </a:lnTo>
                <a:lnTo>
                  <a:pt x="2291" y="1676"/>
                </a:lnTo>
                <a:lnTo>
                  <a:pt x="2299" y="1674"/>
                </a:lnTo>
                <a:lnTo>
                  <a:pt x="2306" y="1671"/>
                </a:lnTo>
                <a:lnTo>
                  <a:pt x="2318" y="1663"/>
                </a:lnTo>
                <a:lnTo>
                  <a:pt x="2329" y="1654"/>
                </a:lnTo>
                <a:lnTo>
                  <a:pt x="2336" y="1649"/>
                </a:lnTo>
                <a:lnTo>
                  <a:pt x="2342" y="1645"/>
                </a:lnTo>
                <a:lnTo>
                  <a:pt x="2350" y="1644"/>
                </a:lnTo>
                <a:lnTo>
                  <a:pt x="2359" y="1645"/>
                </a:lnTo>
                <a:lnTo>
                  <a:pt x="2367" y="1646"/>
                </a:lnTo>
                <a:lnTo>
                  <a:pt x="2375" y="1648"/>
                </a:lnTo>
                <a:lnTo>
                  <a:pt x="2384" y="1648"/>
                </a:lnTo>
                <a:lnTo>
                  <a:pt x="2392" y="1646"/>
                </a:lnTo>
                <a:lnTo>
                  <a:pt x="2406" y="1643"/>
                </a:lnTo>
                <a:lnTo>
                  <a:pt x="2421" y="1638"/>
                </a:lnTo>
                <a:lnTo>
                  <a:pt x="2426" y="1635"/>
                </a:lnTo>
                <a:lnTo>
                  <a:pt x="2432" y="1631"/>
                </a:lnTo>
                <a:lnTo>
                  <a:pt x="2437" y="1627"/>
                </a:lnTo>
                <a:lnTo>
                  <a:pt x="2440" y="1625"/>
                </a:lnTo>
                <a:lnTo>
                  <a:pt x="2441" y="1622"/>
                </a:lnTo>
                <a:lnTo>
                  <a:pt x="2441" y="1619"/>
                </a:lnTo>
                <a:lnTo>
                  <a:pt x="2437" y="1617"/>
                </a:lnTo>
                <a:lnTo>
                  <a:pt x="2432" y="1616"/>
                </a:lnTo>
                <a:lnTo>
                  <a:pt x="2426" y="1614"/>
                </a:lnTo>
                <a:lnTo>
                  <a:pt x="2422" y="1612"/>
                </a:lnTo>
                <a:lnTo>
                  <a:pt x="2419" y="1610"/>
                </a:lnTo>
                <a:lnTo>
                  <a:pt x="2418" y="1607"/>
                </a:lnTo>
                <a:lnTo>
                  <a:pt x="2418" y="1604"/>
                </a:lnTo>
                <a:lnTo>
                  <a:pt x="2418" y="1601"/>
                </a:lnTo>
                <a:lnTo>
                  <a:pt x="2419" y="1598"/>
                </a:lnTo>
                <a:lnTo>
                  <a:pt x="2422" y="1595"/>
                </a:lnTo>
                <a:lnTo>
                  <a:pt x="2425" y="1591"/>
                </a:lnTo>
                <a:lnTo>
                  <a:pt x="2430" y="1588"/>
                </a:lnTo>
                <a:lnTo>
                  <a:pt x="2436" y="1588"/>
                </a:lnTo>
                <a:lnTo>
                  <a:pt x="2443" y="1591"/>
                </a:lnTo>
                <a:lnTo>
                  <a:pt x="2447" y="1592"/>
                </a:lnTo>
                <a:lnTo>
                  <a:pt x="2450" y="1593"/>
                </a:lnTo>
                <a:lnTo>
                  <a:pt x="2453" y="1593"/>
                </a:lnTo>
                <a:lnTo>
                  <a:pt x="2454" y="1592"/>
                </a:lnTo>
                <a:lnTo>
                  <a:pt x="2455" y="1589"/>
                </a:lnTo>
                <a:lnTo>
                  <a:pt x="2455" y="1587"/>
                </a:lnTo>
                <a:lnTo>
                  <a:pt x="2454" y="1585"/>
                </a:lnTo>
                <a:lnTo>
                  <a:pt x="2453" y="1581"/>
                </a:lnTo>
                <a:lnTo>
                  <a:pt x="2451" y="1578"/>
                </a:lnTo>
                <a:lnTo>
                  <a:pt x="2451" y="1574"/>
                </a:lnTo>
                <a:lnTo>
                  <a:pt x="2453" y="1570"/>
                </a:lnTo>
                <a:lnTo>
                  <a:pt x="2455" y="1568"/>
                </a:lnTo>
                <a:lnTo>
                  <a:pt x="2460" y="1563"/>
                </a:lnTo>
                <a:lnTo>
                  <a:pt x="2467" y="1560"/>
                </a:lnTo>
                <a:lnTo>
                  <a:pt x="2474" y="1559"/>
                </a:lnTo>
                <a:lnTo>
                  <a:pt x="2484" y="1560"/>
                </a:lnTo>
                <a:lnTo>
                  <a:pt x="2487" y="1561"/>
                </a:lnTo>
                <a:lnTo>
                  <a:pt x="2492" y="1563"/>
                </a:lnTo>
                <a:lnTo>
                  <a:pt x="2497" y="1566"/>
                </a:lnTo>
                <a:lnTo>
                  <a:pt x="2501" y="1569"/>
                </a:lnTo>
                <a:lnTo>
                  <a:pt x="2505" y="1573"/>
                </a:lnTo>
                <a:lnTo>
                  <a:pt x="2510" y="1574"/>
                </a:lnTo>
                <a:lnTo>
                  <a:pt x="2513" y="1575"/>
                </a:lnTo>
                <a:lnTo>
                  <a:pt x="2517" y="1574"/>
                </a:lnTo>
                <a:lnTo>
                  <a:pt x="2520" y="1573"/>
                </a:lnTo>
                <a:lnTo>
                  <a:pt x="2523" y="1569"/>
                </a:lnTo>
                <a:lnTo>
                  <a:pt x="2523" y="1566"/>
                </a:lnTo>
                <a:lnTo>
                  <a:pt x="2524" y="1561"/>
                </a:lnTo>
                <a:lnTo>
                  <a:pt x="2522" y="1549"/>
                </a:lnTo>
                <a:lnTo>
                  <a:pt x="2520" y="1536"/>
                </a:lnTo>
                <a:lnTo>
                  <a:pt x="2518" y="1530"/>
                </a:lnTo>
                <a:lnTo>
                  <a:pt x="2517" y="1524"/>
                </a:lnTo>
                <a:lnTo>
                  <a:pt x="2514" y="1519"/>
                </a:lnTo>
                <a:lnTo>
                  <a:pt x="2512" y="1517"/>
                </a:lnTo>
                <a:lnTo>
                  <a:pt x="2510" y="1513"/>
                </a:lnTo>
                <a:lnTo>
                  <a:pt x="2508" y="1511"/>
                </a:lnTo>
                <a:lnTo>
                  <a:pt x="2507" y="1509"/>
                </a:lnTo>
                <a:lnTo>
                  <a:pt x="2508" y="1507"/>
                </a:lnTo>
                <a:lnTo>
                  <a:pt x="2510" y="1505"/>
                </a:lnTo>
                <a:lnTo>
                  <a:pt x="2512" y="1504"/>
                </a:lnTo>
                <a:lnTo>
                  <a:pt x="2516" y="1504"/>
                </a:lnTo>
                <a:lnTo>
                  <a:pt x="2520" y="1504"/>
                </a:lnTo>
                <a:lnTo>
                  <a:pt x="2532" y="1506"/>
                </a:lnTo>
                <a:lnTo>
                  <a:pt x="2544" y="1510"/>
                </a:lnTo>
                <a:lnTo>
                  <a:pt x="2556" y="1513"/>
                </a:lnTo>
                <a:lnTo>
                  <a:pt x="2563" y="1518"/>
                </a:lnTo>
                <a:lnTo>
                  <a:pt x="2568" y="1519"/>
                </a:lnTo>
                <a:lnTo>
                  <a:pt x="2573" y="1520"/>
                </a:lnTo>
                <a:lnTo>
                  <a:pt x="2579" y="1520"/>
                </a:lnTo>
                <a:lnTo>
                  <a:pt x="2585" y="1520"/>
                </a:lnTo>
                <a:lnTo>
                  <a:pt x="2592" y="1519"/>
                </a:lnTo>
                <a:lnTo>
                  <a:pt x="2598" y="1517"/>
                </a:lnTo>
                <a:lnTo>
                  <a:pt x="2602" y="1515"/>
                </a:lnTo>
                <a:lnTo>
                  <a:pt x="2607" y="1511"/>
                </a:lnTo>
                <a:lnTo>
                  <a:pt x="2613" y="1504"/>
                </a:lnTo>
                <a:lnTo>
                  <a:pt x="2620" y="1493"/>
                </a:lnTo>
                <a:lnTo>
                  <a:pt x="2624" y="1486"/>
                </a:lnTo>
                <a:lnTo>
                  <a:pt x="2627" y="1476"/>
                </a:lnTo>
                <a:lnTo>
                  <a:pt x="2631" y="1466"/>
                </a:lnTo>
                <a:lnTo>
                  <a:pt x="2633" y="1453"/>
                </a:lnTo>
                <a:lnTo>
                  <a:pt x="2637" y="1442"/>
                </a:lnTo>
                <a:lnTo>
                  <a:pt x="2639" y="1436"/>
                </a:lnTo>
                <a:lnTo>
                  <a:pt x="2643" y="1433"/>
                </a:lnTo>
                <a:lnTo>
                  <a:pt x="2646" y="1430"/>
                </a:lnTo>
                <a:lnTo>
                  <a:pt x="2659" y="1430"/>
                </a:lnTo>
                <a:lnTo>
                  <a:pt x="2680" y="1429"/>
                </a:lnTo>
                <a:lnTo>
                  <a:pt x="2700" y="1425"/>
                </a:lnTo>
                <a:lnTo>
                  <a:pt x="2713" y="1423"/>
                </a:lnTo>
                <a:lnTo>
                  <a:pt x="2721" y="1424"/>
                </a:lnTo>
                <a:lnTo>
                  <a:pt x="2727" y="1425"/>
                </a:lnTo>
                <a:lnTo>
                  <a:pt x="2734" y="1431"/>
                </a:lnTo>
                <a:lnTo>
                  <a:pt x="2741" y="1438"/>
                </a:lnTo>
                <a:lnTo>
                  <a:pt x="2746" y="1446"/>
                </a:lnTo>
                <a:lnTo>
                  <a:pt x="2752" y="1452"/>
                </a:lnTo>
                <a:lnTo>
                  <a:pt x="2758" y="1457"/>
                </a:lnTo>
                <a:lnTo>
                  <a:pt x="2766" y="1463"/>
                </a:lnTo>
                <a:lnTo>
                  <a:pt x="2772" y="1466"/>
                </a:lnTo>
                <a:lnTo>
                  <a:pt x="2781" y="1468"/>
                </a:lnTo>
                <a:lnTo>
                  <a:pt x="2790" y="1469"/>
                </a:lnTo>
                <a:lnTo>
                  <a:pt x="2801" y="1469"/>
                </a:lnTo>
                <a:lnTo>
                  <a:pt x="2809" y="1468"/>
                </a:lnTo>
                <a:lnTo>
                  <a:pt x="2816" y="1467"/>
                </a:lnTo>
                <a:lnTo>
                  <a:pt x="2821" y="1466"/>
                </a:lnTo>
                <a:lnTo>
                  <a:pt x="2826" y="1465"/>
                </a:lnTo>
                <a:lnTo>
                  <a:pt x="2833" y="1461"/>
                </a:lnTo>
                <a:lnTo>
                  <a:pt x="2841" y="1457"/>
                </a:lnTo>
                <a:lnTo>
                  <a:pt x="2848" y="1455"/>
                </a:lnTo>
                <a:lnTo>
                  <a:pt x="2867" y="1427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5" name="山东"/>
          <p:cNvSpPr/>
          <p:nvPr/>
        </p:nvSpPr>
        <p:spPr bwMode="auto">
          <a:xfrm>
            <a:off x="6937375" y="3023870"/>
            <a:ext cx="1069975" cy="683260"/>
          </a:xfrm>
          <a:custGeom>
            <a:avLst/>
            <a:gdLst>
              <a:gd name="T0" fmla="*/ 831 w 2606"/>
              <a:gd name="T1" fmla="*/ 153 h 1671"/>
              <a:gd name="T2" fmla="*/ 614 w 2606"/>
              <a:gd name="T3" fmla="*/ 197 h 1671"/>
              <a:gd name="T4" fmla="*/ 432 w 2606"/>
              <a:gd name="T5" fmla="*/ 342 h 1671"/>
              <a:gd name="T6" fmla="*/ 367 w 2606"/>
              <a:gd name="T7" fmla="*/ 411 h 1671"/>
              <a:gd name="T8" fmla="*/ 252 w 2606"/>
              <a:gd name="T9" fmla="*/ 665 h 1671"/>
              <a:gd name="T10" fmla="*/ 153 w 2606"/>
              <a:gd name="T11" fmla="*/ 883 h 1671"/>
              <a:gd name="T12" fmla="*/ 157 w 2606"/>
              <a:gd name="T13" fmla="*/ 1075 h 1671"/>
              <a:gd name="T14" fmla="*/ 237 w 2606"/>
              <a:gd name="T15" fmla="*/ 1070 h 1671"/>
              <a:gd name="T16" fmla="*/ 400 w 2606"/>
              <a:gd name="T17" fmla="*/ 1024 h 1671"/>
              <a:gd name="T18" fmla="*/ 286 w 2606"/>
              <a:gd name="T19" fmla="*/ 1117 h 1671"/>
              <a:gd name="T20" fmla="*/ 164 w 2606"/>
              <a:gd name="T21" fmla="*/ 1251 h 1671"/>
              <a:gd name="T22" fmla="*/ 27 w 2606"/>
              <a:gd name="T23" fmla="*/ 1393 h 1671"/>
              <a:gd name="T24" fmla="*/ 73 w 2606"/>
              <a:gd name="T25" fmla="*/ 1491 h 1671"/>
              <a:gd name="T26" fmla="*/ 213 w 2606"/>
              <a:gd name="T27" fmla="*/ 1586 h 1671"/>
              <a:gd name="T28" fmla="*/ 427 w 2606"/>
              <a:gd name="T29" fmla="*/ 1633 h 1671"/>
              <a:gd name="T30" fmla="*/ 550 w 2606"/>
              <a:gd name="T31" fmla="*/ 1564 h 1671"/>
              <a:gd name="T32" fmla="*/ 658 w 2606"/>
              <a:gd name="T33" fmla="*/ 1426 h 1671"/>
              <a:gd name="T34" fmla="*/ 701 w 2606"/>
              <a:gd name="T35" fmla="*/ 1437 h 1671"/>
              <a:gd name="T36" fmla="*/ 811 w 2606"/>
              <a:gd name="T37" fmla="*/ 1602 h 1671"/>
              <a:gd name="T38" fmla="*/ 1004 w 2606"/>
              <a:gd name="T39" fmla="*/ 1657 h 1671"/>
              <a:gd name="T40" fmla="*/ 1063 w 2606"/>
              <a:gd name="T41" fmla="*/ 1579 h 1671"/>
              <a:gd name="T42" fmla="*/ 1187 w 2606"/>
              <a:gd name="T43" fmla="*/ 1652 h 1671"/>
              <a:gd name="T44" fmla="*/ 1275 w 2606"/>
              <a:gd name="T45" fmla="*/ 1602 h 1671"/>
              <a:gd name="T46" fmla="*/ 1378 w 2606"/>
              <a:gd name="T47" fmla="*/ 1499 h 1671"/>
              <a:gd name="T48" fmla="*/ 1489 w 2606"/>
              <a:gd name="T49" fmla="*/ 1343 h 1671"/>
              <a:gd name="T50" fmla="*/ 1623 w 2606"/>
              <a:gd name="T51" fmla="*/ 1208 h 1671"/>
              <a:gd name="T52" fmla="*/ 1675 w 2606"/>
              <a:gd name="T53" fmla="*/ 1085 h 1671"/>
              <a:gd name="T54" fmla="*/ 1741 w 2606"/>
              <a:gd name="T55" fmla="*/ 1026 h 1671"/>
              <a:gd name="T56" fmla="*/ 1774 w 2606"/>
              <a:gd name="T57" fmla="*/ 964 h 1671"/>
              <a:gd name="T58" fmla="*/ 1824 w 2606"/>
              <a:gd name="T59" fmla="*/ 913 h 1671"/>
              <a:gd name="T60" fmla="*/ 1774 w 2606"/>
              <a:gd name="T61" fmla="*/ 823 h 1671"/>
              <a:gd name="T62" fmla="*/ 1847 w 2606"/>
              <a:gd name="T63" fmla="*/ 800 h 1671"/>
              <a:gd name="T64" fmla="*/ 1886 w 2606"/>
              <a:gd name="T65" fmla="*/ 879 h 1671"/>
              <a:gd name="T66" fmla="*/ 1982 w 2606"/>
              <a:gd name="T67" fmla="*/ 800 h 1671"/>
              <a:gd name="T68" fmla="*/ 2006 w 2606"/>
              <a:gd name="T69" fmla="*/ 675 h 1671"/>
              <a:gd name="T70" fmla="*/ 2040 w 2606"/>
              <a:gd name="T71" fmla="*/ 681 h 1671"/>
              <a:gd name="T72" fmla="*/ 1990 w 2606"/>
              <a:gd name="T73" fmla="*/ 641 h 1671"/>
              <a:gd name="T74" fmla="*/ 2059 w 2606"/>
              <a:gd name="T75" fmla="*/ 628 h 1671"/>
              <a:gd name="T76" fmla="*/ 2204 w 2606"/>
              <a:gd name="T77" fmla="*/ 495 h 1671"/>
              <a:gd name="T78" fmla="*/ 2241 w 2606"/>
              <a:gd name="T79" fmla="*/ 531 h 1671"/>
              <a:gd name="T80" fmla="*/ 2373 w 2606"/>
              <a:gd name="T81" fmla="*/ 397 h 1671"/>
              <a:gd name="T82" fmla="*/ 2440 w 2606"/>
              <a:gd name="T83" fmla="*/ 381 h 1671"/>
              <a:gd name="T84" fmla="*/ 2536 w 2606"/>
              <a:gd name="T85" fmla="*/ 458 h 1671"/>
              <a:gd name="T86" fmla="*/ 2541 w 2606"/>
              <a:gd name="T87" fmla="*/ 376 h 1671"/>
              <a:gd name="T88" fmla="*/ 2579 w 2606"/>
              <a:gd name="T89" fmla="*/ 294 h 1671"/>
              <a:gd name="T90" fmla="*/ 2592 w 2606"/>
              <a:gd name="T91" fmla="*/ 187 h 1671"/>
              <a:gd name="T92" fmla="*/ 2428 w 2606"/>
              <a:gd name="T93" fmla="*/ 162 h 1671"/>
              <a:gd name="T94" fmla="*/ 2347 w 2606"/>
              <a:gd name="T95" fmla="*/ 220 h 1671"/>
              <a:gd name="T96" fmla="*/ 2188 w 2606"/>
              <a:gd name="T97" fmla="*/ 212 h 1671"/>
              <a:gd name="T98" fmla="*/ 2070 w 2606"/>
              <a:gd name="T99" fmla="*/ 138 h 1671"/>
              <a:gd name="T100" fmla="*/ 1975 w 2606"/>
              <a:gd name="T101" fmla="*/ 81 h 1671"/>
              <a:gd name="T102" fmla="*/ 1761 w 2606"/>
              <a:gd name="T103" fmla="*/ 159 h 1671"/>
              <a:gd name="T104" fmla="*/ 1734 w 2606"/>
              <a:gd name="T105" fmla="*/ 264 h 1671"/>
              <a:gd name="T106" fmla="*/ 1665 w 2606"/>
              <a:gd name="T107" fmla="*/ 376 h 1671"/>
              <a:gd name="T108" fmla="*/ 1427 w 2606"/>
              <a:gd name="T109" fmla="*/ 440 h 1671"/>
              <a:gd name="T110" fmla="*/ 1344 w 2606"/>
              <a:gd name="T111" fmla="*/ 226 h 1671"/>
              <a:gd name="T112" fmla="*/ 1369 w 2606"/>
              <a:gd name="T113" fmla="*/ 142 h 1671"/>
              <a:gd name="T114" fmla="*/ 1251 w 2606"/>
              <a:gd name="T115" fmla="*/ 4 h 1671"/>
              <a:gd name="T116" fmla="*/ 1145 w 2606"/>
              <a:gd name="T117" fmla="*/ 42 h 1671"/>
              <a:gd name="T118" fmla="*/ 1023 w 2606"/>
              <a:gd name="T119" fmla="*/ 115 h 1671"/>
              <a:gd name="T120" fmla="*/ 961 w 2606"/>
              <a:gd name="T121" fmla="*/ 51 h 1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06" h="1671">
                <a:moveTo>
                  <a:pt x="923" y="0"/>
                </a:moveTo>
                <a:lnTo>
                  <a:pt x="923" y="12"/>
                </a:lnTo>
                <a:lnTo>
                  <a:pt x="921" y="27"/>
                </a:lnTo>
                <a:lnTo>
                  <a:pt x="918" y="36"/>
                </a:lnTo>
                <a:lnTo>
                  <a:pt x="913" y="43"/>
                </a:lnTo>
                <a:lnTo>
                  <a:pt x="906" y="50"/>
                </a:lnTo>
                <a:lnTo>
                  <a:pt x="898" y="56"/>
                </a:lnTo>
                <a:lnTo>
                  <a:pt x="892" y="60"/>
                </a:lnTo>
                <a:lnTo>
                  <a:pt x="885" y="64"/>
                </a:lnTo>
                <a:lnTo>
                  <a:pt x="874" y="71"/>
                </a:lnTo>
                <a:lnTo>
                  <a:pt x="865" y="80"/>
                </a:lnTo>
                <a:lnTo>
                  <a:pt x="860" y="83"/>
                </a:lnTo>
                <a:lnTo>
                  <a:pt x="856" y="88"/>
                </a:lnTo>
                <a:lnTo>
                  <a:pt x="853" y="93"/>
                </a:lnTo>
                <a:lnTo>
                  <a:pt x="850" y="98"/>
                </a:lnTo>
                <a:lnTo>
                  <a:pt x="848" y="102"/>
                </a:lnTo>
                <a:lnTo>
                  <a:pt x="847" y="107"/>
                </a:lnTo>
                <a:lnTo>
                  <a:pt x="843" y="118"/>
                </a:lnTo>
                <a:lnTo>
                  <a:pt x="840" y="127"/>
                </a:lnTo>
                <a:lnTo>
                  <a:pt x="837" y="137"/>
                </a:lnTo>
                <a:lnTo>
                  <a:pt x="835" y="145"/>
                </a:lnTo>
                <a:lnTo>
                  <a:pt x="833" y="150"/>
                </a:lnTo>
                <a:lnTo>
                  <a:pt x="831" y="153"/>
                </a:lnTo>
                <a:lnTo>
                  <a:pt x="829" y="157"/>
                </a:lnTo>
                <a:lnTo>
                  <a:pt x="827" y="159"/>
                </a:lnTo>
                <a:lnTo>
                  <a:pt x="822" y="163"/>
                </a:lnTo>
                <a:lnTo>
                  <a:pt x="817" y="164"/>
                </a:lnTo>
                <a:lnTo>
                  <a:pt x="812" y="165"/>
                </a:lnTo>
                <a:lnTo>
                  <a:pt x="806" y="167"/>
                </a:lnTo>
                <a:lnTo>
                  <a:pt x="795" y="169"/>
                </a:lnTo>
                <a:lnTo>
                  <a:pt x="784" y="170"/>
                </a:lnTo>
                <a:lnTo>
                  <a:pt x="772" y="173"/>
                </a:lnTo>
                <a:lnTo>
                  <a:pt x="760" y="174"/>
                </a:lnTo>
                <a:lnTo>
                  <a:pt x="747" y="175"/>
                </a:lnTo>
                <a:lnTo>
                  <a:pt x="732" y="177"/>
                </a:lnTo>
                <a:lnTo>
                  <a:pt x="720" y="180"/>
                </a:lnTo>
                <a:lnTo>
                  <a:pt x="707" y="183"/>
                </a:lnTo>
                <a:lnTo>
                  <a:pt x="693" y="186"/>
                </a:lnTo>
                <a:lnTo>
                  <a:pt x="679" y="189"/>
                </a:lnTo>
                <a:lnTo>
                  <a:pt x="666" y="190"/>
                </a:lnTo>
                <a:lnTo>
                  <a:pt x="654" y="190"/>
                </a:lnTo>
                <a:lnTo>
                  <a:pt x="642" y="192"/>
                </a:lnTo>
                <a:lnTo>
                  <a:pt x="630" y="193"/>
                </a:lnTo>
                <a:lnTo>
                  <a:pt x="625" y="194"/>
                </a:lnTo>
                <a:lnTo>
                  <a:pt x="620" y="195"/>
                </a:lnTo>
                <a:lnTo>
                  <a:pt x="614" y="197"/>
                </a:lnTo>
                <a:lnTo>
                  <a:pt x="608" y="201"/>
                </a:lnTo>
                <a:lnTo>
                  <a:pt x="603" y="205"/>
                </a:lnTo>
                <a:lnTo>
                  <a:pt x="598" y="209"/>
                </a:lnTo>
                <a:lnTo>
                  <a:pt x="594" y="215"/>
                </a:lnTo>
                <a:lnTo>
                  <a:pt x="590" y="222"/>
                </a:lnTo>
                <a:lnTo>
                  <a:pt x="576" y="250"/>
                </a:lnTo>
                <a:lnTo>
                  <a:pt x="563" y="274"/>
                </a:lnTo>
                <a:lnTo>
                  <a:pt x="557" y="284"/>
                </a:lnTo>
                <a:lnTo>
                  <a:pt x="548" y="294"/>
                </a:lnTo>
                <a:lnTo>
                  <a:pt x="540" y="302"/>
                </a:lnTo>
                <a:lnTo>
                  <a:pt x="531" y="310"/>
                </a:lnTo>
                <a:lnTo>
                  <a:pt x="512" y="325"/>
                </a:lnTo>
                <a:lnTo>
                  <a:pt x="499" y="335"/>
                </a:lnTo>
                <a:lnTo>
                  <a:pt x="491" y="339"/>
                </a:lnTo>
                <a:lnTo>
                  <a:pt x="484" y="340"/>
                </a:lnTo>
                <a:lnTo>
                  <a:pt x="477" y="339"/>
                </a:lnTo>
                <a:lnTo>
                  <a:pt x="468" y="337"/>
                </a:lnTo>
                <a:lnTo>
                  <a:pt x="459" y="333"/>
                </a:lnTo>
                <a:lnTo>
                  <a:pt x="452" y="331"/>
                </a:lnTo>
                <a:lnTo>
                  <a:pt x="446" y="331"/>
                </a:lnTo>
                <a:lnTo>
                  <a:pt x="440" y="333"/>
                </a:lnTo>
                <a:lnTo>
                  <a:pt x="437" y="337"/>
                </a:lnTo>
                <a:lnTo>
                  <a:pt x="432" y="342"/>
                </a:lnTo>
                <a:lnTo>
                  <a:pt x="427" y="352"/>
                </a:lnTo>
                <a:lnTo>
                  <a:pt x="421" y="363"/>
                </a:lnTo>
                <a:lnTo>
                  <a:pt x="419" y="370"/>
                </a:lnTo>
                <a:lnTo>
                  <a:pt x="418" y="375"/>
                </a:lnTo>
                <a:lnTo>
                  <a:pt x="418" y="379"/>
                </a:lnTo>
                <a:lnTo>
                  <a:pt x="419" y="384"/>
                </a:lnTo>
                <a:lnTo>
                  <a:pt x="421" y="390"/>
                </a:lnTo>
                <a:lnTo>
                  <a:pt x="425" y="396"/>
                </a:lnTo>
                <a:lnTo>
                  <a:pt x="427" y="400"/>
                </a:lnTo>
                <a:lnTo>
                  <a:pt x="430" y="403"/>
                </a:lnTo>
                <a:lnTo>
                  <a:pt x="430" y="405"/>
                </a:lnTo>
                <a:lnTo>
                  <a:pt x="428" y="407"/>
                </a:lnTo>
                <a:lnTo>
                  <a:pt x="426" y="409"/>
                </a:lnTo>
                <a:lnTo>
                  <a:pt x="424" y="411"/>
                </a:lnTo>
                <a:lnTo>
                  <a:pt x="419" y="414"/>
                </a:lnTo>
                <a:lnTo>
                  <a:pt x="415" y="415"/>
                </a:lnTo>
                <a:lnTo>
                  <a:pt x="412" y="415"/>
                </a:lnTo>
                <a:lnTo>
                  <a:pt x="407" y="415"/>
                </a:lnTo>
                <a:lnTo>
                  <a:pt x="399" y="413"/>
                </a:lnTo>
                <a:lnTo>
                  <a:pt x="389" y="411"/>
                </a:lnTo>
                <a:lnTo>
                  <a:pt x="380" y="410"/>
                </a:lnTo>
                <a:lnTo>
                  <a:pt x="371" y="410"/>
                </a:lnTo>
                <a:lnTo>
                  <a:pt x="367" y="411"/>
                </a:lnTo>
                <a:lnTo>
                  <a:pt x="363" y="414"/>
                </a:lnTo>
                <a:lnTo>
                  <a:pt x="358" y="417"/>
                </a:lnTo>
                <a:lnTo>
                  <a:pt x="354" y="422"/>
                </a:lnTo>
                <a:lnTo>
                  <a:pt x="346" y="434"/>
                </a:lnTo>
                <a:lnTo>
                  <a:pt x="338" y="448"/>
                </a:lnTo>
                <a:lnTo>
                  <a:pt x="330" y="466"/>
                </a:lnTo>
                <a:lnTo>
                  <a:pt x="321" y="485"/>
                </a:lnTo>
                <a:lnTo>
                  <a:pt x="313" y="508"/>
                </a:lnTo>
                <a:lnTo>
                  <a:pt x="306" y="533"/>
                </a:lnTo>
                <a:lnTo>
                  <a:pt x="301" y="555"/>
                </a:lnTo>
                <a:lnTo>
                  <a:pt x="296" y="574"/>
                </a:lnTo>
                <a:lnTo>
                  <a:pt x="294" y="580"/>
                </a:lnTo>
                <a:lnTo>
                  <a:pt x="292" y="586"/>
                </a:lnTo>
                <a:lnTo>
                  <a:pt x="288" y="591"/>
                </a:lnTo>
                <a:lnTo>
                  <a:pt x="285" y="597"/>
                </a:lnTo>
                <a:lnTo>
                  <a:pt x="277" y="606"/>
                </a:lnTo>
                <a:lnTo>
                  <a:pt x="271" y="616"/>
                </a:lnTo>
                <a:lnTo>
                  <a:pt x="267" y="630"/>
                </a:lnTo>
                <a:lnTo>
                  <a:pt x="263" y="644"/>
                </a:lnTo>
                <a:lnTo>
                  <a:pt x="261" y="650"/>
                </a:lnTo>
                <a:lnTo>
                  <a:pt x="258" y="656"/>
                </a:lnTo>
                <a:lnTo>
                  <a:pt x="256" y="661"/>
                </a:lnTo>
                <a:lnTo>
                  <a:pt x="252" y="665"/>
                </a:lnTo>
                <a:lnTo>
                  <a:pt x="235" y="676"/>
                </a:lnTo>
                <a:lnTo>
                  <a:pt x="214" y="688"/>
                </a:lnTo>
                <a:lnTo>
                  <a:pt x="204" y="694"/>
                </a:lnTo>
                <a:lnTo>
                  <a:pt x="194" y="701"/>
                </a:lnTo>
                <a:lnTo>
                  <a:pt x="185" y="711"/>
                </a:lnTo>
                <a:lnTo>
                  <a:pt x="178" y="722"/>
                </a:lnTo>
                <a:lnTo>
                  <a:pt x="162" y="747"/>
                </a:lnTo>
                <a:lnTo>
                  <a:pt x="147" y="774"/>
                </a:lnTo>
                <a:lnTo>
                  <a:pt x="140" y="787"/>
                </a:lnTo>
                <a:lnTo>
                  <a:pt x="134" y="799"/>
                </a:lnTo>
                <a:lnTo>
                  <a:pt x="129" y="812"/>
                </a:lnTo>
                <a:lnTo>
                  <a:pt x="126" y="823"/>
                </a:lnTo>
                <a:lnTo>
                  <a:pt x="125" y="832"/>
                </a:lnTo>
                <a:lnTo>
                  <a:pt x="125" y="842"/>
                </a:lnTo>
                <a:lnTo>
                  <a:pt x="125" y="850"/>
                </a:lnTo>
                <a:lnTo>
                  <a:pt x="126" y="856"/>
                </a:lnTo>
                <a:lnTo>
                  <a:pt x="130" y="867"/>
                </a:lnTo>
                <a:lnTo>
                  <a:pt x="132" y="874"/>
                </a:lnTo>
                <a:lnTo>
                  <a:pt x="135" y="876"/>
                </a:lnTo>
                <a:lnTo>
                  <a:pt x="137" y="877"/>
                </a:lnTo>
                <a:lnTo>
                  <a:pt x="140" y="880"/>
                </a:lnTo>
                <a:lnTo>
                  <a:pt x="143" y="881"/>
                </a:lnTo>
                <a:lnTo>
                  <a:pt x="153" y="883"/>
                </a:lnTo>
                <a:lnTo>
                  <a:pt x="163" y="889"/>
                </a:lnTo>
                <a:lnTo>
                  <a:pt x="169" y="893"/>
                </a:lnTo>
                <a:lnTo>
                  <a:pt x="174" y="898"/>
                </a:lnTo>
                <a:lnTo>
                  <a:pt x="179" y="902"/>
                </a:lnTo>
                <a:lnTo>
                  <a:pt x="182" y="908"/>
                </a:lnTo>
                <a:lnTo>
                  <a:pt x="188" y="919"/>
                </a:lnTo>
                <a:lnTo>
                  <a:pt x="193" y="931"/>
                </a:lnTo>
                <a:lnTo>
                  <a:pt x="198" y="947"/>
                </a:lnTo>
                <a:lnTo>
                  <a:pt x="200" y="958"/>
                </a:lnTo>
                <a:lnTo>
                  <a:pt x="203" y="965"/>
                </a:lnTo>
                <a:lnTo>
                  <a:pt x="204" y="974"/>
                </a:lnTo>
                <a:lnTo>
                  <a:pt x="204" y="986"/>
                </a:lnTo>
                <a:lnTo>
                  <a:pt x="200" y="1001"/>
                </a:lnTo>
                <a:lnTo>
                  <a:pt x="197" y="1010"/>
                </a:lnTo>
                <a:lnTo>
                  <a:pt x="192" y="1021"/>
                </a:lnTo>
                <a:lnTo>
                  <a:pt x="187" y="1029"/>
                </a:lnTo>
                <a:lnTo>
                  <a:pt x="182" y="1035"/>
                </a:lnTo>
                <a:lnTo>
                  <a:pt x="173" y="1043"/>
                </a:lnTo>
                <a:lnTo>
                  <a:pt x="164" y="1050"/>
                </a:lnTo>
                <a:lnTo>
                  <a:pt x="162" y="1054"/>
                </a:lnTo>
                <a:lnTo>
                  <a:pt x="160" y="1060"/>
                </a:lnTo>
                <a:lnTo>
                  <a:pt x="159" y="1068"/>
                </a:lnTo>
                <a:lnTo>
                  <a:pt x="157" y="1075"/>
                </a:lnTo>
                <a:lnTo>
                  <a:pt x="157" y="1091"/>
                </a:lnTo>
                <a:lnTo>
                  <a:pt x="156" y="1106"/>
                </a:lnTo>
                <a:lnTo>
                  <a:pt x="157" y="1110"/>
                </a:lnTo>
                <a:lnTo>
                  <a:pt x="160" y="1114"/>
                </a:lnTo>
                <a:lnTo>
                  <a:pt x="164" y="1116"/>
                </a:lnTo>
                <a:lnTo>
                  <a:pt x="169" y="1116"/>
                </a:lnTo>
                <a:lnTo>
                  <a:pt x="174" y="1115"/>
                </a:lnTo>
                <a:lnTo>
                  <a:pt x="180" y="1113"/>
                </a:lnTo>
                <a:lnTo>
                  <a:pt x="184" y="1108"/>
                </a:lnTo>
                <a:lnTo>
                  <a:pt x="186" y="1101"/>
                </a:lnTo>
                <a:lnTo>
                  <a:pt x="187" y="1089"/>
                </a:lnTo>
                <a:lnTo>
                  <a:pt x="186" y="1075"/>
                </a:lnTo>
                <a:lnTo>
                  <a:pt x="186" y="1069"/>
                </a:lnTo>
                <a:lnTo>
                  <a:pt x="187" y="1063"/>
                </a:lnTo>
                <a:lnTo>
                  <a:pt x="189" y="1057"/>
                </a:lnTo>
                <a:lnTo>
                  <a:pt x="192" y="1052"/>
                </a:lnTo>
                <a:lnTo>
                  <a:pt x="195" y="1052"/>
                </a:lnTo>
                <a:lnTo>
                  <a:pt x="201" y="1053"/>
                </a:lnTo>
                <a:lnTo>
                  <a:pt x="207" y="1056"/>
                </a:lnTo>
                <a:lnTo>
                  <a:pt x="214" y="1059"/>
                </a:lnTo>
                <a:lnTo>
                  <a:pt x="224" y="1064"/>
                </a:lnTo>
                <a:lnTo>
                  <a:pt x="232" y="1069"/>
                </a:lnTo>
                <a:lnTo>
                  <a:pt x="237" y="1070"/>
                </a:lnTo>
                <a:lnTo>
                  <a:pt x="241" y="1070"/>
                </a:lnTo>
                <a:lnTo>
                  <a:pt x="244" y="1070"/>
                </a:lnTo>
                <a:lnTo>
                  <a:pt x="248" y="1068"/>
                </a:lnTo>
                <a:lnTo>
                  <a:pt x="256" y="1060"/>
                </a:lnTo>
                <a:lnTo>
                  <a:pt x="269" y="1051"/>
                </a:lnTo>
                <a:lnTo>
                  <a:pt x="286" y="1040"/>
                </a:lnTo>
                <a:lnTo>
                  <a:pt x="307" y="1029"/>
                </a:lnTo>
                <a:lnTo>
                  <a:pt x="327" y="1021"/>
                </a:lnTo>
                <a:lnTo>
                  <a:pt x="343" y="1014"/>
                </a:lnTo>
                <a:lnTo>
                  <a:pt x="357" y="1007"/>
                </a:lnTo>
                <a:lnTo>
                  <a:pt x="371" y="1000"/>
                </a:lnTo>
                <a:lnTo>
                  <a:pt x="386" y="991"/>
                </a:lnTo>
                <a:lnTo>
                  <a:pt x="396" y="987"/>
                </a:lnTo>
                <a:lnTo>
                  <a:pt x="405" y="984"/>
                </a:lnTo>
                <a:lnTo>
                  <a:pt x="409" y="984"/>
                </a:lnTo>
                <a:lnTo>
                  <a:pt x="412" y="986"/>
                </a:lnTo>
                <a:lnTo>
                  <a:pt x="413" y="986"/>
                </a:lnTo>
                <a:lnTo>
                  <a:pt x="413" y="988"/>
                </a:lnTo>
                <a:lnTo>
                  <a:pt x="413" y="989"/>
                </a:lnTo>
                <a:lnTo>
                  <a:pt x="412" y="999"/>
                </a:lnTo>
                <a:lnTo>
                  <a:pt x="407" y="1012"/>
                </a:lnTo>
                <a:lnTo>
                  <a:pt x="405" y="1019"/>
                </a:lnTo>
                <a:lnTo>
                  <a:pt x="400" y="1024"/>
                </a:lnTo>
                <a:lnTo>
                  <a:pt x="395" y="1027"/>
                </a:lnTo>
                <a:lnTo>
                  <a:pt x="389" y="1031"/>
                </a:lnTo>
                <a:lnTo>
                  <a:pt x="376" y="1034"/>
                </a:lnTo>
                <a:lnTo>
                  <a:pt x="364" y="1035"/>
                </a:lnTo>
                <a:lnTo>
                  <a:pt x="359" y="1038"/>
                </a:lnTo>
                <a:lnTo>
                  <a:pt x="356" y="1040"/>
                </a:lnTo>
                <a:lnTo>
                  <a:pt x="352" y="1043"/>
                </a:lnTo>
                <a:lnTo>
                  <a:pt x="349" y="1047"/>
                </a:lnTo>
                <a:lnTo>
                  <a:pt x="345" y="1052"/>
                </a:lnTo>
                <a:lnTo>
                  <a:pt x="344" y="1058"/>
                </a:lnTo>
                <a:lnTo>
                  <a:pt x="342" y="1064"/>
                </a:lnTo>
                <a:lnTo>
                  <a:pt x="340" y="1071"/>
                </a:lnTo>
                <a:lnTo>
                  <a:pt x="339" y="1077"/>
                </a:lnTo>
                <a:lnTo>
                  <a:pt x="336" y="1081"/>
                </a:lnTo>
                <a:lnTo>
                  <a:pt x="333" y="1084"/>
                </a:lnTo>
                <a:lnTo>
                  <a:pt x="329" y="1087"/>
                </a:lnTo>
                <a:lnTo>
                  <a:pt x="319" y="1089"/>
                </a:lnTo>
                <a:lnTo>
                  <a:pt x="310" y="1089"/>
                </a:lnTo>
                <a:lnTo>
                  <a:pt x="305" y="1090"/>
                </a:lnTo>
                <a:lnTo>
                  <a:pt x="300" y="1094"/>
                </a:lnTo>
                <a:lnTo>
                  <a:pt x="296" y="1098"/>
                </a:lnTo>
                <a:lnTo>
                  <a:pt x="293" y="1104"/>
                </a:lnTo>
                <a:lnTo>
                  <a:pt x="286" y="1117"/>
                </a:lnTo>
                <a:lnTo>
                  <a:pt x="281" y="1129"/>
                </a:lnTo>
                <a:lnTo>
                  <a:pt x="279" y="1134"/>
                </a:lnTo>
                <a:lnTo>
                  <a:pt x="276" y="1138"/>
                </a:lnTo>
                <a:lnTo>
                  <a:pt x="274" y="1141"/>
                </a:lnTo>
                <a:lnTo>
                  <a:pt x="270" y="1142"/>
                </a:lnTo>
                <a:lnTo>
                  <a:pt x="262" y="1145"/>
                </a:lnTo>
                <a:lnTo>
                  <a:pt x="252" y="1144"/>
                </a:lnTo>
                <a:lnTo>
                  <a:pt x="248" y="1144"/>
                </a:lnTo>
                <a:lnTo>
                  <a:pt x="242" y="1145"/>
                </a:lnTo>
                <a:lnTo>
                  <a:pt x="237" y="1146"/>
                </a:lnTo>
                <a:lnTo>
                  <a:pt x="232" y="1148"/>
                </a:lnTo>
                <a:lnTo>
                  <a:pt x="223" y="1154"/>
                </a:lnTo>
                <a:lnTo>
                  <a:pt x="216" y="1161"/>
                </a:lnTo>
                <a:lnTo>
                  <a:pt x="203" y="1172"/>
                </a:lnTo>
                <a:lnTo>
                  <a:pt x="189" y="1184"/>
                </a:lnTo>
                <a:lnTo>
                  <a:pt x="184" y="1191"/>
                </a:lnTo>
                <a:lnTo>
                  <a:pt x="178" y="1198"/>
                </a:lnTo>
                <a:lnTo>
                  <a:pt x="173" y="1204"/>
                </a:lnTo>
                <a:lnTo>
                  <a:pt x="168" y="1215"/>
                </a:lnTo>
                <a:lnTo>
                  <a:pt x="164" y="1226"/>
                </a:lnTo>
                <a:lnTo>
                  <a:pt x="163" y="1235"/>
                </a:lnTo>
                <a:lnTo>
                  <a:pt x="163" y="1243"/>
                </a:lnTo>
                <a:lnTo>
                  <a:pt x="164" y="1251"/>
                </a:lnTo>
                <a:lnTo>
                  <a:pt x="164" y="1255"/>
                </a:lnTo>
                <a:lnTo>
                  <a:pt x="163" y="1259"/>
                </a:lnTo>
                <a:lnTo>
                  <a:pt x="160" y="1264"/>
                </a:lnTo>
                <a:lnTo>
                  <a:pt x="155" y="1268"/>
                </a:lnTo>
                <a:lnTo>
                  <a:pt x="144" y="1278"/>
                </a:lnTo>
                <a:lnTo>
                  <a:pt x="136" y="1285"/>
                </a:lnTo>
                <a:lnTo>
                  <a:pt x="129" y="1290"/>
                </a:lnTo>
                <a:lnTo>
                  <a:pt x="124" y="1292"/>
                </a:lnTo>
                <a:lnTo>
                  <a:pt x="119" y="1293"/>
                </a:lnTo>
                <a:lnTo>
                  <a:pt x="113" y="1293"/>
                </a:lnTo>
                <a:lnTo>
                  <a:pt x="109" y="1295"/>
                </a:lnTo>
                <a:lnTo>
                  <a:pt x="100" y="1298"/>
                </a:lnTo>
                <a:lnTo>
                  <a:pt x="92" y="1304"/>
                </a:lnTo>
                <a:lnTo>
                  <a:pt x="80" y="1314"/>
                </a:lnTo>
                <a:lnTo>
                  <a:pt x="75" y="1319"/>
                </a:lnTo>
                <a:lnTo>
                  <a:pt x="72" y="1325"/>
                </a:lnTo>
                <a:lnTo>
                  <a:pt x="69" y="1330"/>
                </a:lnTo>
                <a:lnTo>
                  <a:pt x="68" y="1335"/>
                </a:lnTo>
                <a:lnTo>
                  <a:pt x="66" y="1344"/>
                </a:lnTo>
                <a:lnTo>
                  <a:pt x="62" y="1353"/>
                </a:lnTo>
                <a:lnTo>
                  <a:pt x="54" y="1365"/>
                </a:lnTo>
                <a:lnTo>
                  <a:pt x="41" y="1379"/>
                </a:lnTo>
                <a:lnTo>
                  <a:pt x="27" y="1393"/>
                </a:lnTo>
                <a:lnTo>
                  <a:pt x="17" y="1404"/>
                </a:lnTo>
                <a:lnTo>
                  <a:pt x="14" y="1407"/>
                </a:lnTo>
                <a:lnTo>
                  <a:pt x="11" y="1412"/>
                </a:lnTo>
                <a:lnTo>
                  <a:pt x="10" y="1418"/>
                </a:lnTo>
                <a:lnTo>
                  <a:pt x="10" y="1423"/>
                </a:lnTo>
                <a:lnTo>
                  <a:pt x="10" y="1434"/>
                </a:lnTo>
                <a:lnTo>
                  <a:pt x="10" y="1443"/>
                </a:lnTo>
                <a:lnTo>
                  <a:pt x="9" y="1449"/>
                </a:lnTo>
                <a:lnTo>
                  <a:pt x="8" y="1455"/>
                </a:lnTo>
                <a:lnTo>
                  <a:pt x="5" y="1461"/>
                </a:lnTo>
                <a:lnTo>
                  <a:pt x="3" y="1468"/>
                </a:lnTo>
                <a:lnTo>
                  <a:pt x="0" y="1474"/>
                </a:lnTo>
                <a:lnTo>
                  <a:pt x="0" y="1478"/>
                </a:lnTo>
                <a:lnTo>
                  <a:pt x="4" y="1479"/>
                </a:lnTo>
                <a:lnTo>
                  <a:pt x="11" y="1481"/>
                </a:lnTo>
                <a:lnTo>
                  <a:pt x="22" y="1485"/>
                </a:lnTo>
                <a:lnTo>
                  <a:pt x="34" y="1488"/>
                </a:lnTo>
                <a:lnTo>
                  <a:pt x="44" y="1492"/>
                </a:lnTo>
                <a:lnTo>
                  <a:pt x="54" y="1494"/>
                </a:lnTo>
                <a:lnTo>
                  <a:pt x="60" y="1494"/>
                </a:lnTo>
                <a:lnTo>
                  <a:pt x="65" y="1494"/>
                </a:lnTo>
                <a:lnTo>
                  <a:pt x="68" y="1493"/>
                </a:lnTo>
                <a:lnTo>
                  <a:pt x="73" y="1491"/>
                </a:lnTo>
                <a:lnTo>
                  <a:pt x="80" y="1487"/>
                </a:lnTo>
                <a:lnTo>
                  <a:pt x="87" y="1484"/>
                </a:lnTo>
                <a:lnTo>
                  <a:pt x="92" y="1482"/>
                </a:lnTo>
                <a:lnTo>
                  <a:pt x="97" y="1482"/>
                </a:lnTo>
                <a:lnTo>
                  <a:pt x="100" y="1484"/>
                </a:lnTo>
                <a:lnTo>
                  <a:pt x="105" y="1485"/>
                </a:lnTo>
                <a:lnTo>
                  <a:pt x="110" y="1486"/>
                </a:lnTo>
                <a:lnTo>
                  <a:pt x="113" y="1489"/>
                </a:lnTo>
                <a:lnTo>
                  <a:pt x="117" y="1493"/>
                </a:lnTo>
                <a:lnTo>
                  <a:pt x="122" y="1499"/>
                </a:lnTo>
                <a:lnTo>
                  <a:pt x="129" y="1512"/>
                </a:lnTo>
                <a:lnTo>
                  <a:pt x="137" y="1526"/>
                </a:lnTo>
                <a:lnTo>
                  <a:pt x="142" y="1533"/>
                </a:lnTo>
                <a:lnTo>
                  <a:pt x="147" y="1539"/>
                </a:lnTo>
                <a:lnTo>
                  <a:pt x="153" y="1544"/>
                </a:lnTo>
                <a:lnTo>
                  <a:pt x="159" y="1547"/>
                </a:lnTo>
                <a:lnTo>
                  <a:pt x="173" y="1549"/>
                </a:lnTo>
                <a:lnTo>
                  <a:pt x="188" y="1554"/>
                </a:lnTo>
                <a:lnTo>
                  <a:pt x="195" y="1557"/>
                </a:lnTo>
                <a:lnTo>
                  <a:pt x="201" y="1561"/>
                </a:lnTo>
                <a:lnTo>
                  <a:pt x="206" y="1567"/>
                </a:lnTo>
                <a:lnTo>
                  <a:pt x="210" y="1573"/>
                </a:lnTo>
                <a:lnTo>
                  <a:pt x="213" y="1586"/>
                </a:lnTo>
                <a:lnTo>
                  <a:pt x="217" y="1598"/>
                </a:lnTo>
                <a:lnTo>
                  <a:pt x="222" y="1611"/>
                </a:lnTo>
                <a:lnTo>
                  <a:pt x="226" y="1625"/>
                </a:lnTo>
                <a:lnTo>
                  <a:pt x="231" y="1631"/>
                </a:lnTo>
                <a:lnTo>
                  <a:pt x="235" y="1637"/>
                </a:lnTo>
                <a:lnTo>
                  <a:pt x="239" y="1642"/>
                </a:lnTo>
                <a:lnTo>
                  <a:pt x="245" y="1645"/>
                </a:lnTo>
                <a:lnTo>
                  <a:pt x="251" y="1649"/>
                </a:lnTo>
                <a:lnTo>
                  <a:pt x="257" y="1651"/>
                </a:lnTo>
                <a:lnTo>
                  <a:pt x="263" y="1652"/>
                </a:lnTo>
                <a:lnTo>
                  <a:pt x="269" y="1652"/>
                </a:lnTo>
                <a:lnTo>
                  <a:pt x="286" y="1652"/>
                </a:lnTo>
                <a:lnTo>
                  <a:pt x="307" y="1651"/>
                </a:lnTo>
                <a:lnTo>
                  <a:pt x="329" y="1650"/>
                </a:lnTo>
                <a:lnTo>
                  <a:pt x="345" y="1651"/>
                </a:lnTo>
                <a:lnTo>
                  <a:pt x="357" y="1652"/>
                </a:lnTo>
                <a:lnTo>
                  <a:pt x="367" y="1652"/>
                </a:lnTo>
                <a:lnTo>
                  <a:pt x="375" y="1650"/>
                </a:lnTo>
                <a:lnTo>
                  <a:pt x="384" y="1645"/>
                </a:lnTo>
                <a:lnTo>
                  <a:pt x="396" y="1639"/>
                </a:lnTo>
                <a:lnTo>
                  <a:pt x="412" y="1634"/>
                </a:lnTo>
                <a:lnTo>
                  <a:pt x="419" y="1633"/>
                </a:lnTo>
                <a:lnTo>
                  <a:pt x="427" y="1633"/>
                </a:lnTo>
                <a:lnTo>
                  <a:pt x="434" y="1633"/>
                </a:lnTo>
                <a:lnTo>
                  <a:pt x="440" y="1634"/>
                </a:lnTo>
                <a:lnTo>
                  <a:pt x="451" y="1638"/>
                </a:lnTo>
                <a:lnTo>
                  <a:pt x="462" y="1644"/>
                </a:lnTo>
                <a:lnTo>
                  <a:pt x="470" y="1649"/>
                </a:lnTo>
                <a:lnTo>
                  <a:pt x="478" y="1652"/>
                </a:lnTo>
                <a:lnTo>
                  <a:pt x="487" y="1656"/>
                </a:lnTo>
                <a:lnTo>
                  <a:pt x="491" y="1657"/>
                </a:lnTo>
                <a:lnTo>
                  <a:pt x="494" y="1657"/>
                </a:lnTo>
                <a:lnTo>
                  <a:pt x="496" y="1655"/>
                </a:lnTo>
                <a:lnTo>
                  <a:pt x="500" y="1650"/>
                </a:lnTo>
                <a:lnTo>
                  <a:pt x="504" y="1644"/>
                </a:lnTo>
                <a:lnTo>
                  <a:pt x="509" y="1637"/>
                </a:lnTo>
                <a:lnTo>
                  <a:pt x="514" y="1632"/>
                </a:lnTo>
                <a:lnTo>
                  <a:pt x="525" y="1624"/>
                </a:lnTo>
                <a:lnTo>
                  <a:pt x="538" y="1614"/>
                </a:lnTo>
                <a:lnTo>
                  <a:pt x="544" y="1611"/>
                </a:lnTo>
                <a:lnTo>
                  <a:pt x="547" y="1607"/>
                </a:lnTo>
                <a:lnTo>
                  <a:pt x="548" y="1601"/>
                </a:lnTo>
                <a:lnTo>
                  <a:pt x="547" y="1590"/>
                </a:lnTo>
                <a:lnTo>
                  <a:pt x="547" y="1582"/>
                </a:lnTo>
                <a:lnTo>
                  <a:pt x="547" y="1573"/>
                </a:lnTo>
                <a:lnTo>
                  <a:pt x="550" y="1564"/>
                </a:lnTo>
                <a:lnTo>
                  <a:pt x="553" y="1558"/>
                </a:lnTo>
                <a:lnTo>
                  <a:pt x="560" y="1547"/>
                </a:lnTo>
                <a:lnTo>
                  <a:pt x="565" y="1536"/>
                </a:lnTo>
                <a:lnTo>
                  <a:pt x="569" y="1524"/>
                </a:lnTo>
                <a:lnTo>
                  <a:pt x="571" y="1512"/>
                </a:lnTo>
                <a:lnTo>
                  <a:pt x="575" y="1506"/>
                </a:lnTo>
                <a:lnTo>
                  <a:pt x="579" y="1501"/>
                </a:lnTo>
                <a:lnTo>
                  <a:pt x="586" y="1497"/>
                </a:lnTo>
                <a:lnTo>
                  <a:pt x="596" y="1492"/>
                </a:lnTo>
                <a:lnTo>
                  <a:pt x="614" y="1485"/>
                </a:lnTo>
                <a:lnTo>
                  <a:pt x="630" y="1478"/>
                </a:lnTo>
                <a:lnTo>
                  <a:pt x="641" y="1473"/>
                </a:lnTo>
                <a:lnTo>
                  <a:pt x="654" y="1467"/>
                </a:lnTo>
                <a:lnTo>
                  <a:pt x="666" y="1462"/>
                </a:lnTo>
                <a:lnTo>
                  <a:pt x="677" y="1456"/>
                </a:lnTo>
                <a:lnTo>
                  <a:pt x="679" y="1455"/>
                </a:lnTo>
                <a:lnTo>
                  <a:pt x="680" y="1454"/>
                </a:lnTo>
                <a:lnTo>
                  <a:pt x="680" y="1453"/>
                </a:lnTo>
                <a:lnTo>
                  <a:pt x="680" y="1450"/>
                </a:lnTo>
                <a:lnTo>
                  <a:pt x="679" y="1447"/>
                </a:lnTo>
                <a:lnTo>
                  <a:pt x="676" y="1443"/>
                </a:lnTo>
                <a:lnTo>
                  <a:pt x="666" y="1434"/>
                </a:lnTo>
                <a:lnTo>
                  <a:pt x="658" y="1426"/>
                </a:lnTo>
                <a:lnTo>
                  <a:pt x="648" y="1415"/>
                </a:lnTo>
                <a:lnTo>
                  <a:pt x="636" y="1399"/>
                </a:lnTo>
                <a:lnTo>
                  <a:pt x="630" y="1390"/>
                </a:lnTo>
                <a:lnTo>
                  <a:pt x="625" y="1380"/>
                </a:lnTo>
                <a:lnTo>
                  <a:pt x="621" y="1372"/>
                </a:lnTo>
                <a:lnTo>
                  <a:pt x="617" y="1363"/>
                </a:lnTo>
                <a:lnTo>
                  <a:pt x="616" y="1356"/>
                </a:lnTo>
                <a:lnTo>
                  <a:pt x="615" y="1348"/>
                </a:lnTo>
                <a:lnTo>
                  <a:pt x="615" y="1341"/>
                </a:lnTo>
                <a:lnTo>
                  <a:pt x="616" y="1335"/>
                </a:lnTo>
                <a:lnTo>
                  <a:pt x="617" y="1330"/>
                </a:lnTo>
                <a:lnTo>
                  <a:pt x="619" y="1328"/>
                </a:lnTo>
                <a:lnTo>
                  <a:pt x="621" y="1329"/>
                </a:lnTo>
                <a:lnTo>
                  <a:pt x="625" y="1333"/>
                </a:lnTo>
                <a:lnTo>
                  <a:pt x="629" y="1348"/>
                </a:lnTo>
                <a:lnTo>
                  <a:pt x="636" y="1367"/>
                </a:lnTo>
                <a:lnTo>
                  <a:pt x="641" y="1378"/>
                </a:lnTo>
                <a:lnTo>
                  <a:pt x="648" y="1387"/>
                </a:lnTo>
                <a:lnTo>
                  <a:pt x="655" y="1397"/>
                </a:lnTo>
                <a:lnTo>
                  <a:pt x="666" y="1406"/>
                </a:lnTo>
                <a:lnTo>
                  <a:pt x="677" y="1416"/>
                </a:lnTo>
                <a:lnTo>
                  <a:pt x="689" y="1426"/>
                </a:lnTo>
                <a:lnTo>
                  <a:pt x="701" y="1437"/>
                </a:lnTo>
                <a:lnTo>
                  <a:pt x="713" y="1450"/>
                </a:lnTo>
                <a:lnTo>
                  <a:pt x="734" y="1474"/>
                </a:lnTo>
                <a:lnTo>
                  <a:pt x="751" y="1494"/>
                </a:lnTo>
                <a:lnTo>
                  <a:pt x="761" y="1507"/>
                </a:lnTo>
                <a:lnTo>
                  <a:pt x="776" y="1520"/>
                </a:lnTo>
                <a:lnTo>
                  <a:pt x="781" y="1527"/>
                </a:lnTo>
                <a:lnTo>
                  <a:pt x="787" y="1535"/>
                </a:lnTo>
                <a:lnTo>
                  <a:pt x="792" y="1541"/>
                </a:lnTo>
                <a:lnTo>
                  <a:pt x="793" y="1547"/>
                </a:lnTo>
                <a:lnTo>
                  <a:pt x="791" y="1556"/>
                </a:lnTo>
                <a:lnTo>
                  <a:pt x="785" y="1570"/>
                </a:lnTo>
                <a:lnTo>
                  <a:pt x="781" y="1577"/>
                </a:lnTo>
                <a:lnTo>
                  <a:pt x="780" y="1585"/>
                </a:lnTo>
                <a:lnTo>
                  <a:pt x="779" y="1587"/>
                </a:lnTo>
                <a:lnTo>
                  <a:pt x="779" y="1589"/>
                </a:lnTo>
                <a:lnTo>
                  <a:pt x="780" y="1592"/>
                </a:lnTo>
                <a:lnTo>
                  <a:pt x="781" y="1594"/>
                </a:lnTo>
                <a:lnTo>
                  <a:pt x="785" y="1598"/>
                </a:lnTo>
                <a:lnTo>
                  <a:pt x="789" y="1600"/>
                </a:lnTo>
                <a:lnTo>
                  <a:pt x="792" y="1601"/>
                </a:lnTo>
                <a:lnTo>
                  <a:pt x="796" y="1602"/>
                </a:lnTo>
                <a:lnTo>
                  <a:pt x="803" y="1602"/>
                </a:lnTo>
                <a:lnTo>
                  <a:pt x="811" y="1602"/>
                </a:lnTo>
                <a:lnTo>
                  <a:pt x="819" y="1600"/>
                </a:lnTo>
                <a:lnTo>
                  <a:pt x="828" y="1599"/>
                </a:lnTo>
                <a:lnTo>
                  <a:pt x="836" y="1599"/>
                </a:lnTo>
                <a:lnTo>
                  <a:pt x="843" y="1599"/>
                </a:lnTo>
                <a:lnTo>
                  <a:pt x="855" y="1602"/>
                </a:lnTo>
                <a:lnTo>
                  <a:pt x="866" y="1606"/>
                </a:lnTo>
                <a:lnTo>
                  <a:pt x="875" y="1611"/>
                </a:lnTo>
                <a:lnTo>
                  <a:pt x="885" y="1615"/>
                </a:lnTo>
                <a:lnTo>
                  <a:pt x="894" y="1621"/>
                </a:lnTo>
                <a:lnTo>
                  <a:pt x="903" y="1627"/>
                </a:lnTo>
                <a:lnTo>
                  <a:pt x="911" y="1634"/>
                </a:lnTo>
                <a:lnTo>
                  <a:pt x="919" y="1643"/>
                </a:lnTo>
                <a:lnTo>
                  <a:pt x="924" y="1648"/>
                </a:lnTo>
                <a:lnTo>
                  <a:pt x="930" y="1652"/>
                </a:lnTo>
                <a:lnTo>
                  <a:pt x="937" y="1655"/>
                </a:lnTo>
                <a:lnTo>
                  <a:pt x="943" y="1658"/>
                </a:lnTo>
                <a:lnTo>
                  <a:pt x="950" y="1659"/>
                </a:lnTo>
                <a:lnTo>
                  <a:pt x="959" y="1659"/>
                </a:lnTo>
                <a:lnTo>
                  <a:pt x="966" y="1659"/>
                </a:lnTo>
                <a:lnTo>
                  <a:pt x="974" y="1658"/>
                </a:lnTo>
                <a:lnTo>
                  <a:pt x="986" y="1658"/>
                </a:lnTo>
                <a:lnTo>
                  <a:pt x="998" y="1658"/>
                </a:lnTo>
                <a:lnTo>
                  <a:pt x="1004" y="1657"/>
                </a:lnTo>
                <a:lnTo>
                  <a:pt x="1007" y="1656"/>
                </a:lnTo>
                <a:lnTo>
                  <a:pt x="1010" y="1655"/>
                </a:lnTo>
                <a:lnTo>
                  <a:pt x="1011" y="1652"/>
                </a:lnTo>
                <a:lnTo>
                  <a:pt x="1011" y="1650"/>
                </a:lnTo>
                <a:lnTo>
                  <a:pt x="1012" y="1648"/>
                </a:lnTo>
                <a:lnTo>
                  <a:pt x="1012" y="1643"/>
                </a:lnTo>
                <a:lnTo>
                  <a:pt x="1014" y="1639"/>
                </a:lnTo>
                <a:lnTo>
                  <a:pt x="1018" y="1636"/>
                </a:lnTo>
                <a:lnTo>
                  <a:pt x="1023" y="1633"/>
                </a:lnTo>
                <a:lnTo>
                  <a:pt x="1026" y="1632"/>
                </a:lnTo>
                <a:lnTo>
                  <a:pt x="1030" y="1631"/>
                </a:lnTo>
                <a:lnTo>
                  <a:pt x="1033" y="1632"/>
                </a:lnTo>
                <a:lnTo>
                  <a:pt x="1037" y="1633"/>
                </a:lnTo>
                <a:lnTo>
                  <a:pt x="1038" y="1634"/>
                </a:lnTo>
                <a:lnTo>
                  <a:pt x="1041" y="1634"/>
                </a:lnTo>
                <a:lnTo>
                  <a:pt x="1042" y="1633"/>
                </a:lnTo>
                <a:lnTo>
                  <a:pt x="1043" y="1631"/>
                </a:lnTo>
                <a:lnTo>
                  <a:pt x="1047" y="1625"/>
                </a:lnTo>
                <a:lnTo>
                  <a:pt x="1049" y="1618"/>
                </a:lnTo>
                <a:lnTo>
                  <a:pt x="1054" y="1600"/>
                </a:lnTo>
                <a:lnTo>
                  <a:pt x="1056" y="1590"/>
                </a:lnTo>
                <a:lnTo>
                  <a:pt x="1058" y="1585"/>
                </a:lnTo>
                <a:lnTo>
                  <a:pt x="1063" y="1579"/>
                </a:lnTo>
                <a:lnTo>
                  <a:pt x="1068" y="1574"/>
                </a:lnTo>
                <a:lnTo>
                  <a:pt x="1074" y="1569"/>
                </a:lnTo>
                <a:lnTo>
                  <a:pt x="1081" y="1566"/>
                </a:lnTo>
                <a:lnTo>
                  <a:pt x="1089" y="1562"/>
                </a:lnTo>
                <a:lnTo>
                  <a:pt x="1096" y="1560"/>
                </a:lnTo>
                <a:lnTo>
                  <a:pt x="1105" y="1558"/>
                </a:lnTo>
                <a:lnTo>
                  <a:pt x="1114" y="1557"/>
                </a:lnTo>
                <a:lnTo>
                  <a:pt x="1123" y="1558"/>
                </a:lnTo>
                <a:lnTo>
                  <a:pt x="1131" y="1560"/>
                </a:lnTo>
                <a:lnTo>
                  <a:pt x="1138" y="1561"/>
                </a:lnTo>
                <a:lnTo>
                  <a:pt x="1145" y="1563"/>
                </a:lnTo>
                <a:lnTo>
                  <a:pt x="1150" y="1568"/>
                </a:lnTo>
                <a:lnTo>
                  <a:pt x="1154" y="1571"/>
                </a:lnTo>
                <a:lnTo>
                  <a:pt x="1156" y="1577"/>
                </a:lnTo>
                <a:lnTo>
                  <a:pt x="1157" y="1583"/>
                </a:lnTo>
                <a:lnTo>
                  <a:pt x="1159" y="1588"/>
                </a:lnTo>
                <a:lnTo>
                  <a:pt x="1163" y="1593"/>
                </a:lnTo>
                <a:lnTo>
                  <a:pt x="1165" y="1596"/>
                </a:lnTo>
                <a:lnTo>
                  <a:pt x="1171" y="1605"/>
                </a:lnTo>
                <a:lnTo>
                  <a:pt x="1177" y="1614"/>
                </a:lnTo>
                <a:lnTo>
                  <a:pt x="1181" y="1626"/>
                </a:lnTo>
                <a:lnTo>
                  <a:pt x="1184" y="1639"/>
                </a:lnTo>
                <a:lnTo>
                  <a:pt x="1187" y="1652"/>
                </a:lnTo>
                <a:lnTo>
                  <a:pt x="1190" y="1662"/>
                </a:lnTo>
                <a:lnTo>
                  <a:pt x="1193" y="1667"/>
                </a:lnTo>
                <a:lnTo>
                  <a:pt x="1196" y="1669"/>
                </a:lnTo>
                <a:lnTo>
                  <a:pt x="1200" y="1671"/>
                </a:lnTo>
                <a:lnTo>
                  <a:pt x="1203" y="1671"/>
                </a:lnTo>
                <a:lnTo>
                  <a:pt x="1208" y="1671"/>
                </a:lnTo>
                <a:lnTo>
                  <a:pt x="1213" y="1670"/>
                </a:lnTo>
                <a:lnTo>
                  <a:pt x="1217" y="1668"/>
                </a:lnTo>
                <a:lnTo>
                  <a:pt x="1221" y="1665"/>
                </a:lnTo>
                <a:lnTo>
                  <a:pt x="1228" y="1658"/>
                </a:lnTo>
                <a:lnTo>
                  <a:pt x="1234" y="1655"/>
                </a:lnTo>
                <a:lnTo>
                  <a:pt x="1243" y="1651"/>
                </a:lnTo>
                <a:lnTo>
                  <a:pt x="1253" y="1650"/>
                </a:lnTo>
                <a:lnTo>
                  <a:pt x="1258" y="1649"/>
                </a:lnTo>
                <a:lnTo>
                  <a:pt x="1263" y="1648"/>
                </a:lnTo>
                <a:lnTo>
                  <a:pt x="1266" y="1646"/>
                </a:lnTo>
                <a:lnTo>
                  <a:pt x="1269" y="1644"/>
                </a:lnTo>
                <a:lnTo>
                  <a:pt x="1271" y="1642"/>
                </a:lnTo>
                <a:lnTo>
                  <a:pt x="1272" y="1637"/>
                </a:lnTo>
                <a:lnTo>
                  <a:pt x="1274" y="1632"/>
                </a:lnTo>
                <a:lnTo>
                  <a:pt x="1274" y="1626"/>
                </a:lnTo>
                <a:lnTo>
                  <a:pt x="1274" y="1615"/>
                </a:lnTo>
                <a:lnTo>
                  <a:pt x="1275" y="1602"/>
                </a:lnTo>
                <a:lnTo>
                  <a:pt x="1275" y="1587"/>
                </a:lnTo>
                <a:lnTo>
                  <a:pt x="1276" y="1571"/>
                </a:lnTo>
                <a:lnTo>
                  <a:pt x="1277" y="1560"/>
                </a:lnTo>
                <a:lnTo>
                  <a:pt x="1280" y="1550"/>
                </a:lnTo>
                <a:lnTo>
                  <a:pt x="1283" y="1543"/>
                </a:lnTo>
                <a:lnTo>
                  <a:pt x="1287" y="1537"/>
                </a:lnTo>
                <a:lnTo>
                  <a:pt x="1294" y="1530"/>
                </a:lnTo>
                <a:lnTo>
                  <a:pt x="1301" y="1525"/>
                </a:lnTo>
                <a:lnTo>
                  <a:pt x="1308" y="1522"/>
                </a:lnTo>
                <a:lnTo>
                  <a:pt x="1314" y="1519"/>
                </a:lnTo>
                <a:lnTo>
                  <a:pt x="1321" y="1518"/>
                </a:lnTo>
                <a:lnTo>
                  <a:pt x="1328" y="1518"/>
                </a:lnTo>
                <a:lnTo>
                  <a:pt x="1335" y="1518"/>
                </a:lnTo>
                <a:lnTo>
                  <a:pt x="1341" y="1519"/>
                </a:lnTo>
                <a:lnTo>
                  <a:pt x="1350" y="1522"/>
                </a:lnTo>
                <a:lnTo>
                  <a:pt x="1357" y="1523"/>
                </a:lnTo>
                <a:lnTo>
                  <a:pt x="1363" y="1523"/>
                </a:lnTo>
                <a:lnTo>
                  <a:pt x="1370" y="1522"/>
                </a:lnTo>
                <a:lnTo>
                  <a:pt x="1375" y="1520"/>
                </a:lnTo>
                <a:lnTo>
                  <a:pt x="1378" y="1518"/>
                </a:lnTo>
                <a:lnTo>
                  <a:pt x="1381" y="1514"/>
                </a:lnTo>
                <a:lnTo>
                  <a:pt x="1382" y="1510"/>
                </a:lnTo>
                <a:lnTo>
                  <a:pt x="1378" y="1499"/>
                </a:lnTo>
                <a:lnTo>
                  <a:pt x="1372" y="1488"/>
                </a:lnTo>
                <a:lnTo>
                  <a:pt x="1371" y="1482"/>
                </a:lnTo>
                <a:lnTo>
                  <a:pt x="1371" y="1476"/>
                </a:lnTo>
                <a:lnTo>
                  <a:pt x="1372" y="1472"/>
                </a:lnTo>
                <a:lnTo>
                  <a:pt x="1377" y="1466"/>
                </a:lnTo>
                <a:lnTo>
                  <a:pt x="1388" y="1454"/>
                </a:lnTo>
                <a:lnTo>
                  <a:pt x="1398" y="1442"/>
                </a:lnTo>
                <a:lnTo>
                  <a:pt x="1402" y="1435"/>
                </a:lnTo>
                <a:lnTo>
                  <a:pt x="1406" y="1428"/>
                </a:lnTo>
                <a:lnTo>
                  <a:pt x="1408" y="1419"/>
                </a:lnTo>
                <a:lnTo>
                  <a:pt x="1409" y="1410"/>
                </a:lnTo>
                <a:lnTo>
                  <a:pt x="1409" y="1393"/>
                </a:lnTo>
                <a:lnTo>
                  <a:pt x="1408" y="1379"/>
                </a:lnTo>
                <a:lnTo>
                  <a:pt x="1410" y="1374"/>
                </a:lnTo>
                <a:lnTo>
                  <a:pt x="1413" y="1369"/>
                </a:lnTo>
                <a:lnTo>
                  <a:pt x="1417" y="1367"/>
                </a:lnTo>
                <a:lnTo>
                  <a:pt x="1426" y="1365"/>
                </a:lnTo>
                <a:lnTo>
                  <a:pt x="1444" y="1361"/>
                </a:lnTo>
                <a:lnTo>
                  <a:pt x="1460" y="1358"/>
                </a:lnTo>
                <a:lnTo>
                  <a:pt x="1467" y="1355"/>
                </a:lnTo>
                <a:lnTo>
                  <a:pt x="1474" y="1352"/>
                </a:lnTo>
                <a:lnTo>
                  <a:pt x="1482" y="1348"/>
                </a:lnTo>
                <a:lnTo>
                  <a:pt x="1489" y="1343"/>
                </a:lnTo>
                <a:lnTo>
                  <a:pt x="1498" y="1336"/>
                </a:lnTo>
                <a:lnTo>
                  <a:pt x="1509" y="1330"/>
                </a:lnTo>
                <a:lnTo>
                  <a:pt x="1516" y="1328"/>
                </a:lnTo>
                <a:lnTo>
                  <a:pt x="1522" y="1327"/>
                </a:lnTo>
                <a:lnTo>
                  <a:pt x="1529" y="1327"/>
                </a:lnTo>
                <a:lnTo>
                  <a:pt x="1537" y="1327"/>
                </a:lnTo>
                <a:lnTo>
                  <a:pt x="1554" y="1330"/>
                </a:lnTo>
                <a:lnTo>
                  <a:pt x="1568" y="1334"/>
                </a:lnTo>
                <a:lnTo>
                  <a:pt x="1573" y="1329"/>
                </a:lnTo>
                <a:lnTo>
                  <a:pt x="1577" y="1325"/>
                </a:lnTo>
                <a:lnTo>
                  <a:pt x="1579" y="1319"/>
                </a:lnTo>
                <a:lnTo>
                  <a:pt x="1581" y="1315"/>
                </a:lnTo>
                <a:lnTo>
                  <a:pt x="1583" y="1299"/>
                </a:lnTo>
                <a:lnTo>
                  <a:pt x="1581" y="1280"/>
                </a:lnTo>
                <a:lnTo>
                  <a:pt x="1581" y="1271"/>
                </a:lnTo>
                <a:lnTo>
                  <a:pt x="1583" y="1262"/>
                </a:lnTo>
                <a:lnTo>
                  <a:pt x="1585" y="1254"/>
                </a:lnTo>
                <a:lnTo>
                  <a:pt x="1589" y="1247"/>
                </a:lnTo>
                <a:lnTo>
                  <a:pt x="1599" y="1236"/>
                </a:lnTo>
                <a:lnTo>
                  <a:pt x="1609" y="1227"/>
                </a:lnTo>
                <a:lnTo>
                  <a:pt x="1617" y="1220"/>
                </a:lnTo>
                <a:lnTo>
                  <a:pt x="1622" y="1211"/>
                </a:lnTo>
                <a:lnTo>
                  <a:pt x="1623" y="1208"/>
                </a:lnTo>
                <a:lnTo>
                  <a:pt x="1624" y="1205"/>
                </a:lnTo>
                <a:lnTo>
                  <a:pt x="1627" y="1203"/>
                </a:lnTo>
                <a:lnTo>
                  <a:pt x="1629" y="1202"/>
                </a:lnTo>
                <a:lnTo>
                  <a:pt x="1634" y="1202"/>
                </a:lnTo>
                <a:lnTo>
                  <a:pt x="1639" y="1202"/>
                </a:lnTo>
                <a:lnTo>
                  <a:pt x="1641" y="1202"/>
                </a:lnTo>
                <a:lnTo>
                  <a:pt x="1642" y="1202"/>
                </a:lnTo>
                <a:lnTo>
                  <a:pt x="1644" y="1199"/>
                </a:lnTo>
                <a:lnTo>
                  <a:pt x="1646" y="1197"/>
                </a:lnTo>
                <a:lnTo>
                  <a:pt x="1647" y="1189"/>
                </a:lnTo>
                <a:lnTo>
                  <a:pt x="1648" y="1177"/>
                </a:lnTo>
                <a:lnTo>
                  <a:pt x="1648" y="1161"/>
                </a:lnTo>
                <a:lnTo>
                  <a:pt x="1648" y="1142"/>
                </a:lnTo>
                <a:lnTo>
                  <a:pt x="1648" y="1126"/>
                </a:lnTo>
                <a:lnTo>
                  <a:pt x="1649" y="1115"/>
                </a:lnTo>
                <a:lnTo>
                  <a:pt x="1650" y="1111"/>
                </a:lnTo>
                <a:lnTo>
                  <a:pt x="1652" y="1107"/>
                </a:lnTo>
                <a:lnTo>
                  <a:pt x="1655" y="1102"/>
                </a:lnTo>
                <a:lnTo>
                  <a:pt x="1658" y="1098"/>
                </a:lnTo>
                <a:lnTo>
                  <a:pt x="1661" y="1094"/>
                </a:lnTo>
                <a:lnTo>
                  <a:pt x="1666" y="1090"/>
                </a:lnTo>
                <a:lnTo>
                  <a:pt x="1671" y="1088"/>
                </a:lnTo>
                <a:lnTo>
                  <a:pt x="1675" y="1085"/>
                </a:lnTo>
                <a:lnTo>
                  <a:pt x="1680" y="1085"/>
                </a:lnTo>
                <a:lnTo>
                  <a:pt x="1685" y="1087"/>
                </a:lnTo>
                <a:lnTo>
                  <a:pt x="1690" y="1088"/>
                </a:lnTo>
                <a:lnTo>
                  <a:pt x="1696" y="1090"/>
                </a:lnTo>
                <a:lnTo>
                  <a:pt x="1702" y="1092"/>
                </a:lnTo>
                <a:lnTo>
                  <a:pt x="1707" y="1094"/>
                </a:lnTo>
                <a:lnTo>
                  <a:pt x="1712" y="1095"/>
                </a:lnTo>
                <a:lnTo>
                  <a:pt x="1718" y="1094"/>
                </a:lnTo>
                <a:lnTo>
                  <a:pt x="1724" y="1092"/>
                </a:lnTo>
                <a:lnTo>
                  <a:pt x="1730" y="1089"/>
                </a:lnTo>
                <a:lnTo>
                  <a:pt x="1736" y="1085"/>
                </a:lnTo>
                <a:lnTo>
                  <a:pt x="1741" y="1082"/>
                </a:lnTo>
                <a:lnTo>
                  <a:pt x="1744" y="1078"/>
                </a:lnTo>
                <a:lnTo>
                  <a:pt x="1748" y="1073"/>
                </a:lnTo>
                <a:lnTo>
                  <a:pt x="1749" y="1070"/>
                </a:lnTo>
                <a:lnTo>
                  <a:pt x="1748" y="1066"/>
                </a:lnTo>
                <a:lnTo>
                  <a:pt x="1743" y="1059"/>
                </a:lnTo>
                <a:lnTo>
                  <a:pt x="1737" y="1051"/>
                </a:lnTo>
                <a:lnTo>
                  <a:pt x="1735" y="1045"/>
                </a:lnTo>
                <a:lnTo>
                  <a:pt x="1734" y="1040"/>
                </a:lnTo>
                <a:lnTo>
                  <a:pt x="1734" y="1035"/>
                </a:lnTo>
                <a:lnTo>
                  <a:pt x="1737" y="1029"/>
                </a:lnTo>
                <a:lnTo>
                  <a:pt x="1741" y="1026"/>
                </a:lnTo>
                <a:lnTo>
                  <a:pt x="1744" y="1024"/>
                </a:lnTo>
                <a:lnTo>
                  <a:pt x="1748" y="1022"/>
                </a:lnTo>
                <a:lnTo>
                  <a:pt x="1751" y="1024"/>
                </a:lnTo>
                <a:lnTo>
                  <a:pt x="1759" y="1027"/>
                </a:lnTo>
                <a:lnTo>
                  <a:pt x="1763" y="1032"/>
                </a:lnTo>
                <a:lnTo>
                  <a:pt x="1766" y="1033"/>
                </a:lnTo>
                <a:lnTo>
                  <a:pt x="1768" y="1034"/>
                </a:lnTo>
                <a:lnTo>
                  <a:pt x="1770" y="1034"/>
                </a:lnTo>
                <a:lnTo>
                  <a:pt x="1773" y="1033"/>
                </a:lnTo>
                <a:lnTo>
                  <a:pt x="1775" y="1032"/>
                </a:lnTo>
                <a:lnTo>
                  <a:pt x="1778" y="1028"/>
                </a:lnTo>
                <a:lnTo>
                  <a:pt x="1779" y="1024"/>
                </a:lnTo>
                <a:lnTo>
                  <a:pt x="1780" y="1018"/>
                </a:lnTo>
                <a:lnTo>
                  <a:pt x="1782" y="1005"/>
                </a:lnTo>
                <a:lnTo>
                  <a:pt x="1782" y="994"/>
                </a:lnTo>
                <a:lnTo>
                  <a:pt x="1782" y="989"/>
                </a:lnTo>
                <a:lnTo>
                  <a:pt x="1781" y="984"/>
                </a:lnTo>
                <a:lnTo>
                  <a:pt x="1780" y="981"/>
                </a:lnTo>
                <a:lnTo>
                  <a:pt x="1779" y="977"/>
                </a:lnTo>
                <a:lnTo>
                  <a:pt x="1776" y="974"/>
                </a:lnTo>
                <a:lnTo>
                  <a:pt x="1775" y="970"/>
                </a:lnTo>
                <a:lnTo>
                  <a:pt x="1774" y="966"/>
                </a:lnTo>
                <a:lnTo>
                  <a:pt x="1774" y="964"/>
                </a:lnTo>
                <a:lnTo>
                  <a:pt x="1775" y="961"/>
                </a:lnTo>
                <a:lnTo>
                  <a:pt x="1776" y="959"/>
                </a:lnTo>
                <a:lnTo>
                  <a:pt x="1779" y="958"/>
                </a:lnTo>
                <a:lnTo>
                  <a:pt x="1782" y="957"/>
                </a:lnTo>
                <a:lnTo>
                  <a:pt x="1798" y="956"/>
                </a:lnTo>
                <a:lnTo>
                  <a:pt x="1812" y="955"/>
                </a:lnTo>
                <a:lnTo>
                  <a:pt x="1818" y="953"/>
                </a:lnTo>
                <a:lnTo>
                  <a:pt x="1824" y="952"/>
                </a:lnTo>
                <a:lnTo>
                  <a:pt x="1830" y="950"/>
                </a:lnTo>
                <a:lnTo>
                  <a:pt x="1835" y="947"/>
                </a:lnTo>
                <a:lnTo>
                  <a:pt x="1838" y="944"/>
                </a:lnTo>
                <a:lnTo>
                  <a:pt x="1843" y="938"/>
                </a:lnTo>
                <a:lnTo>
                  <a:pt x="1845" y="932"/>
                </a:lnTo>
                <a:lnTo>
                  <a:pt x="1848" y="926"/>
                </a:lnTo>
                <a:lnTo>
                  <a:pt x="1848" y="920"/>
                </a:lnTo>
                <a:lnTo>
                  <a:pt x="1847" y="915"/>
                </a:lnTo>
                <a:lnTo>
                  <a:pt x="1845" y="914"/>
                </a:lnTo>
                <a:lnTo>
                  <a:pt x="1844" y="913"/>
                </a:lnTo>
                <a:lnTo>
                  <a:pt x="1842" y="912"/>
                </a:lnTo>
                <a:lnTo>
                  <a:pt x="1839" y="913"/>
                </a:lnTo>
                <a:lnTo>
                  <a:pt x="1833" y="913"/>
                </a:lnTo>
                <a:lnTo>
                  <a:pt x="1829" y="914"/>
                </a:lnTo>
                <a:lnTo>
                  <a:pt x="1824" y="913"/>
                </a:lnTo>
                <a:lnTo>
                  <a:pt x="1820" y="913"/>
                </a:lnTo>
                <a:lnTo>
                  <a:pt x="1818" y="911"/>
                </a:lnTo>
                <a:lnTo>
                  <a:pt x="1817" y="909"/>
                </a:lnTo>
                <a:lnTo>
                  <a:pt x="1817" y="906"/>
                </a:lnTo>
                <a:lnTo>
                  <a:pt x="1819" y="902"/>
                </a:lnTo>
                <a:lnTo>
                  <a:pt x="1823" y="895"/>
                </a:lnTo>
                <a:lnTo>
                  <a:pt x="1824" y="888"/>
                </a:lnTo>
                <a:lnTo>
                  <a:pt x="1824" y="884"/>
                </a:lnTo>
                <a:lnTo>
                  <a:pt x="1823" y="881"/>
                </a:lnTo>
                <a:lnTo>
                  <a:pt x="1820" y="879"/>
                </a:lnTo>
                <a:lnTo>
                  <a:pt x="1818" y="876"/>
                </a:lnTo>
                <a:lnTo>
                  <a:pt x="1811" y="875"/>
                </a:lnTo>
                <a:lnTo>
                  <a:pt x="1803" y="874"/>
                </a:lnTo>
                <a:lnTo>
                  <a:pt x="1798" y="874"/>
                </a:lnTo>
                <a:lnTo>
                  <a:pt x="1793" y="874"/>
                </a:lnTo>
                <a:lnTo>
                  <a:pt x="1790" y="871"/>
                </a:lnTo>
                <a:lnTo>
                  <a:pt x="1786" y="869"/>
                </a:lnTo>
                <a:lnTo>
                  <a:pt x="1782" y="864"/>
                </a:lnTo>
                <a:lnTo>
                  <a:pt x="1780" y="858"/>
                </a:lnTo>
                <a:lnTo>
                  <a:pt x="1778" y="850"/>
                </a:lnTo>
                <a:lnTo>
                  <a:pt x="1775" y="840"/>
                </a:lnTo>
                <a:lnTo>
                  <a:pt x="1774" y="831"/>
                </a:lnTo>
                <a:lnTo>
                  <a:pt x="1774" y="823"/>
                </a:lnTo>
                <a:lnTo>
                  <a:pt x="1775" y="814"/>
                </a:lnTo>
                <a:lnTo>
                  <a:pt x="1776" y="808"/>
                </a:lnTo>
                <a:lnTo>
                  <a:pt x="1779" y="804"/>
                </a:lnTo>
                <a:lnTo>
                  <a:pt x="1784" y="800"/>
                </a:lnTo>
                <a:lnTo>
                  <a:pt x="1790" y="798"/>
                </a:lnTo>
                <a:lnTo>
                  <a:pt x="1795" y="797"/>
                </a:lnTo>
                <a:lnTo>
                  <a:pt x="1801" y="795"/>
                </a:lnTo>
                <a:lnTo>
                  <a:pt x="1806" y="798"/>
                </a:lnTo>
                <a:lnTo>
                  <a:pt x="1811" y="800"/>
                </a:lnTo>
                <a:lnTo>
                  <a:pt x="1813" y="804"/>
                </a:lnTo>
                <a:lnTo>
                  <a:pt x="1817" y="814"/>
                </a:lnTo>
                <a:lnTo>
                  <a:pt x="1820" y="823"/>
                </a:lnTo>
                <a:lnTo>
                  <a:pt x="1823" y="826"/>
                </a:lnTo>
                <a:lnTo>
                  <a:pt x="1825" y="829"/>
                </a:lnTo>
                <a:lnTo>
                  <a:pt x="1829" y="830"/>
                </a:lnTo>
                <a:lnTo>
                  <a:pt x="1832" y="830"/>
                </a:lnTo>
                <a:lnTo>
                  <a:pt x="1835" y="829"/>
                </a:lnTo>
                <a:lnTo>
                  <a:pt x="1837" y="824"/>
                </a:lnTo>
                <a:lnTo>
                  <a:pt x="1838" y="819"/>
                </a:lnTo>
                <a:lnTo>
                  <a:pt x="1839" y="813"/>
                </a:lnTo>
                <a:lnTo>
                  <a:pt x="1842" y="807"/>
                </a:lnTo>
                <a:lnTo>
                  <a:pt x="1845" y="801"/>
                </a:lnTo>
                <a:lnTo>
                  <a:pt x="1847" y="800"/>
                </a:lnTo>
                <a:lnTo>
                  <a:pt x="1849" y="798"/>
                </a:lnTo>
                <a:lnTo>
                  <a:pt x="1851" y="797"/>
                </a:lnTo>
                <a:lnTo>
                  <a:pt x="1855" y="797"/>
                </a:lnTo>
                <a:lnTo>
                  <a:pt x="1861" y="798"/>
                </a:lnTo>
                <a:lnTo>
                  <a:pt x="1866" y="799"/>
                </a:lnTo>
                <a:lnTo>
                  <a:pt x="1869" y="802"/>
                </a:lnTo>
                <a:lnTo>
                  <a:pt x="1872" y="806"/>
                </a:lnTo>
                <a:lnTo>
                  <a:pt x="1873" y="811"/>
                </a:lnTo>
                <a:lnTo>
                  <a:pt x="1874" y="814"/>
                </a:lnTo>
                <a:lnTo>
                  <a:pt x="1874" y="819"/>
                </a:lnTo>
                <a:lnTo>
                  <a:pt x="1874" y="824"/>
                </a:lnTo>
                <a:lnTo>
                  <a:pt x="1870" y="832"/>
                </a:lnTo>
                <a:lnTo>
                  <a:pt x="1866" y="842"/>
                </a:lnTo>
                <a:lnTo>
                  <a:pt x="1861" y="850"/>
                </a:lnTo>
                <a:lnTo>
                  <a:pt x="1856" y="857"/>
                </a:lnTo>
                <a:lnTo>
                  <a:pt x="1854" y="863"/>
                </a:lnTo>
                <a:lnTo>
                  <a:pt x="1854" y="871"/>
                </a:lnTo>
                <a:lnTo>
                  <a:pt x="1854" y="875"/>
                </a:lnTo>
                <a:lnTo>
                  <a:pt x="1855" y="879"/>
                </a:lnTo>
                <a:lnTo>
                  <a:pt x="1857" y="881"/>
                </a:lnTo>
                <a:lnTo>
                  <a:pt x="1860" y="882"/>
                </a:lnTo>
                <a:lnTo>
                  <a:pt x="1870" y="882"/>
                </a:lnTo>
                <a:lnTo>
                  <a:pt x="1886" y="879"/>
                </a:lnTo>
                <a:lnTo>
                  <a:pt x="1894" y="876"/>
                </a:lnTo>
                <a:lnTo>
                  <a:pt x="1902" y="874"/>
                </a:lnTo>
                <a:lnTo>
                  <a:pt x="1910" y="870"/>
                </a:lnTo>
                <a:lnTo>
                  <a:pt x="1916" y="867"/>
                </a:lnTo>
                <a:lnTo>
                  <a:pt x="1926" y="858"/>
                </a:lnTo>
                <a:lnTo>
                  <a:pt x="1936" y="850"/>
                </a:lnTo>
                <a:lnTo>
                  <a:pt x="1940" y="846"/>
                </a:lnTo>
                <a:lnTo>
                  <a:pt x="1946" y="843"/>
                </a:lnTo>
                <a:lnTo>
                  <a:pt x="1951" y="840"/>
                </a:lnTo>
                <a:lnTo>
                  <a:pt x="1957" y="840"/>
                </a:lnTo>
                <a:lnTo>
                  <a:pt x="1970" y="840"/>
                </a:lnTo>
                <a:lnTo>
                  <a:pt x="1982" y="842"/>
                </a:lnTo>
                <a:lnTo>
                  <a:pt x="1988" y="842"/>
                </a:lnTo>
                <a:lnTo>
                  <a:pt x="1993" y="842"/>
                </a:lnTo>
                <a:lnTo>
                  <a:pt x="1995" y="840"/>
                </a:lnTo>
                <a:lnTo>
                  <a:pt x="1998" y="839"/>
                </a:lnTo>
                <a:lnTo>
                  <a:pt x="1999" y="837"/>
                </a:lnTo>
                <a:lnTo>
                  <a:pt x="1998" y="835"/>
                </a:lnTo>
                <a:lnTo>
                  <a:pt x="1996" y="830"/>
                </a:lnTo>
                <a:lnTo>
                  <a:pt x="1995" y="826"/>
                </a:lnTo>
                <a:lnTo>
                  <a:pt x="1990" y="817"/>
                </a:lnTo>
                <a:lnTo>
                  <a:pt x="1987" y="808"/>
                </a:lnTo>
                <a:lnTo>
                  <a:pt x="1982" y="800"/>
                </a:lnTo>
                <a:lnTo>
                  <a:pt x="1977" y="788"/>
                </a:lnTo>
                <a:lnTo>
                  <a:pt x="1976" y="781"/>
                </a:lnTo>
                <a:lnTo>
                  <a:pt x="1975" y="776"/>
                </a:lnTo>
                <a:lnTo>
                  <a:pt x="1975" y="770"/>
                </a:lnTo>
                <a:lnTo>
                  <a:pt x="1975" y="767"/>
                </a:lnTo>
                <a:lnTo>
                  <a:pt x="1981" y="761"/>
                </a:lnTo>
                <a:lnTo>
                  <a:pt x="1987" y="757"/>
                </a:lnTo>
                <a:lnTo>
                  <a:pt x="1990" y="755"/>
                </a:lnTo>
                <a:lnTo>
                  <a:pt x="1992" y="753"/>
                </a:lnTo>
                <a:lnTo>
                  <a:pt x="1993" y="749"/>
                </a:lnTo>
                <a:lnTo>
                  <a:pt x="1992" y="744"/>
                </a:lnTo>
                <a:lnTo>
                  <a:pt x="1987" y="735"/>
                </a:lnTo>
                <a:lnTo>
                  <a:pt x="1980" y="725"/>
                </a:lnTo>
                <a:lnTo>
                  <a:pt x="1977" y="720"/>
                </a:lnTo>
                <a:lnTo>
                  <a:pt x="1976" y="715"/>
                </a:lnTo>
                <a:lnTo>
                  <a:pt x="1975" y="707"/>
                </a:lnTo>
                <a:lnTo>
                  <a:pt x="1976" y="699"/>
                </a:lnTo>
                <a:lnTo>
                  <a:pt x="1980" y="691"/>
                </a:lnTo>
                <a:lnTo>
                  <a:pt x="1983" y="686"/>
                </a:lnTo>
                <a:lnTo>
                  <a:pt x="1987" y="681"/>
                </a:lnTo>
                <a:lnTo>
                  <a:pt x="1992" y="679"/>
                </a:lnTo>
                <a:lnTo>
                  <a:pt x="2000" y="676"/>
                </a:lnTo>
                <a:lnTo>
                  <a:pt x="2006" y="675"/>
                </a:lnTo>
                <a:lnTo>
                  <a:pt x="2009" y="676"/>
                </a:lnTo>
                <a:lnTo>
                  <a:pt x="2012" y="678"/>
                </a:lnTo>
                <a:lnTo>
                  <a:pt x="2014" y="680"/>
                </a:lnTo>
                <a:lnTo>
                  <a:pt x="2017" y="682"/>
                </a:lnTo>
                <a:lnTo>
                  <a:pt x="2020" y="691"/>
                </a:lnTo>
                <a:lnTo>
                  <a:pt x="2023" y="699"/>
                </a:lnTo>
                <a:lnTo>
                  <a:pt x="2024" y="709"/>
                </a:lnTo>
                <a:lnTo>
                  <a:pt x="2026" y="715"/>
                </a:lnTo>
                <a:lnTo>
                  <a:pt x="2030" y="719"/>
                </a:lnTo>
                <a:lnTo>
                  <a:pt x="2034" y="723"/>
                </a:lnTo>
                <a:lnTo>
                  <a:pt x="2037" y="724"/>
                </a:lnTo>
                <a:lnTo>
                  <a:pt x="2039" y="724"/>
                </a:lnTo>
                <a:lnTo>
                  <a:pt x="2042" y="724"/>
                </a:lnTo>
                <a:lnTo>
                  <a:pt x="2044" y="724"/>
                </a:lnTo>
                <a:lnTo>
                  <a:pt x="2046" y="723"/>
                </a:lnTo>
                <a:lnTo>
                  <a:pt x="2047" y="720"/>
                </a:lnTo>
                <a:lnTo>
                  <a:pt x="2047" y="717"/>
                </a:lnTo>
                <a:lnTo>
                  <a:pt x="2047" y="713"/>
                </a:lnTo>
                <a:lnTo>
                  <a:pt x="2045" y="703"/>
                </a:lnTo>
                <a:lnTo>
                  <a:pt x="2040" y="693"/>
                </a:lnTo>
                <a:lnTo>
                  <a:pt x="2039" y="688"/>
                </a:lnTo>
                <a:lnTo>
                  <a:pt x="2039" y="684"/>
                </a:lnTo>
                <a:lnTo>
                  <a:pt x="2040" y="681"/>
                </a:lnTo>
                <a:lnTo>
                  <a:pt x="2044" y="679"/>
                </a:lnTo>
                <a:lnTo>
                  <a:pt x="2049" y="676"/>
                </a:lnTo>
                <a:lnTo>
                  <a:pt x="2052" y="673"/>
                </a:lnTo>
                <a:lnTo>
                  <a:pt x="2056" y="671"/>
                </a:lnTo>
                <a:lnTo>
                  <a:pt x="2059" y="667"/>
                </a:lnTo>
                <a:lnTo>
                  <a:pt x="2062" y="662"/>
                </a:lnTo>
                <a:lnTo>
                  <a:pt x="2064" y="659"/>
                </a:lnTo>
                <a:lnTo>
                  <a:pt x="2064" y="655"/>
                </a:lnTo>
                <a:lnTo>
                  <a:pt x="2064" y="653"/>
                </a:lnTo>
                <a:lnTo>
                  <a:pt x="2063" y="650"/>
                </a:lnTo>
                <a:lnTo>
                  <a:pt x="2061" y="647"/>
                </a:lnTo>
                <a:lnTo>
                  <a:pt x="2057" y="646"/>
                </a:lnTo>
                <a:lnTo>
                  <a:pt x="2052" y="643"/>
                </a:lnTo>
                <a:lnTo>
                  <a:pt x="2043" y="640"/>
                </a:lnTo>
                <a:lnTo>
                  <a:pt x="2034" y="636"/>
                </a:lnTo>
                <a:lnTo>
                  <a:pt x="2030" y="636"/>
                </a:lnTo>
                <a:lnTo>
                  <a:pt x="2024" y="636"/>
                </a:lnTo>
                <a:lnTo>
                  <a:pt x="2018" y="637"/>
                </a:lnTo>
                <a:lnTo>
                  <a:pt x="2012" y="638"/>
                </a:lnTo>
                <a:lnTo>
                  <a:pt x="2001" y="642"/>
                </a:lnTo>
                <a:lnTo>
                  <a:pt x="1994" y="643"/>
                </a:lnTo>
                <a:lnTo>
                  <a:pt x="1992" y="643"/>
                </a:lnTo>
                <a:lnTo>
                  <a:pt x="1990" y="641"/>
                </a:lnTo>
                <a:lnTo>
                  <a:pt x="1990" y="638"/>
                </a:lnTo>
                <a:lnTo>
                  <a:pt x="1990" y="634"/>
                </a:lnTo>
                <a:lnTo>
                  <a:pt x="1992" y="629"/>
                </a:lnTo>
                <a:lnTo>
                  <a:pt x="1993" y="624"/>
                </a:lnTo>
                <a:lnTo>
                  <a:pt x="1995" y="618"/>
                </a:lnTo>
                <a:lnTo>
                  <a:pt x="1999" y="612"/>
                </a:lnTo>
                <a:lnTo>
                  <a:pt x="2002" y="608"/>
                </a:lnTo>
                <a:lnTo>
                  <a:pt x="2007" y="604"/>
                </a:lnTo>
                <a:lnTo>
                  <a:pt x="2012" y="602"/>
                </a:lnTo>
                <a:lnTo>
                  <a:pt x="2018" y="600"/>
                </a:lnTo>
                <a:lnTo>
                  <a:pt x="2027" y="598"/>
                </a:lnTo>
                <a:lnTo>
                  <a:pt x="2037" y="598"/>
                </a:lnTo>
                <a:lnTo>
                  <a:pt x="2043" y="599"/>
                </a:lnTo>
                <a:lnTo>
                  <a:pt x="2047" y="603"/>
                </a:lnTo>
                <a:lnTo>
                  <a:pt x="2049" y="604"/>
                </a:lnTo>
                <a:lnTo>
                  <a:pt x="2049" y="608"/>
                </a:lnTo>
                <a:lnTo>
                  <a:pt x="2049" y="610"/>
                </a:lnTo>
                <a:lnTo>
                  <a:pt x="2049" y="613"/>
                </a:lnTo>
                <a:lnTo>
                  <a:pt x="2047" y="618"/>
                </a:lnTo>
                <a:lnTo>
                  <a:pt x="2049" y="621"/>
                </a:lnTo>
                <a:lnTo>
                  <a:pt x="2050" y="623"/>
                </a:lnTo>
                <a:lnTo>
                  <a:pt x="2052" y="625"/>
                </a:lnTo>
                <a:lnTo>
                  <a:pt x="2059" y="628"/>
                </a:lnTo>
                <a:lnTo>
                  <a:pt x="2068" y="627"/>
                </a:lnTo>
                <a:lnTo>
                  <a:pt x="2076" y="623"/>
                </a:lnTo>
                <a:lnTo>
                  <a:pt x="2088" y="616"/>
                </a:lnTo>
                <a:lnTo>
                  <a:pt x="2093" y="612"/>
                </a:lnTo>
                <a:lnTo>
                  <a:pt x="2097" y="608"/>
                </a:lnTo>
                <a:lnTo>
                  <a:pt x="2101" y="603"/>
                </a:lnTo>
                <a:lnTo>
                  <a:pt x="2103" y="599"/>
                </a:lnTo>
                <a:lnTo>
                  <a:pt x="2106" y="592"/>
                </a:lnTo>
                <a:lnTo>
                  <a:pt x="2109" y="587"/>
                </a:lnTo>
                <a:lnTo>
                  <a:pt x="2119" y="583"/>
                </a:lnTo>
                <a:lnTo>
                  <a:pt x="2141" y="572"/>
                </a:lnTo>
                <a:lnTo>
                  <a:pt x="2150" y="568"/>
                </a:lnTo>
                <a:lnTo>
                  <a:pt x="2160" y="564"/>
                </a:lnTo>
                <a:lnTo>
                  <a:pt x="2172" y="559"/>
                </a:lnTo>
                <a:lnTo>
                  <a:pt x="2184" y="554"/>
                </a:lnTo>
                <a:lnTo>
                  <a:pt x="2189" y="550"/>
                </a:lnTo>
                <a:lnTo>
                  <a:pt x="2193" y="547"/>
                </a:lnTo>
                <a:lnTo>
                  <a:pt x="2195" y="542"/>
                </a:lnTo>
                <a:lnTo>
                  <a:pt x="2197" y="537"/>
                </a:lnTo>
                <a:lnTo>
                  <a:pt x="2200" y="524"/>
                </a:lnTo>
                <a:lnTo>
                  <a:pt x="2203" y="510"/>
                </a:lnTo>
                <a:lnTo>
                  <a:pt x="2203" y="502"/>
                </a:lnTo>
                <a:lnTo>
                  <a:pt x="2204" y="495"/>
                </a:lnTo>
                <a:lnTo>
                  <a:pt x="2206" y="491"/>
                </a:lnTo>
                <a:lnTo>
                  <a:pt x="2207" y="487"/>
                </a:lnTo>
                <a:lnTo>
                  <a:pt x="2208" y="485"/>
                </a:lnTo>
                <a:lnTo>
                  <a:pt x="2210" y="485"/>
                </a:lnTo>
                <a:lnTo>
                  <a:pt x="2221" y="489"/>
                </a:lnTo>
                <a:lnTo>
                  <a:pt x="2232" y="492"/>
                </a:lnTo>
                <a:lnTo>
                  <a:pt x="2238" y="490"/>
                </a:lnTo>
                <a:lnTo>
                  <a:pt x="2244" y="487"/>
                </a:lnTo>
                <a:lnTo>
                  <a:pt x="2246" y="486"/>
                </a:lnTo>
                <a:lnTo>
                  <a:pt x="2248" y="485"/>
                </a:lnTo>
                <a:lnTo>
                  <a:pt x="2252" y="485"/>
                </a:lnTo>
                <a:lnTo>
                  <a:pt x="2253" y="487"/>
                </a:lnTo>
                <a:lnTo>
                  <a:pt x="2256" y="489"/>
                </a:lnTo>
                <a:lnTo>
                  <a:pt x="2256" y="491"/>
                </a:lnTo>
                <a:lnTo>
                  <a:pt x="2256" y="492"/>
                </a:lnTo>
                <a:lnTo>
                  <a:pt x="2254" y="493"/>
                </a:lnTo>
                <a:lnTo>
                  <a:pt x="2251" y="498"/>
                </a:lnTo>
                <a:lnTo>
                  <a:pt x="2247" y="507"/>
                </a:lnTo>
                <a:lnTo>
                  <a:pt x="2244" y="516"/>
                </a:lnTo>
                <a:lnTo>
                  <a:pt x="2241" y="522"/>
                </a:lnTo>
                <a:lnTo>
                  <a:pt x="2240" y="524"/>
                </a:lnTo>
                <a:lnTo>
                  <a:pt x="2240" y="527"/>
                </a:lnTo>
                <a:lnTo>
                  <a:pt x="2241" y="531"/>
                </a:lnTo>
                <a:lnTo>
                  <a:pt x="2244" y="536"/>
                </a:lnTo>
                <a:lnTo>
                  <a:pt x="2246" y="540"/>
                </a:lnTo>
                <a:lnTo>
                  <a:pt x="2248" y="541"/>
                </a:lnTo>
                <a:lnTo>
                  <a:pt x="2252" y="542"/>
                </a:lnTo>
                <a:lnTo>
                  <a:pt x="2254" y="541"/>
                </a:lnTo>
                <a:lnTo>
                  <a:pt x="2261" y="540"/>
                </a:lnTo>
                <a:lnTo>
                  <a:pt x="2266" y="537"/>
                </a:lnTo>
                <a:lnTo>
                  <a:pt x="2272" y="534"/>
                </a:lnTo>
                <a:lnTo>
                  <a:pt x="2277" y="529"/>
                </a:lnTo>
                <a:lnTo>
                  <a:pt x="2280" y="522"/>
                </a:lnTo>
                <a:lnTo>
                  <a:pt x="2285" y="515"/>
                </a:lnTo>
                <a:lnTo>
                  <a:pt x="2291" y="499"/>
                </a:lnTo>
                <a:lnTo>
                  <a:pt x="2296" y="490"/>
                </a:lnTo>
                <a:lnTo>
                  <a:pt x="2301" y="482"/>
                </a:lnTo>
                <a:lnTo>
                  <a:pt x="2311" y="470"/>
                </a:lnTo>
                <a:lnTo>
                  <a:pt x="2322" y="454"/>
                </a:lnTo>
                <a:lnTo>
                  <a:pt x="2333" y="440"/>
                </a:lnTo>
                <a:lnTo>
                  <a:pt x="2342" y="424"/>
                </a:lnTo>
                <a:lnTo>
                  <a:pt x="2352" y="410"/>
                </a:lnTo>
                <a:lnTo>
                  <a:pt x="2357" y="405"/>
                </a:lnTo>
                <a:lnTo>
                  <a:pt x="2361" y="401"/>
                </a:lnTo>
                <a:lnTo>
                  <a:pt x="2367" y="398"/>
                </a:lnTo>
                <a:lnTo>
                  <a:pt x="2373" y="397"/>
                </a:lnTo>
                <a:lnTo>
                  <a:pt x="2376" y="398"/>
                </a:lnTo>
                <a:lnTo>
                  <a:pt x="2379" y="400"/>
                </a:lnTo>
                <a:lnTo>
                  <a:pt x="2382" y="402"/>
                </a:lnTo>
                <a:lnTo>
                  <a:pt x="2383" y="404"/>
                </a:lnTo>
                <a:lnTo>
                  <a:pt x="2386" y="411"/>
                </a:lnTo>
                <a:lnTo>
                  <a:pt x="2390" y="420"/>
                </a:lnTo>
                <a:lnTo>
                  <a:pt x="2392" y="428"/>
                </a:lnTo>
                <a:lnTo>
                  <a:pt x="2396" y="436"/>
                </a:lnTo>
                <a:lnTo>
                  <a:pt x="2399" y="444"/>
                </a:lnTo>
                <a:lnTo>
                  <a:pt x="2404" y="448"/>
                </a:lnTo>
                <a:lnTo>
                  <a:pt x="2410" y="449"/>
                </a:lnTo>
                <a:lnTo>
                  <a:pt x="2415" y="451"/>
                </a:lnTo>
                <a:lnTo>
                  <a:pt x="2420" y="448"/>
                </a:lnTo>
                <a:lnTo>
                  <a:pt x="2423" y="446"/>
                </a:lnTo>
                <a:lnTo>
                  <a:pt x="2427" y="442"/>
                </a:lnTo>
                <a:lnTo>
                  <a:pt x="2430" y="439"/>
                </a:lnTo>
                <a:lnTo>
                  <a:pt x="2431" y="434"/>
                </a:lnTo>
                <a:lnTo>
                  <a:pt x="2433" y="430"/>
                </a:lnTo>
                <a:lnTo>
                  <a:pt x="2433" y="416"/>
                </a:lnTo>
                <a:lnTo>
                  <a:pt x="2434" y="397"/>
                </a:lnTo>
                <a:lnTo>
                  <a:pt x="2435" y="389"/>
                </a:lnTo>
                <a:lnTo>
                  <a:pt x="2439" y="382"/>
                </a:lnTo>
                <a:lnTo>
                  <a:pt x="2440" y="381"/>
                </a:lnTo>
                <a:lnTo>
                  <a:pt x="2443" y="379"/>
                </a:lnTo>
                <a:lnTo>
                  <a:pt x="2446" y="378"/>
                </a:lnTo>
                <a:lnTo>
                  <a:pt x="2449" y="379"/>
                </a:lnTo>
                <a:lnTo>
                  <a:pt x="2453" y="382"/>
                </a:lnTo>
                <a:lnTo>
                  <a:pt x="2456" y="385"/>
                </a:lnTo>
                <a:lnTo>
                  <a:pt x="2458" y="389"/>
                </a:lnTo>
                <a:lnTo>
                  <a:pt x="2459" y="394"/>
                </a:lnTo>
                <a:lnTo>
                  <a:pt x="2459" y="405"/>
                </a:lnTo>
                <a:lnTo>
                  <a:pt x="2459" y="419"/>
                </a:lnTo>
                <a:lnTo>
                  <a:pt x="2458" y="432"/>
                </a:lnTo>
                <a:lnTo>
                  <a:pt x="2458" y="444"/>
                </a:lnTo>
                <a:lnTo>
                  <a:pt x="2458" y="449"/>
                </a:lnTo>
                <a:lnTo>
                  <a:pt x="2460" y="454"/>
                </a:lnTo>
                <a:lnTo>
                  <a:pt x="2461" y="458"/>
                </a:lnTo>
                <a:lnTo>
                  <a:pt x="2465" y="461"/>
                </a:lnTo>
                <a:lnTo>
                  <a:pt x="2471" y="465"/>
                </a:lnTo>
                <a:lnTo>
                  <a:pt x="2478" y="466"/>
                </a:lnTo>
                <a:lnTo>
                  <a:pt x="2485" y="466"/>
                </a:lnTo>
                <a:lnTo>
                  <a:pt x="2492" y="466"/>
                </a:lnTo>
                <a:lnTo>
                  <a:pt x="2506" y="464"/>
                </a:lnTo>
                <a:lnTo>
                  <a:pt x="2516" y="461"/>
                </a:lnTo>
                <a:lnTo>
                  <a:pt x="2525" y="460"/>
                </a:lnTo>
                <a:lnTo>
                  <a:pt x="2536" y="458"/>
                </a:lnTo>
                <a:lnTo>
                  <a:pt x="2542" y="457"/>
                </a:lnTo>
                <a:lnTo>
                  <a:pt x="2547" y="454"/>
                </a:lnTo>
                <a:lnTo>
                  <a:pt x="2553" y="451"/>
                </a:lnTo>
                <a:lnTo>
                  <a:pt x="2560" y="446"/>
                </a:lnTo>
                <a:lnTo>
                  <a:pt x="2562" y="444"/>
                </a:lnTo>
                <a:lnTo>
                  <a:pt x="2565" y="440"/>
                </a:lnTo>
                <a:lnTo>
                  <a:pt x="2566" y="438"/>
                </a:lnTo>
                <a:lnTo>
                  <a:pt x="2566" y="434"/>
                </a:lnTo>
                <a:lnTo>
                  <a:pt x="2566" y="428"/>
                </a:lnTo>
                <a:lnTo>
                  <a:pt x="2565" y="421"/>
                </a:lnTo>
                <a:lnTo>
                  <a:pt x="2563" y="415"/>
                </a:lnTo>
                <a:lnTo>
                  <a:pt x="2562" y="408"/>
                </a:lnTo>
                <a:lnTo>
                  <a:pt x="2562" y="402"/>
                </a:lnTo>
                <a:lnTo>
                  <a:pt x="2565" y="396"/>
                </a:lnTo>
                <a:lnTo>
                  <a:pt x="2574" y="378"/>
                </a:lnTo>
                <a:lnTo>
                  <a:pt x="2579" y="366"/>
                </a:lnTo>
                <a:lnTo>
                  <a:pt x="2579" y="365"/>
                </a:lnTo>
                <a:lnTo>
                  <a:pt x="2576" y="364"/>
                </a:lnTo>
                <a:lnTo>
                  <a:pt x="2574" y="365"/>
                </a:lnTo>
                <a:lnTo>
                  <a:pt x="2569" y="366"/>
                </a:lnTo>
                <a:lnTo>
                  <a:pt x="2560" y="370"/>
                </a:lnTo>
                <a:lnTo>
                  <a:pt x="2548" y="375"/>
                </a:lnTo>
                <a:lnTo>
                  <a:pt x="2541" y="376"/>
                </a:lnTo>
                <a:lnTo>
                  <a:pt x="2536" y="376"/>
                </a:lnTo>
                <a:lnTo>
                  <a:pt x="2531" y="376"/>
                </a:lnTo>
                <a:lnTo>
                  <a:pt x="2528" y="375"/>
                </a:lnTo>
                <a:lnTo>
                  <a:pt x="2524" y="372"/>
                </a:lnTo>
                <a:lnTo>
                  <a:pt x="2522" y="369"/>
                </a:lnTo>
                <a:lnTo>
                  <a:pt x="2522" y="363"/>
                </a:lnTo>
                <a:lnTo>
                  <a:pt x="2522" y="357"/>
                </a:lnTo>
                <a:lnTo>
                  <a:pt x="2523" y="350"/>
                </a:lnTo>
                <a:lnTo>
                  <a:pt x="2525" y="342"/>
                </a:lnTo>
                <a:lnTo>
                  <a:pt x="2528" y="337"/>
                </a:lnTo>
                <a:lnTo>
                  <a:pt x="2532" y="332"/>
                </a:lnTo>
                <a:lnTo>
                  <a:pt x="2537" y="327"/>
                </a:lnTo>
                <a:lnTo>
                  <a:pt x="2543" y="325"/>
                </a:lnTo>
                <a:lnTo>
                  <a:pt x="2550" y="322"/>
                </a:lnTo>
                <a:lnTo>
                  <a:pt x="2557" y="321"/>
                </a:lnTo>
                <a:lnTo>
                  <a:pt x="2562" y="320"/>
                </a:lnTo>
                <a:lnTo>
                  <a:pt x="2566" y="319"/>
                </a:lnTo>
                <a:lnTo>
                  <a:pt x="2568" y="316"/>
                </a:lnTo>
                <a:lnTo>
                  <a:pt x="2571" y="315"/>
                </a:lnTo>
                <a:lnTo>
                  <a:pt x="2573" y="310"/>
                </a:lnTo>
                <a:lnTo>
                  <a:pt x="2575" y="304"/>
                </a:lnTo>
                <a:lnTo>
                  <a:pt x="2578" y="300"/>
                </a:lnTo>
                <a:lnTo>
                  <a:pt x="2579" y="294"/>
                </a:lnTo>
                <a:lnTo>
                  <a:pt x="2579" y="291"/>
                </a:lnTo>
                <a:lnTo>
                  <a:pt x="2578" y="288"/>
                </a:lnTo>
                <a:lnTo>
                  <a:pt x="2576" y="285"/>
                </a:lnTo>
                <a:lnTo>
                  <a:pt x="2575" y="282"/>
                </a:lnTo>
                <a:lnTo>
                  <a:pt x="2569" y="274"/>
                </a:lnTo>
                <a:lnTo>
                  <a:pt x="2563" y="265"/>
                </a:lnTo>
                <a:lnTo>
                  <a:pt x="2559" y="257"/>
                </a:lnTo>
                <a:lnTo>
                  <a:pt x="2556" y="249"/>
                </a:lnTo>
                <a:lnTo>
                  <a:pt x="2556" y="245"/>
                </a:lnTo>
                <a:lnTo>
                  <a:pt x="2559" y="240"/>
                </a:lnTo>
                <a:lnTo>
                  <a:pt x="2561" y="237"/>
                </a:lnTo>
                <a:lnTo>
                  <a:pt x="2565" y="232"/>
                </a:lnTo>
                <a:lnTo>
                  <a:pt x="2573" y="225"/>
                </a:lnTo>
                <a:lnTo>
                  <a:pt x="2579" y="220"/>
                </a:lnTo>
                <a:lnTo>
                  <a:pt x="2594" y="213"/>
                </a:lnTo>
                <a:lnTo>
                  <a:pt x="2605" y="207"/>
                </a:lnTo>
                <a:lnTo>
                  <a:pt x="2606" y="205"/>
                </a:lnTo>
                <a:lnTo>
                  <a:pt x="2606" y="202"/>
                </a:lnTo>
                <a:lnTo>
                  <a:pt x="2605" y="199"/>
                </a:lnTo>
                <a:lnTo>
                  <a:pt x="2604" y="196"/>
                </a:lnTo>
                <a:lnTo>
                  <a:pt x="2599" y="192"/>
                </a:lnTo>
                <a:lnTo>
                  <a:pt x="2594" y="188"/>
                </a:lnTo>
                <a:lnTo>
                  <a:pt x="2592" y="187"/>
                </a:lnTo>
                <a:lnTo>
                  <a:pt x="2588" y="187"/>
                </a:lnTo>
                <a:lnTo>
                  <a:pt x="2585" y="187"/>
                </a:lnTo>
                <a:lnTo>
                  <a:pt x="2580" y="188"/>
                </a:lnTo>
                <a:lnTo>
                  <a:pt x="2571" y="193"/>
                </a:lnTo>
                <a:lnTo>
                  <a:pt x="2561" y="199"/>
                </a:lnTo>
                <a:lnTo>
                  <a:pt x="2553" y="205"/>
                </a:lnTo>
                <a:lnTo>
                  <a:pt x="2544" y="209"/>
                </a:lnTo>
                <a:lnTo>
                  <a:pt x="2540" y="212"/>
                </a:lnTo>
                <a:lnTo>
                  <a:pt x="2535" y="213"/>
                </a:lnTo>
                <a:lnTo>
                  <a:pt x="2530" y="213"/>
                </a:lnTo>
                <a:lnTo>
                  <a:pt x="2525" y="213"/>
                </a:lnTo>
                <a:lnTo>
                  <a:pt x="2513" y="213"/>
                </a:lnTo>
                <a:lnTo>
                  <a:pt x="2500" y="212"/>
                </a:lnTo>
                <a:lnTo>
                  <a:pt x="2488" y="212"/>
                </a:lnTo>
                <a:lnTo>
                  <a:pt x="2479" y="213"/>
                </a:lnTo>
                <a:lnTo>
                  <a:pt x="2471" y="212"/>
                </a:lnTo>
                <a:lnTo>
                  <a:pt x="2464" y="209"/>
                </a:lnTo>
                <a:lnTo>
                  <a:pt x="2458" y="206"/>
                </a:lnTo>
                <a:lnTo>
                  <a:pt x="2454" y="200"/>
                </a:lnTo>
                <a:lnTo>
                  <a:pt x="2448" y="190"/>
                </a:lnTo>
                <a:lnTo>
                  <a:pt x="2439" y="175"/>
                </a:lnTo>
                <a:lnTo>
                  <a:pt x="2434" y="168"/>
                </a:lnTo>
                <a:lnTo>
                  <a:pt x="2428" y="162"/>
                </a:lnTo>
                <a:lnTo>
                  <a:pt x="2423" y="157"/>
                </a:lnTo>
                <a:lnTo>
                  <a:pt x="2418" y="155"/>
                </a:lnTo>
                <a:lnTo>
                  <a:pt x="2409" y="152"/>
                </a:lnTo>
                <a:lnTo>
                  <a:pt x="2397" y="151"/>
                </a:lnTo>
                <a:lnTo>
                  <a:pt x="2386" y="152"/>
                </a:lnTo>
                <a:lnTo>
                  <a:pt x="2377" y="153"/>
                </a:lnTo>
                <a:lnTo>
                  <a:pt x="2372" y="156"/>
                </a:lnTo>
                <a:lnTo>
                  <a:pt x="2368" y="161"/>
                </a:lnTo>
                <a:lnTo>
                  <a:pt x="2365" y="165"/>
                </a:lnTo>
                <a:lnTo>
                  <a:pt x="2362" y="171"/>
                </a:lnTo>
                <a:lnTo>
                  <a:pt x="2361" y="178"/>
                </a:lnTo>
                <a:lnTo>
                  <a:pt x="2360" y="184"/>
                </a:lnTo>
                <a:lnTo>
                  <a:pt x="2360" y="192"/>
                </a:lnTo>
                <a:lnTo>
                  <a:pt x="2361" y="197"/>
                </a:lnTo>
                <a:lnTo>
                  <a:pt x="2361" y="202"/>
                </a:lnTo>
                <a:lnTo>
                  <a:pt x="2361" y="207"/>
                </a:lnTo>
                <a:lnTo>
                  <a:pt x="2360" y="211"/>
                </a:lnTo>
                <a:lnTo>
                  <a:pt x="2359" y="214"/>
                </a:lnTo>
                <a:lnTo>
                  <a:pt x="2358" y="216"/>
                </a:lnTo>
                <a:lnTo>
                  <a:pt x="2355" y="218"/>
                </a:lnTo>
                <a:lnTo>
                  <a:pt x="2353" y="219"/>
                </a:lnTo>
                <a:lnTo>
                  <a:pt x="2349" y="220"/>
                </a:lnTo>
                <a:lnTo>
                  <a:pt x="2347" y="220"/>
                </a:lnTo>
                <a:lnTo>
                  <a:pt x="2345" y="219"/>
                </a:lnTo>
                <a:lnTo>
                  <a:pt x="2342" y="218"/>
                </a:lnTo>
                <a:lnTo>
                  <a:pt x="2340" y="216"/>
                </a:lnTo>
                <a:lnTo>
                  <a:pt x="2335" y="212"/>
                </a:lnTo>
                <a:lnTo>
                  <a:pt x="2330" y="206"/>
                </a:lnTo>
                <a:lnTo>
                  <a:pt x="2328" y="203"/>
                </a:lnTo>
                <a:lnTo>
                  <a:pt x="2324" y="202"/>
                </a:lnTo>
                <a:lnTo>
                  <a:pt x="2321" y="201"/>
                </a:lnTo>
                <a:lnTo>
                  <a:pt x="2316" y="201"/>
                </a:lnTo>
                <a:lnTo>
                  <a:pt x="2311" y="201"/>
                </a:lnTo>
                <a:lnTo>
                  <a:pt x="2307" y="202"/>
                </a:lnTo>
                <a:lnTo>
                  <a:pt x="2301" y="203"/>
                </a:lnTo>
                <a:lnTo>
                  <a:pt x="2296" y="206"/>
                </a:lnTo>
                <a:lnTo>
                  <a:pt x="2284" y="212"/>
                </a:lnTo>
                <a:lnTo>
                  <a:pt x="2267" y="216"/>
                </a:lnTo>
                <a:lnTo>
                  <a:pt x="2250" y="221"/>
                </a:lnTo>
                <a:lnTo>
                  <a:pt x="2235" y="225"/>
                </a:lnTo>
                <a:lnTo>
                  <a:pt x="2225" y="226"/>
                </a:lnTo>
                <a:lnTo>
                  <a:pt x="2215" y="225"/>
                </a:lnTo>
                <a:lnTo>
                  <a:pt x="2204" y="222"/>
                </a:lnTo>
                <a:lnTo>
                  <a:pt x="2195" y="220"/>
                </a:lnTo>
                <a:lnTo>
                  <a:pt x="2191" y="216"/>
                </a:lnTo>
                <a:lnTo>
                  <a:pt x="2188" y="212"/>
                </a:lnTo>
                <a:lnTo>
                  <a:pt x="2182" y="205"/>
                </a:lnTo>
                <a:lnTo>
                  <a:pt x="2177" y="197"/>
                </a:lnTo>
                <a:lnTo>
                  <a:pt x="2171" y="189"/>
                </a:lnTo>
                <a:lnTo>
                  <a:pt x="2166" y="182"/>
                </a:lnTo>
                <a:lnTo>
                  <a:pt x="2162" y="176"/>
                </a:lnTo>
                <a:lnTo>
                  <a:pt x="2157" y="171"/>
                </a:lnTo>
                <a:lnTo>
                  <a:pt x="2152" y="169"/>
                </a:lnTo>
                <a:lnTo>
                  <a:pt x="2147" y="169"/>
                </a:lnTo>
                <a:lnTo>
                  <a:pt x="2144" y="169"/>
                </a:lnTo>
                <a:lnTo>
                  <a:pt x="2140" y="169"/>
                </a:lnTo>
                <a:lnTo>
                  <a:pt x="2133" y="173"/>
                </a:lnTo>
                <a:lnTo>
                  <a:pt x="2126" y="176"/>
                </a:lnTo>
                <a:lnTo>
                  <a:pt x="2119" y="178"/>
                </a:lnTo>
                <a:lnTo>
                  <a:pt x="2110" y="178"/>
                </a:lnTo>
                <a:lnTo>
                  <a:pt x="2099" y="176"/>
                </a:lnTo>
                <a:lnTo>
                  <a:pt x="2083" y="171"/>
                </a:lnTo>
                <a:lnTo>
                  <a:pt x="2080" y="169"/>
                </a:lnTo>
                <a:lnTo>
                  <a:pt x="2076" y="167"/>
                </a:lnTo>
                <a:lnTo>
                  <a:pt x="2074" y="164"/>
                </a:lnTo>
                <a:lnTo>
                  <a:pt x="2072" y="161"/>
                </a:lnTo>
                <a:lnTo>
                  <a:pt x="2071" y="153"/>
                </a:lnTo>
                <a:lnTo>
                  <a:pt x="2070" y="145"/>
                </a:lnTo>
                <a:lnTo>
                  <a:pt x="2070" y="138"/>
                </a:lnTo>
                <a:lnTo>
                  <a:pt x="2070" y="131"/>
                </a:lnTo>
                <a:lnTo>
                  <a:pt x="2069" y="127"/>
                </a:lnTo>
                <a:lnTo>
                  <a:pt x="2068" y="125"/>
                </a:lnTo>
                <a:lnTo>
                  <a:pt x="2066" y="123"/>
                </a:lnTo>
                <a:lnTo>
                  <a:pt x="2064" y="121"/>
                </a:lnTo>
                <a:lnTo>
                  <a:pt x="2058" y="120"/>
                </a:lnTo>
                <a:lnTo>
                  <a:pt x="2052" y="119"/>
                </a:lnTo>
                <a:lnTo>
                  <a:pt x="2046" y="120"/>
                </a:lnTo>
                <a:lnTo>
                  <a:pt x="2040" y="121"/>
                </a:lnTo>
                <a:lnTo>
                  <a:pt x="2034" y="123"/>
                </a:lnTo>
                <a:lnTo>
                  <a:pt x="2028" y="123"/>
                </a:lnTo>
                <a:lnTo>
                  <a:pt x="2024" y="123"/>
                </a:lnTo>
                <a:lnTo>
                  <a:pt x="2018" y="121"/>
                </a:lnTo>
                <a:lnTo>
                  <a:pt x="2013" y="119"/>
                </a:lnTo>
                <a:lnTo>
                  <a:pt x="2009" y="117"/>
                </a:lnTo>
                <a:lnTo>
                  <a:pt x="2005" y="112"/>
                </a:lnTo>
                <a:lnTo>
                  <a:pt x="2001" y="107"/>
                </a:lnTo>
                <a:lnTo>
                  <a:pt x="1995" y="96"/>
                </a:lnTo>
                <a:lnTo>
                  <a:pt x="1989" y="86"/>
                </a:lnTo>
                <a:lnTo>
                  <a:pt x="1987" y="85"/>
                </a:lnTo>
                <a:lnTo>
                  <a:pt x="1984" y="82"/>
                </a:lnTo>
                <a:lnTo>
                  <a:pt x="1980" y="82"/>
                </a:lnTo>
                <a:lnTo>
                  <a:pt x="1975" y="81"/>
                </a:lnTo>
                <a:lnTo>
                  <a:pt x="1964" y="82"/>
                </a:lnTo>
                <a:lnTo>
                  <a:pt x="1956" y="83"/>
                </a:lnTo>
                <a:lnTo>
                  <a:pt x="1946" y="85"/>
                </a:lnTo>
                <a:lnTo>
                  <a:pt x="1933" y="87"/>
                </a:lnTo>
                <a:lnTo>
                  <a:pt x="1920" y="89"/>
                </a:lnTo>
                <a:lnTo>
                  <a:pt x="1908" y="92"/>
                </a:lnTo>
                <a:lnTo>
                  <a:pt x="1899" y="96"/>
                </a:lnTo>
                <a:lnTo>
                  <a:pt x="1889" y="104"/>
                </a:lnTo>
                <a:lnTo>
                  <a:pt x="1881" y="111"/>
                </a:lnTo>
                <a:lnTo>
                  <a:pt x="1872" y="118"/>
                </a:lnTo>
                <a:lnTo>
                  <a:pt x="1862" y="125"/>
                </a:lnTo>
                <a:lnTo>
                  <a:pt x="1854" y="129"/>
                </a:lnTo>
                <a:lnTo>
                  <a:pt x="1845" y="130"/>
                </a:lnTo>
                <a:lnTo>
                  <a:pt x="1839" y="131"/>
                </a:lnTo>
                <a:lnTo>
                  <a:pt x="1826" y="132"/>
                </a:lnTo>
                <a:lnTo>
                  <a:pt x="1813" y="137"/>
                </a:lnTo>
                <a:lnTo>
                  <a:pt x="1798" y="142"/>
                </a:lnTo>
                <a:lnTo>
                  <a:pt x="1780" y="144"/>
                </a:lnTo>
                <a:lnTo>
                  <a:pt x="1775" y="145"/>
                </a:lnTo>
                <a:lnTo>
                  <a:pt x="1770" y="148"/>
                </a:lnTo>
                <a:lnTo>
                  <a:pt x="1767" y="150"/>
                </a:lnTo>
                <a:lnTo>
                  <a:pt x="1765" y="153"/>
                </a:lnTo>
                <a:lnTo>
                  <a:pt x="1761" y="159"/>
                </a:lnTo>
                <a:lnTo>
                  <a:pt x="1759" y="164"/>
                </a:lnTo>
                <a:lnTo>
                  <a:pt x="1757" y="165"/>
                </a:lnTo>
                <a:lnTo>
                  <a:pt x="1759" y="167"/>
                </a:lnTo>
                <a:lnTo>
                  <a:pt x="1760" y="168"/>
                </a:lnTo>
                <a:lnTo>
                  <a:pt x="1761" y="169"/>
                </a:lnTo>
                <a:lnTo>
                  <a:pt x="1767" y="171"/>
                </a:lnTo>
                <a:lnTo>
                  <a:pt x="1774" y="171"/>
                </a:lnTo>
                <a:lnTo>
                  <a:pt x="1782" y="173"/>
                </a:lnTo>
                <a:lnTo>
                  <a:pt x="1791" y="176"/>
                </a:lnTo>
                <a:lnTo>
                  <a:pt x="1793" y="178"/>
                </a:lnTo>
                <a:lnTo>
                  <a:pt x="1795" y="182"/>
                </a:lnTo>
                <a:lnTo>
                  <a:pt x="1797" y="184"/>
                </a:lnTo>
                <a:lnTo>
                  <a:pt x="1798" y="188"/>
                </a:lnTo>
                <a:lnTo>
                  <a:pt x="1797" y="193"/>
                </a:lnTo>
                <a:lnTo>
                  <a:pt x="1794" y="197"/>
                </a:lnTo>
                <a:lnTo>
                  <a:pt x="1791" y="205"/>
                </a:lnTo>
                <a:lnTo>
                  <a:pt x="1786" y="212"/>
                </a:lnTo>
                <a:lnTo>
                  <a:pt x="1776" y="225"/>
                </a:lnTo>
                <a:lnTo>
                  <a:pt x="1767" y="234"/>
                </a:lnTo>
                <a:lnTo>
                  <a:pt x="1757" y="241"/>
                </a:lnTo>
                <a:lnTo>
                  <a:pt x="1749" y="249"/>
                </a:lnTo>
                <a:lnTo>
                  <a:pt x="1741" y="256"/>
                </a:lnTo>
                <a:lnTo>
                  <a:pt x="1734" y="264"/>
                </a:lnTo>
                <a:lnTo>
                  <a:pt x="1727" y="274"/>
                </a:lnTo>
                <a:lnTo>
                  <a:pt x="1718" y="281"/>
                </a:lnTo>
                <a:lnTo>
                  <a:pt x="1709" y="287"/>
                </a:lnTo>
                <a:lnTo>
                  <a:pt x="1698" y="293"/>
                </a:lnTo>
                <a:lnTo>
                  <a:pt x="1685" y="297"/>
                </a:lnTo>
                <a:lnTo>
                  <a:pt x="1671" y="302"/>
                </a:lnTo>
                <a:lnTo>
                  <a:pt x="1665" y="304"/>
                </a:lnTo>
                <a:lnTo>
                  <a:pt x="1660" y="307"/>
                </a:lnTo>
                <a:lnTo>
                  <a:pt x="1655" y="309"/>
                </a:lnTo>
                <a:lnTo>
                  <a:pt x="1653" y="313"/>
                </a:lnTo>
                <a:lnTo>
                  <a:pt x="1650" y="316"/>
                </a:lnTo>
                <a:lnTo>
                  <a:pt x="1650" y="320"/>
                </a:lnTo>
                <a:lnTo>
                  <a:pt x="1652" y="322"/>
                </a:lnTo>
                <a:lnTo>
                  <a:pt x="1653" y="326"/>
                </a:lnTo>
                <a:lnTo>
                  <a:pt x="1658" y="332"/>
                </a:lnTo>
                <a:lnTo>
                  <a:pt x="1662" y="337"/>
                </a:lnTo>
                <a:lnTo>
                  <a:pt x="1667" y="345"/>
                </a:lnTo>
                <a:lnTo>
                  <a:pt x="1671" y="354"/>
                </a:lnTo>
                <a:lnTo>
                  <a:pt x="1672" y="359"/>
                </a:lnTo>
                <a:lnTo>
                  <a:pt x="1672" y="364"/>
                </a:lnTo>
                <a:lnTo>
                  <a:pt x="1671" y="369"/>
                </a:lnTo>
                <a:lnTo>
                  <a:pt x="1668" y="371"/>
                </a:lnTo>
                <a:lnTo>
                  <a:pt x="1665" y="376"/>
                </a:lnTo>
                <a:lnTo>
                  <a:pt x="1661" y="379"/>
                </a:lnTo>
                <a:lnTo>
                  <a:pt x="1659" y="385"/>
                </a:lnTo>
                <a:lnTo>
                  <a:pt x="1655" y="394"/>
                </a:lnTo>
                <a:lnTo>
                  <a:pt x="1649" y="404"/>
                </a:lnTo>
                <a:lnTo>
                  <a:pt x="1641" y="415"/>
                </a:lnTo>
                <a:lnTo>
                  <a:pt x="1636" y="420"/>
                </a:lnTo>
                <a:lnTo>
                  <a:pt x="1630" y="424"/>
                </a:lnTo>
                <a:lnTo>
                  <a:pt x="1625" y="427"/>
                </a:lnTo>
                <a:lnTo>
                  <a:pt x="1620" y="428"/>
                </a:lnTo>
                <a:lnTo>
                  <a:pt x="1606" y="430"/>
                </a:lnTo>
                <a:lnTo>
                  <a:pt x="1589" y="434"/>
                </a:lnTo>
                <a:lnTo>
                  <a:pt x="1568" y="438"/>
                </a:lnTo>
                <a:lnTo>
                  <a:pt x="1551" y="440"/>
                </a:lnTo>
                <a:lnTo>
                  <a:pt x="1532" y="442"/>
                </a:lnTo>
                <a:lnTo>
                  <a:pt x="1510" y="445"/>
                </a:lnTo>
                <a:lnTo>
                  <a:pt x="1491" y="446"/>
                </a:lnTo>
                <a:lnTo>
                  <a:pt x="1478" y="447"/>
                </a:lnTo>
                <a:lnTo>
                  <a:pt x="1466" y="448"/>
                </a:lnTo>
                <a:lnTo>
                  <a:pt x="1452" y="448"/>
                </a:lnTo>
                <a:lnTo>
                  <a:pt x="1445" y="448"/>
                </a:lnTo>
                <a:lnTo>
                  <a:pt x="1438" y="447"/>
                </a:lnTo>
                <a:lnTo>
                  <a:pt x="1432" y="445"/>
                </a:lnTo>
                <a:lnTo>
                  <a:pt x="1427" y="440"/>
                </a:lnTo>
                <a:lnTo>
                  <a:pt x="1423" y="435"/>
                </a:lnTo>
                <a:lnTo>
                  <a:pt x="1421" y="433"/>
                </a:lnTo>
                <a:lnTo>
                  <a:pt x="1417" y="430"/>
                </a:lnTo>
                <a:lnTo>
                  <a:pt x="1414" y="429"/>
                </a:lnTo>
                <a:lnTo>
                  <a:pt x="1406" y="426"/>
                </a:lnTo>
                <a:lnTo>
                  <a:pt x="1396" y="419"/>
                </a:lnTo>
                <a:lnTo>
                  <a:pt x="1383" y="410"/>
                </a:lnTo>
                <a:lnTo>
                  <a:pt x="1370" y="402"/>
                </a:lnTo>
                <a:lnTo>
                  <a:pt x="1364" y="398"/>
                </a:lnTo>
                <a:lnTo>
                  <a:pt x="1358" y="394"/>
                </a:lnTo>
                <a:lnTo>
                  <a:pt x="1352" y="388"/>
                </a:lnTo>
                <a:lnTo>
                  <a:pt x="1347" y="382"/>
                </a:lnTo>
                <a:lnTo>
                  <a:pt x="1344" y="371"/>
                </a:lnTo>
                <a:lnTo>
                  <a:pt x="1339" y="353"/>
                </a:lnTo>
                <a:lnTo>
                  <a:pt x="1337" y="333"/>
                </a:lnTo>
                <a:lnTo>
                  <a:pt x="1334" y="309"/>
                </a:lnTo>
                <a:lnTo>
                  <a:pt x="1333" y="285"/>
                </a:lnTo>
                <a:lnTo>
                  <a:pt x="1333" y="264"/>
                </a:lnTo>
                <a:lnTo>
                  <a:pt x="1333" y="255"/>
                </a:lnTo>
                <a:lnTo>
                  <a:pt x="1334" y="246"/>
                </a:lnTo>
                <a:lnTo>
                  <a:pt x="1337" y="239"/>
                </a:lnTo>
                <a:lnTo>
                  <a:pt x="1338" y="233"/>
                </a:lnTo>
                <a:lnTo>
                  <a:pt x="1344" y="226"/>
                </a:lnTo>
                <a:lnTo>
                  <a:pt x="1348" y="219"/>
                </a:lnTo>
                <a:lnTo>
                  <a:pt x="1354" y="213"/>
                </a:lnTo>
                <a:lnTo>
                  <a:pt x="1359" y="208"/>
                </a:lnTo>
                <a:lnTo>
                  <a:pt x="1364" y="203"/>
                </a:lnTo>
                <a:lnTo>
                  <a:pt x="1368" y="200"/>
                </a:lnTo>
                <a:lnTo>
                  <a:pt x="1370" y="196"/>
                </a:lnTo>
                <a:lnTo>
                  <a:pt x="1371" y="192"/>
                </a:lnTo>
                <a:lnTo>
                  <a:pt x="1372" y="184"/>
                </a:lnTo>
                <a:lnTo>
                  <a:pt x="1373" y="180"/>
                </a:lnTo>
                <a:lnTo>
                  <a:pt x="1375" y="177"/>
                </a:lnTo>
                <a:lnTo>
                  <a:pt x="1377" y="176"/>
                </a:lnTo>
                <a:lnTo>
                  <a:pt x="1378" y="175"/>
                </a:lnTo>
                <a:lnTo>
                  <a:pt x="1381" y="174"/>
                </a:lnTo>
                <a:lnTo>
                  <a:pt x="1383" y="174"/>
                </a:lnTo>
                <a:lnTo>
                  <a:pt x="1384" y="171"/>
                </a:lnTo>
                <a:lnTo>
                  <a:pt x="1385" y="169"/>
                </a:lnTo>
                <a:lnTo>
                  <a:pt x="1385" y="165"/>
                </a:lnTo>
                <a:lnTo>
                  <a:pt x="1384" y="162"/>
                </a:lnTo>
                <a:lnTo>
                  <a:pt x="1383" y="158"/>
                </a:lnTo>
                <a:lnTo>
                  <a:pt x="1382" y="155"/>
                </a:lnTo>
                <a:lnTo>
                  <a:pt x="1379" y="151"/>
                </a:lnTo>
                <a:lnTo>
                  <a:pt x="1373" y="148"/>
                </a:lnTo>
                <a:lnTo>
                  <a:pt x="1369" y="142"/>
                </a:lnTo>
                <a:lnTo>
                  <a:pt x="1366" y="139"/>
                </a:lnTo>
                <a:lnTo>
                  <a:pt x="1365" y="136"/>
                </a:lnTo>
                <a:lnTo>
                  <a:pt x="1364" y="132"/>
                </a:lnTo>
                <a:lnTo>
                  <a:pt x="1363" y="127"/>
                </a:lnTo>
                <a:lnTo>
                  <a:pt x="1363" y="124"/>
                </a:lnTo>
                <a:lnTo>
                  <a:pt x="1360" y="118"/>
                </a:lnTo>
                <a:lnTo>
                  <a:pt x="1358" y="113"/>
                </a:lnTo>
                <a:lnTo>
                  <a:pt x="1356" y="108"/>
                </a:lnTo>
                <a:lnTo>
                  <a:pt x="1348" y="100"/>
                </a:lnTo>
                <a:lnTo>
                  <a:pt x="1341" y="93"/>
                </a:lnTo>
                <a:lnTo>
                  <a:pt x="1334" y="86"/>
                </a:lnTo>
                <a:lnTo>
                  <a:pt x="1328" y="77"/>
                </a:lnTo>
                <a:lnTo>
                  <a:pt x="1324" y="69"/>
                </a:lnTo>
                <a:lnTo>
                  <a:pt x="1320" y="61"/>
                </a:lnTo>
                <a:lnTo>
                  <a:pt x="1314" y="52"/>
                </a:lnTo>
                <a:lnTo>
                  <a:pt x="1307" y="41"/>
                </a:lnTo>
                <a:lnTo>
                  <a:pt x="1299" y="29"/>
                </a:lnTo>
                <a:lnTo>
                  <a:pt x="1291" y="19"/>
                </a:lnTo>
                <a:lnTo>
                  <a:pt x="1283" y="13"/>
                </a:lnTo>
                <a:lnTo>
                  <a:pt x="1274" y="8"/>
                </a:lnTo>
                <a:lnTo>
                  <a:pt x="1264" y="6"/>
                </a:lnTo>
                <a:lnTo>
                  <a:pt x="1255" y="4"/>
                </a:lnTo>
                <a:lnTo>
                  <a:pt x="1251" y="4"/>
                </a:lnTo>
                <a:lnTo>
                  <a:pt x="1246" y="4"/>
                </a:lnTo>
                <a:lnTo>
                  <a:pt x="1242" y="5"/>
                </a:lnTo>
                <a:lnTo>
                  <a:pt x="1238" y="6"/>
                </a:lnTo>
                <a:lnTo>
                  <a:pt x="1234" y="8"/>
                </a:lnTo>
                <a:lnTo>
                  <a:pt x="1231" y="11"/>
                </a:lnTo>
                <a:lnTo>
                  <a:pt x="1228" y="14"/>
                </a:lnTo>
                <a:lnTo>
                  <a:pt x="1226" y="19"/>
                </a:lnTo>
                <a:lnTo>
                  <a:pt x="1224" y="29"/>
                </a:lnTo>
                <a:lnTo>
                  <a:pt x="1220" y="39"/>
                </a:lnTo>
                <a:lnTo>
                  <a:pt x="1218" y="45"/>
                </a:lnTo>
                <a:lnTo>
                  <a:pt x="1215" y="50"/>
                </a:lnTo>
                <a:lnTo>
                  <a:pt x="1212" y="54"/>
                </a:lnTo>
                <a:lnTo>
                  <a:pt x="1207" y="58"/>
                </a:lnTo>
                <a:lnTo>
                  <a:pt x="1198" y="63"/>
                </a:lnTo>
                <a:lnTo>
                  <a:pt x="1192" y="68"/>
                </a:lnTo>
                <a:lnTo>
                  <a:pt x="1184" y="70"/>
                </a:lnTo>
                <a:lnTo>
                  <a:pt x="1180" y="70"/>
                </a:lnTo>
                <a:lnTo>
                  <a:pt x="1173" y="57"/>
                </a:lnTo>
                <a:lnTo>
                  <a:pt x="1162" y="41"/>
                </a:lnTo>
                <a:lnTo>
                  <a:pt x="1157" y="39"/>
                </a:lnTo>
                <a:lnTo>
                  <a:pt x="1154" y="39"/>
                </a:lnTo>
                <a:lnTo>
                  <a:pt x="1149" y="41"/>
                </a:lnTo>
                <a:lnTo>
                  <a:pt x="1145" y="42"/>
                </a:lnTo>
                <a:lnTo>
                  <a:pt x="1137" y="47"/>
                </a:lnTo>
                <a:lnTo>
                  <a:pt x="1129" y="52"/>
                </a:lnTo>
                <a:lnTo>
                  <a:pt x="1119" y="57"/>
                </a:lnTo>
                <a:lnTo>
                  <a:pt x="1110" y="61"/>
                </a:lnTo>
                <a:lnTo>
                  <a:pt x="1098" y="62"/>
                </a:lnTo>
                <a:lnTo>
                  <a:pt x="1088" y="61"/>
                </a:lnTo>
                <a:lnTo>
                  <a:pt x="1074" y="50"/>
                </a:lnTo>
                <a:lnTo>
                  <a:pt x="1063" y="41"/>
                </a:lnTo>
                <a:lnTo>
                  <a:pt x="1060" y="42"/>
                </a:lnTo>
                <a:lnTo>
                  <a:pt x="1058" y="44"/>
                </a:lnTo>
                <a:lnTo>
                  <a:pt x="1057" y="48"/>
                </a:lnTo>
                <a:lnTo>
                  <a:pt x="1056" y="52"/>
                </a:lnTo>
                <a:lnTo>
                  <a:pt x="1056" y="62"/>
                </a:lnTo>
                <a:lnTo>
                  <a:pt x="1056" y="73"/>
                </a:lnTo>
                <a:lnTo>
                  <a:pt x="1055" y="82"/>
                </a:lnTo>
                <a:lnTo>
                  <a:pt x="1052" y="92"/>
                </a:lnTo>
                <a:lnTo>
                  <a:pt x="1048" y="100"/>
                </a:lnTo>
                <a:lnTo>
                  <a:pt x="1043" y="108"/>
                </a:lnTo>
                <a:lnTo>
                  <a:pt x="1041" y="111"/>
                </a:lnTo>
                <a:lnTo>
                  <a:pt x="1038" y="112"/>
                </a:lnTo>
                <a:lnTo>
                  <a:pt x="1035" y="114"/>
                </a:lnTo>
                <a:lnTo>
                  <a:pt x="1031" y="114"/>
                </a:lnTo>
                <a:lnTo>
                  <a:pt x="1023" y="115"/>
                </a:lnTo>
                <a:lnTo>
                  <a:pt x="1016" y="114"/>
                </a:lnTo>
                <a:lnTo>
                  <a:pt x="1009" y="113"/>
                </a:lnTo>
                <a:lnTo>
                  <a:pt x="1003" y="111"/>
                </a:lnTo>
                <a:lnTo>
                  <a:pt x="999" y="110"/>
                </a:lnTo>
                <a:lnTo>
                  <a:pt x="997" y="108"/>
                </a:lnTo>
                <a:lnTo>
                  <a:pt x="995" y="105"/>
                </a:lnTo>
                <a:lnTo>
                  <a:pt x="994" y="101"/>
                </a:lnTo>
                <a:lnTo>
                  <a:pt x="994" y="99"/>
                </a:lnTo>
                <a:lnTo>
                  <a:pt x="997" y="95"/>
                </a:lnTo>
                <a:lnTo>
                  <a:pt x="999" y="93"/>
                </a:lnTo>
                <a:lnTo>
                  <a:pt x="1003" y="90"/>
                </a:lnTo>
                <a:lnTo>
                  <a:pt x="1006" y="88"/>
                </a:lnTo>
                <a:lnTo>
                  <a:pt x="1010" y="83"/>
                </a:lnTo>
                <a:lnTo>
                  <a:pt x="1011" y="79"/>
                </a:lnTo>
                <a:lnTo>
                  <a:pt x="1012" y="71"/>
                </a:lnTo>
                <a:lnTo>
                  <a:pt x="1012" y="66"/>
                </a:lnTo>
                <a:lnTo>
                  <a:pt x="1010" y="61"/>
                </a:lnTo>
                <a:lnTo>
                  <a:pt x="1006" y="57"/>
                </a:lnTo>
                <a:lnTo>
                  <a:pt x="1000" y="55"/>
                </a:lnTo>
                <a:lnTo>
                  <a:pt x="992" y="52"/>
                </a:lnTo>
                <a:lnTo>
                  <a:pt x="981" y="51"/>
                </a:lnTo>
                <a:lnTo>
                  <a:pt x="969" y="51"/>
                </a:lnTo>
                <a:lnTo>
                  <a:pt x="961" y="51"/>
                </a:lnTo>
                <a:lnTo>
                  <a:pt x="957" y="51"/>
                </a:lnTo>
                <a:lnTo>
                  <a:pt x="955" y="50"/>
                </a:lnTo>
                <a:lnTo>
                  <a:pt x="955" y="49"/>
                </a:lnTo>
                <a:lnTo>
                  <a:pt x="955" y="48"/>
                </a:lnTo>
                <a:lnTo>
                  <a:pt x="956" y="45"/>
                </a:lnTo>
                <a:lnTo>
                  <a:pt x="959" y="43"/>
                </a:lnTo>
                <a:lnTo>
                  <a:pt x="963" y="41"/>
                </a:lnTo>
                <a:lnTo>
                  <a:pt x="968" y="39"/>
                </a:lnTo>
                <a:lnTo>
                  <a:pt x="974" y="37"/>
                </a:lnTo>
                <a:lnTo>
                  <a:pt x="978" y="33"/>
                </a:lnTo>
                <a:lnTo>
                  <a:pt x="979" y="30"/>
                </a:lnTo>
                <a:lnTo>
                  <a:pt x="980" y="26"/>
                </a:lnTo>
                <a:lnTo>
                  <a:pt x="978" y="23"/>
                </a:lnTo>
                <a:lnTo>
                  <a:pt x="975" y="19"/>
                </a:lnTo>
                <a:lnTo>
                  <a:pt x="972" y="17"/>
                </a:lnTo>
                <a:lnTo>
                  <a:pt x="966" y="14"/>
                </a:lnTo>
                <a:lnTo>
                  <a:pt x="955" y="11"/>
                </a:lnTo>
                <a:lnTo>
                  <a:pt x="944" y="6"/>
                </a:lnTo>
                <a:lnTo>
                  <a:pt x="934" y="3"/>
                </a:lnTo>
                <a:lnTo>
                  <a:pt x="923" y="0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6" name="安徽"/>
          <p:cNvSpPr/>
          <p:nvPr/>
        </p:nvSpPr>
        <p:spPr bwMode="auto">
          <a:xfrm>
            <a:off x="6967220" y="3677920"/>
            <a:ext cx="728345" cy="935990"/>
          </a:xfrm>
          <a:custGeom>
            <a:avLst/>
            <a:gdLst>
              <a:gd name="T0" fmla="*/ 1649 w 1769"/>
              <a:gd name="T1" fmla="*/ 1386 h 2242"/>
              <a:gd name="T2" fmla="*/ 1461 w 1769"/>
              <a:gd name="T3" fmla="*/ 1420 h 2242"/>
              <a:gd name="T4" fmla="*/ 1473 w 1769"/>
              <a:gd name="T5" fmla="*/ 1325 h 2242"/>
              <a:gd name="T6" fmla="*/ 1439 w 1769"/>
              <a:gd name="T7" fmla="*/ 1249 h 2242"/>
              <a:gd name="T8" fmla="*/ 1392 w 1769"/>
              <a:gd name="T9" fmla="*/ 1223 h 2242"/>
              <a:gd name="T10" fmla="*/ 1288 w 1769"/>
              <a:gd name="T11" fmla="*/ 1146 h 2242"/>
              <a:gd name="T12" fmla="*/ 1360 w 1769"/>
              <a:gd name="T13" fmla="*/ 1005 h 2242"/>
              <a:gd name="T14" fmla="*/ 1344 w 1769"/>
              <a:gd name="T15" fmla="*/ 878 h 2242"/>
              <a:gd name="T16" fmla="*/ 1471 w 1769"/>
              <a:gd name="T17" fmla="*/ 840 h 2242"/>
              <a:gd name="T18" fmla="*/ 1553 w 1769"/>
              <a:gd name="T19" fmla="*/ 767 h 2242"/>
              <a:gd name="T20" fmla="*/ 1424 w 1769"/>
              <a:gd name="T21" fmla="*/ 673 h 2242"/>
              <a:gd name="T22" fmla="*/ 1371 w 1769"/>
              <a:gd name="T23" fmla="*/ 774 h 2242"/>
              <a:gd name="T24" fmla="*/ 1205 w 1769"/>
              <a:gd name="T25" fmla="*/ 692 h 2242"/>
              <a:gd name="T26" fmla="*/ 1137 w 1769"/>
              <a:gd name="T27" fmla="*/ 604 h 2242"/>
              <a:gd name="T28" fmla="*/ 1087 w 1769"/>
              <a:gd name="T29" fmla="*/ 525 h 2242"/>
              <a:gd name="T30" fmla="*/ 1130 w 1769"/>
              <a:gd name="T31" fmla="*/ 414 h 2242"/>
              <a:gd name="T32" fmla="*/ 997 w 1769"/>
              <a:gd name="T33" fmla="*/ 364 h 2242"/>
              <a:gd name="T34" fmla="*/ 950 w 1769"/>
              <a:gd name="T35" fmla="*/ 270 h 2242"/>
              <a:gd name="T36" fmla="*/ 873 w 1769"/>
              <a:gd name="T37" fmla="*/ 247 h 2242"/>
              <a:gd name="T38" fmla="*/ 730 w 1769"/>
              <a:gd name="T39" fmla="*/ 208 h 2242"/>
              <a:gd name="T40" fmla="*/ 648 w 1769"/>
              <a:gd name="T41" fmla="*/ 99 h 2242"/>
              <a:gd name="T42" fmla="*/ 482 w 1769"/>
              <a:gd name="T43" fmla="*/ 0 h 2242"/>
              <a:gd name="T44" fmla="*/ 456 w 1769"/>
              <a:gd name="T45" fmla="*/ 137 h 2242"/>
              <a:gd name="T46" fmla="*/ 553 w 1769"/>
              <a:gd name="T47" fmla="*/ 232 h 2242"/>
              <a:gd name="T48" fmla="*/ 519 w 1769"/>
              <a:gd name="T49" fmla="*/ 357 h 2242"/>
              <a:gd name="T50" fmla="*/ 391 w 1769"/>
              <a:gd name="T51" fmla="*/ 371 h 2242"/>
              <a:gd name="T52" fmla="*/ 284 w 1769"/>
              <a:gd name="T53" fmla="*/ 272 h 2242"/>
              <a:gd name="T54" fmla="*/ 230 w 1769"/>
              <a:gd name="T55" fmla="*/ 364 h 2242"/>
              <a:gd name="T56" fmla="*/ 235 w 1769"/>
              <a:gd name="T57" fmla="*/ 488 h 2242"/>
              <a:gd name="T58" fmla="*/ 147 w 1769"/>
              <a:gd name="T59" fmla="*/ 617 h 2242"/>
              <a:gd name="T60" fmla="*/ 12 w 1769"/>
              <a:gd name="T61" fmla="*/ 694 h 2242"/>
              <a:gd name="T62" fmla="*/ 37 w 1769"/>
              <a:gd name="T63" fmla="*/ 796 h 2242"/>
              <a:gd name="T64" fmla="*/ 106 w 1769"/>
              <a:gd name="T65" fmla="*/ 902 h 2242"/>
              <a:gd name="T66" fmla="*/ 193 w 1769"/>
              <a:gd name="T67" fmla="*/ 941 h 2242"/>
              <a:gd name="T68" fmla="*/ 311 w 1769"/>
              <a:gd name="T69" fmla="*/ 959 h 2242"/>
              <a:gd name="T70" fmla="*/ 366 w 1769"/>
              <a:gd name="T71" fmla="*/ 944 h 2242"/>
              <a:gd name="T72" fmla="*/ 383 w 1769"/>
              <a:gd name="T73" fmla="*/ 1211 h 2242"/>
              <a:gd name="T74" fmla="*/ 232 w 1769"/>
              <a:gd name="T75" fmla="*/ 1329 h 2242"/>
              <a:gd name="T76" fmla="*/ 261 w 1769"/>
              <a:gd name="T77" fmla="*/ 1514 h 2242"/>
              <a:gd name="T78" fmla="*/ 391 w 1769"/>
              <a:gd name="T79" fmla="*/ 1542 h 2242"/>
              <a:gd name="T80" fmla="*/ 406 w 1769"/>
              <a:gd name="T81" fmla="*/ 1657 h 2242"/>
              <a:gd name="T82" fmla="*/ 371 w 1769"/>
              <a:gd name="T83" fmla="*/ 1763 h 2242"/>
              <a:gd name="T84" fmla="*/ 415 w 1769"/>
              <a:gd name="T85" fmla="*/ 1878 h 2242"/>
              <a:gd name="T86" fmla="*/ 495 w 1769"/>
              <a:gd name="T87" fmla="*/ 2046 h 2242"/>
              <a:gd name="T88" fmla="*/ 580 w 1769"/>
              <a:gd name="T89" fmla="*/ 2122 h 2242"/>
              <a:gd name="T90" fmla="*/ 750 w 1769"/>
              <a:gd name="T91" fmla="*/ 2007 h 2242"/>
              <a:gd name="T92" fmla="*/ 740 w 1769"/>
              <a:gd name="T93" fmla="*/ 2123 h 2242"/>
              <a:gd name="T94" fmla="*/ 804 w 1769"/>
              <a:gd name="T95" fmla="*/ 2201 h 2242"/>
              <a:gd name="T96" fmla="*/ 872 w 1769"/>
              <a:gd name="T97" fmla="*/ 2095 h 2242"/>
              <a:gd name="T98" fmla="*/ 967 w 1769"/>
              <a:gd name="T99" fmla="*/ 2084 h 2242"/>
              <a:gd name="T100" fmla="*/ 1103 w 1769"/>
              <a:gd name="T101" fmla="*/ 2191 h 2242"/>
              <a:gd name="T102" fmla="*/ 1263 w 1769"/>
              <a:gd name="T103" fmla="*/ 2188 h 2242"/>
              <a:gd name="T104" fmla="*/ 1359 w 1769"/>
              <a:gd name="T105" fmla="*/ 2189 h 2242"/>
              <a:gd name="T106" fmla="*/ 1427 w 1769"/>
              <a:gd name="T107" fmla="*/ 2137 h 2242"/>
              <a:gd name="T108" fmla="*/ 1523 w 1769"/>
              <a:gd name="T109" fmla="*/ 1998 h 2242"/>
              <a:gd name="T110" fmla="*/ 1539 w 1769"/>
              <a:gd name="T111" fmla="*/ 1883 h 2242"/>
              <a:gd name="T112" fmla="*/ 1587 w 1769"/>
              <a:gd name="T113" fmla="*/ 1817 h 2242"/>
              <a:gd name="T114" fmla="*/ 1703 w 1769"/>
              <a:gd name="T115" fmla="*/ 1778 h 2242"/>
              <a:gd name="T116" fmla="*/ 1671 w 1769"/>
              <a:gd name="T117" fmla="*/ 1673 h 2242"/>
              <a:gd name="T118" fmla="*/ 1729 w 1769"/>
              <a:gd name="T119" fmla="*/ 1612 h 2242"/>
              <a:gd name="T120" fmla="*/ 1766 w 1769"/>
              <a:gd name="T121" fmla="*/ 1444 h 2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69" h="2242">
                <a:moveTo>
                  <a:pt x="1750" y="1441"/>
                </a:moveTo>
                <a:lnTo>
                  <a:pt x="1743" y="1437"/>
                </a:lnTo>
                <a:lnTo>
                  <a:pt x="1736" y="1432"/>
                </a:lnTo>
                <a:lnTo>
                  <a:pt x="1731" y="1430"/>
                </a:lnTo>
                <a:lnTo>
                  <a:pt x="1725" y="1429"/>
                </a:lnTo>
                <a:lnTo>
                  <a:pt x="1718" y="1430"/>
                </a:lnTo>
                <a:lnTo>
                  <a:pt x="1711" y="1431"/>
                </a:lnTo>
                <a:lnTo>
                  <a:pt x="1695" y="1433"/>
                </a:lnTo>
                <a:lnTo>
                  <a:pt x="1682" y="1435"/>
                </a:lnTo>
                <a:lnTo>
                  <a:pt x="1676" y="1433"/>
                </a:lnTo>
                <a:lnTo>
                  <a:pt x="1673" y="1431"/>
                </a:lnTo>
                <a:lnTo>
                  <a:pt x="1671" y="1429"/>
                </a:lnTo>
                <a:lnTo>
                  <a:pt x="1668" y="1424"/>
                </a:lnTo>
                <a:lnTo>
                  <a:pt x="1666" y="1414"/>
                </a:lnTo>
                <a:lnTo>
                  <a:pt x="1666" y="1404"/>
                </a:lnTo>
                <a:lnTo>
                  <a:pt x="1666" y="1393"/>
                </a:lnTo>
                <a:lnTo>
                  <a:pt x="1665" y="1386"/>
                </a:lnTo>
                <a:lnTo>
                  <a:pt x="1663" y="1383"/>
                </a:lnTo>
                <a:lnTo>
                  <a:pt x="1662" y="1382"/>
                </a:lnTo>
                <a:lnTo>
                  <a:pt x="1661" y="1381"/>
                </a:lnTo>
                <a:lnTo>
                  <a:pt x="1660" y="1381"/>
                </a:lnTo>
                <a:lnTo>
                  <a:pt x="1649" y="1386"/>
                </a:lnTo>
                <a:lnTo>
                  <a:pt x="1635" y="1395"/>
                </a:lnTo>
                <a:lnTo>
                  <a:pt x="1630" y="1397"/>
                </a:lnTo>
                <a:lnTo>
                  <a:pt x="1625" y="1398"/>
                </a:lnTo>
                <a:lnTo>
                  <a:pt x="1622" y="1397"/>
                </a:lnTo>
                <a:lnTo>
                  <a:pt x="1617" y="1397"/>
                </a:lnTo>
                <a:lnTo>
                  <a:pt x="1610" y="1393"/>
                </a:lnTo>
                <a:lnTo>
                  <a:pt x="1600" y="1388"/>
                </a:lnTo>
                <a:lnTo>
                  <a:pt x="1596" y="1386"/>
                </a:lnTo>
                <a:lnTo>
                  <a:pt x="1592" y="1386"/>
                </a:lnTo>
                <a:lnTo>
                  <a:pt x="1590" y="1387"/>
                </a:lnTo>
                <a:lnTo>
                  <a:pt x="1587" y="1389"/>
                </a:lnTo>
                <a:lnTo>
                  <a:pt x="1581" y="1397"/>
                </a:lnTo>
                <a:lnTo>
                  <a:pt x="1573" y="1404"/>
                </a:lnTo>
                <a:lnTo>
                  <a:pt x="1566" y="1407"/>
                </a:lnTo>
                <a:lnTo>
                  <a:pt x="1558" y="1411"/>
                </a:lnTo>
                <a:lnTo>
                  <a:pt x="1547" y="1412"/>
                </a:lnTo>
                <a:lnTo>
                  <a:pt x="1535" y="1414"/>
                </a:lnTo>
                <a:lnTo>
                  <a:pt x="1512" y="1416"/>
                </a:lnTo>
                <a:lnTo>
                  <a:pt x="1496" y="1418"/>
                </a:lnTo>
                <a:lnTo>
                  <a:pt x="1483" y="1419"/>
                </a:lnTo>
                <a:lnTo>
                  <a:pt x="1468" y="1420"/>
                </a:lnTo>
                <a:lnTo>
                  <a:pt x="1461" y="1420"/>
                </a:lnTo>
                <a:lnTo>
                  <a:pt x="1455" y="1419"/>
                </a:lnTo>
                <a:lnTo>
                  <a:pt x="1452" y="1418"/>
                </a:lnTo>
                <a:lnTo>
                  <a:pt x="1449" y="1416"/>
                </a:lnTo>
                <a:lnTo>
                  <a:pt x="1447" y="1410"/>
                </a:lnTo>
                <a:lnTo>
                  <a:pt x="1442" y="1404"/>
                </a:lnTo>
                <a:lnTo>
                  <a:pt x="1438" y="1399"/>
                </a:lnTo>
                <a:lnTo>
                  <a:pt x="1430" y="1394"/>
                </a:lnTo>
                <a:lnTo>
                  <a:pt x="1428" y="1391"/>
                </a:lnTo>
                <a:lnTo>
                  <a:pt x="1427" y="1388"/>
                </a:lnTo>
                <a:lnTo>
                  <a:pt x="1426" y="1385"/>
                </a:lnTo>
                <a:lnTo>
                  <a:pt x="1427" y="1381"/>
                </a:lnTo>
                <a:lnTo>
                  <a:pt x="1428" y="1379"/>
                </a:lnTo>
                <a:lnTo>
                  <a:pt x="1430" y="1375"/>
                </a:lnTo>
                <a:lnTo>
                  <a:pt x="1434" y="1373"/>
                </a:lnTo>
                <a:lnTo>
                  <a:pt x="1438" y="1372"/>
                </a:lnTo>
                <a:lnTo>
                  <a:pt x="1445" y="1369"/>
                </a:lnTo>
                <a:lnTo>
                  <a:pt x="1452" y="1364"/>
                </a:lnTo>
                <a:lnTo>
                  <a:pt x="1459" y="1359"/>
                </a:lnTo>
                <a:lnTo>
                  <a:pt x="1465" y="1348"/>
                </a:lnTo>
                <a:lnTo>
                  <a:pt x="1468" y="1341"/>
                </a:lnTo>
                <a:lnTo>
                  <a:pt x="1472" y="1334"/>
                </a:lnTo>
                <a:lnTo>
                  <a:pt x="1473" y="1325"/>
                </a:lnTo>
                <a:lnTo>
                  <a:pt x="1476" y="1317"/>
                </a:lnTo>
                <a:lnTo>
                  <a:pt x="1477" y="1301"/>
                </a:lnTo>
                <a:lnTo>
                  <a:pt x="1477" y="1291"/>
                </a:lnTo>
                <a:lnTo>
                  <a:pt x="1477" y="1279"/>
                </a:lnTo>
                <a:lnTo>
                  <a:pt x="1476" y="1262"/>
                </a:lnTo>
                <a:lnTo>
                  <a:pt x="1474" y="1254"/>
                </a:lnTo>
                <a:lnTo>
                  <a:pt x="1472" y="1247"/>
                </a:lnTo>
                <a:lnTo>
                  <a:pt x="1471" y="1244"/>
                </a:lnTo>
                <a:lnTo>
                  <a:pt x="1468" y="1242"/>
                </a:lnTo>
                <a:lnTo>
                  <a:pt x="1466" y="1241"/>
                </a:lnTo>
                <a:lnTo>
                  <a:pt x="1465" y="1240"/>
                </a:lnTo>
                <a:lnTo>
                  <a:pt x="1460" y="1240"/>
                </a:lnTo>
                <a:lnTo>
                  <a:pt x="1457" y="1241"/>
                </a:lnTo>
                <a:lnTo>
                  <a:pt x="1454" y="1243"/>
                </a:lnTo>
                <a:lnTo>
                  <a:pt x="1452" y="1247"/>
                </a:lnTo>
                <a:lnTo>
                  <a:pt x="1449" y="1249"/>
                </a:lnTo>
                <a:lnTo>
                  <a:pt x="1448" y="1253"/>
                </a:lnTo>
                <a:lnTo>
                  <a:pt x="1446" y="1254"/>
                </a:lnTo>
                <a:lnTo>
                  <a:pt x="1443" y="1255"/>
                </a:lnTo>
                <a:lnTo>
                  <a:pt x="1441" y="1254"/>
                </a:lnTo>
                <a:lnTo>
                  <a:pt x="1440" y="1252"/>
                </a:lnTo>
                <a:lnTo>
                  <a:pt x="1439" y="1249"/>
                </a:lnTo>
                <a:lnTo>
                  <a:pt x="1438" y="1246"/>
                </a:lnTo>
                <a:lnTo>
                  <a:pt x="1436" y="1238"/>
                </a:lnTo>
                <a:lnTo>
                  <a:pt x="1435" y="1230"/>
                </a:lnTo>
                <a:lnTo>
                  <a:pt x="1434" y="1228"/>
                </a:lnTo>
                <a:lnTo>
                  <a:pt x="1432" y="1227"/>
                </a:lnTo>
                <a:lnTo>
                  <a:pt x="1429" y="1228"/>
                </a:lnTo>
                <a:lnTo>
                  <a:pt x="1427" y="1230"/>
                </a:lnTo>
                <a:lnTo>
                  <a:pt x="1420" y="1237"/>
                </a:lnTo>
                <a:lnTo>
                  <a:pt x="1413" y="1246"/>
                </a:lnTo>
                <a:lnTo>
                  <a:pt x="1409" y="1250"/>
                </a:lnTo>
                <a:lnTo>
                  <a:pt x="1405" y="1253"/>
                </a:lnTo>
                <a:lnTo>
                  <a:pt x="1401" y="1254"/>
                </a:lnTo>
                <a:lnTo>
                  <a:pt x="1397" y="1255"/>
                </a:lnTo>
                <a:lnTo>
                  <a:pt x="1395" y="1255"/>
                </a:lnTo>
                <a:lnTo>
                  <a:pt x="1391" y="1254"/>
                </a:lnTo>
                <a:lnTo>
                  <a:pt x="1389" y="1252"/>
                </a:lnTo>
                <a:lnTo>
                  <a:pt x="1388" y="1248"/>
                </a:lnTo>
                <a:lnTo>
                  <a:pt x="1386" y="1243"/>
                </a:lnTo>
                <a:lnTo>
                  <a:pt x="1386" y="1240"/>
                </a:lnTo>
                <a:lnTo>
                  <a:pt x="1388" y="1236"/>
                </a:lnTo>
                <a:lnTo>
                  <a:pt x="1389" y="1231"/>
                </a:lnTo>
                <a:lnTo>
                  <a:pt x="1392" y="1223"/>
                </a:lnTo>
                <a:lnTo>
                  <a:pt x="1394" y="1215"/>
                </a:lnTo>
                <a:lnTo>
                  <a:pt x="1394" y="1211"/>
                </a:lnTo>
                <a:lnTo>
                  <a:pt x="1392" y="1208"/>
                </a:lnTo>
                <a:lnTo>
                  <a:pt x="1389" y="1205"/>
                </a:lnTo>
                <a:lnTo>
                  <a:pt x="1385" y="1204"/>
                </a:lnTo>
                <a:lnTo>
                  <a:pt x="1376" y="1202"/>
                </a:lnTo>
                <a:lnTo>
                  <a:pt x="1363" y="1202"/>
                </a:lnTo>
                <a:lnTo>
                  <a:pt x="1354" y="1202"/>
                </a:lnTo>
                <a:lnTo>
                  <a:pt x="1347" y="1200"/>
                </a:lnTo>
                <a:lnTo>
                  <a:pt x="1341" y="1198"/>
                </a:lnTo>
                <a:lnTo>
                  <a:pt x="1336" y="1194"/>
                </a:lnTo>
                <a:lnTo>
                  <a:pt x="1333" y="1191"/>
                </a:lnTo>
                <a:lnTo>
                  <a:pt x="1329" y="1186"/>
                </a:lnTo>
                <a:lnTo>
                  <a:pt x="1328" y="1179"/>
                </a:lnTo>
                <a:lnTo>
                  <a:pt x="1327" y="1172"/>
                </a:lnTo>
                <a:lnTo>
                  <a:pt x="1326" y="1167"/>
                </a:lnTo>
                <a:lnTo>
                  <a:pt x="1323" y="1164"/>
                </a:lnTo>
                <a:lnTo>
                  <a:pt x="1320" y="1160"/>
                </a:lnTo>
                <a:lnTo>
                  <a:pt x="1314" y="1158"/>
                </a:lnTo>
                <a:lnTo>
                  <a:pt x="1306" y="1154"/>
                </a:lnTo>
                <a:lnTo>
                  <a:pt x="1296" y="1150"/>
                </a:lnTo>
                <a:lnTo>
                  <a:pt x="1288" y="1146"/>
                </a:lnTo>
                <a:lnTo>
                  <a:pt x="1282" y="1141"/>
                </a:lnTo>
                <a:lnTo>
                  <a:pt x="1278" y="1136"/>
                </a:lnTo>
                <a:lnTo>
                  <a:pt x="1276" y="1133"/>
                </a:lnTo>
                <a:lnTo>
                  <a:pt x="1275" y="1128"/>
                </a:lnTo>
                <a:lnTo>
                  <a:pt x="1275" y="1124"/>
                </a:lnTo>
                <a:lnTo>
                  <a:pt x="1276" y="1116"/>
                </a:lnTo>
                <a:lnTo>
                  <a:pt x="1278" y="1108"/>
                </a:lnTo>
                <a:lnTo>
                  <a:pt x="1278" y="1098"/>
                </a:lnTo>
                <a:lnTo>
                  <a:pt x="1278" y="1090"/>
                </a:lnTo>
                <a:lnTo>
                  <a:pt x="1276" y="1083"/>
                </a:lnTo>
                <a:lnTo>
                  <a:pt x="1273" y="1079"/>
                </a:lnTo>
                <a:lnTo>
                  <a:pt x="1273" y="1078"/>
                </a:lnTo>
                <a:lnTo>
                  <a:pt x="1275" y="1076"/>
                </a:lnTo>
                <a:lnTo>
                  <a:pt x="1277" y="1073"/>
                </a:lnTo>
                <a:lnTo>
                  <a:pt x="1282" y="1071"/>
                </a:lnTo>
                <a:lnTo>
                  <a:pt x="1290" y="1065"/>
                </a:lnTo>
                <a:lnTo>
                  <a:pt x="1302" y="1057"/>
                </a:lnTo>
                <a:lnTo>
                  <a:pt x="1316" y="1046"/>
                </a:lnTo>
                <a:lnTo>
                  <a:pt x="1332" y="1035"/>
                </a:lnTo>
                <a:lnTo>
                  <a:pt x="1344" y="1025"/>
                </a:lnTo>
                <a:lnTo>
                  <a:pt x="1353" y="1015"/>
                </a:lnTo>
                <a:lnTo>
                  <a:pt x="1360" y="1005"/>
                </a:lnTo>
                <a:lnTo>
                  <a:pt x="1365" y="998"/>
                </a:lnTo>
                <a:lnTo>
                  <a:pt x="1369" y="990"/>
                </a:lnTo>
                <a:lnTo>
                  <a:pt x="1373" y="982"/>
                </a:lnTo>
                <a:lnTo>
                  <a:pt x="1375" y="978"/>
                </a:lnTo>
                <a:lnTo>
                  <a:pt x="1375" y="973"/>
                </a:lnTo>
                <a:lnTo>
                  <a:pt x="1376" y="969"/>
                </a:lnTo>
                <a:lnTo>
                  <a:pt x="1375" y="965"/>
                </a:lnTo>
                <a:lnTo>
                  <a:pt x="1373" y="956"/>
                </a:lnTo>
                <a:lnTo>
                  <a:pt x="1372" y="944"/>
                </a:lnTo>
                <a:lnTo>
                  <a:pt x="1372" y="932"/>
                </a:lnTo>
                <a:lnTo>
                  <a:pt x="1372" y="919"/>
                </a:lnTo>
                <a:lnTo>
                  <a:pt x="1371" y="907"/>
                </a:lnTo>
                <a:lnTo>
                  <a:pt x="1370" y="899"/>
                </a:lnTo>
                <a:lnTo>
                  <a:pt x="1367" y="895"/>
                </a:lnTo>
                <a:lnTo>
                  <a:pt x="1366" y="891"/>
                </a:lnTo>
                <a:lnTo>
                  <a:pt x="1363" y="890"/>
                </a:lnTo>
                <a:lnTo>
                  <a:pt x="1359" y="889"/>
                </a:lnTo>
                <a:lnTo>
                  <a:pt x="1353" y="888"/>
                </a:lnTo>
                <a:lnTo>
                  <a:pt x="1348" y="885"/>
                </a:lnTo>
                <a:lnTo>
                  <a:pt x="1346" y="884"/>
                </a:lnTo>
                <a:lnTo>
                  <a:pt x="1345" y="882"/>
                </a:lnTo>
                <a:lnTo>
                  <a:pt x="1344" y="878"/>
                </a:lnTo>
                <a:lnTo>
                  <a:pt x="1342" y="875"/>
                </a:lnTo>
                <a:lnTo>
                  <a:pt x="1339" y="864"/>
                </a:lnTo>
                <a:lnTo>
                  <a:pt x="1333" y="851"/>
                </a:lnTo>
                <a:lnTo>
                  <a:pt x="1332" y="846"/>
                </a:lnTo>
                <a:lnTo>
                  <a:pt x="1332" y="843"/>
                </a:lnTo>
                <a:lnTo>
                  <a:pt x="1333" y="839"/>
                </a:lnTo>
                <a:lnTo>
                  <a:pt x="1334" y="837"/>
                </a:lnTo>
                <a:lnTo>
                  <a:pt x="1338" y="836"/>
                </a:lnTo>
                <a:lnTo>
                  <a:pt x="1341" y="834"/>
                </a:lnTo>
                <a:lnTo>
                  <a:pt x="1346" y="834"/>
                </a:lnTo>
                <a:lnTo>
                  <a:pt x="1352" y="834"/>
                </a:lnTo>
                <a:lnTo>
                  <a:pt x="1363" y="834"/>
                </a:lnTo>
                <a:lnTo>
                  <a:pt x="1373" y="832"/>
                </a:lnTo>
                <a:lnTo>
                  <a:pt x="1384" y="830"/>
                </a:lnTo>
                <a:lnTo>
                  <a:pt x="1394" y="828"/>
                </a:lnTo>
                <a:lnTo>
                  <a:pt x="1408" y="827"/>
                </a:lnTo>
                <a:lnTo>
                  <a:pt x="1426" y="827"/>
                </a:lnTo>
                <a:lnTo>
                  <a:pt x="1435" y="828"/>
                </a:lnTo>
                <a:lnTo>
                  <a:pt x="1445" y="830"/>
                </a:lnTo>
                <a:lnTo>
                  <a:pt x="1452" y="832"/>
                </a:lnTo>
                <a:lnTo>
                  <a:pt x="1459" y="833"/>
                </a:lnTo>
                <a:lnTo>
                  <a:pt x="1471" y="840"/>
                </a:lnTo>
                <a:lnTo>
                  <a:pt x="1484" y="849"/>
                </a:lnTo>
                <a:lnTo>
                  <a:pt x="1496" y="859"/>
                </a:lnTo>
                <a:lnTo>
                  <a:pt x="1505" y="869"/>
                </a:lnTo>
                <a:lnTo>
                  <a:pt x="1511" y="876"/>
                </a:lnTo>
                <a:lnTo>
                  <a:pt x="1517" y="881"/>
                </a:lnTo>
                <a:lnTo>
                  <a:pt x="1521" y="882"/>
                </a:lnTo>
                <a:lnTo>
                  <a:pt x="1523" y="883"/>
                </a:lnTo>
                <a:lnTo>
                  <a:pt x="1526" y="883"/>
                </a:lnTo>
                <a:lnTo>
                  <a:pt x="1527" y="883"/>
                </a:lnTo>
                <a:lnTo>
                  <a:pt x="1529" y="881"/>
                </a:lnTo>
                <a:lnTo>
                  <a:pt x="1533" y="876"/>
                </a:lnTo>
                <a:lnTo>
                  <a:pt x="1535" y="870"/>
                </a:lnTo>
                <a:lnTo>
                  <a:pt x="1539" y="862"/>
                </a:lnTo>
                <a:lnTo>
                  <a:pt x="1543" y="850"/>
                </a:lnTo>
                <a:lnTo>
                  <a:pt x="1549" y="837"/>
                </a:lnTo>
                <a:lnTo>
                  <a:pt x="1553" y="830"/>
                </a:lnTo>
                <a:lnTo>
                  <a:pt x="1555" y="824"/>
                </a:lnTo>
                <a:lnTo>
                  <a:pt x="1556" y="817"/>
                </a:lnTo>
                <a:lnTo>
                  <a:pt x="1558" y="811"/>
                </a:lnTo>
                <a:lnTo>
                  <a:pt x="1556" y="797"/>
                </a:lnTo>
                <a:lnTo>
                  <a:pt x="1555" y="783"/>
                </a:lnTo>
                <a:lnTo>
                  <a:pt x="1553" y="767"/>
                </a:lnTo>
                <a:lnTo>
                  <a:pt x="1549" y="751"/>
                </a:lnTo>
                <a:lnTo>
                  <a:pt x="1548" y="744"/>
                </a:lnTo>
                <a:lnTo>
                  <a:pt x="1545" y="738"/>
                </a:lnTo>
                <a:lnTo>
                  <a:pt x="1540" y="732"/>
                </a:lnTo>
                <a:lnTo>
                  <a:pt x="1535" y="729"/>
                </a:lnTo>
                <a:lnTo>
                  <a:pt x="1523" y="721"/>
                </a:lnTo>
                <a:lnTo>
                  <a:pt x="1512" y="717"/>
                </a:lnTo>
                <a:lnTo>
                  <a:pt x="1503" y="713"/>
                </a:lnTo>
                <a:lnTo>
                  <a:pt x="1493" y="707"/>
                </a:lnTo>
                <a:lnTo>
                  <a:pt x="1489" y="704"/>
                </a:lnTo>
                <a:lnTo>
                  <a:pt x="1485" y="700"/>
                </a:lnTo>
                <a:lnTo>
                  <a:pt x="1482" y="696"/>
                </a:lnTo>
                <a:lnTo>
                  <a:pt x="1479" y="692"/>
                </a:lnTo>
                <a:lnTo>
                  <a:pt x="1474" y="683"/>
                </a:lnTo>
                <a:lnTo>
                  <a:pt x="1470" y="676"/>
                </a:lnTo>
                <a:lnTo>
                  <a:pt x="1467" y="674"/>
                </a:lnTo>
                <a:lnTo>
                  <a:pt x="1465" y="673"/>
                </a:lnTo>
                <a:lnTo>
                  <a:pt x="1461" y="671"/>
                </a:lnTo>
                <a:lnTo>
                  <a:pt x="1458" y="671"/>
                </a:lnTo>
                <a:lnTo>
                  <a:pt x="1446" y="671"/>
                </a:lnTo>
                <a:lnTo>
                  <a:pt x="1432" y="671"/>
                </a:lnTo>
                <a:lnTo>
                  <a:pt x="1424" y="673"/>
                </a:lnTo>
                <a:lnTo>
                  <a:pt x="1417" y="675"/>
                </a:lnTo>
                <a:lnTo>
                  <a:pt x="1411" y="677"/>
                </a:lnTo>
                <a:lnTo>
                  <a:pt x="1407" y="682"/>
                </a:lnTo>
                <a:lnTo>
                  <a:pt x="1403" y="688"/>
                </a:lnTo>
                <a:lnTo>
                  <a:pt x="1402" y="694"/>
                </a:lnTo>
                <a:lnTo>
                  <a:pt x="1401" y="701"/>
                </a:lnTo>
                <a:lnTo>
                  <a:pt x="1401" y="707"/>
                </a:lnTo>
                <a:lnTo>
                  <a:pt x="1401" y="713"/>
                </a:lnTo>
                <a:lnTo>
                  <a:pt x="1398" y="718"/>
                </a:lnTo>
                <a:lnTo>
                  <a:pt x="1396" y="721"/>
                </a:lnTo>
                <a:lnTo>
                  <a:pt x="1391" y="725"/>
                </a:lnTo>
                <a:lnTo>
                  <a:pt x="1386" y="727"/>
                </a:lnTo>
                <a:lnTo>
                  <a:pt x="1384" y="731"/>
                </a:lnTo>
                <a:lnTo>
                  <a:pt x="1383" y="734"/>
                </a:lnTo>
                <a:lnTo>
                  <a:pt x="1383" y="739"/>
                </a:lnTo>
                <a:lnTo>
                  <a:pt x="1384" y="750"/>
                </a:lnTo>
                <a:lnTo>
                  <a:pt x="1385" y="761"/>
                </a:lnTo>
                <a:lnTo>
                  <a:pt x="1385" y="764"/>
                </a:lnTo>
                <a:lnTo>
                  <a:pt x="1383" y="768"/>
                </a:lnTo>
                <a:lnTo>
                  <a:pt x="1380" y="770"/>
                </a:lnTo>
                <a:lnTo>
                  <a:pt x="1378" y="773"/>
                </a:lnTo>
                <a:lnTo>
                  <a:pt x="1371" y="774"/>
                </a:lnTo>
                <a:lnTo>
                  <a:pt x="1363" y="775"/>
                </a:lnTo>
                <a:lnTo>
                  <a:pt x="1352" y="775"/>
                </a:lnTo>
                <a:lnTo>
                  <a:pt x="1338" y="776"/>
                </a:lnTo>
                <a:lnTo>
                  <a:pt x="1322" y="778"/>
                </a:lnTo>
                <a:lnTo>
                  <a:pt x="1310" y="777"/>
                </a:lnTo>
                <a:lnTo>
                  <a:pt x="1301" y="776"/>
                </a:lnTo>
                <a:lnTo>
                  <a:pt x="1288" y="776"/>
                </a:lnTo>
                <a:lnTo>
                  <a:pt x="1277" y="777"/>
                </a:lnTo>
                <a:lnTo>
                  <a:pt x="1269" y="780"/>
                </a:lnTo>
                <a:lnTo>
                  <a:pt x="1262" y="782"/>
                </a:lnTo>
                <a:lnTo>
                  <a:pt x="1256" y="782"/>
                </a:lnTo>
                <a:lnTo>
                  <a:pt x="1249" y="780"/>
                </a:lnTo>
                <a:lnTo>
                  <a:pt x="1243" y="775"/>
                </a:lnTo>
                <a:lnTo>
                  <a:pt x="1234" y="767"/>
                </a:lnTo>
                <a:lnTo>
                  <a:pt x="1222" y="756"/>
                </a:lnTo>
                <a:lnTo>
                  <a:pt x="1212" y="743"/>
                </a:lnTo>
                <a:lnTo>
                  <a:pt x="1205" y="731"/>
                </a:lnTo>
                <a:lnTo>
                  <a:pt x="1200" y="723"/>
                </a:lnTo>
                <a:lnTo>
                  <a:pt x="1197" y="714"/>
                </a:lnTo>
                <a:lnTo>
                  <a:pt x="1197" y="707"/>
                </a:lnTo>
                <a:lnTo>
                  <a:pt x="1197" y="701"/>
                </a:lnTo>
                <a:lnTo>
                  <a:pt x="1205" y="692"/>
                </a:lnTo>
                <a:lnTo>
                  <a:pt x="1209" y="680"/>
                </a:lnTo>
                <a:lnTo>
                  <a:pt x="1201" y="667"/>
                </a:lnTo>
                <a:lnTo>
                  <a:pt x="1190" y="650"/>
                </a:lnTo>
                <a:lnTo>
                  <a:pt x="1186" y="637"/>
                </a:lnTo>
                <a:lnTo>
                  <a:pt x="1183" y="625"/>
                </a:lnTo>
                <a:lnTo>
                  <a:pt x="1181" y="614"/>
                </a:lnTo>
                <a:lnTo>
                  <a:pt x="1178" y="592"/>
                </a:lnTo>
                <a:lnTo>
                  <a:pt x="1177" y="585"/>
                </a:lnTo>
                <a:lnTo>
                  <a:pt x="1176" y="579"/>
                </a:lnTo>
                <a:lnTo>
                  <a:pt x="1174" y="574"/>
                </a:lnTo>
                <a:lnTo>
                  <a:pt x="1171" y="569"/>
                </a:lnTo>
                <a:lnTo>
                  <a:pt x="1168" y="567"/>
                </a:lnTo>
                <a:lnTo>
                  <a:pt x="1164" y="565"/>
                </a:lnTo>
                <a:lnTo>
                  <a:pt x="1161" y="563"/>
                </a:lnTo>
                <a:lnTo>
                  <a:pt x="1157" y="563"/>
                </a:lnTo>
                <a:lnTo>
                  <a:pt x="1153" y="566"/>
                </a:lnTo>
                <a:lnTo>
                  <a:pt x="1150" y="569"/>
                </a:lnTo>
                <a:lnTo>
                  <a:pt x="1146" y="576"/>
                </a:lnTo>
                <a:lnTo>
                  <a:pt x="1144" y="584"/>
                </a:lnTo>
                <a:lnTo>
                  <a:pt x="1142" y="592"/>
                </a:lnTo>
                <a:lnTo>
                  <a:pt x="1139" y="598"/>
                </a:lnTo>
                <a:lnTo>
                  <a:pt x="1137" y="604"/>
                </a:lnTo>
                <a:lnTo>
                  <a:pt x="1133" y="606"/>
                </a:lnTo>
                <a:lnTo>
                  <a:pt x="1127" y="610"/>
                </a:lnTo>
                <a:lnTo>
                  <a:pt x="1120" y="611"/>
                </a:lnTo>
                <a:lnTo>
                  <a:pt x="1113" y="612"/>
                </a:lnTo>
                <a:lnTo>
                  <a:pt x="1106" y="612"/>
                </a:lnTo>
                <a:lnTo>
                  <a:pt x="1100" y="612"/>
                </a:lnTo>
                <a:lnTo>
                  <a:pt x="1098" y="611"/>
                </a:lnTo>
                <a:lnTo>
                  <a:pt x="1095" y="609"/>
                </a:lnTo>
                <a:lnTo>
                  <a:pt x="1094" y="604"/>
                </a:lnTo>
                <a:lnTo>
                  <a:pt x="1092" y="598"/>
                </a:lnTo>
                <a:lnTo>
                  <a:pt x="1089" y="592"/>
                </a:lnTo>
                <a:lnTo>
                  <a:pt x="1086" y="587"/>
                </a:lnTo>
                <a:lnTo>
                  <a:pt x="1081" y="581"/>
                </a:lnTo>
                <a:lnTo>
                  <a:pt x="1080" y="576"/>
                </a:lnTo>
                <a:lnTo>
                  <a:pt x="1079" y="573"/>
                </a:lnTo>
                <a:lnTo>
                  <a:pt x="1077" y="568"/>
                </a:lnTo>
                <a:lnTo>
                  <a:pt x="1079" y="565"/>
                </a:lnTo>
                <a:lnTo>
                  <a:pt x="1080" y="556"/>
                </a:lnTo>
                <a:lnTo>
                  <a:pt x="1081" y="547"/>
                </a:lnTo>
                <a:lnTo>
                  <a:pt x="1081" y="537"/>
                </a:lnTo>
                <a:lnTo>
                  <a:pt x="1083" y="530"/>
                </a:lnTo>
                <a:lnTo>
                  <a:pt x="1087" y="525"/>
                </a:lnTo>
                <a:lnTo>
                  <a:pt x="1092" y="519"/>
                </a:lnTo>
                <a:lnTo>
                  <a:pt x="1095" y="516"/>
                </a:lnTo>
                <a:lnTo>
                  <a:pt x="1096" y="512"/>
                </a:lnTo>
                <a:lnTo>
                  <a:pt x="1098" y="510"/>
                </a:lnTo>
                <a:lnTo>
                  <a:pt x="1099" y="506"/>
                </a:lnTo>
                <a:lnTo>
                  <a:pt x="1098" y="498"/>
                </a:lnTo>
                <a:lnTo>
                  <a:pt x="1096" y="488"/>
                </a:lnTo>
                <a:lnTo>
                  <a:pt x="1095" y="477"/>
                </a:lnTo>
                <a:lnTo>
                  <a:pt x="1096" y="466"/>
                </a:lnTo>
                <a:lnTo>
                  <a:pt x="1098" y="459"/>
                </a:lnTo>
                <a:lnTo>
                  <a:pt x="1099" y="455"/>
                </a:lnTo>
                <a:lnTo>
                  <a:pt x="1103" y="455"/>
                </a:lnTo>
                <a:lnTo>
                  <a:pt x="1111" y="458"/>
                </a:lnTo>
                <a:lnTo>
                  <a:pt x="1117" y="459"/>
                </a:lnTo>
                <a:lnTo>
                  <a:pt x="1125" y="460"/>
                </a:lnTo>
                <a:lnTo>
                  <a:pt x="1132" y="460"/>
                </a:lnTo>
                <a:lnTo>
                  <a:pt x="1136" y="459"/>
                </a:lnTo>
                <a:lnTo>
                  <a:pt x="1136" y="448"/>
                </a:lnTo>
                <a:lnTo>
                  <a:pt x="1133" y="434"/>
                </a:lnTo>
                <a:lnTo>
                  <a:pt x="1132" y="427"/>
                </a:lnTo>
                <a:lnTo>
                  <a:pt x="1131" y="421"/>
                </a:lnTo>
                <a:lnTo>
                  <a:pt x="1130" y="414"/>
                </a:lnTo>
                <a:lnTo>
                  <a:pt x="1132" y="406"/>
                </a:lnTo>
                <a:lnTo>
                  <a:pt x="1134" y="399"/>
                </a:lnTo>
                <a:lnTo>
                  <a:pt x="1137" y="391"/>
                </a:lnTo>
                <a:lnTo>
                  <a:pt x="1139" y="383"/>
                </a:lnTo>
                <a:lnTo>
                  <a:pt x="1139" y="374"/>
                </a:lnTo>
                <a:lnTo>
                  <a:pt x="1139" y="370"/>
                </a:lnTo>
                <a:lnTo>
                  <a:pt x="1138" y="364"/>
                </a:lnTo>
                <a:lnTo>
                  <a:pt x="1137" y="360"/>
                </a:lnTo>
                <a:lnTo>
                  <a:pt x="1136" y="357"/>
                </a:lnTo>
                <a:lnTo>
                  <a:pt x="1132" y="353"/>
                </a:lnTo>
                <a:lnTo>
                  <a:pt x="1128" y="351"/>
                </a:lnTo>
                <a:lnTo>
                  <a:pt x="1124" y="351"/>
                </a:lnTo>
                <a:lnTo>
                  <a:pt x="1117" y="351"/>
                </a:lnTo>
                <a:lnTo>
                  <a:pt x="1108" y="352"/>
                </a:lnTo>
                <a:lnTo>
                  <a:pt x="1099" y="354"/>
                </a:lnTo>
                <a:lnTo>
                  <a:pt x="1088" y="357"/>
                </a:lnTo>
                <a:lnTo>
                  <a:pt x="1077" y="358"/>
                </a:lnTo>
                <a:lnTo>
                  <a:pt x="1060" y="361"/>
                </a:lnTo>
                <a:lnTo>
                  <a:pt x="1045" y="364"/>
                </a:lnTo>
                <a:lnTo>
                  <a:pt x="1030" y="364"/>
                </a:lnTo>
                <a:lnTo>
                  <a:pt x="1012" y="364"/>
                </a:lnTo>
                <a:lnTo>
                  <a:pt x="997" y="364"/>
                </a:lnTo>
                <a:lnTo>
                  <a:pt x="988" y="362"/>
                </a:lnTo>
                <a:lnTo>
                  <a:pt x="985" y="360"/>
                </a:lnTo>
                <a:lnTo>
                  <a:pt x="982" y="358"/>
                </a:lnTo>
                <a:lnTo>
                  <a:pt x="982" y="355"/>
                </a:lnTo>
                <a:lnTo>
                  <a:pt x="981" y="351"/>
                </a:lnTo>
                <a:lnTo>
                  <a:pt x="982" y="340"/>
                </a:lnTo>
                <a:lnTo>
                  <a:pt x="983" y="330"/>
                </a:lnTo>
                <a:lnTo>
                  <a:pt x="985" y="320"/>
                </a:lnTo>
                <a:lnTo>
                  <a:pt x="986" y="310"/>
                </a:lnTo>
                <a:lnTo>
                  <a:pt x="986" y="307"/>
                </a:lnTo>
                <a:lnTo>
                  <a:pt x="983" y="304"/>
                </a:lnTo>
                <a:lnTo>
                  <a:pt x="981" y="303"/>
                </a:lnTo>
                <a:lnTo>
                  <a:pt x="977" y="303"/>
                </a:lnTo>
                <a:lnTo>
                  <a:pt x="973" y="303"/>
                </a:lnTo>
                <a:lnTo>
                  <a:pt x="969" y="303"/>
                </a:lnTo>
                <a:lnTo>
                  <a:pt x="964" y="302"/>
                </a:lnTo>
                <a:lnTo>
                  <a:pt x="961" y="301"/>
                </a:lnTo>
                <a:lnTo>
                  <a:pt x="956" y="295"/>
                </a:lnTo>
                <a:lnTo>
                  <a:pt x="954" y="290"/>
                </a:lnTo>
                <a:lnTo>
                  <a:pt x="951" y="283"/>
                </a:lnTo>
                <a:lnTo>
                  <a:pt x="951" y="273"/>
                </a:lnTo>
                <a:lnTo>
                  <a:pt x="950" y="270"/>
                </a:lnTo>
                <a:lnTo>
                  <a:pt x="949" y="265"/>
                </a:lnTo>
                <a:lnTo>
                  <a:pt x="947" y="263"/>
                </a:lnTo>
                <a:lnTo>
                  <a:pt x="944" y="260"/>
                </a:lnTo>
                <a:lnTo>
                  <a:pt x="942" y="259"/>
                </a:lnTo>
                <a:lnTo>
                  <a:pt x="938" y="259"/>
                </a:lnTo>
                <a:lnTo>
                  <a:pt x="934" y="260"/>
                </a:lnTo>
                <a:lnTo>
                  <a:pt x="930" y="260"/>
                </a:lnTo>
                <a:lnTo>
                  <a:pt x="922" y="263"/>
                </a:lnTo>
                <a:lnTo>
                  <a:pt x="914" y="263"/>
                </a:lnTo>
                <a:lnTo>
                  <a:pt x="911" y="261"/>
                </a:lnTo>
                <a:lnTo>
                  <a:pt x="909" y="259"/>
                </a:lnTo>
                <a:lnTo>
                  <a:pt x="906" y="255"/>
                </a:lnTo>
                <a:lnTo>
                  <a:pt x="904" y="251"/>
                </a:lnTo>
                <a:lnTo>
                  <a:pt x="903" y="246"/>
                </a:lnTo>
                <a:lnTo>
                  <a:pt x="900" y="242"/>
                </a:lnTo>
                <a:lnTo>
                  <a:pt x="898" y="240"/>
                </a:lnTo>
                <a:lnTo>
                  <a:pt x="895" y="239"/>
                </a:lnTo>
                <a:lnTo>
                  <a:pt x="892" y="239"/>
                </a:lnTo>
                <a:lnTo>
                  <a:pt x="887" y="239"/>
                </a:lnTo>
                <a:lnTo>
                  <a:pt x="884" y="241"/>
                </a:lnTo>
                <a:lnTo>
                  <a:pt x="878" y="244"/>
                </a:lnTo>
                <a:lnTo>
                  <a:pt x="873" y="247"/>
                </a:lnTo>
                <a:lnTo>
                  <a:pt x="867" y="248"/>
                </a:lnTo>
                <a:lnTo>
                  <a:pt x="862" y="250"/>
                </a:lnTo>
                <a:lnTo>
                  <a:pt x="857" y="250"/>
                </a:lnTo>
                <a:lnTo>
                  <a:pt x="854" y="248"/>
                </a:lnTo>
                <a:lnTo>
                  <a:pt x="850" y="246"/>
                </a:lnTo>
                <a:lnTo>
                  <a:pt x="848" y="242"/>
                </a:lnTo>
                <a:lnTo>
                  <a:pt x="846" y="239"/>
                </a:lnTo>
                <a:lnTo>
                  <a:pt x="843" y="234"/>
                </a:lnTo>
                <a:lnTo>
                  <a:pt x="841" y="231"/>
                </a:lnTo>
                <a:lnTo>
                  <a:pt x="838" y="229"/>
                </a:lnTo>
                <a:lnTo>
                  <a:pt x="835" y="228"/>
                </a:lnTo>
                <a:lnTo>
                  <a:pt x="824" y="228"/>
                </a:lnTo>
                <a:lnTo>
                  <a:pt x="811" y="232"/>
                </a:lnTo>
                <a:lnTo>
                  <a:pt x="803" y="233"/>
                </a:lnTo>
                <a:lnTo>
                  <a:pt x="794" y="233"/>
                </a:lnTo>
                <a:lnTo>
                  <a:pt x="785" y="232"/>
                </a:lnTo>
                <a:lnTo>
                  <a:pt x="775" y="229"/>
                </a:lnTo>
                <a:lnTo>
                  <a:pt x="766" y="226"/>
                </a:lnTo>
                <a:lnTo>
                  <a:pt x="756" y="222"/>
                </a:lnTo>
                <a:lnTo>
                  <a:pt x="747" y="217"/>
                </a:lnTo>
                <a:lnTo>
                  <a:pt x="739" y="213"/>
                </a:lnTo>
                <a:lnTo>
                  <a:pt x="730" y="208"/>
                </a:lnTo>
                <a:lnTo>
                  <a:pt x="724" y="203"/>
                </a:lnTo>
                <a:lnTo>
                  <a:pt x="721" y="198"/>
                </a:lnTo>
                <a:lnTo>
                  <a:pt x="718" y="195"/>
                </a:lnTo>
                <a:lnTo>
                  <a:pt x="716" y="187"/>
                </a:lnTo>
                <a:lnTo>
                  <a:pt x="715" y="179"/>
                </a:lnTo>
                <a:lnTo>
                  <a:pt x="712" y="170"/>
                </a:lnTo>
                <a:lnTo>
                  <a:pt x="708" y="162"/>
                </a:lnTo>
                <a:lnTo>
                  <a:pt x="703" y="152"/>
                </a:lnTo>
                <a:lnTo>
                  <a:pt x="697" y="144"/>
                </a:lnTo>
                <a:lnTo>
                  <a:pt x="695" y="139"/>
                </a:lnTo>
                <a:lnTo>
                  <a:pt x="693" y="135"/>
                </a:lnTo>
                <a:lnTo>
                  <a:pt x="693" y="131"/>
                </a:lnTo>
                <a:lnTo>
                  <a:pt x="693" y="126"/>
                </a:lnTo>
                <a:lnTo>
                  <a:pt x="693" y="116"/>
                </a:lnTo>
                <a:lnTo>
                  <a:pt x="693" y="106"/>
                </a:lnTo>
                <a:lnTo>
                  <a:pt x="692" y="102"/>
                </a:lnTo>
                <a:lnTo>
                  <a:pt x="690" y="99"/>
                </a:lnTo>
                <a:lnTo>
                  <a:pt x="686" y="97"/>
                </a:lnTo>
                <a:lnTo>
                  <a:pt x="681" y="96"/>
                </a:lnTo>
                <a:lnTo>
                  <a:pt x="671" y="97"/>
                </a:lnTo>
                <a:lnTo>
                  <a:pt x="655" y="99"/>
                </a:lnTo>
                <a:lnTo>
                  <a:pt x="648" y="99"/>
                </a:lnTo>
                <a:lnTo>
                  <a:pt x="642" y="97"/>
                </a:lnTo>
                <a:lnTo>
                  <a:pt x="636" y="95"/>
                </a:lnTo>
                <a:lnTo>
                  <a:pt x="632" y="93"/>
                </a:lnTo>
                <a:lnTo>
                  <a:pt x="624" y="86"/>
                </a:lnTo>
                <a:lnTo>
                  <a:pt x="618" y="77"/>
                </a:lnTo>
                <a:lnTo>
                  <a:pt x="615" y="72"/>
                </a:lnTo>
                <a:lnTo>
                  <a:pt x="611" y="70"/>
                </a:lnTo>
                <a:lnTo>
                  <a:pt x="607" y="69"/>
                </a:lnTo>
                <a:lnTo>
                  <a:pt x="602" y="68"/>
                </a:lnTo>
                <a:lnTo>
                  <a:pt x="591" y="67"/>
                </a:lnTo>
                <a:lnTo>
                  <a:pt x="578" y="67"/>
                </a:lnTo>
                <a:lnTo>
                  <a:pt x="566" y="65"/>
                </a:lnTo>
                <a:lnTo>
                  <a:pt x="555" y="62"/>
                </a:lnTo>
                <a:lnTo>
                  <a:pt x="551" y="59"/>
                </a:lnTo>
                <a:lnTo>
                  <a:pt x="546" y="56"/>
                </a:lnTo>
                <a:lnTo>
                  <a:pt x="542" y="52"/>
                </a:lnTo>
                <a:lnTo>
                  <a:pt x="539" y="49"/>
                </a:lnTo>
                <a:lnTo>
                  <a:pt x="528" y="38"/>
                </a:lnTo>
                <a:lnTo>
                  <a:pt x="514" y="23"/>
                </a:lnTo>
                <a:lnTo>
                  <a:pt x="500" y="9"/>
                </a:lnTo>
                <a:lnTo>
                  <a:pt x="488" y="1"/>
                </a:lnTo>
                <a:lnTo>
                  <a:pt x="482" y="0"/>
                </a:lnTo>
                <a:lnTo>
                  <a:pt x="476" y="1"/>
                </a:lnTo>
                <a:lnTo>
                  <a:pt x="470" y="4"/>
                </a:lnTo>
                <a:lnTo>
                  <a:pt x="463" y="7"/>
                </a:lnTo>
                <a:lnTo>
                  <a:pt x="450" y="17"/>
                </a:lnTo>
                <a:lnTo>
                  <a:pt x="439" y="26"/>
                </a:lnTo>
                <a:lnTo>
                  <a:pt x="432" y="34"/>
                </a:lnTo>
                <a:lnTo>
                  <a:pt x="425" y="44"/>
                </a:lnTo>
                <a:lnTo>
                  <a:pt x="420" y="55"/>
                </a:lnTo>
                <a:lnTo>
                  <a:pt x="415" y="65"/>
                </a:lnTo>
                <a:lnTo>
                  <a:pt x="412" y="76"/>
                </a:lnTo>
                <a:lnTo>
                  <a:pt x="410" y="84"/>
                </a:lnTo>
                <a:lnTo>
                  <a:pt x="412" y="90"/>
                </a:lnTo>
                <a:lnTo>
                  <a:pt x="414" y="97"/>
                </a:lnTo>
                <a:lnTo>
                  <a:pt x="416" y="105"/>
                </a:lnTo>
                <a:lnTo>
                  <a:pt x="421" y="112"/>
                </a:lnTo>
                <a:lnTo>
                  <a:pt x="426" y="118"/>
                </a:lnTo>
                <a:lnTo>
                  <a:pt x="431" y="124"/>
                </a:lnTo>
                <a:lnTo>
                  <a:pt x="435" y="127"/>
                </a:lnTo>
                <a:lnTo>
                  <a:pt x="440" y="130"/>
                </a:lnTo>
                <a:lnTo>
                  <a:pt x="445" y="131"/>
                </a:lnTo>
                <a:lnTo>
                  <a:pt x="451" y="133"/>
                </a:lnTo>
                <a:lnTo>
                  <a:pt x="456" y="137"/>
                </a:lnTo>
                <a:lnTo>
                  <a:pt x="460" y="140"/>
                </a:lnTo>
                <a:lnTo>
                  <a:pt x="470" y="149"/>
                </a:lnTo>
                <a:lnTo>
                  <a:pt x="478" y="160"/>
                </a:lnTo>
                <a:lnTo>
                  <a:pt x="483" y="165"/>
                </a:lnTo>
                <a:lnTo>
                  <a:pt x="489" y="168"/>
                </a:lnTo>
                <a:lnTo>
                  <a:pt x="495" y="169"/>
                </a:lnTo>
                <a:lnTo>
                  <a:pt x="502" y="169"/>
                </a:lnTo>
                <a:lnTo>
                  <a:pt x="516" y="165"/>
                </a:lnTo>
                <a:lnTo>
                  <a:pt x="529" y="160"/>
                </a:lnTo>
                <a:lnTo>
                  <a:pt x="534" y="158"/>
                </a:lnTo>
                <a:lnTo>
                  <a:pt x="538" y="156"/>
                </a:lnTo>
                <a:lnTo>
                  <a:pt x="541" y="156"/>
                </a:lnTo>
                <a:lnTo>
                  <a:pt x="544" y="156"/>
                </a:lnTo>
                <a:lnTo>
                  <a:pt x="546" y="159"/>
                </a:lnTo>
                <a:lnTo>
                  <a:pt x="547" y="163"/>
                </a:lnTo>
                <a:lnTo>
                  <a:pt x="547" y="170"/>
                </a:lnTo>
                <a:lnTo>
                  <a:pt x="546" y="181"/>
                </a:lnTo>
                <a:lnTo>
                  <a:pt x="546" y="192"/>
                </a:lnTo>
                <a:lnTo>
                  <a:pt x="546" y="203"/>
                </a:lnTo>
                <a:lnTo>
                  <a:pt x="548" y="213"/>
                </a:lnTo>
                <a:lnTo>
                  <a:pt x="551" y="222"/>
                </a:lnTo>
                <a:lnTo>
                  <a:pt x="553" y="232"/>
                </a:lnTo>
                <a:lnTo>
                  <a:pt x="558" y="240"/>
                </a:lnTo>
                <a:lnTo>
                  <a:pt x="564" y="246"/>
                </a:lnTo>
                <a:lnTo>
                  <a:pt x="570" y="252"/>
                </a:lnTo>
                <a:lnTo>
                  <a:pt x="577" y="258"/>
                </a:lnTo>
                <a:lnTo>
                  <a:pt x="582" y="264"/>
                </a:lnTo>
                <a:lnTo>
                  <a:pt x="585" y="270"/>
                </a:lnTo>
                <a:lnTo>
                  <a:pt x="588" y="277"/>
                </a:lnTo>
                <a:lnTo>
                  <a:pt x="591" y="290"/>
                </a:lnTo>
                <a:lnTo>
                  <a:pt x="592" y="305"/>
                </a:lnTo>
                <a:lnTo>
                  <a:pt x="594" y="313"/>
                </a:lnTo>
                <a:lnTo>
                  <a:pt x="592" y="317"/>
                </a:lnTo>
                <a:lnTo>
                  <a:pt x="590" y="320"/>
                </a:lnTo>
                <a:lnTo>
                  <a:pt x="588" y="322"/>
                </a:lnTo>
                <a:lnTo>
                  <a:pt x="579" y="323"/>
                </a:lnTo>
                <a:lnTo>
                  <a:pt x="569" y="324"/>
                </a:lnTo>
                <a:lnTo>
                  <a:pt x="561" y="327"/>
                </a:lnTo>
                <a:lnTo>
                  <a:pt x="554" y="330"/>
                </a:lnTo>
                <a:lnTo>
                  <a:pt x="546" y="334"/>
                </a:lnTo>
                <a:lnTo>
                  <a:pt x="538" y="340"/>
                </a:lnTo>
                <a:lnTo>
                  <a:pt x="531" y="346"/>
                </a:lnTo>
                <a:lnTo>
                  <a:pt x="523" y="351"/>
                </a:lnTo>
                <a:lnTo>
                  <a:pt x="519" y="357"/>
                </a:lnTo>
                <a:lnTo>
                  <a:pt x="515" y="362"/>
                </a:lnTo>
                <a:lnTo>
                  <a:pt x="511" y="371"/>
                </a:lnTo>
                <a:lnTo>
                  <a:pt x="507" y="377"/>
                </a:lnTo>
                <a:lnTo>
                  <a:pt x="504" y="379"/>
                </a:lnTo>
                <a:lnTo>
                  <a:pt x="501" y="381"/>
                </a:lnTo>
                <a:lnTo>
                  <a:pt x="496" y="383"/>
                </a:lnTo>
                <a:lnTo>
                  <a:pt x="490" y="385"/>
                </a:lnTo>
                <a:lnTo>
                  <a:pt x="478" y="389"/>
                </a:lnTo>
                <a:lnTo>
                  <a:pt x="468" y="395"/>
                </a:lnTo>
                <a:lnTo>
                  <a:pt x="456" y="401"/>
                </a:lnTo>
                <a:lnTo>
                  <a:pt x="443" y="408"/>
                </a:lnTo>
                <a:lnTo>
                  <a:pt x="435" y="410"/>
                </a:lnTo>
                <a:lnTo>
                  <a:pt x="428" y="411"/>
                </a:lnTo>
                <a:lnTo>
                  <a:pt x="422" y="410"/>
                </a:lnTo>
                <a:lnTo>
                  <a:pt x="416" y="406"/>
                </a:lnTo>
                <a:lnTo>
                  <a:pt x="412" y="403"/>
                </a:lnTo>
                <a:lnTo>
                  <a:pt x="406" y="398"/>
                </a:lnTo>
                <a:lnTo>
                  <a:pt x="402" y="392"/>
                </a:lnTo>
                <a:lnTo>
                  <a:pt x="397" y="387"/>
                </a:lnTo>
                <a:lnTo>
                  <a:pt x="395" y="381"/>
                </a:lnTo>
                <a:lnTo>
                  <a:pt x="393" y="376"/>
                </a:lnTo>
                <a:lnTo>
                  <a:pt x="391" y="371"/>
                </a:lnTo>
                <a:lnTo>
                  <a:pt x="390" y="365"/>
                </a:lnTo>
                <a:lnTo>
                  <a:pt x="388" y="359"/>
                </a:lnTo>
                <a:lnTo>
                  <a:pt x="387" y="354"/>
                </a:lnTo>
                <a:lnTo>
                  <a:pt x="383" y="349"/>
                </a:lnTo>
                <a:lnTo>
                  <a:pt x="378" y="346"/>
                </a:lnTo>
                <a:lnTo>
                  <a:pt x="370" y="340"/>
                </a:lnTo>
                <a:lnTo>
                  <a:pt x="364" y="334"/>
                </a:lnTo>
                <a:lnTo>
                  <a:pt x="359" y="326"/>
                </a:lnTo>
                <a:lnTo>
                  <a:pt x="356" y="314"/>
                </a:lnTo>
                <a:lnTo>
                  <a:pt x="353" y="308"/>
                </a:lnTo>
                <a:lnTo>
                  <a:pt x="351" y="303"/>
                </a:lnTo>
                <a:lnTo>
                  <a:pt x="347" y="298"/>
                </a:lnTo>
                <a:lnTo>
                  <a:pt x="343" y="296"/>
                </a:lnTo>
                <a:lnTo>
                  <a:pt x="334" y="294"/>
                </a:lnTo>
                <a:lnTo>
                  <a:pt x="327" y="292"/>
                </a:lnTo>
                <a:lnTo>
                  <a:pt x="320" y="292"/>
                </a:lnTo>
                <a:lnTo>
                  <a:pt x="313" y="291"/>
                </a:lnTo>
                <a:lnTo>
                  <a:pt x="306" y="290"/>
                </a:lnTo>
                <a:lnTo>
                  <a:pt x="300" y="286"/>
                </a:lnTo>
                <a:lnTo>
                  <a:pt x="295" y="280"/>
                </a:lnTo>
                <a:lnTo>
                  <a:pt x="289" y="275"/>
                </a:lnTo>
                <a:lnTo>
                  <a:pt x="284" y="272"/>
                </a:lnTo>
                <a:lnTo>
                  <a:pt x="280" y="270"/>
                </a:lnTo>
                <a:lnTo>
                  <a:pt x="274" y="269"/>
                </a:lnTo>
                <a:lnTo>
                  <a:pt x="265" y="269"/>
                </a:lnTo>
                <a:lnTo>
                  <a:pt x="256" y="270"/>
                </a:lnTo>
                <a:lnTo>
                  <a:pt x="248" y="272"/>
                </a:lnTo>
                <a:lnTo>
                  <a:pt x="239" y="276"/>
                </a:lnTo>
                <a:lnTo>
                  <a:pt x="232" y="282"/>
                </a:lnTo>
                <a:lnTo>
                  <a:pt x="226" y="288"/>
                </a:lnTo>
                <a:lnTo>
                  <a:pt x="220" y="294"/>
                </a:lnTo>
                <a:lnTo>
                  <a:pt x="216" y="302"/>
                </a:lnTo>
                <a:lnTo>
                  <a:pt x="213" y="310"/>
                </a:lnTo>
                <a:lnTo>
                  <a:pt x="211" y="317"/>
                </a:lnTo>
                <a:lnTo>
                  <a:pt x="210" y="326"/>
                </a:lnTo>
                <a:lnTo>
                  <a:pt x="210" y="333"/>
                </a:lnTo>
                <a:lnTo>
                  <a:pt x="211" y="339"/>
                </a:lnTo>
                <a:lnTo>
                  <a:pt x="213" y="343"/>
                </a:lnTo>
                <a:lnTo>
                  <a:pt x="216" y="348"/>
                </a:lnTo>
                <a:lnTo>
                  <a:pt x="219" y="352"/>
                </a:lnTo>
                <a:lnTo>
                  <a:pt x="223" y="354"/>
                </a:lnTo>
                <a:lnTo>
                  <a:pt x="225" y="357"/>
                </a:lnTo>
                <a:lnTo>
                  <a:pt x="229" y="360"/>
                </a:lnTo>
                <a:lnTo>
                  <a:pt x="230" y="364"/>
                </a:lnTo>
                <a:lnTo>
                  <a:pt x="230" y="367"/>
                </a:lnTo>
                <a:lnTo>
                  <a:pt x="230" y="372"/>
                </a:lnTo>
                <a:lnTo>
                  <a:pt x="229" y="376"/>
                </a:lnTo>
                <a:lnTo>
                  <a:pt x="227" y="380"/>
                </a:lnTo>
                <a:lnTo>
                  <a:pt x="226" y="384"/>
                </a:lnTo>
                <a:lnTo>
                  <a:pt x="221" y="392"/>
                </a:lnTo>
                <a:lnTo>
                  <a:pt x="219" y="399"/>
                </a:lnTo>
                <a:lnTo>
                  <a:pt x="218" y="408"/>
                </a:lnTo>
                <a:lnTo>
                  <a:pt x="219" y="416"/>
                </a:lnTo>
                <a:lnTo>
                  <a:pt x="220" y="428"/>
                </a:lnTo>
                <a:lnTo>
                  <a:pt x="218" y="440"/>
                </a:lnTo>
                <a:lnTo>
                  <a:pt x="218" y="446"/>
                </a:lnTo>
                <a:lnTo>
                  <a:pt x="219" y="450"/>
                </a:lnTo>
                <a:lnTo>
                  <a:pt x="223" y="456"/>
                </a:lnTo>
                <a:lnTo>
                  <a:pt x="226" y="462"/>
                </a:lnTo>
                <a:lnTo>
                  <a:pt x="232" y="471"/>
                </a:lnTo>
                <a:lnTo>
                  <a:pt x="237" y="479"/>
                </a:lnTo>
                <a:lnTo>
                  <a:pt x="239" y="483"/>
                </a:lnTo>
                <a:lnTo>
                  <a:pt x="239" y="485"/>
                </a:lnTo>
                <a:lnTo>
                  <a:pt x="239" y="487"/>
                </a:lnTo>
                <a:lnTo>
                  <a:pt x="239" y="488"/>
                </a:lnTo>
                <a:lnTo>
                  <a:pt x="235" y="488"/>
                </a:lnTo>
                <a:lnTo>
                  <a:pt x="229" y="488"/>
                </a:lnTo>
                <a:lnTo>
                  <a:pt x="218" y="488"/>
                </a:lnTo>
                <a:lnTo>
                  <a:pt x="207" y="490"/>
                </a:lnTo>
                <a:lnTo>
                  <a:pt x="196" y="492"/>
                </a:lnTo>
                <a:lnTo>
                  <a:pt x="186" y="494"/>
                </a:lnTo>
                <a:lnTo>
                  <a:pt x="181" y="497"/>
                </a:lnTo>
                <a:lnTo>
                  <a:pt x="176" y="499"/>
                </a:lnTo>
                <a:lnTo>
                  <a:pt x="172" y="503"/>
                </a:lnTo>
                <a:lnTo>
                  <a:pt x="167" y="507"/>
                </a:lnTo>
                <a:lnTo>
                  <a:pt x="151" y="518"/>
                </a:lnTo>
                <a:lnTo>
                  <a:pt x="142" y="524"/>
                </a:lnTo>
                <a:lnTo>
                  <a:pt x="139" y="528"/>
                </a:lnTo>
                <a:lnTo>
                  <a:pt x="138" y="534"/>
                </a:lnTo>
                <a:lnTo>
                  <a:pt x="138" y="542"/>
                </a:lnTo>
                <a:lnTo>
                  <a:pt x="138" y="550"/>
                </a:lnTo>
                <a:lnTo>
                  <a:pt x="141" y="568"/>
                </a:lnTo>
                <a:lnTo>
                  <a:pt x="144" y="582"/>
                </a:lnTo>
                <a:lnTo>
                  <a:pt x="148" y="594"/>
                </a:lnTo>
                <a:lnTo>
                  <a:pt x="149" y="605"/>
                </a:lnTo>
                <a:lnTo>
                  <a:pt x="148" y="610"/>
                </a:lnTo>
                <a:lnTo>
                  <a:pt x="148" y="613"/>
                </a:lnTo>
                <a:lnTo>
                  <a:pt x="147" y="617"/>
                </a:lnTo>
                <a:lnTo>
                  <a:pt x="144" y="620"/>
                </a:lnTo>
                <a:lnTo>
                  <a:pt x="141" y="625"/>
                </a:lnTo>
                <a:lnTo>
                  <a:pt x="138" y="631"/>
                </a:lnTo>
                <a:lnTo>
                  <a:pt x="137" y="639"/>
                </a:lnTo>
                <a:lnTo>
                  <a:pt x="137" y="648"/>
                </a:lnTo>
                <a:lnTo>
                  <a:pt x="137" y="656"/>
                </a:lnTo>
                <a:lnTo>
                  <a:pt x="137" y="666"/>
                </a:lnTo>
                <a:lnTo>
                  <a:pt x="136" y="670"/>
                </a:lnTo>
                <a:lnTo>
                  <a:pt x="133" y="675"/>
                </a:lnTo>
                <a:lnTo>
                  <a:pt x="130" y="680"/>
                </a:lnTo>
                <a:lnTo>
                  <a:pt x="125" y="683"/>
                </a:lnTo>
                <a:lnTo>
                  <a:pt x="113" y="692"/>
                </a:lnTo>
                <a:lnTo>
                  <a:pt x="100" y="699"/>
                </a:lnTo>
                <a:lnTo>
                  <a:pt x="86" y="705"/>
                </a:lnTo>
                <a:lnTo>
                  <a:pt x="70" y="708"/>
                </a:lnTo>
                <a:lnTo>
                  <a:pt x="62" y="710"/>
                </a:lnTo>
                <a:lnTo>
                  <a:pt x="55" y="710"/>
                </a:lnTo>
                <a:lnTo>
                  <a:pt x="48" y="708"/>
                </a:lnTo>
                <a:lnTo>
                  <a:pt x="41" y="706"/>
                </a:lnTo>
                <a:lnTo>
                  <a:pt x="28" y="701"/>
                </a:lnTo>
                <a:lnTo>
                  <a:pt x="17" y="695"/>
                </a:lnTo>
                <a:lnTo>
                  <a:pt x="12" y="694"/>
                </a:lnTo>
                <a:lnTo>
                  <a:pt x="9" y="694"/>
                </a:lnTo>
                <a:lnTo>
                  <a:pt x="5" y="696"/>
                </a:lnTo>
                <a:lnTo>
                  <a:pt x="4" y="700"/>
                </a:lnTo>
                <a:lnTo>
                  <a:pt x="3" y="705"/>
                </a:lnTo>
                <a:lnTo>
                  <a:pt x="3" y="710"/>
                </a:lnTo>
                <a:lnTo>
                  <a:pt x="3" y="715"/>
                </a:lnTo>
                <a:lnTo>
                  <a:pt x="4" y="721"/>
                </a:lnTo>
                <a:lnTo>
                  <a:pt x="5" y="733"/>
                </a:lnTo>
                <a:lnTo>
                  <a:pt x="5" y="744"/>
                </a:lnTo>
                <a:lnTo>
                  <a:pt x="4" y="756"/>
                </a:lnTo>
                <a:lnTo>
                  <a:pt x="2" y="765"/>
                </a:lnTo>
                <a:lnTo>
                  <a:pt x="0" y="770"/>
                </a:lnTo>
                <a:lnTo>
                  <a:pt x="0" y="775"/>
                </a:lnTo>
                <a:lnTo>
                  <a:pt x="2" y="781"/>
                </a:lnTo>
                <a:lnTo>
                  <a:pt x="3" y="786"/>
                </a:lnTo>
                <a:lnTo>
                  <a:pt x="5" y="790"/>
                </a:lnTo>
                <a:lnTo>
                  <a:pt x="10" y="794"/>
                </a:lnTo>
                <a:lnTo>
                  <a:pt x="15" y="796"/>
                </a:lnTo>
                <a:lnTo>
                  <a:pt x="21" y="799"/>
                </a:lnTo>
                <a:lnTo>
                  <a:pt x="28" y="799"/>
                </a:lnTo>
                <a:lnTo>
                  <a:pt x="32" y="797"/>
                </a:lnTo>
                <a:lnTo>
                  <a:pt x="37" y="796"/>
                </a:lnTo>
                <a:lnTo>
                  <a:pt x="42" y="794"/>
                </a:lnTo>
                <a:lnTo>
                  <a:pt x="49" y="790"/>
                </a:lnTo>
                <a:lnTo>
                  <a:pt x="57" y="787"/>
                </a:lnTo>
                <a:lnTo>
                  <a:pt x="62" y="787"/>
                </a:lnTo>
                <a:lnTo>
                  <a:pt x="67" y="788"/>
                </a:lnTo>
                <a:lnTo>
                  <a:pt x="72" y="790"/>
                </a:lnTo>
                <a:lnTo>
                  <a:pt x="76" y="793"/>
                </a:lnTo>
                <a:lnTo>
                  <a:pt x="86" y="799"/>
                </a:lnTo>
                <a:lnTo>
                  <a:pt x="93" y="806"/>
                </a:lnTo>
                <a:lnTo>
                  <a:pt x="97" y="812"/>
                </a:lnTo>
                <a:lnTo>
                  <a:pt x="100" y="820"/>
                </a:lnTo>
                <a:lnTo>
                  <a:pt x="101" y="831"/>
                </a:lnTo>
                <a:lnTo>
                  <a:pt x="100" y="843"/>
                </a:lnTo>
                <a:lnTo>
                  <a:pt x="98" y="859"/>
                </a:lnTo>
                <a:lnTo>
                  <a:pt x="94" y="877"/>
                </a:lnTo>
                <a:lnTo>
                  <a:pt x="91" y="888"/>
                </a:lnTo>
                <a:lnTo>
                  <a:pt x="91" y="893"/>
                </a:lnTo>
                <a:lnTo>
                  <a:pt x="94" y="894"/>
                </a:lnTo>
                <a:lnTo>
                  <a:pt x="100" y="895"/>
                </a:lnTo>
                <a:lnTo>
                  <a:pt x="103" y="897"/>
                </a:lnTo>
                <a:lnTo>
                  <a:pt x="105" y="900"/>
                </a:lnTo>
                <a:lnTo>
                  <a:pt x="106" y="902"/>
                </a:lnTo>
                <a:lnTo>
                  <a:pt x="106" y="907"/>
                </a:lnTo>
                <a:lnTo>
                  <a:pt x="106" y="914"/>
                </a:lnTo>
                <a:lnTo>
                  <a:pt x="109" y="920"/>
                </a:lnTo>
                <a:lnTo>
                  <a:pt x="110" y="922"/>
                </a:lnTo>
                <a:lnTo>
                  <a:pt x="112" y="925"/>
                </a:lnTo>
                <a:lnTo>
                  <a:pt x="116" y="925"/>
                </a:lnTo>
                <a:lnTo>
                  <a:pt x="119" y="926"/>
                </a:lnTo>
                <a:lnTo>
                  <a:pt x="128" y="926"/>
                </a:lnTo>
                <a:lnTo>
                  <a:pt x="132" y="927"/>
                </a:lnTo>
                <a:lnTo>
                  <a:pt x="135" y="928"/>
                </a:lnTo>
                <a:lnTo>
                  <a:pt x="137" y="932"/>
                </a:lnTo>
                <a:lnTo>
                  <a:pt x="139" y="935"/>
                </a:lnTo>
                <a:lnTo>
                  <a:pt x="143" y="939"/>
                </a:lnTo>
                <a:lnTo>
                  <a:pt x="145" y="940"/>
                </a:lnTo>
                <a:lnTo>
                  <a:pt x="149" y="941"/>
                </a:lnTo>
                <a:lnTo>
                  <a:pt x="152" y="941"/>
                </a:lnTo>
                <a:lnTo>
                  <a:pt x="157" y="940"/>
                </a:lnTo>
                <a:lnTo>
                  <a:pt x="167" y="938"/>
                </a:lnTo>
                <a:lnTo>
                  <a:pt x="177" y="937"/>
                </a:lnTo>
                <a:lnTo>
                  <a:pt x="182" y="938"/>
                </a:lnTo>
                <a:lnTo>
                  <a:pt x="188" y="939"/>
                </a:lnTo>
                <a:lnTo>
                  <a:pt x="193" y="941"/>
                </a:lnTo>
                <a:lnTo>
                  <a:pt x="199" y="945"/>
                </a:lnTo>
                <a:lnTo>
                  <a:pt x="208" y="957"/>
                </a:lnTo>
                <a:lnTo>
                  <a:pt x="218" y="969"/>
                </a:lnTo>
                <a:lnTo>
                  <a:pt x="227" y="979"/>
                </a:lnTo>
                <a:lnTo>
                  <a:pt x="233" y="988"/>
                </a:lnTo>
                <a:lnTo>
                  <a:pt x="238" y="991"/>
                </a:lnTo>
                <a:lnTo>
                  <a:pt x="243" y="992"/>
                </a:lnTo>
                <a:lnTo>
                  <a:pt x="250" y="995"/>
                </a:lnTo>
                <a:lnTo>
                  <a:pt x="256" y="996"/>
                </a:lnTo>
                <a:lnTo>
                  <a:pt x="263" y="995"/>
                </a:lnTo>
                <a:lnTo>
                  <a:pt x="270" y="994"/>
                </a:lnTo>
                <a:lnTo>
                  <a:pt x="275" y="991"/>
                </a:lnTo>
                <a:lnTo>
                  <a:pt x="280" y="988"/>
                </a:lnTo>
                <a:lnTo>
                  <a:pt x="284" y="979"/>
                </a:lnTo>
                <a:lnTo>
                  <a:pt x="288" y="971"/>
                </a:lnTo>
                <a:lnTo>
                  <a:pt x="289" y="967"/>
                </a:lnTo>
                <a:lnTo>
                  <a:pt x="292" y="965"/>
                </a:lnTo>
                <a:lnTo>
                  <a:pt x="295" y="963"/>
                </a:lnTo>
                <a:lnTo>
                  <a:pt x="299" y="960"/>
                </a:lnTo>
                <a:lnTo>
                  <a:pt x="303" y="959"/>
                </a:lnTo>
                <a:lnTo>
                  <a:pt x="307" y="958"/>
                </a:lnTo>
                <a:lnTo>
                  <a:pt x="311" y="959"/>
                </a:lnTo>
                <a:lnTo>
                  <a:pt x="313" y="960"/>
                </a:lnTo>
                <a:lnTo>
                  <a:pt x="319" y="963"/>
                </a:lnTo>
                <a:lnTo>
                  <a:pt x="326" y="964"/>
                </a:lnTo>
                <a:lnTo>
                  <a:pt x="330" y="963"/>
                </a:lnTo>
                <a:lnTo>
                  <a:pt x="333" y="962"/>
                </a:lnTo>
                <a:lnTo>
                  <a:pt x="336" y="960"/>
                </a:lnTo>
                <a:lnTo>
                  <a:pt x="337" y="958"/>
                </a:lnTo>
                <a:lnTo>
                  <a:pt x="340" y="952"/>
                </a:lnTo>
                <a:lnTo>
                  <a:pt x="345" y="945"/>
                </a:lnTo>
                <a:lnTo>
                  <a:pt x="349" y="937"/>
                </a:lnTo>
                <a:lnTo>
                  <a:pt x="355" y="928"/>
                </a:lnTo>
                <a:lnTo>
                  <a:pt x="361" y="920"/>
                </a:lnTo>
                <a:lnTo>
                  <a:pt x="368" y="913"/>
                </a:lnTo>
                <a:lnTo>
                  <a:pt x="372" y="908"/>
                </a:lnTo>
                <a:lnTo>
                  <a:pt x="378" y="907"/>
                </a:lnTo>
                <a:lnTo>
                  <a:pt x="380" y="907"/>
                </a:lnTo>
                <a:lnTo>
                  <a:pt x="380" y="908"/>
                </a:lnTo>
                <a:lnTo>
                  <a:pt x="378" y="909"/>
                </a:lnTo>
                <a:lnTo>
                  <a:pt x="378" y="913"/>
                </a:lnTo>
                <a:lnTo>
                  <a:pt x="375" y="919"/>
                </a:lnTo>
                <a:lnTo>
                  <a:pt x="372" y="926"/>
                </a:lnTo>
                <a:lnTo>
                  <a:pt x="366" y="944"/>
                </a:lnTo>
                <a:lnTo>
                  <a:pt x="362" y="958"/>
                </a:lnTo>
                <a:lnTo>
                  <a:pt x="361" y="963"/>
                </a:lnTo>
                <a:lnTo>
                  <a:pt x="361" y="966"/>
                </a:lnTo>
                <a:lnTo>
                  <a:pt x="362" y="971"/>
                </a:lnTo>
                <a:lnTo>
                  <a:pt x="363" y="976"/>
                </a:lnTo>
                <a:lnTo>
                  <a:pt x="365" y="986"/>
                </a:lnTo>
                <a:lnTo>
                  <a:pt x="368" y="998"/>
                </a:lnTo>
                <a:lnTo>
                  <a:pt x="370" y="1010"/>
                </a:lnTo>
                <a:lnTo>
                  <a:pt x="372" y="1023"/>
                </a:lnTo>
                <a:lnTo>
                  <a:pt x="375" y="1041"/>
                </a:lnTo>
                <a:lnTo>
                  <a:pt x="376" y="1057"/>
                </a:lnTo>
                <a:lnTo>
                  <a:pt x="378" y="1070"/>
                </a:lnTo>
                <a:lnTo>
                  <a:pt x="381" y="1084"/>
                </a:lnTo>
                <a:lnTo>
                  <a:pt x="383" y="1102"/>
                </a:lnTo>
                <a:lnTo>
                  <a:pt x="385" y="1126"/>
                </a:lnTo>
                <a:lnTo>
                  <a:pt x="389" y="1149"/>
                </a:lnTo>
                <a:lnTo>
                  <a:pt x="391" y="1167"/>
                </a:lnTo>
                <a:lnTo>
                  <a:pt x="393" y="1179"/>
                </a:lnTo>
                <a:lnTo>
                  <a:pt x="391" y="1190"/>
                </a:lnTo>
                <a:lnTo>
                  <a:pt x="388" y="1199"/>
                </a:lnTo>
                <a:lnTo>
                  <a:pt x="384" y="1208"/>
                </a:lnTo>
                <a:lnTo>
                  <a:pt x="383" y="1211"/>
                </a:lnTo>
                <a:lnTo>
                  <a:pt x="383" y="1216"/>
                </a:lnTo>
                <a:lnTo>
                  <a:pt x="383" y="1221"/>
                </a:lnTo>
                <a:lnTo>
                  <a:pt x="384" y="1227"/>
                </a:lnTo>
                <a:lnTo>
                  <a:pt x="385" y="1238"/>
                </a:lnTo>
                <a:lnTo>
                  <a:pt x="387" y="1248"/>
                </a:lnTo>
                <a:lnTo>
                  <a:pt x="385" y="1252"/>
                </a:lnTo>
                <a:lnTo>
                  <a:pt x="382" y="1255"/>
                </a:lnTo>
                <a:lnTo>
                  <a:pt x="378" y="1257"/>
                </a:lnTo>
                <a:lnTo>
                  <a:pt x="372" y="1259"/>
                </a:lnTo>
                <a:lnTo>
                  <a:pt x="358" y="1262"/>
                </a:lnTo>
                <a:lnTo>
                  <a:pt x="342" y="1266"/>
                </a:lnTo>
                <a:lnTo>
                  <a:pt x="324" y="1272"/>
                </a:lnTo>
                <a:lnTo>
                  <a:pt x="307" y="1278"/>
                </a:lnTo>
                <a:lnTo>
                  <a:pt x="292" y="1285"/>
                </a:lnTo>
                <a:lnTo>
                  <a:pt x="276" y="1291"/>
                </a:lnTo>
                <a:lnTo>
                  <a:pt x="269" y="1294"/>
                </a:lnTo>
                <a:lnTo>
                  <a:pt x="262" y="1298"/>
                </a:lnTo>
                <a:lnTo>
                  <a:pt x="256" y="1304"/>
                </a:lnTo>
                <a:lnTo>
                  <a:pt x="249" y="1310"/>
                </a:lnTo>
                <a:lnTo>
                  <a:pt x="243" y="1316"/>
                </a:lnTo>
                <a:lnTo>
                  <a:pt x="237" y="1323"/>
                </a:lnTo>
                <a:lnTo>
                  <a:pt x="232" y="1329"/>
                </a:lnTo>
                <a:lnTo>
                  <a:pt x="229" y="1336"/>
                </a:lnTo>
                <a:lnTo>
                  <a:pt x="221" y="1351"/>
                </a:lnTo>
                <a:lnTo>
                  <a:pt x="217" y="1372"/>
                </a:lnTo>
                <a:lnTo>
                  <a:pt x="212" y="1391"/>
                </a:lnTo>
                <a:lnTo>
                  <a:pt x="211" y="1406"/>
                </a:lnTo>
                <a:lnTo>
                  <a:pt x="207" y="1423"/>
                </a:lnTo>
                <a:lnTo>
                  <a:pt x="205" y="1439"/>
                </a:lnTo>
                <a:lnTo>
                  <a:pt x="205" y="1444"/>
                </a:lnTo>
                <a:lnTo>
                  <a:pt x="206" y="1449"/>
                </a:lnTo>
                <a:lnTo>
                  <a:pt x="208" y="1452"/>
                </a:lnTo>
                <a:lnTo>
                  <a:pt x="211" y="1456"/>
                </a:lnTo>
                <a:lnTo>
                  <a:pt x="214" y="1458"/>
                </a:lnTo>
                <a:lnTo>
                  <a:pt x="218" y="1460"/>
                </a:lnTo>
                <a:lnTo>
                  <a:pt x="223" y="1461"/>
                </a:lnTo>
                <a:lnTo>
                  <a:pt x="229" y="1462"/>
                </a:lnTo>
                <a:lnTo>
                  <a:pt x="233" y="1463"/>
                </a:lnTo>
                <a:lnTo>
                  <a:pt x="237" y="1467"/>
                </a:lnTo>
                <a:lnTo>
                  <a:pt x="239" y="1470"/>
                </a:lnTo>
                <a:lnTo>
                  <a:pt x="242" y="1476"/>
                </a:lnTo>
                <a:lnTo>
                  <a:pt x="246" y="1488"/>
                </a:lnTo>
                <a:lnTo>
                  <a:pt x="252" y="1502"/>
                </a:lnTo>
                <a:lnTo>
                  <a:pt x="261" y="1514"/>
                </a:lnTo>
                <a:lnTo>
                  <a:pt x="268" y="1525"/>
                </a:lnTo>
                <a:lnTo>
                  <a:pt x="273" y="1530"/>
                </a:lnTo>
                <a:lnTo>
                  <a:pt x="276" y="1532"/>
                </a:lnTo>
                <a:lnTo>
                  <a:pt x="281" y="1533"/>
                </a:lnTo>
                <a:lnTo>
                  <a:pt x="284" y="1532"/>
                </a:lnTo>
                <a:lnTo>
                  <a:pt x="300" y="1521"/>
                </a:lnTo>
                <a:lnTo>
                  <a:pt x="314" y="1514"/>
                </a:lnTo>
                <a:lnTo>
                  <a:pt x="318" y="1514"/>
                </a:lnTo>
                <a:lnTo>
                  <a:pt x="320" y="1514"/>
                </a:lnTo>
                <a:lnTo>
                  <a:pt x="322" y="1517"/>
                </a:lnTo>
                <a:lnTo>
                  <a:pt x="326" y="1519"/>
                </a:lnTo>
                <a:lnTo>
                  <a:pt x="331" y="1527"/>
                </a:lnTo>
                <a:lnTo>
                  <a:pt x="338" y="1537"/>
                </a:lnTo>
                <a:lnTo>
                  <a:pt x="342" y="1540"/>
                </a:lnTo>
                <a:lnTo>
                  <a:pt x="345" y="1543"/>
                </a:lnTo>
                <a:lnTo>
                  <a:pt x="350" y="1545"/>
                </a:lnTo>
                <a:lnTo>
                  <a:pt x="353" y="1545"/>
                </a:lnTo>
                <a:lnTo>
                  <a:pt x="364" y="1544"/>
                </a:lnTo>
                <a:lnTo>
                  <a:pt x="375" y="1540"/>
                </a:lnTo>
                <a:lnTo>
                  <a:pt x="381" y="1539"/>
                </a:lnTo>
                <a:lnTo>
                  <a:pt x="387" y="1540"/>
                </a:lnTo>
                <a:lnTo>
                  <a:pt x="391" y="1542"/>
                </a:lnTo>
                <a:lnTo>
                  <a:pt x="395" y="1544"/>
                </a:lnTo>
                <a:lnTo>
                  <a:pt x="402" y="1552"/>
                </a:lnTo>
                <a:lnTo>
                  <a:pt x="408" y="1562"/>
                </a:lnTo>
                <a:lnTo>
                  <a:pt x="410" y="1567"/>
                </a:lnTo>
                <a:lnTo>
                  <a:pt x="414" y="1571"/>
                </a:lnTo>
                <a:lnTo>
                  <a:pt x="419" y="1575"/>
                </a:lnTo>
                <a:lnTo>
                  <a:pt x="424" y="1578"/>
                </a:lnTo>
                <a:lnTo>
                  <a:pt x="433" y="1584"/>
                </a:lnTo>
                <a:lnTo>
                  <a:pt x="443" y="1587"/>
                </a:lnTo>
                <a:lnTo>
                  <a:pt x="452" y="1590"/>
                </a:lnTo>
                <a:lnTo>
                  <a:pt x="460" y="1594"/>
                </a:lnTo>
                <a:lnTo>
                  <a:pt x="463" y="1597"/>
                </a:lnTo>
                <a:lnTo>
                  <a:pt x="464" y="1600"/>
                </a:lnTo>
                <a:lnTo>
                  <a:pt x="464" y="1603"/>
                </a:lnTo>
                <a:lnTo>
                  <a:pt x="463" y="1607"/>
                </a:lnTo>
                <a:lnTo>
                  <a:pt x="457" y="1614"/>
                </a:lnTo>
                <a:lnTo>
                  <a:pt x="447" y="1624"/>
                </a:lnTo>
                <a:lnTo>
                  <a:pt x="437" y="1633"/>
                </a:lnTo>
                <a:lnTo>
                  <a:pt x="427" y="1644"/>
                </a:lnTo>
                <a:lnTo>
                  <a:pt x="420" y="1651"/>
                </a:lnTo>
                <a:lnTo>
                  <a:pt x="413" y="1654"/>
                </a:lnTo>
                <a:lnTo>
                  <a:pt x="406" y="1657"/>
                </a:lnTo>
                <a:lnTo>
                  <a:pt x="396" y="1660"/>
                </a:lnTo>
                <a:lnTo>
                  <a:pt x="393" y="1663"/>
                </a:lnTo>
                <a:lnTo>
                  <a:pt x="390" y="1666"/>
                </a:lnTo>
                <a:lnTo>
                  <a:pt x="389" y="1669"/>
                </a:lnTo>
                <a:lnTo>
                  <a:pt x="388" y="1672"/>
                </a:lnTo>
                <a:lnTo>
                  <a:pt x="389" y="1681"/>
                </a:lnTo>
                <a:lnTo>
                  <a:pt x="390" y="1689"/>
                </a:lnTo>
                <a:lnTo>
                  <a:pt x="389" y="1696"/>
                </a:lnTo>
                <a:lnTo>
                  <a:pt x="387" y="1701"/>
                </a:lnTo>
                <a:lnTo>
                  <a:pt x="382" y="1706"/>
                </a:lnTo>
                <a:lnTo>
                  <a:pt x="375" y="1712"/>
                </a:lnTo>
                <a:lnTo>
                  <a:pt x="371" y="1715"/>
                </a:lnTo>
                <a:lnTo>
                  <a:pt x="369" y="1719"/>
                </a:lnTo>
                <a:lnTo>
                  <a:pt x="366" y="1722"/>
                </a:lnTo>
                <a:lnTo>
                  <a:pt x="364" y="1726"/>
                </a:lnTo>
                <a:lnTo>
                  <a:pt x="363" y="1731"/>
                </a:lnTo>
                <a:lnTo>
                  <a:pt x="363" y="1735"/>
                </a:lnTo>
                <a:lnTo>
                  <a:pt x="363" y="1741"/>
                </a:lnTo>
                <a:lnTo>
                  <a:pt x="364" y="1747"/>
                </a:lnTo>
                <a:lnTo>
                  <a:pt x="366" y="1753"/>
                </a:lnTo>
                <a:lnTo>
                  <a:pt x="368" y="1758"/>
                </a:lnTo>
                <a:lnTo>
                  <a:pt x="371" y="1763"/>
                </a:lnTo>
                <a:lnTo>
                  <a:pt x="375" y="1767"/>
                </a:lnTo>
                <a:lnTo>
                  <a:pt x="378" y="1771"/>
                </a:lnTo>
                <a:lnTo>
                  <a:pt x="382" y="1775"/>
                </a:lnTo>
                <a:lnTo>
                  <a:pt x="385" y="1777"/>
                </a:lnTo>
                <a:lnTo>
                  <a:pt x="390" y="1778"/>
                </a:lnTo>
                <a:lnTo>
                  <a:pt x="396" y="1780"/>
                </a:lnTo>
                <a:lnTo>
                  <a:pt x="401" y="1784"/>
                </a:lnTo>
                <a:lnTo>
                  <a:pt x="403" y="1790"/>
                </a:lnTo>
                <a:lnTo>
                  <a:pt x="406" y="1798"/>
                </a:lnTo>
                <a:lnTo>
                  <a:pt x="406" y="1807"/>
                </a:lnTo>
                <a:lnTo>
                  <a:pt x="407" y="1816"/>
                </a:lnTo>
                <a:lnTo>
                  <a:pt x="408" y="1821"/>
                </a:lnTo>
                <a:lnTo>
                  <a:pt x="410" y="1826"/>
                </a:lnTo>
                <a:lnTo>
                  <a:pt x="413" y="1830"/>
                </a:lnTo>
                <a:lnTo>
                  <a:pt x="416" y="1835"/>
                </a:lnTo>
                <a:lnTo>
                  <a:pt x="420" y="1840"/>
                </a:lnTo>
                <a:lnTo>
                  <a:pt x="422" y="1845"/>
                </a:lnTo>
                <a:lnTo>
                  <a:pt x="422" y="1849"/>
                </a:lnTo>
                <a:lnTo>
                  <a:pt x="422" y="1853"/>
                </a:lnTo>
                <a:lnTo>
                  <a:pt x="420" y="1862"/>
                </a:lnTo>
                <a:lnTo>
                  <a:pt x="416" y="1872"/>
                </a:lnTo>
                <a:lnTo>
                  <a:pt x="415" y="1878"/>
                </a:lnTo>
                <a:lnTo>
                  <a:pt x="414" y="1884"/>
                </a:lnTo>
                <a:lnTo>
                  <a:pt x="414" y="1890"/>
                </a:lnTo>
                <a:lnTo>
                  <a:pt x="415" y="1895"/>
                </a:lnTo>
                <a:lnTo>
                  <a:pt x="416" y="1900"/>
                </a:lnTo>
                <a:lnTo>
                  <a:pt x="418" y="1905"/>
                </a:lnTo>
                <a:lnTo>
                  <a:pt x="420" y="1909"/>
                </a:lnTo>
                <a:lnTo>
                  <a:pt x="424" y="1911"/>
                </a:lnTo>
                <a:lnTo>
                  <a:pt x="439" y="1916"/>
                </a:lnTo>
                <a:lnTo>
                  <a:pt x="454" y="1923"/>
                </a:lnTo>
                <a:lnTo>
                  <a:pt x="463" y="1933"/>
                </a:lnTo>
                <a:lnTo>
                  <a:pt x="473" y="1947"/>
                </a:lnTo>
                <a:lnTo>
                  <a:pt x="479" y="1955"/>
                </a:lnTo>
                <a:lnTo>
                  <a:pt x="485" y="1965"/>
                </a:lnTo>
                <a:lnTo>
                  <a:pt x="489" y="1975"/>
                </a:lnTo>
                <a:lnTo>
                  <a:pt x="492" y="1985"/>
                </a:lnTo>
                <a:lnTo>
                  <a:pt x="494" y="1994"/>
                </a:lnTo>
                <a:lnTo>
                  <a:pt x="495" y="2004"/>
                </a:lnTo>
                <a:lnTo>
                  <a:pt x="495" y="2013"/>
                </a:lnTo>
                <a:lnTo>
                  <a:pt x="495" y="2022"/>
                </a:lnTo>
                <a:lnTo>
                  <a:pt x="495" y="2030"/>
                </a:lnTo>
                <a:lnTo>
                  <a:pt x="495" y="2038"/>
                </a:lnTo>
                <a:lnTo>
                  <a:pt x="495" y="2046"/>
                </a:lnTo>
                <a:lnTo>
                  <a:pt x="497" y="2054"/>
                </a:lnTo>
                <a:lnTo>
                  <a:pt x="500" y="2065"/>
                </a:lnTo>
                <a:lnTo>
                  <a:pt x="503" y="2076"/>
                </a:lnTo>
                <a:lnTo>
                  <a:pt x="506" y="2089"/>
                </a:lnTo>
                <a:lnTo>
                  <a:pt x="508" y="2104"/>
                </a:lnTo>
                <a:lnTo>
                  <a:pt x="509" y="2107"/>
                </a:lnTo>
                <a:lnTo>
                  <a:pt x="511" y="2112"/>
                </a:lnTo>
                <a:lnTo>
                  <a:pt x="513" y="2114"/>
                </a:lnTo>
                <a:lnTo>
                  <a:pt x="516" y="2117"/>
                </a:lnTo>
                <a:lnTo>
                  <a:pt x="519" y="2118"/>
                </a:lnTo>
                <a:lnTo>
                  <a:pt x="522" y="2118"/>
                </a:lnTo>
                <a:lnTo>
                  <a:pt x="527" y="2118"/>
                </a:lnTo>
                <a:lnTo>
                  <a:pt x="532" y="2117"/>
                </a:lnTo>
                <a:lnTo>
                  <a:pt x="541" y="2116"/>
                </a:lnTo>
                <a:lnTo>
                  <a:pt x="550" y="2117"/>
                </a:lnTo>
                <a:lnTo>
                  <a:pt x="557" y="2119"/>
                </a:lnTo>
                <a:lnTo>
                  <a:pt x="563" y="2122"/>
                </a:lnTo>
                <a:lnTo>
                  <a:pt x="567" y="2124"/>
                </a:lnTo>
                <a:lnTo>
                  <a:pt x="573" y="2124"/>
                </a:lnTo>
                <a:lnTo>
                  <a:pt x="576" y="2124"/>
                </a:lnTo>
                <a:lnTo>
                  <a:pt x="578" y="2123"/>
                </a:lnTo>
                <a:lnTo>
                  <a:pt x="580" y="2122"/>
                </a:lnTo>
                <a:lnTo>
                  <a:pt x="583" y="2118"/>
                </a:lnTo>
                <a:lnTo>
                  <a:pt x="591" y="2111"/>
                </a:lnTo>
                <a:lnTo>
                  <a:pt x="599" y="2103"/>
                </a:lnTo>
                <a:lnTo>
                  <a:pt x="608" y="2095"/>
                </a:lnTo>
                <a:lnTo>
                  <a:pt x="617" y="2089"/>
                </a:lnTo>
                <a:lnTo>
                  <a:pt x="628" y="2082"/>
                </a:lnTo>
                <a:lnTo>
                  <a:pt x="638" y="2078"/>
                </a:lnTo>
                <a:lnTo>
                  <a:pt x="647" y="2073"/>
                </a:lnTo>
                <a:lnTo>
                  <a:pt x="657" y="2068"/>
                </a:lnTo>
                <a:lnTo>
                  <a:pt x="664" y="2065"/>
                </a:lnTo>
                <a:lnTo>
                  <a:pt x="671" y="2059"/>
                </a:lnTo>
                <a:lnTo>
                  <a:pt x="676" y="2050"/>
                </a:lnTo>
                <a:lnTo>
                  <a:pt x="681" y="2042"/>
                </a:lnTo>
                <a:lnTo>
                  <a:pt x="686" y="2034"/>
                </a:lnTo>
                <a:lnTo>
                  <a:pt x="693" y="2025"/>
                </a:lnTo>
                <a:lnTo>
                  <a:pt x="701" y="2018"/>
                </a:lnTo>
                <a:lnTo>
                  <a:pt x="710" y="2012"/>
                </a:lnTo>
                <a:lnTo>
                  <a:pt x="723" y="2005"/>
                </a:lnTo>
                <a:lnTo>
                  <a:pt x="735" y="2002"/>
                </a:lnTo>
                <a:lnTo>
                  <a:pt x="740" y="2002"/>
                </a:lnTo>
                <a:lnTo>
                  <a:pt x="744" y="2003"/>
                </a:lnTo>
                <a:lnTo>
                  <a:pt x="750" y="2007"/>
                </a:lnTo>
                <a:lnTo>
                  <a:pt x="755" y="2015"/>
                </a:lnTo>
                <a:lnTo>
                  <a:pt x="761" y="2023"/>
                </a:lnTo>
                <a:lnTo>
                  <a:pt x="769" y="2030"/>
                </a:lnTo>
                <a:lnTo>
                  <a:pt x="774" y="2032"/>
                </a:lnTo>
                <a:lnTo>
                  <a:pt x="780" y="2035"/>
                </a:lnTo>
                <a:lnTo>
                  <a:pt x="786" y="2035"/>
                </a:lnTo>
                <a:lnTo>
                  <a:pt x="791" y="2035"/>
                </a:lnTo>
                <a:lnTo>
                  <a:pt x="794" y="2036"/>
                </a:lnTo>
                <a:lnTo>
                  <a:pt x="798" y="2037"/>
                </a:lnTo>
                <a:lnTo>
                  <a:pt x="800" y="2040"/>
                </a:lnTo>
                <a:lnTo>
                  <a:pt x="802" y="2043"/>
                </a:lnTo>
                <a:lnTo>
                  <a:pt x="803" y="2053"/>
                </a:lnTo>
                <a:lnTo>
                  <a:pt x="802" y="2062"/>
                </a:lnTo>
                <a:lnTo>
                  <a:pt x="798" y="2072"/>
                </a:lnTo>
                <a:lnTo>
                  <a:pt x="793" y="2080"/>
                </a:lnTo>
                <a:lnTo>
                  <a:pt x="786" y="2088"/>
                </a:lnTo>
                <a:lnTo>
                  <a:pt x="779" y="2097"/>
                </a:lnTo>
                <a:lnTo>
                  <a:pt x="771" y="2104"/>
                </a:lnTo>
                <a:lnTo>
                  <a:pt x="762" y="2110"/>
                </a:lnTo>
                <a:lnTo>
                  <a:pt x="753" y="2114"/>
                </a:lnTo>
                <a:lnTo>
                  <a:pt x="743" y="2119"/>
                </a:lnTo>
                <a:lnTo>
                  <a:pt x="740" y="2123"/>
                </a:lnTo>
                <a:lnTo>
                  <a:pt x="735" y="2126"/>
                </a:lnTo>
                <a:lnTo>
                  <a:pt x="733" y="2131"/>
                </a:lnTo>
                <a:lnTo>
                  <a:pt x="729" y="2136"/>
                </a:lnTo>
                <a:lnTo>
                  <a:pt x="725" y="2148"/>
                </a:lnTo>
                <a:lnTo>
                  <a:pt x="721" y="2161"/>
                </a:lnTo>
                <a:lnTo>
                  <a:pt x="717" y="2173"/>
                </a:lnTo>
                <a:lnTo>
                  <a:pt x="715" y="2181"/>
                </a:lnTo>
                <a:lnTo>
                  <a:pt x="715" y="2183"/>
                </a:lnTo>
                <a:lnTo>
                  <a:pt x="715" y="2186"/>
                </a:lnTo>
                <a:lnTo>
                  <a:pt x="716" y="2189"/>
                </a:lnTo>
                <a:lnTo>
                  <a:pt x="717" y="2192"/>
                </a:lnTo>
                <a:lnTo>
                  <a:pt x="723" y="2198"/>
                </a:lnTo>
                <a:lnTo>
                  <a:pt x="731" y="2204"/>
                </a:lnTo>
                <a:lnTo>
                  <a:pt x="736" y="2207"/>
                </a:lnTo>
                <a:lnTo>
                  <a:pt x="742" y="2208"/>
                </a:lnTo>
                <a:lnTo>
                  <a:pt x="749" y="2210"/>
                </a:lnTo>
                <a:lnTo>
                  <a:pt x="756" y="2211"/>
                </a:lnTo>
                <a:lnTo>
                  <a:pt x="769" y="2212"/>
                </a:lnTo>
                <a:lnTo>
                  <a:pt x="780" y="2211"/>
                </a:lnTo>
                <a:lnTo>
                  <a:pt x="787" y="2210"/>
                </a:lnTo>
                <a:lnTo>
                  <a:pt x="797" y="2206"/>
                </a:lnTo>
                <a:lnTo>
                  <a:pt x="804" y="2201"/>
                </a:lnTo>
                <a:lnTo>
                  <a:pt x="812" y="2193"/>
                </a:lnTo>
                <a:lnTo>
                  <a:pt x="821" y="2182"/>
                </a:lnTo>
                <a:lnTo>
                  <a:pt x="832" y="2171"/>
                </a:lnTo>
                <a:lnTo>
                  <a:pt x="838" y="2166"/>
                </a:lnTo>
                <a:lnTo>
                  <a:pt x="846" y="2162"/>
                </a:lnTo>
                <a:lnTo>
                  <a:pt x="851" y="2158"/>
                </a:lnTo>
                <a:lnTo>
                  <a:pt x="857" y="2156"/>
                </a:lnTo>
                <a:lnTo>
                  <a:pt x="867" y="2154"/>
                </a:lnTo>
                <a:lnTo>
                  <a:pt x="874" y="2150"/>
                </a:lnTo>
                <a:lnTo>
                  <a:pt x="878" y="2148"/>
                </a:lnTo>
                <a:lnTo>
                  <a:pt x="880" y="2144"/>
                </a:lnTo>
                <a:lnTo>
                  <a:pt x="882" y="2141"/>
                </a:lnTo>
                <a:lnTo>
                  <a:pt x="885" y="2136"/>
                </a:lnTo>
                <a:lnTo>
                  <a:pt x="886" y="2126"/>
                </a:lnTo>
                <a:lnTo>
                  <a:pt x="886" y="2116"/>
                </a:lnTo>
                <a:lnTo>
                  <a:pt x="886" y="2112"/>
                </a:lnTo>
                <a:lnTo>
                  <a:pt x="884" y="2109"/>
                </a:lnTo>
                <a:lnTo>
                  <a:pt x="881" y="2105"/>
                </a:lnTo>
                <a:lnTo>
                  <a:pt x="879" y="2103"/>
                </a:lnTo>
                <a:lnTo>
                  <a:pt x="875" y="2101"/>
                </a:lnTo>
                <a:lnTo>
                  <a:pt x="873" y="2098"/>
                </a:lnTo>
                <a:lnTo>
                  <a:pt x="872" y="2095"/>
                </a:lnTo>
                <a:lnTo>
                  <a:pt x="871" y="2092"/>
                </a:lnTo>
                <a:lnTo>
                  <a:pt x="871" y="2088"/>
                </a:lnTo>
                <a:lnTo>
                  <a:pt x="871" y="2085"/>
                </a:lnTo>
                <a:lnTo>
                  <a:pt x="873" y="2081"/>
                </a:lnTo>
                <a:lnTo>
                  <a:pt x="874" y="2079"/>
                </a:lnTo>
                <a:lnTo>
                  <a:pt x="887" y="2062"/>
                </a:lnTo>
                <a:lnTo>
                  <a:pt x="900" y="2049"/>
                </a:lnTo>
                <a:lnTo>
                  <a:pt x="904" y="2047"/>
                </a:lnTo>
                <a:lnTo>
                  <a:pt x="907" y="2046"/>
                </a:lnTo>
                <a:lnTo>
                  <a:pt x="912" y="2046"/>
                </a:lnTo>
                <a:lnTo>
                  <a:pt x="916" y="2046"/>
                </a:lnTo>
                <a:lnTo>
                  <a:pt x="920" y="2047"/>
                </a:lnTo>
                <a:lnTo>
                  <a:pt x="924" y="2048"/>
                </a:lnTo>
                <a:lnTo>
                  <a:pt x="928" y="2051"/>
                </a:lnTo>
                <a:lnTo>
                  <a:pt x="931" y="2056"/>
                </a:lnTo>
                <a:lnTo>
                  <a:pt x="936" y="2066"/>
                </a:lnTo>
                <a:lnTo>
                  <a:pt x="939" y="2074"/>
                </a:lnTo>
                <a:lnTo>
                  <a:pt x="942" y="2078"/>
                </a:lnTo>
                <a:lnTo>
                  <a:pt x="944" y="2081"/>
                </a:lnTo>
                <a:lnTo>
                  <a:pt x="949" y="2082"/>
                </a:lnTo>
                <a:lnTo>
                  <a:pt x="954" y="2084"/>
                </a:lnTo>
                <a:lnTo>
                  <a:pt x="967" y="2084"/>
                </a:lnTo>
                <a:lnTo>
                  <a:pt x="977" y="2084"/>
                </a:lnTo>
                <a:lnTo>
                  <a:pt x="983" y="2085"/>
                </a:lnTo>
                <a:lnTo>
                  <a:pt x="988" y="2087"/>
                </a:lnTo>
                <a:lnTo>
                  <a:pt x="993" y="2091"/>
                </a:lnTo>
                <a:lnTo>
                  <a:pt x="998" y="2097"/>
                </a:lnTo>
                <a:lnTo>
                  <a:pt x="1008" y="2111"/>
                </a:lnTo>
                <a:lnTo>
                  <a:pt x="1020" y="2130"/>
                </a:lnTo>
                <a:lnTo>
                  <a:pt x="1032" y="2149"/>
                </a:lnTo>
                <a:lnTo>
                  <a:pt x="1040" y="2164"/>
                </a:lnTo>
                <a:lnTo>
                  <a:pt x="1046" y="2176"/>
                </a:lnTo>
                <a:lnTo>
                  <a:pt x="1054" y="2183"/>
                </a:lnTo>
                <a:lnTo>
                  <a:pt x="1056" y="2186"/>
                </a:lnTo>
                <a:lnTo>
                  <a:pt x="1061" y="2186"/>
                </a:lnTo>
                <a:lnTo>
                  <a:pt x="1065" y="2186"/>
                </a:lnTo>
                <a:lnTo>
                  <a:pt x="1070" y="2185"/>
                </a:lnTo>
                <a:lnTo>
                  <a:pt x="1081" y="2180"/>
                </a:lnTo>
                <a:lnTo>
                  <a:pt x="1089" y="2179"/>
                </a:lnTo>
                <a:lnTo>
                  <a:pt x="1092" y="2179"/>
                </a:lnTo>
                <a:lnTo>
                  <a:pt x="1095" y="2180"/>
                </a:lnTo>
                <a:lnTo>
                  <a:pt x="1098" y="2182"/>
                </a:lnTo>
                <a:lnTo>
                  <a:pt x="1100" y="2186"/>
                </a:lnTo>
                <a:lnTo>
                  <a:pt x="1103" y="2191"/>
                </a:lnTo>
                <a:lnTo>
                  <a:pt x="1106" y="2193"/>
                </a:lnTo>
                <a:lnTo>
                  <a:pt x="1109" y="2195"/>
                </a:lnTo>
                <a:lnTo>
                  <a:pt x="1113" y="2195"/>
                </a:lnTo>
                <a:lnTo>
                  <a:pt x="1120" y="2195"/>
                </a:lnTo>
                <a:lnTo>
                  <a:pt x="1127" y="2193"/>
                </a:lnTo>
                <a:lnTo>
                  <a:pt x="1136" y="2191"/>
                </a:lnTo>
                <a:lnTo>
                  <a:pt x="1145" y="2189"/>
                </a:lnTo>
                <a:lnTo>
                  <a:pt x="1155" y="2189"/>
                </a:lnTo>
                <a:lnTo>
                  <a:pt x="1164" y="2192"/>
                </a:lnTo>
                <a:lnTo>
                  <a:pt x="1169" y="2193"/>
                </a:lnTo>
                <a:lnTo>
                  <a:pt x="1174" y="2193"/>
                </a:lnTo>
                <a:lnTo>
                  <a:pt x="1178" y="2193"/>
                </a:lnTo>
                <a:lnTo>
                  <a:pt x="1183" y="2193"/>
                </a:lnTo>
                <a:lnTo>
                  <a:pt x="1191" y="2191"/>
                </a:lnTo>
                <a:lnTo>
                  <a:pt x="1200" y="2186"/>
                </a:lnTo>
                <a:lnTo>
                  <a:pt x="1209" y="2182"/>
                </a:lnTo>
                <a:lnTo>
                  <a:pt x="1220" y="2179"/>
                </a:lnTo>
                <a:lnTo>
                  <a:pt x="1226" y="2179"/>
                </a:lnTo>
                <a:lnTo>
                  <a:pt x="1233" y="2179"/>
                </a:lnTo>
                <a:lnTo>
                  <a:pt x="1241" y="2180"/>
                </a:lnTo>
                <a:lnTo>
                  <a:pt x="1249" y="2182"/>
                </a:lnTo>
                <a:lnTo>
                  <a:pt x="1263" y="2188"/>
                </a:lnTo>
                <a:lnTo>
                  <a:pt x="1273" y="2193"/>
                </a:lnTo>
                <a:lnTo>
                  <a:pt x="1277" y="2195"/>
                </a:lnTo>
                <a:lnTo>
                  <a:pt x="1279" y="2199"/>
                </a:lnTo>
                <a:lnTo>
                  <a:pt x="1282" y="2202"/>
                </a:lnTo>
                <a:lnTo>
                  <a:pt x="1282" y="2208"/>
                </a:lnTo>
                <a:lnTo>
                  <a:pt x="1283" y="2219"/>
                </a:lnTo>
                <a:lnTo>
                  <a:pt x="1284" y="2227"/>
                </a:lnTo>
                <a:lnTo>
                  <a:pt x="1285" y="2231"/>
                </a:lnTo>
                <a:lnTo>
                  <a:pt x="1288" y="2234"/>
                </a:lnTo>
                <a:lnTo>
                  <a:pt x="1291" y="2237"/>
                </a:lnTo>
                <a:lnTo>
                  <a:pt x="1296" y="2239"/>
                </a:lnTo>
                <a:lnTo>
                  <a:pt x="1307" y="2242"/>
                </a:lnTo>
                <a:lnTo>
                  <a:pt x="1313" y="2242"/>
                </a:lnTo>
                <a:lnTo>
                  <a:pt x="1317" y="2239"/>
                </a:lnTo>
                <a:lnTo>
                  <a:pt x="1326" y="2234"/>
                </a:lnTo>
                <a:lnTo>
                  <a:pt x="1334" y="2227"/>
                </a:lnTo>
                <a:lnTo>
                  <a:pt x="1342" y="2218"/>
                </a:lnTo>
                <a:lnTo>
                  <a:pt x="1350" y="2206"/>
                </a:lnTo>
                <a:lnTo>
                  <a:pt x="1353" y="2198"/>
                </a:lnTo>
                <a:lnTo>
                  <a:pt x="1354" y="2194"/>
                </a:lnTo>
                <a:lnTo>
                  <a:pt x="1357" y="2192"/>
                </a:lnTo>
                <a:lnTo>
                  <a:pt x="1359" y="2189"/>
                </a:lnTo>
                <a:lnTo>
                  <a:pt x="1363" y="2187"/>
                </a:lnTo>
                <a:lnTo>
                  <a:pt x="1366" y="2186"/>
                </a:lnTo>
                <a:lnTo>
                  <a:pt x="1370" y="2185"/>
                </a:lnTo>
                <a:lnTo>
                  <a:pt x="1375" y="2183"/>
                </a:lnTo>
                <a:lnTo>
                  <a:pt x="1380" y="2183"/>
                </a:lnTo>
                <a:lnTo>
                  <a:pt x="1389" y="2183"/>
                </a:lnTo>
                <a:lnTo>
                  <a:pt x="1396" y="2181"/>
                </a:lnTo>
                <a:lnTo>
                  <a:pt x="1399" y="2177"/>
                </a:lnTo>
                <a:lnTo>
                  <a:pt x="1402" y="2174"/>
                </a:lnTo>
                <a:lnTo>
                  <a:pt x="1404" y="2170"/>
                </a:lnTo>
                <a:lnTo>
                  <a:pt x="1408" y="2168"/>
                </a:lnTo>
                <a:lnTo>
                  <a:pt x="1413" y="2167"/>
                </a:lnTo>
                <a:lnTo>
                  <a:pt x="1417" y="2167"/>
                </a:lnTo>
                <a:lnTo>
                  <a:pt x="1422" y="2166"/>
                </a:lnTo>
                <a:lnTo>
                  <a:pt x="1424" y="2163"/>
                </a:lnTo>
                <a:lnTo>
                  <a:pt x="1426" y="2161"/>
                </a:lnTo>
                <a:lnTo>
                  <a:pt x="1427" y="2158"/>
                </a:lnTo>
                <a:lnTo>
                  <a:pt x="1427" y="2155"/>
                </a:lnTo>
                <a:lnTo>
                  <a:pt x="1426" y="2151"/>
                </a:lnTo>
                <a:lnTo>
                  <a:pt x="1426" y="2147"/>
                </a:lnTo>
                <a:lnTo>
                  <a:pt x="1426" y="2142"/>
                </a:lnTo>
                <a:lnTo>
                  <a:pt x="1427" y="2137"/>
                </a:lnTo>
                <a:lnTo>
                  <a:pt x="1429" y="2132"/>
                </a:lnTo>
                <a:lnTo>
                  <a:pt x="1433" y="2129"/>
                </a:lnTo>
                <a:lnTo>
                  <a:pt x="1438" y="2125"/>
                </a:lnTo>
                <a:lnTo>
                  <a:pt x="1443" y="2122"/>
                </a:lnTo>
                <a:lnTo>
                  <a:pt x="1449" y="2118"/>
                </a:lnTo>
                <a:lnTo>
                  <a:pt x="1457" y="2114"/>
                </a:lnTo>
                <a:lnTo>
                  <a:pt x="1465" y="2111"/>
                </a:lnTo>
                <a:lnTo>
                  <a:pt x="1472" y="2106"/>
                </a:lnTo>
                <a:lnTo>
                  <a:pt x="1479" y="2100"/>
                </a:lnTo>
                <a:lnTo>
                  <a:pt x="1486" y="2094"/>
                </a:lnTo>
                <a:lnTo>
                  <a:pt x="1491" y="2088"/>
                </a:lnTo>
                <a:lnTo>
                  <a:pt x="1495" y="2082"/>
                </a:lnTo>
                <a:lnTo>
                  <a:pt x="1495" y="2076"/>
                </a:lnTo>
                <a:lnTo>
                  <a:pt x="1493" y="2066"/>
                </a:lnTo>
                <a:lnTo>
                  <a:pt x="1492" y="2054"/>
                </a:lnTo>
                <a:lnTo>
                  <a:pt x="1493" y="2049"/>
                </a:lnTo>
                <a:lnTo>
                  <a:pt x="1493" y="2043"/>
                </a:lnTo>
                <a:lnTo>
                  <a:pt x="1496" y="2038"/>
                </a:lnTo>
                <a:lnTo>
                  <a:pt x="1498" y="2034"/>
                </a:lnTo>
                <a:lnTo>
                  <a:pt x="1512" y="2018"/>
                </a:lnTo>
                <a:lnTo>
                  <a:pt x="1522" y="2005"/>
                </a:lnTo>
                <a:lnTo>
                  <a:pt x="1523" y="1998"/>
                </a:lnTo>
                <a:lnTo>
                  <a:pt x="1527" y="1993"/>
                </a:lnTo>
                <a:lnTo>
                  <a:pt x="1530" y="1988"/>
                </a:lnTo>
                <a:lnTo>
                  <a:pt x="1534" y="1986"/>
                </a:lnTo>
                <a:lnTo>
                  <a:pt x="1537" y="1983"/>
                </a:lnTo>
                <a:lnTo>
                  <a:pt x="1540" y="1978"/>
                </a:lnTo>
                <a:lnTo>
                  <a:pt x="1541" y="1969"/>
                </a:lnTo>
                <a:lnTo>
                  <a:pt x="1540" y="1959"/>
                </a:lnTo>
                <a:lnTo>
                  <a:pt x="1536" y="1948"/>
                </a:lnTo>
                <a:lnTo>
                  <a:pt x="1529" y="1936"/>
                </a:lnTo>
                <a:lnTo>
                  <a:pt x="1526" y="1931"/>
                </a:lnTo>
                <a:lnTo>
                  <a:pt x="1523" y="1925"/>
                </a:lnTo>
                <a:lnTo>
                  <a:pt x="1521" y="1921"/>
                </a:lnTo>
                <a:lnTo>
                  <a:pt x="1520" y="1915"/>
                </a:lnTo>
                <a:lnTo>
                  <a:pt x="1521" y="1904"/>
                </a:lnTo>
                <a:lnTo>
                  <a:pt x="1522" y="1896"/>
                </a:lnTo>
                <a:lnTo>
                  <a:pt x="1524" y="1892"/>
                </a:lnTo>
                <a:lnTo>
                  <a:pt x="1526" y="1890"/>
                </a:lnTo>
                <a:lnTo>
                  <a:pt x="1528" y="1887"/>
                </a:lnTo>
                <a:lnTo>
                  <a:pt x="1531" y="1886"/>
                </a:lnTo>
                <a:lnTo>
                  <a:pt x="1534" y="1886"/>
                </a:lnTo>
                <a:lnTo>
                  <a:pt x="1536" y="1884"/>
                </a:lnTo>
                <a:lnTo>
                  <a:pt x="1539" y="1883"/>
                </a:lnTo>
                <a:lnTo>
                  <a:pt x="1540" y="1879"/>
                </a:lnTo>
                <a:lnTo>
                  <a:pt x="1541" y="1877"/>
                </a:lnTo>
                <a:lnTo>
                  <a:pt x="1541" y="1873"/>
                </a:lnTo>
                <a:lnTo>
                  <a:pt x="1540" y="1870"/>
                </a:lnTo>
                <a:lnTo>
                  <a:pt x="1537" y="1866"/>
                </a:lnTo>
                <a:lnTo>
                  <a:pt x="1533" y="1860"/>
                </a:lnTo>
                <a:lnTo>
                  <a:pt x="1528" y="1853"/>
                </a:lnTo>
                <a:lnTo>
                  <a:pt x="1526" y="1849"/>
                </a:lnTo>
                <a:lnTo>
                  <a:pt x="1524" y="1846"/>
                </a:lnTo>
                <a:lnTo>
                  <a:pt x="1524" y="1840"/>
                </a:lnTo>
                <a:lnTo>
                  <a:pt x="1524" y="1835"/>
                </a:lnTo>
                <a:lnTo>
                  <a:pt x="1526" y="1828"/>
                </a:lnTo>
                <a:lnTo>
                  <a:pt x="1528" y="1822"/>
                </a:lnTo>
                <a:lnTo>
                  <a:pt x="1530" y="1817"/>
                </a:lnTo>
                <a:lnTo>
                  <a:pt x="1535" y="1813"/>
                </a:lnTo>
                <a:lnTo>
                  <a:pt x="1540" y="1809"/>
                </a:lnTo>
                <a:lnTo>
                  <a:pt x="1546" y="1807"/>
                </a:lnTo>
                <a:lnTo>
                  <a:pt x="1550" y="1805"/>
                </a:lnTo>
                <a:lnTo>
                  <a:pt x="1556" y="1808"/>
                </a:lnTo>
                <a:lnTo>
                  <a:pt x="1567" y="1813"/>
                </a:lnTo>
                <a:lnTo>
                  <a:pt x="1578" y="1816"/>
                </a:lnTo>
                <a:lnTo>
                  <a:pt x="1587" y="1817"/>
                </a:lnTo>
                <a:lnTo>
                  <a:pt x="1597" y="1817"/>
                </a:lnTo>
                <a:lnTo>
                  <a:pt x="1606" y="1816"/>
                </a:lnTo>
                <a:lnTo>
                  <a:pt x="1616" y="1816"/>
                </a:lnTo>
                <a:lnTo>
                  <a:pt x="1624" y="1818"/>
                </a:lnTo>
                <a:lnTo>
                  <a:pt x="1632" y="1822"/>
                </a:lnTo>
                <a:lnTo>
                  <a:pt x="1641" y="1826"/>
                </a:lnTo>
                <a:lnTo>
                  <a:pt x="1647" y="1827"/>
                </a:lnTo>
                <a:lnTo>
                  <a:pt x="1650" y="1827"/>
                </a:lnTo>
                <a:lnTo>
                  <a:pt x="1653" y="1826"/>
                </a:lnTo>
                <a:lnTo>
                  <a:pt x="1655" y="1822"/>
                </a:lnTo>
                <a:lnTo>
                  <a:pt x="1657" y="1817"/>
                </a:lnTo>
                <a:lnTo>
                  <a:pt x="1660" y="1809"/>
                </a:lnTo>
                <a:lnTo>
                  <a:pt x="1663" y="1801"/>
                </a:lnTo>
                <a:lnTo>
                  <a:pt x="1667" y="1798"/>
                </a:lnTo>
                <a:lnTo>
                  <a:pt x="1671" y="1796"/>
                </a:lnTo>
                <a:lnTo>
                  <a:pt x="1676" y="1794"/>
                </a:lnTo>
                <a:lnTo>
                  <a:pt x="1682" y="1792"/>
                </a:lnTo>
                <a:lnTo>
                  <a:pt x="1694" y="1789"/>
                </a:lnTo>
                <a:lnTo>
                  <a:pt x="1701" y="1786"/>
                </a:lnTo>
                <a:lnTo>
                  <a:pt x="1703" y="1784"/>
                </a:lnTo>
                <a:lnTo>
                  <a:pt x="1703" y="1782"/>
                </a:lnTo>
                <a:lnTo>
                  <a:pt x="1703" y="1778"/>
                </a:lnTo>
                <a:lnTo>
                  <a:pt x="1703" y="1773"/>
                </a:lnTo>
                <a:lnTo>
                  <a:pt x="1700" y="1760"/>
                </a:lnTo>
                <a:lnTo>
                  <a:pt x="1697" y="1747"/>
                </a:lnTo>
                <a:lnTo>
                  <a:pt x="1694" y="1740"/>
                </a:lnTo>
                <a:lnTo>
                  <a:pt x="1692" y="1735"/>
                </a:lnTo>
                <a:lnTo>
                  <a:pt x="1688" y="1731"/>
                </a:lnTo>
                <a:lnTo>
                  <a:pt x="1685" y="1728"/>
                </a:lnTo>
                <a:lnTo>
                  <a:pt x="1667" y="1722"/>
                </a:lnTo>
                <a:lnTo>
                  <a:pt x="1652" y="1716"/>
                </a:lnTo>
                <a:lnTo>
                  <a:pt x="1648" y="1713"/>
                </a:lnTo>
                <a:lnTo>
                  <a:pt x="1646" y="1707"/>
                </a:lnTo>
                <a:lnTo>
                  <a:pt x="1643" y="1701"/>
                </a:lnTo>
                <a:lnTo>
                  <a:pt x="1642" y="1695"/>
                </a:lnTo>
                <a:lnTo>
                  <a:pt x="1642" y="1688"/>
                </a:lnTo>
                <a:lnTo>
                  <a:pt x="1643" y="1683"/>
                </a:lnTo>
                <a:lnTo>
                  <a:pt x="1643" y="1681"/>
                </a:lnTo>
                <a:lnTo>
                  <a:pt x="1646" y="1679"/>
                </a:lnTo>
                <a:lnTo>
                  <a:pt x="1647" y="1678"/>
                </a:lnTo>
                <a:lnTo>
                  <a:pt x="1649" y="1677"/>
                </a:lnTo>
                <a:lnTo>
                  <a:pt x="1657" y="1676"/>
                </a:lnTo>
                <a:lnTo>
                  <a:pt x="1667" y="1675"/>
                </a:lnTo>
                <a:lnTo>
                  <a:pt x="1671" y="1673"/>
                </a:lnTo>
                <a:lnTo>
                  <a:pt x="1674" y="1671"/>
                </a:lnTo>
                <a:lnTo>
                  <a:pt x="1678" y="1668"/>
                </a:lnTo>
                <a:lnTo>
                  <a:pt x="1680" y="1664"/>
                </a:lnTo>
                <a:lnTo>
                  <a:pt x="1684" y="1656"/>
                </a:lnTo>
                <a:lnTo>
                  <a:pt x="1687" y="1650"/>
                </a:lnTo>
                <a:lnTo>
                  <a:pt x="1691" y="1649"/>
                </a:lnTo>
                <a:lnTo>
                  <a:pt x="1693" y="1649"/>
                </a:lnTo>
                <a:lnTo>
                  <a:pt x="1697" y="1650"/>
                </a:lnTo>
                <a:lnTo>
                  <a:pt x="1701" y="1652"/>
                </a:lnTo>
                <a:lnTo>
                  <a:pt x="1705" y="1656"/>
                </a:lnTo>
                <a:lnTo>
                  <a:pt x="1709" y="1657"/>
                </a:lnTo>
                <a:lnTo>
                  <a:pt x="1712" y="1658"/>
                </a:lnTo>
                <a:lnTo>
                  <a:pt x="1716" y="1658"/>
                </a:lnTo>
                <a:lnTo>
                  <a:pt x="1718" y="1657"/>
                </a:lnTo>
                <a:lnTo>
                  <a:pt x="1720" y="1656"/>
                </a:lnTo>
                <a:lnTo>
                  <a:pt x="1722" y="1653"/>
                </a:lnTo>
                <a:lnTo>
                  <a:pt x="1724" y="1651"/>
                </a:lnTo>
                <a:lnTo>
                  <a:pt x="1729" y="1644"/>
                </a:lnTo>
                <a:lnTo>
                  <a:pt x="1731" y="1635"/>
                </a:lnTo>
                <a:lnTo>
                  <a:pt x="1731" y="1627"/>
                </a:lnTo>
                <a:lnTo>
                  <a:pt x="1731" y="1619"/>
                </a:lnTo>
                <a:lnTo>
                  <a:pt x="1729" y="1612"/>
                </a:lnTo>
                <a:lnTo>
                  <a:pt x="1728" y="1605"/>
                </a:lnTo>
                <a:lnTo>
                  <a:pt x="1729" y="1602"/>
                </a:lnTo>
                <a:lnTo>
                  <a:pt x="1730" y="1600"/>
                </a:lnTo>
                <a:lnTo>
                  <a:pt x="1732" y="1599"/>
                </a:lnTo>
                <a:lnTo>
                  <a:pt x="1737" y="1599"/>
                </a:lnTo>
                <a:lnTo>
                  <a:pt x="1741" y="1597"/>
                </a:lnTo>
                <a:lnTo>
                  <a:pt x="1744" y="1597"/>
                </a:lnTo>
                <a:lnTo>
                  <a:pt x="1748" y="1595"/>
                </a:lnTo>
                <a:lnTo>
                  <a:pt x="1749" y="1593"/>
                </a:lnTo>
                <a:lnTo>
                  <a:pt x="1753" y="1586"/>
                </a:lnTo>
                <a:lnTo>
                  <a:pt x="1753" y="1576"/>
                </a:lnTo>
                <a:lnTo>
                  <a:pt x="1753" y="1563"/>
                </a:lnTo>
                <a:lnTo>
                  <a:pt x="1753" y="1549"/>
                </a:lnTo>
                <a:lnTo>
                  <a:pt x="1754" y="1534"/>
                </a:lnTo>
                <a:lnTo>
                  <a:pt x="1756" y="1524"/>
                </a:lnTo>
                <a:lnTo>
                  <a:pt x="1761" y="1513"/>
                </a:lnTo>
                <a:lnTo>
                  <a:pt x="1764" y="1499"/>
                </a:lnTo>
                <a:lnTo>
                  <a:pt x="1768" y="1484"/>
                </a:lnTo>
                <a:lnTo>
                  <a:pt x="1769" y="1473"/>
                </a:lnTo>
                <a:lnTo>
                  <a:pt x="1768" y="1458"/>
                </a:lnTo>
                <a:lnTo>
                  <a:pt x="1767" y="1446"/>
                </a:lnTo>
                <a:lnTo>
                  <a:pt x="1766" y="1444"/>
                </a:lnTo>
                <a:lnTo>
                  <a:pt x="1766" y="1442"/>
                </a:lnTo>
                <a:lnTo>
                  <a:pt x="1764" y="1442"/>
                </a:lnTo>
                <a:lnTo>
                  <a:pt x="1763" y="1442"/>
                </a:lnTo>
                <a:lnTo>
                  <a:pt x="1758" y="1443"/>
                </a:lnTo>
                <a:lnTo>
                  <a:pt x="1750" y="1441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7" name="山西"/>
          <p:cNvSpPr/>
          <p:nvPr/>
        </p:nvSpPr>
        <p:spPr bwMode="auto">
          <a:xfrm>
            <a:off x="6283325" y="2593340"/>
            <a:ext cx="579755" cy="1129030"/>
          </a:xfrm>
          <a:custGeom>
            <a:avLst/>
            <a:gdLst>
              <a:gd name="T0" fmla="*/ 4 w 1396"/>
              <a:gd name="T1" fmla="*/ 2572 h 2738"/>
              <a:gd name="T2" fmla="*/ 107 w 1396"/>
              <a:gd name="T3" fmla="*/ 2294 h 2738"/>
              <a:gd name="T4" fmla="*/ 76 w 1396"/>
              <a:gd name="T5" fmla="*/ 2117 h 2738"/>
              <a:gd name="T6" fmla="*/ 65 w 1396"/>
              <a:gd name="T7" fmla="*/ 1925 h 2738"/>
              <a:gd name="T8" fmla="*/ 56 w 1396"/>
              <a:gd name="T9" fmla="*/ 1806 h 2738"/>
              <a:gd name="T10" fmla="*/ 45 w 1396"/>
              <a:gd name="T11" fmla="*/ 1717 h 2738"/>
              <a:gd name="T12" fmla="*/ 136 w 1396"/>
              <a:gd name="T13" fmla="*/ 1551 h 2738"/>
              <a:gd name="T14" fmla="*/ 164 w 1396"/>
              <a:gd name="T15" fmla="*/ 1462 h 2738"/>
              <a:gd name="T16" fmla="*/ 149 w 1396"/>
              <a:gd name="T17" fmla="*/ 1362 h 2738"/>
              <a:gd name="T18" fmla="*/ 77 w 1396"/>
              <a:gd name="T19" fmla="*/ 1263 h 2738"/>
              <a:gd name="T20" fmla="*/ 90 w 1396"/>
              <a:gd name="T21" fmla="*/ 1128 h 2738"/>
              <a:gd name="T22" fmla="*/ 163 w 1396"/>
              <a:gd name="T23" fmla="*/ 1049 h 2738"/>
              <a:gd name="T24" fmla="*/ 222 w 1396"/>
              <a:gd name="T25" fmla="*/ 898 h 2738"/>
              <a:gd name="T26" fmla="*/ 251 w 1396"/>
              <a:gd name="T27" fmla="*/ 792 h 2738"/>
              <a:gd name="T28" fmla="*/ 326 w 1396"/>
              <a:gd name="T29" fmla="*/ 674 h 2738"/>
              <a:gd name="T30" fmla="*/ 264 w 1396"/>
              <a:gd name="T31" fmla="*/ 632 h 2738"/>
              <a:gd name="T32" fmla="*/ 363 w 1396"/>
              <a:gd name="T33" fmla="*/ 584 h 2738"/>
              <a:gd name="T34" fmla="*/ 385 w 1396"/>
              <a:gd name="T35" fmla="*/ 513 h 2738"/>
              <a:gd name="T36" fmla="*/ 541 w 1396"/>
              <a:gd name="T37" fmla="*/ 521 h 2738"/>
              <a:gd name="T38" fmla="*/ 625 w 1396"/>
              <a:gd name="T39" fmla="*/ 322 h 2738"/>
              <a:gd name="T40" fmla="*/ 775 w 1396"/>
              <a:gd name="T41" fmla="*/ 268 h 2738"/>
              <a:gd name="T42" fmla="*/ 877 w 1396"/>
              <a:gd name="T43" fmla="*/ 189 h 2738"/>
              <a:gd name="T44" fmla="*/ 1096 w 1396"/>
              <a:gd name="T45" fmla="*/ 164 h 2738"/>
              <a:gd name="T46" fmla="*/ 1218 w 1396"/>
              <a:gd name="T47" fmla="*/ 60 h 2738"/>
              <a:gd name="T48" fmla="*/ 1290 w 1396"/>
              <a:gd name="T49" fmla="*/ 78 h 2738"/>
              <a:gd name="T50" fmla="*/ 1355 w 1396"/>
              <a:gd name="T51" fmla="*/ 164 h 2738"/>
              <a:gd name="T52" fmla="*/ 1318 w 1396"/>
              <a:gd name="T53" fmla="*/ 216 h 2738"/>
              <a:gd name="T54" fmla="*/ 1236 w 1396"/>
              <a:gd name="T55" fmla="*/ 290 h 2738"/>
              <a:gd name="T56" fmla="*/ 1197 w 1396"/>
              <a:gd name="T57" fmla="*/ 317 h 2738"/>
              <a:gd name="T58" fmla="*/ 1249 w 1396"/>
              <a:gd name="T59" fmla="*/ 368 h 2738"/>
              <a:gd name="T60" fmla="*/ 1352 w 1396"/>
              <a:gd name="T61" fmla="*/ 456 h 2738"/>
              <a:gd name="T62" fmla="*/ 1387 w 1396"/>
              <a:gd name="T63" fmla="*/ 564 h 2738"/>
              <a:gd name="T64" fmla="*/ 1372 w 1396"/>
              <a:gd name="T65" fmla="*/ 687 h 2738"/>
              <a:gd name="T66" fmla="*/ 1314 w 1396"/>
              <a:gd name="T67" fmla="*/ 735 h 2738"/>
              <a:gd name="T68" fmla="*/ 1229 w 1396"/>
              <a:gd name="T69" fmla="*/ 715 h 2738"/>
              <a:gd name="T70" fmla="*/ 1176 w 1396"/>
              <a:gd name="T71" fmla="*/ 841 h 2738"/>
              <a:gd name="T72" fmla="*/ 1136 w 1396"/>
              <a:gd name="T73" fmla="*/ 922 h 2738"/>
              <a:gd name="T74" fmla="*/ 1091 w 1396"/>
              <a:gd name="T75" fmla="*/ 1018 h 2738"/>
              <a:gd name="T76" fmla="*/ 1131 w 1396"/>
              <a:gd name="T77" fmla="*/ 1126 h 2738"/>
              <a:gd name="T78" fmla="*/ 1189 w 1396"/>
              <a:gd name="T79" fmla="*/ 1145 h 2738"/>
              <a:gd name="T80" fmla="*/ 1234 w 1396"/>
              <a:gd name="T81" fmla="*/ 1276 h 2738"/>
              <a:gd name="T82" fmla="*/ 1253 w 1396"/>
              <a:gd name="T83" fmla="*/ 1336 h 2738"/>
              <a:gd name="T84" fmla="*/ 1278 w 1396"/>
              <a:gd name="T85" fmla="*/ 1444 h 2738"/>
              <a:gd name="T86" fmla="*/ 1184 w 1396"/>
              <a:gd name="T87" fmla="*/ 1615 h 2738"/>
              <a:gd name="T88" fmla="*/ 1157 w 1396"/>
              <a:gd name="T89" fmla="*/ 1717 h 2738"/>
              <a:gd name="T90" fmla="*/ 1097 w 1396"/>
              <a:gd name="T91" fmla="*/ 1796 h 2738"/>
              <a:gd name="T92" fmla="*/ 1150 w 1396"/>
              <a:gd name="T93" fmla="*/ 1888 h 2738"/>
              <a:gd name="T94" fmla="*/ 1170 w 1396"/>
              <a:gd name="T95" fmla="*/ 2048 h 2738"/>
              <a:gd name="T96" fmla="*/ 1157 w 1396"/>
              <a:gd name="T97" fmla="*/ 2114 h 2738"/>
              <a:gd name="T98" fmla="*/ 1148 w 1396"/>
              <a:gd name="T99" fmla="*/ 2199 h 2738"/>
              <a:gd name="T100" fmla="*/ 1092 w 1396"/>
              <a:gd name="T101" fmla="*/ 2320 h 2738"/>
              <a:gd name="T102" fmla="*/ 1039 w 1396"/>
              <a:gd name="T103" fmla="*/ 2349 h 2738"/>
              <a:gd name="T104" fmla="*/ 959 w 1396"/>
              <a:gd name="T105" fmla="*/ 2390 h 2738"/>
              <a:gd name="T106" fmla="*/ 892 w 1396"/>
              <a:gd name="T107" fmla="*/ 2430 h 2738"/>
              <a:gd name="T108" fmla="*/ 816 w 1396"/>
              <a:gd name="T109" fmla="*/ 2442 h 2738"/>
              <a:gd name="T110" fmla="*/ 661 w 1396"/>
              <a:gd name="T111" fmla="*/ 2430 h 2738"/>
              <a:gd name="T112" fmla="*/ 618 w 1396"/>
              <a:gd name="T113" fmla="*/ 2508 h 2738"/>
              <a:gd name="T114" fmla="*/ 541 w 1396"/>
              <a:gd name="T115" fmla="*/ 2525 h 2738"/>
              <a:gd name="T116" fmla="*/ 446 w 1396"/>
              <a:gd name="T117" fmla="*/ 2620 h 2738"/>
              <a:gd name="T118" fmla="*/ 266 w 1396"/>
              <a:gd name="T119" fmla="*/ 2676 h 2738"/>
              <a:gd name="T120" fmla="*/ 131 w 1396"/>
              <a:gd name="T121" fmla="*/ 2735 h 2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96" h="2738">
                <a:moveTo>
                  <a:pt x="39" y="2738"/>
                </a:moveTo>
                <a:lnTo>
                  <a:pt x="33" y="2738"/>
                </a:lnTo>
                <a:lnTo>
                  <a:pt x="27" y="2736"/>
                </a:lnTo>
                <a:lnTo>
                  <a:pt x="21" y="2735"/>
                </a:lnTo>
                <a:lnTo>
                  <a:pt x="18" y="2731"/>
                </a:lnTo>
                <a:lnTo>
                  <a:pt x="13" y="2725"/>
                </a:lnTo>
                <a:lnTo>
                  <a:pt x="10" y="2719"/>
                </a:lnTo>
                <a:lnTo>
                  <a:pt x="7" y="2711"/>
                </a:lnTo>
                <a:lnTo>
                  <a:pt x="5" y="2704"/>
                </a:lnTo>
                <a:lnTo>
                  <a:pt x="1" y="2687"/>
                </a:lnTo>
                <a:lnTo>
                  <a:pt x="0" y="2673"/>
                </a:lnTo>
                <a:lnTo>
                  <a:pt x="0" y="2660"/>
                </a:lnTo>
                <a:lnTo>
                  <a:pt x="0" y="2642"/>
                </a:lnTo>
                <a:lnTo>
                  <a:pt x="0" y="2623"/>
                </a:lnTo>
                <a:lnTo>
                  <a:pt x="0" y="2605"/>
                </a:lnTo>
                <a:lnTo>
                  <a:pt x="1" y="2588"/>
                </a:lnTo>
                <a:lnTo>
                  <a:pt x="4" y="2572"/>
                </a:lnTo>
                <a:lnTo>
                  <a:pt x="7" y="2557"/>
                </a:lnTo>
                <a:lnTo>
                  <a:pt x="12" y="2544"/>
                </a:lnTo>
                <a:lnTo>
                  <a:pt x="18" y="2531"/>
                </a:lnTo>
                <a:lnTo>
                  <a:pt x="21" y="2518"/>
                </a:lnTo>
                <a:lnTo>
                  <a:pt x="24" y="2505"/>
                </a:lnTo>
                <a:lnTo>
                  <a:pt x="24" y="2493"/>
                </a:lnTo>
                <a:lnTo>
                  <a:pt x="26" y="2480"/>
                </a:lnTo>
                <a:lnTo>
                  <a:pt x="30" y="2465"/>
                </a:lnTo>
                <a:lnTo>
                  <a:pt x="35" y="2448"/>
                </a:lnTo>
                <a:lnTo>
                  <a:pt x="40" y="2435"/>
                </a:lnTo>
                <a:lnTo>
                  <a:pt x="49" y="2423"/>
                </a:lnTo>
                <a:lnTo>
                  <a:pt x="59" y="2408"/>
                </a:lnTo>
                <a:lnTo>
                  <a:pt x="71" y="2390"/>
                </a:lnTo>
                <a:lnTo>
                  <a:pt x="81" y="2371"/>
                </a:lnTo>
                <a:lnTo>
                  <a:pt x="90" y="2348"/>
                </a:lnTo>
                <a:lnTo>
                  <a:pt x="100" y="2320"/>
                </a:lnTo>
                <a:lnTo>
                  <a:pt x="107" y="2294"/>
                </a:lnTo>
                <a:lnTo>
                  <a:pt x="109" y="2276"/>
                </a:lnTo>
                <a:lnTo>
                  <a:pt x="108" y="2262"/>
                </a:lnTo>
                <a:lnTo>
                  <a:pt x="107" y="2240"/>
                </a:lnTo>
                <a:lnTo>
                  <a:pt x="105" y="2218"/>
                </a:lnTo>
                <a:lnTo>
                  <a:pt x="103" y="2200"/>
                </a:lnTo>
                <a:lnTo>
                  <a:pt x="102" y="2193"/>
                </a:lnTo>
                <a:lnTo>
                  <a:pt x="101" y="2188"/>
                </a:lnTo>
                <a:lnTo>
                  <a:pt x="100" y="2184"/>
                </a:lnTo>
                <a:lnTo>
                  <a:pt x="99" y="2181"/>
                </a:lnTo>
                <a:lnTo>
                  <a:pt x="94" y="2177"/>
                </a:lnTo>
                <a:lnTo>
                  <a:pt x="89" y="2174"/>
                </a:lnTo>
                <a:lnTo>
                  <a:pt x="84" y="2168"/>
                </a:lnTo>
                <a:lnTo>
                  <a:pt x="82" y="2158"/>
                </a:lnTo>
                <a:lnTo>
                  <a:pt x="81" y="2149"/>
                </a:lnTo>
                <a:lnTo>
                  <a:pt x="80" y="2137"/>
                </a:lnTo>
                <a:lnTo>
                  <a:pt x="78" y="2126"/>
                </a:lnTo>
                <a:lnTo>
                  <a:pt x="76" y="2117"/>
                </a:lnTo>
                <a:lnTo>
                  <a:pt x="73" y="2107"/>
                </a:lnTo>
                <a:lnTo>
                  <a:pt x="68" y="2094"/>
                </a:lnTo>
                <a:lnTo>
                  <a:pt x="64" y="2082"/>
                </a:lnTo>
                <a:lnTo>
                  <a:pt x="62" y="2069"/>
                </a:lnTo>
                <a:lnTo>
                  <a:pt x="59" y="2057"/>
                </a:lnTo>
                <a:lnTo>
                  <a:pt x="58" y="2043"/>
                </a:lnTo>
                <a:lnTo>
                  <a:pt x="59" y="2029"/>
                </a:lnTo>
                <a:lnTo>
                  <a:pt x="62" y="2013"/>
                </a:lnTo>
                <a:lnTo>
                  <a:pt x="65" y="1999"/>
                </a:lnTo>
                <a:lnTo>
                  <a:pt x="69" y="1986"/>
                </a:lnTo>
                <a:lnTo>
                  <a:pt x="70" y="1980"/>
                </a:lnTo>
                <a:lnTo>
                  <a:pt x="71" y="1973"/>
                </a:lnTo>
                <a:lnTo>
                  <a:pt x="71" y="1966"/>
                </a:lnTo>
                <a:lnTo>
                  <a:pt x="70" y="1960"/>
                </a:lnTo>
                <a:lnTo>
                  <a:pt x="69" y="1947"/>
                </a:lnTo>
                <a:lnTo>
                  <a:pt x="67" y="1935"/>
                </a:lnTo>
                <a:lnTo>
                  <a:pt x="65" y="1925"/>
                </a:lnTo>
                <a:lnTo>
                  <a:pt x="65" y="1916"/>
                </a:lnTo>
                <a:lnTo>
                  <a:pt x="68" y="1907"/>
                </a:lnTo>
                <a:lnTo>
                  <a:pt x="70" y="1898"/>
                </a:lnTo>
                <a:lnTo>
                  <a:pt x="73" y="1888"/>
                </a:lnTo>
                <a:lnTo>
                  <a:pt x="73" y="1876"/>
                </a:lnTo>
                <a:lnTo>
                  <a:pt x="71" y="1872"/>
                </a:lnTo>
                <a:lnTo>
                  <a:pt x="70" y="1866"/>
                </a:lnTo>
                <a:lnTo>
                  <a:pt x="68" y="1861"/>
                </a:lnTo>
                <a:lnTo>
                  <a:pt x="65" y="1856"/>
                </a:lnTo>
                <a:lnTo>
                  <a:pt x="61" y="1847"/>
                </a:lnTo>
                <a:lnTo>
                  <a:pt x="58" y="1838"/>
                </a:lnTo>
                <a:lnTo>
                  <a:pt x="58" y="1830"/>
                </a:lnTo>
                <a:lnTo>
                  <a:pt x="58" y="1821"/>
                </a:lnTo>
                <a:lnTo>
                  <a:pt x="59" y="1816"/>
                </a:lnTo>
                <a:lnTo>
                  <a:pt x="58" y="1812"/>
                </a:lnTo>
                <a:lnTo>
                  <a:pt x="57" y="1810"/>
                </a:lnTo>
                <a:lnTo>
                  <a:pt x="56" y="1806"/>
                </a:lnTo>
                <a:lnTo>
                  <a:pt x="51" y="1803"/>
                </a:lnTo>
                <a:lnTo>
                  <a:pt x="45" y="1799"/>
                </a:lnTo>
                <a:lnTo>
                  <a:pt x="43" y="1798"/>
                </a:lnTo>
                <a:lnTo>
                  <a:pt x="42" y="1796"/>
                </a:lnTo>
                <a:lnTo>
                  <a:pt x="40" y="1793"/>
                </a:lnTo>
                <a:lnTo>
                  <a:pt x="40" y="1791"/>
                </a:lnTo>
                <a:lnTo>
                  <a:pt x="42" y="1784"/>
                </a:lnTo>
                <a:lnTo>
                  <a:pt x="45" y="1777"/>
                </a:lnTo>
                <a:lnTo>
                  <a:pt x="48" y="1769"/>
                </a:lnTo>
                <a:lnTo>
                  <a:pt x="48" y="1762"/>
                </a:lnTo>
                <a:lnTo>
                  <a:pt x="45" y="1755"/>
                </a:lnTo>
                <a:lnTo>
                  <a:pt x="43" y="1749"/>
                </a:lnTo>
                <a:lnTo>
                  <a:pt x="40" y="1745"/>
                </a:lnTo>
                <a:lnTo>
                  <a:pt x="40" y="1740"/>
                </a:lnTo>
                <a:lnTo>
                  <a:pt x="42" y="1734"/>
                </a:lnTo>
                <a:lnTo>
                  <a:pt x="44" y="1727"/>
                </a:lnTo>
                <a:lnTo>
                  <a:pt x="45" y="1717"/>
                </a:lnTo>
                <a:lnTo>
                  <a:pt x="44" y="1710"/>
                </a:lnTo>
                <a:lnTo>
                  <a:pt x="43" y="1703"/>
                </a:lnTo>
                <a:lnTo>
                  <a:pt x="40" y="1696"/>
                </a:lnTo>
                <a:lnTo>
                  <a:pt x="38" y="1690"/>
                </a:lnTo>
                <a:lnTo>
                  <a:pt x="38" y="1684"/>
                </a:lnTo>
                <a:lnTo>
                  <a:pt x="40" y="1678"/>
                </a:lnTo>
                <a:lnTo>
                  <a:pt x="44" y="1672"/>
                </a:lnTo>
                <a:lnTo>
                  <a:pt x="50" y="1666"/>
                </a:lnTo>
                <a:lnTo>
                  <a:pt x="59" y="1657"/>
                </a:lnTo>
                <a:lnTo>
                  <a:pt x="70" y="1646"/>
                </a:lnTo>
                <a:lnTo>
                  <a:pt x="81" y="1635"/>
                </a:lnTo>
                <a:lnTo>
                  <a:pt x="90" y="1622"/>
                </a:lnTo>
                <a:lnTo>
                  <a:pt x="100" y="1608"/>
                </a:lnTo>
                <a:lnTo>
                  <a:pt x="108" y="1595"/>
                </a:lnTo>
                <a:lnTo>
                  <a:pt x="114" y="1584"/>
                </a:lnTo>
                <a:lnTo>
                  <a:pt x="126" y="1567"/>
                </a:lnTo>
                <a:lnTo>
                  <a:pt x="136" y="1551"/>
                </a:lnTo>
                <a:lnTo>
                  <a:pt x="137" y="1542"/>
                </a:lnTo>
                <a:lnTo>
                  <a:pt x="136" y="1537"/>
                </a:lnTo>
                <a:lnTo>
                  <a:pt x="133" y="1532"/>
                </a:lnTo>
                <a:lnTo>
                  <a:pt x="128" y="1527"/>
                </a:lnTo>
                <a:lnTo>
                  <a:pt x="125" y="1520"/>
                </a:lnTo>
                <a:lnTo>
                  <a:pt x="121" y="1514"/>
                </a:lnTo>
                <a:lnTo>
                  <a:pt x="119" y="1507"/>
                </a:lnTo>
                <a:lnTo>
                  <a:pt x="119" y="1501"/>
                </a:lnTo>
                <a:lnTo>
                  <a:pt x="120" y="1498"/>
                </a:lnTo>
                <a:lnTo>
                  <a:pt x="121" y="1496"/>
                </a:lnTo>
                <a:lnTo>
                  <a:pt x="125" y="1495"/>
                </a:lnTo>
                <a:lnTo>
                  <a:pt x="127" y="1493"/>
                </a:lnTo>
                <a:lnTo>
                  <a:pt x="136" y="1488"/>
                </a:lnTo>
                <a:lnTo>
                  <a:pt x="145" y="1482"/>
                </a:lnTo>
                <a:lnTo>
                  <a:pt x="155" y="1475"/>
                </a:lnTo>
                <a:lnTo>
                  <a:pt x="162" y="1466"/>
                </a:lnTo>
                <a:lnTo>
                  <a:pt x="164" y="1462"/>
                </a:lnTo>
                <a:lnTo>
                  <a:pt x="166" y="1457"/>
                </a:lnTo>
                <a:lnTo>
                  <a:pt x="169" y="1452"/>
                </a:lnTo>
                <a:lnTo>
                  <a:pt x="170" y="1447"/>
                </a:lnTo>
                <a:lnTo>
                  <a:pt x="171" y="1437"/>
                </a:lnTo>
                <a:lnTo>
                  <a:pt x="171" y="1426"/>
                </a:lnTo>
                <a:lnTo>
                  <a:pt x="170" y="1415"/>
                </a:lnTo>
                <a:lnTo>
                  <a:pt x="169" y="1405"/>
                </a:lnTo>
                <a:lnTo>
                  <a:pt x="168" y="1399"/>
                </a:lnTo>
                <a:lnTo>
                  <a:pt x="165" y="1395"/>
                </a:lnTo>
                <a:lnTo>
                  <a:pt x="163" y="1391"/>
                </a:lnTo>
                <a:lnTo>
                  <a:pt x="161" y="1388"/>
                </a:lnTo>
                <a:lnTo>
                  <a:pt x="156" y="1383"/>
                </a:lnTo>
                <a:lnTo>
                  <a:pt x="151" y="1380"/>
                </a:lnTo>
                <a:lnTo>
                  <a:pt x="147" y="1376"/>
                </a:lnTo>
                <a:lnTo>
                  <a:pt x="145" y="1371"/>
                </a:lnTo>
                <a:lnTo>
                  <a:pt x="146" y="1368"/>
                </a:lnTo>
                <a:lnTo>
                  <a:pt x="149" y="1362"/>
                </a:lnTo>
                <a:lnTo>
                  <a:pt x="150" y="1358"/>
                </a:lnTo>
                <a:lnTo>
                  <a:pt x="151" y="1355"/>
                </a:lnTo>
                <a:lnTo>
                  <a:pt x="150" y="1352"/>
                </a:lnTo>
                <a:lnTo>
                  <a:pt x="150" y="1349"/>
                </a:lnTo>
                <a:lnTo>
                  <a:pt x="146" y="1344"/>
                </a:lnTo>
                <a:lnTo>
                  <a:pt x="143" y="1342"/>
                </a:lnTo>
                <a:lnTo>
                  <a:pt x="138" y="1339"/>
                </a:lnTo>
                <a:lnTo>
                  <a:pt x="133" y="1338"/>
                </a:lnTo>
                <a:lnTo>
                  <a:pt x="128" y="1334"/>
                </a:lnTo>
                <a:lnTo>
                  <a:pt x="125" y="1328"/>
                </a:lnTo>
                <a:lnTo>
                  <a:pt x="119" y="1313"/>
                </a:lnTo>
                <a:lnTo>
                  <a:pt x="111" y="1295"/>
                </a:lnTo>
                <a:lnTo>
                  <a:pt x="105" y="1287"/>
                </a:lnTo>
                <a:lnTo>
                  <a:pt x="96" y="1279"/>
                </a:lnTo>
                <a:lnTo>
                  <a:pt x="88" y="1273"/>
                </a:lnTo>
                <a:lnTo>
                  <a:pt x="81" y="1267"/>
                </a:lnTo>
                <a:lnTo>
                  <a:pt x="77" y="1263"/>
                </a:lnTo>
                <a:lnTo>
                  <a:pt x="75" y="1261"/>
                </a:lnTo>
                <a:lnTo>
                  <a:pt x="74" y="1257"/>
                </a:lnTo>
                <a:lnTo>
                  <a:pt x="73" y="1254"/>
                </a:lnTo>
                <a:lnTo>
                  <a:pt x="73" y="1245"/>
                </a:lnTo>
                <a:lnTo>
                  <a:pt x="73" y="1236"/>
                </a:lnTo>
                <a:lnTo>
                  <a:pt x="74" y="1223"/>
                </a:lnTo>
                <a:lnTo>
                  <a:pt x="75" y="1208"/>
                </a:lnTo>
                <a:lnTo>
                  <a:pt x="75" y="1193"/>
                </a:lnTo>
                <a:lnTo>
                  <a:pt x="74" y="1181"/>
                </a:lnTo>
                <a:lnTo>
                  <a:pt x="74" y="1172"/>
                </a:lnTo>
                <a:lnTo>
                  <a:pt x="75" y="1164"/>
                </a:lnTo>
                <a:lnTo>
                  <a:pt x="78" y="1157"/>
                </a:lnTo>
                <a:lnTo>
                  <a:pt x="82" y="1151"/>
                </a:lnTo>
                <a:lnTo>
                  <a:pt x="86" y="1147"/>
                </a:lnTo>
                <a:lnTo>
                  <a:pt x="88" y="1141"/>
                </a:lnTo>
                <a:lnTo>
                  <a:pt x="89" y="1135"/>
                </a:lnTo>
                <a:lnTo>
                  <a:pt x="90" y="1128"/>
                </a:lnTo>
                <a:lnTo>
                  <a:pt x="90" y="1124"/>
                </a:lnTo>
                <a:lnTo>
                  <a:pt x="92" y="1120"/>
                </a:lnTo>
                <a:lnTo>
                  <a:pt x="93" y="1118"/>
                </a:lnTo>
                <a:lnTo>
                  <a:pt x="95" y="1116"/>
                </a:lnTo>
                <a:lnTo>
                  <a:pt x="101" y="1112"/>
                </a:lnTo>
                <a:lnTo>
                  <a:pt x="108" y="1111"/>
                </a:lnTo>
                <a:lnTo>
                  <a:pt x="117" y="1109"/>
                </a:lnTo>
                <a:lnTo>
                  <a:pt x="122" y="1105"/>
                </a:lnTo>
                <a:lnTo>
                  <a:pt x="130" y="1100"/>
                </a:lnTo>
                <a:lnTo>
                  <a:pt x="136" y="1094"/>
                </a:lnTo>
                <a:lnTo>
                  <a:pt x="141" y="1087"/>
                </a:lnTo>
                <a:lnTo>
                  <a:pt x="149" y="1078"/>
                </a:lnTo>
                <a:lnTo>
                  <a:pt x="153" y="1068"/>
                </a:lnTo>
                <a:lnTo>
                  <a:pt x="156" y="1061"/>
                </a:lnTo>
                <a:lnTo>
                  <a:pt x="157" y="1056"/>
                </a:lnTo>
                <a:lnTo>
                  <a:pt x="159" y="1053"/>
                </a:lnTo>
                <a:lnTo>
                  <a:pt x="163" y="1049"/>
                </a:lnTo>
                <a:lnTo>
                  <a:pt x="168" y="1048"/>
                </a:lnTo>
                <a:lnTo>
                  <a:pt x="172" y="1047"/>
                </a:lnTo>
                <a:lnTo>
                  <a:pt x="177" y="1044"/>
                </a:lnTo>
                <a:lnTo>
                  <a:pt x="183" y="1041"/>
                </a:lnTo>
                <a:lnTo>
                  <a:pt x="189" y="1033"/>
                </a:lnTo>
                <a:lnTo>
                  <a:pt x="194" y="1024"/>
                </a:lnTo>
                <a:lnTo>
                  <a:pt x="197" y="1015"/>
                </a:lnTo>
                <a:lnTo>
                  <a:pt x="199" y="1006"/>
                </a:lnTo>
                <a:lnTo>
                  <a:pt x="199" y="996"/>
                </a:lnTo>
                <a:lnTo>
                  <a:pt x="200" y="984"/>
                </a:lnTo>
                <a:lnTo>
                  <a:pt x="201" y="970"/>
                </a:lnTo>
                <a:lnTo>
                  <a:pt x="204" y="956"/>
                </a:lnTo>
                <a:lnTo>
                  <a:pt x="209" y="943"/>
                </a:lnTo>
                <a:lnTo>
                  <a:pt x="213" y="933"/>
                </a:lnTo>
                <a:lnTo>
                  <a:pt x="216" y="922"/>
                </a:lnTo>
                <a:lnTo>
                  <a:pt x="219" y="911"/>
                </a:lnTo>
                <a:lnTo>
                  <a:pt x="222" y="898"/>
                </a:lnTo>
                <a:lnTo>
                  <a:pt x="226" y="886"/>
                </a:lnTo>
                <a:lnTo>
                  <a:pt x="233" y="876"/>
                </a:lnTo>
                <a:lnTo>
                  <a:pt x="239" y="866"/>
                </a:lnTo>
                <a:lnTo>
                  <a:pt x="244" y="857"/>
                </a:lnTo>
                <a:lnTo>
                  <a:pt x="245" y="852"/>
                </a:lnTo>
                <a:lnTo>
                  <a:pt x="246" y="847"/>
                </a:lnTo>
                <a:lnTo>
                  <a:pt x="246" y="842"/>
                </a:lnTo>
                <a:lnTo>
                  <a:pt x="245" y="836"/>
                </a:lnTo>
                <a:lnTo>
                  <a:pt x="243" y="827"/>
                </a:lnTo>
                <a:lnTo>
                  <a:pt x="240" y="819"/>
                </a:lnTo>
                <a:lnTo>
                  <a:pt x="238" y="811"/>
                </a:lnTo>
                <a:lnTo>
                  <a:pt x="237" y="806"/>
                </a:lnTo>
                <a:lnTo>
                  <a:pt x="238" y="803"/>
                </a:lnTo>
                <a:lnTo>
                  <a:pt x="239" y="801"/>
                </a:lnTo>
                <a:lnTo>
                  <a:pt x="240" y="798"/>
                </a:lnTo>
                <a:lnTo>
                  <a:pt x="243" y="797"/>
                </a:lnTo>
                <a:lnTo>
                  <a:pt x="251" y="792"/>
                </a:lnTo>
                <a:lnTo>
                  <a:pt x="262" y="787"/>
                </a:lnTo>
                <a:lnTo>
                  <a:pt x="271" y="781"/>
                </a:lnTo>
                <a:lnTo>
                  <a:pt x="278" y="773"/>
                </a:lnTo>
                <a:lnTo>
                  <a:pt x="283" y="767"/>
                </a:lnTo>
                <a:lnTo>
                  <a:pt x="287" y="758"/>
                </a:lnTo>
                <a:lnTo>
                  <a:pt x="288" y="748"/>
                </a:lnTo>
                <a:lnTo>
                  <a:pt x="289" y="738"/>
                </a:lnTo>
                <a:lnTo>
                  <a:pt x="290" y="727"/>
                </a:lnTo>
                <a:lnTo>
                  <a:pt x="291" y="715"/>
                </a:lnTo>
                <a:lnTo>
                  <a:pt x="295" y="703"/>
                </a:lnTo>
                <a:lnTo>
                  <a:pt x="300" y="691"/>
                </a:lnTo>
                <a:lnTo>
                  <a:pt x="302" y="687"/>
                </a:lnTo>
                <a:lnTo>
                  <a:pt x="306" y="683"/>
                </a:lnTo>
                <a:lnTo>
                  <a:pt x="309" y="681"/>
                </a:lnTo>
                <a:lnTo>
                  <a:pt x="313" y="680"/>
                </a:lnTo>
                <a:lnTo>
                  <a:pt x="320" y="677"/>
                </a:lnTo>
                <a:lnTo>
                  <a:pt x="326" y="674"/>
                </a:lnTo>
                <a:lnTo>
                  <a:pt x="328" y="671"/>
                </a:lnTo>
                <a:lnTo>
                  <a:pt x="329" y="669"/>
                </a:lnTo>
                <a:lnTo>
                  <a:pt x="329" y="665"/>
                </a:lnTo>
                <a:lnTo>
                  <a:pt x="329" y="662"/>
                </a:lnTo>
                <a:lnTo>
                  <a:pt x="326" y="653"/>
                </a:lnTo>
                <a:lnTo>
                  <a:pt x="321" y="646"/>
                </a:lnTo>
                <a:lnTo>
                  <a:pt x="316" y="641"/>
                </a:lnTo>
                <a:lnTo>
                  <a:pt x="311" y="639"/>
                </a:lnTo>
                <a:lnTo>
                  <a:pt x="306" y="638"/>
                </a:lnTo>
                <a:lnTo>
                  <a:pt x="297" y="638"/>
                </a:lnTo>
                <a:lnTo>
                  <a:pt x="288" y="639"/>
                </a:lnTo>
                <a:lnTo>
                  <a:pt x="278" y="640"/>
                </a:lnTo>
                <a:lnTo>
                  <a:pt x="273" y="639"/>
                </a:lnTo>
                <a:lnTo>
                  <a:pt x="270" y="639"/>
                </a:lnTo>
                <a:lnTo>
                  <a:pt x="267" y="638"/>
                </a:lnTo>
                <a:lnTo>
                  <a:pt x="265" y="636"/>
                </a:lnTo>
                <a:lnTo>
                  <a:pt x="264" y="632"/>
                </a:lnTo>
                <a:lnTo>
                  <a:pt x="264" y="628"/>
                </a:lnTo>
                <a:lnTo>
                  <a:pt x="266" y="626"/>
                </a:lnTo>
                <a:lnTo>
                  <a:pt x="267" y="625"/>
                </a:lnTo>
                <a:lnTo>
                  <a:pt x="273" y="620"/>
                </a:lnTo>
                <a:lnTo>
                  <a:pt x="279" y="615"/>
                </a:lnTo>
                <a:lnTo>
                  <a:pt x="292" y="613"/>
                </a:lnTo>
                <a:lnTo>
                  <a:pt x="307" y="612"/>
                </a:lnTo>
                <a:lnTo>
                  <a:pt x="322" y="612"/>
                </a:lnTo>
                <a:lnTo>
                  <a:pt x="336" y="612"/>
                </a:lnTo>
                <a:lnTo>
                  <a:pt x="342" y="612"/>
                </a:lnTo>
                <a:lnTo>
                  <a:pt x="347" y="612"/>
                </a:lnTo>
                <a:lnTo>
                  <a:pt x="351" y="611"/>
                </a:lnTo>
                <a:lnTo>
                  <a:pt x="353" y="609"/>
                </a:lnTo>
                <a:lnTo>
                  <a:pt x="355" y="605"/>
                </a:lnTo>
                <a:lnTo>
                  <a:pt x="358" y="596"/>
                </a:lnTo>
                <a:lnTo>
                  <a:pt x="360" y="589"/>
                </a:lnTo>
                <a:lnTo>
                  <a:pt x="363" y="584"/>
                </a:lnTo>
                <a:lnTo>
                  <a:pt x="367" y="581"/>
                </a:lnTo>
                <a:lnTo>
                  <a:pt x="373" y="577"/>
                </a:lnTo>
                <a:lnTo>
                  <a:pt x="376" y="575"/>
                </a:lnTo>
                <a:lnTo>
                  <a:pt x="378" y="573"/>
                </a:lnTo>
                <a:lnTo>
                  <a:pt x="380" y="570"/>
                </a:lnTo>
                <a:lnTo>
                  <a:pt x="382" y="567"/>
                </a:lnTo>
                <a:lnTo>
                  <a:pt x="383" y="561"/>
                </a:lnTo>
                <a:lnTo>
                  <a:pt x="383" y="554"/>
                </a:lnTo>
                <a:lnTo>
                  <a:pt x="380" y="542"/>
                </a:lnTo>
                <a:lnTo>
                  <a:pt x="379" y="535"/>
                </a:lnTo>
                <a:lnTo>
                  <a:pt x="379" y="530"/>
                </a:lnTo>
                <a:lnTo>
                  <a:pt x="377" y="524"/>
                </a:lnTo>
                <a:lnTo>
                  <a:pt x="377" y="520"/>
                </a:lnTo>
                <a:lnTo>
                  <a:pt x="377" y="518"/>
                </a:lnTo>
                <a:lnTo>
                  <a:pt x="378" y="516"/>
                </a:lnTo>
                <a:lnTo>
                  <a:pt x="380" y="513"/>
                </a:lnTo>
                <a:lnTo>
                  <a:pt x="385" y="513"/>
                </a:lnTo>
                <a:lnTo>
                  <a:pt x="392" y="513"/>
                </a:lnTo>
                <a:lnTo>
                  <a:pt x="401" y="514"/>
                </a:lnTo>
                <a:lnTo>
                  <a:pt x="410" y="517"/>
                </a:lnTo>
                <a:lnTo>
                  <a:pt x="432" y="521"/>
                </a:lnTo>
                <a:lnTo>
                  <a:pt x="452" y="526"/>
                </a:lnTo>
                <a:lnTo>
                  <a:pt x="462" y="526"/>
                </a:lnTo>
                <a:lnTo>
                  <a:pt x="474" y="525"/>
                </a:lnTo>
                <a:lnTo>
                  <a:pt x="480" y="525"/>
                </a:lnTo>
                <a:lnTo>
                  <a:pt x="486" y="525"/>
                </a:lnTo>
                <a:lnTo>
                  <a:pt x="492" y="526"/>
                </a:lnTo>
                <a:lnTo>
                  <a:pt x="497" y="529"/>
                </a:lnTo>
                <a:lnTo>
                  <a:pt x="504" y="529"/>
                </a:lnTo>
                <a:lnTo>
                  <a:pt x="514" y="527"/>
                </a:lnTo>
                <a:lnTo>
                  <a:pt x="524" y="525"/>
                </a:lnTo>
                <a:lnTo>
                  <a:pt x="531" y="524"/>
                </a:lnTo>
                <a:lnTo>
                  <a:pt x="536" y="524"/>
                </a:lnTo>
                <a:lnTo>
                  <a:pt x="541" y="521"/>
                </a:lnTo>
                <a:lnTo>
                  <a:pt x="546" y="520"/>
                </a:lnTo>
                <a:lnTo>
                  <a:pt x="549" y="517"/>
                </a:lnTo>
                <a:lnTo>
                  <a:pt x="552" y="513"/>
                </a:lnTo>
                <a:lnTo>
                  <a:pt x="555" y="510"/>
                </a:lnTo>
                <a:lnTo>
                  <a:pt x="556" y="505"/>
                </a:lnTo>
                <a:lnTo>
                  <a:pt x="558" y="500"/>
                </a:lnTo>
                <a:lnTo>
                  <a:pt x="560" y="488"/>
                </a:lnTo>
                <a:lnTo>
                  <a:pt x="565" y="477"/>
                </a:lnTo>
                <a:lnTo>
                  <a:pt x="568" y="469"/>
                </a:lnTo>
                <a:lnTo>
                  <a:pt x="571" y="462"/>
                </a:lnTo>
                <a:lnTo>
                  <a:pt x="573" y="450"/>
                </a:lnTo>
                <a:lnTo>
                  <a:pt x="578" y="437"/>
                </a:lnTo>
                <a:lnTo>
                  <a:pt x="581" y="425"/>
                </a:lnTo>
                <a:lnTo>
                  <a:pt x="586" y="413"/>
                </a:lnTo>
                <a:lnTo>
                  <a:pt x="596" y="388"/>
                </a:lnTo>
                <a:lnTo>
                  <a:pt x="610" y="355"/>
                </a:lnTo>
                <a:lnTo>
                  <a:pt x="625" y="322"/>
                </a:lnTo>
                <a:lnTo>
                  <a:pt x="637" y="294"/>
                </a:lnTo>
                <a:lnTo>
                  <a:pt x="646" y="271"/>
                </a:lnTo>
                <a:lnTo>
                  <a:pt x="655" y="247"/>
                </a:lnTo>
                <a:lnTo>
                  <a:pt x="661" y="237"/>
                </a:lnTo>
                <a:lnTo>
                  <a:pt x="668" y="229"/>
                </a:lnTo>
                <a:lnTo>
                  <a:pt x="673" y="225"/>
                </a:lnTo>
                <a:lnTo>
                  <a:pt x="676" y="223"/>
                </a:lnTo>
                <a:lnTo>
                  <a:pt x="682" y="221"/>
                </a:lnTo>
                <a:lnTo>
                  <a:pt x="688" y="220"/>
                </a:lnTo>
                <a:lnTo>
                  <a:pt x="694" y="220"/>
                </a:lnTo>
                <a:lnTo>
                  <a:pt x="700" y="221"/>
                </a:lnTo>
                <a:lnTo>
                  <a:pt x="706" y="222"/>
                </a:lnTo>
                <a:lnTo>
                  <a:pt x="713" y="224"/>
                </a:lnTo>
                <a:lnTo>
                  <a:pt x="725" y="230"/>
                </a:lnTo>
                <a:lnTo>
                  <a:pt x="737" y="237"/>
                </a:lnTo>
                <a:lnTo>
                  <a:pt x="758" y="254"/>
                </a:lnTo>
                <a:lnTo>
                  <a:pt x="775" y="268"/>
                </a:lnTo>
                <a:lnTo>
                  <a:pt x="779" y="271"/>
                </a:lnTo>
                <a:lnTo>
                  <a:pt x="782" y="273"/>
                </a:lnTo>
                <a:lnTo>
                  <a:pt x="787" y="274"/>
                </a:lnTo>
                <a:lnTo>
                  <a:pt x="792" y="274"/>
                </a:lnTo>
                <a:lnTo>
                  <a:pt x="801" y="274"/>
                </a:lnTo>
                <a:lnTo>
                  <a:pt x="811" y="272"/>
                </a:lnTo>
                <a:lnTo>
                  <a:pt x="820" y="268"/>
                </a:lnTo>
                <a:lnTo>
                  <a:pt x="829" y="262"/>
                </a:lnTo>
                <a:lnTo>
                  <a:pt x="836" y="255"/>
                </a:lnTo>
                <a:lnTo>
                  <a:pt x="840" y="248"/>
                </a:lnTo>
                <a:lnTo>
                  <a:pt x="846" y="229"/>
                </a:lnTo>
                <a:lnTo>
                  <a:pt x="856" y="210"/>
                </a:lnTo>
                <a:lnTo>
                  <a:pt x="858" y="205"/>
                </a:lnTo>
                <a:lnTo>
                  <a:pt x="862" y="201"/>
                </a:lnTo>
                <a:lnTo>
                  <a:pt x="867" y="196"/>
                </a:lnTo>
                <a:lnTo>
                  <a:pt x="871" y="192"/>
                </a:lnTo>
                <a:lnTo>
                  <a:pt x="877" y="189"/>
                </a:lnTo>
                <a:lnTo>
                  <a:pt x="884" y="185"/>
                </a:lnTo>
                <a:lnTo>
                  <a:pt x="893" y="183"/>
                </a:lnTo>
                <a:lnTo>
                  <a:pt x="901" y="180"/>
                </a:lnTo>
                <a:lnTo>
                  <a:pt x="919" y="178"/>
                </a:lnTo>
                <a:lnTo>
                  <a:pt x="932" y="177"/>
                </a:lnTo>
                <a:lnTo>
                  <a:pt x="944" y="177"/>
                </a:lnTo>
                <a:lnTo>
                  <a:pt x="953" y="178"/>
                </a:lnTo>
                <a:lnTo>
                  <a:pt x="974" y="180"/>
                </a:lnTo>
                <a:lnTo>
                  <a:pt x="1000" y="183"/>
                </a:lnTo>
                <a:lnTo>
                  <a:pt x="1019" y="184"/>
                </a:lnTo>
                <a:lnTo>
                  <a:pt x="1038" y="185"/>
                </a:lnTo>
                <a:lnTo>
                  <a:pt x="1047" y="185"/>
                </a:lnTo>
                <a:lnTo>
                  <a:pt x="1056" y="185"/>
                </a:lnTo>
                <a:lnTo>
                  <a:pt x="1064" y="184"/>
                </a:lnTo>
                <a:lnTo>
                  <a:pt x="1071" y="183"/>
                </a:lnTo>
                <a:lnTo>
                  <a:pt x="1084" y="174"/>
                </a:lnTo>
                <a:lnTo>
                  <a:pt x="1096" y="164"/>
                </a:lnTo>
                <a:lnTo>
                  <a:pt x="1100" y="160"/>
                </a:lnTo>
                <a:lnTo>
                  <a:pt x="1104" y="155"/>
                </a:lnTo>
                <a:lnTo>
                  <a:pt x="1108" y="148"/>
                </a:lnTo>
                <a:lnTo>
                  <a:pt x="1112" y="140"/>
                </a:lnTo>
                <a:lnTo>
                  <a:pt x="1116" y="133"/>
                </a:lnTo>
                <a:lnTo>
                  <a:pt x="1121" y="126"/>
                </a:lnTo>
                <a:lnTo>
                  <a:pt x="1125" y="120"/>
                </a:lnTo>
                <a:lnTo>
                  <a:pt x="1129" y="117"/>
                </a:lnTo>
                <a:lnTo>
                  <a:pt x="1145" y="116"/>
                </a:lnTo>
                <a:lnTo>
                  <a:pt x="1161" y="117"/>
                </a:lnTo>
                <a:lnTo>
                  <a:pt x="1170" y="116"/>
                </a:lnTo>
                <a:lnTo>
                  <a:pt x="1178" y="114"/>
                </a:lnTo>
                <a:lnTo>
                  <a:pt x="1185" y="108"/>
                </a:lnTo>
                <a:lnTo>
                  <a:pt x="1191" y="102"/>
                </a:lnTo>
                <a:lnTo>
                  <a:pt x="1203" y="89"/>
                </a:lnTo>
                <a:lnTo>
                  <a:pt x="1213" y="72"/>
                </a:lnTo>
                <a:lnTo>
                  <a:pt x="1218" y="60"/>
                </a:lnTo>
                <a:lnTo>
                  <a:pt x="1222" y="48"/>
                </a:lnTo>
                <a:lnTo>
                  <a:pt x="1226" y="37"/>
                </a:lnTo>
                <a:lnTo>
                  <a:pt x="1229" y="25"/>
                </a:lnTo>
                <a:lnTo>
                  <a:pt x="1232" y="15"/>
                </a:lnTo>
                <a:lnTo>
                  <a:pt x="1235" y="8"/>
                </a:lnTo>
                <a:lnTo>
                  <a:pt x="1238" y="4"/>
                </a:lnTo>
                <a:lnTo>
                  <a:pt x="1239" y="1"/>
                </a:lnTo>
                <a:lnTo>
                  <a:pt x="1240" y="0"/>
                </a:lnTo>
                <a:lnTo>
                  <a:pt x="1241" y="1"/>
                </a:lnTo>
                <a:lnTo>
                  <a:pt x="1243" y="8"/>
                </a:lnTo>
                <a:lnTo>
                  <a:pt x="1251" y="22"/>
                </a:lnTo>
                <a:lnTo>
                  <a:pt x="1259" y="35"/>
                </a:lnTo>
                <a:lnTo>
                  <a:pt x="1268" y="45"/>
                </a:lnTo>
                <a:lnTo>
                  <a:pt x="1277" y="54"/>
                </a:lnTo>
                <a:lnTo>
                  <a:pt x="1284" y="65"/>
                </a:lnTo>
                <a:lnTo>
                  <a:pt x="1287" y="71"/>
                </a:lnTo>
                <a:lnTo>
                  <a:pt x="1290" y="78"/>
                </a:lnTo>
                <a:lnTo>
                  <a:pt x="1292" y="85"/>
                </a:lnTo>
                <a:lnTo>
                  <a:pt x="1293" y="92"/>
                </a:lnTo>
                <a:lnTo>
                  <a:pt x="1296" y="110"/>
                </a:lnTo>
                <a:lnTo>
                  <a:pt x="1298" y="127"/>
                </a:lnTo>
                <a:lnTo>
                  <a:pt x="1299" y="135"/>
                </a:lnTo>
                <a:lnTo>
                  <a:pt x="1302" y="142"/>
                </a:lnTo>
                <a:lnTo>
                  <a:pt x="1303" y="148"/>
                </a:lnTo>
                <a:lnTo>
                  <a:pt x="1306" y="153"/>
                </a:lnTo>
                <a:lnTo>
                  <a:pt x="1310" y="157"/>
                </a:lnTo>
                <a:lnTo>
                  <a:pt x="1314" y="160"/>
                </a:lnTo>
                <a:lnTo>
                  <a:pt x="1320" y="162"/>
                </a:lnTo>
                <a:lnTo>
                  <a:pt x="1325" y="165"/>
                </a:lnTo>
                <a:lnTo>
                  <a:pt x="1331" y="166"/>
                </a:lnTo>
                <a:lnTo>
                  <a:pt x="1337" y="167"/>
                </a:lnTo>
                <a:lnTo>
                  <a:pt x="1342" y="167"/>
                </a:lnTo>
                <a:lnTo>
                  <a:pt x="1347" y="166"/>
                </a:lnTo>
                <a:lnTo>
                  <a:pt x="1355" y="164"/>
                </a:lnTo>
                <a:lnTo>
                  <a:pt x="1364" y="161"/>
                </a:lnTo>
                <a:lnTo>
                  <a:pt x="1368" y="161"/>
                </a:lnTo>
                <a:lnTo>
                  <a:pt x="1372" y="161"/>
                </a:lnTo>
                <a:lnTo>
                  <a:pt x="1374" y="162"/>
                </a:lnTo>
                <a:lnTo>
                  <a:pt x="1377" y="165"/>
                </a:lnTo>
                <a:lnTo>
                  <a:pt x="1379" y="167"/>
                </a:lnTo>
                <a:lnTo>
                  <a:pt x="1380" y="171"/>
                </a:lnTo>
                <a:lnTo>
                  <a:pt x="1380" y="174"/>
                </a:lnTo>
                <a:lnTo>
                  <a:pt x="1380" y="178"/>
                </a:lnTo>
                <a:lnTo>
                  <a:pt x="1378" y="185"/>
                </a:lnTo>
                <a:lnTo>
                  <a:pt x="1372" y="193"/>
                </a:lnTo>
                <a:lnTo>
                  <a:pt x="1368" y="198"/>
                </a:lnTo>
                <a:lnTo>
                  <a:pt x="1364" y="202"/>
                </a:lnTo>
                <a:lnTo>
                  <a:pt x="1358" y="205"/>
                </a:lnTo>
                <a:lnTo>
                  <a:pt x="1352" y="208"/>
                </a:lnTo>
                <a:lnTo>
                  <a:pt x="1336" y="212"/>
                </a:lnTo>
                <a:lnTo>
                  <a:pt x="1318" y="216"/>
                </a:lnTo>
                <a:lnTo>
                  <a:pt x="1303" y="220"/>
                </a:lnTo>
                <a:lnTo>
                  <a:pt x="1292" y="222"/>
                </a:lnTo>
                <a:lnTo>
                  <a:pt x="1284" y="227"/>
                </a:lnTo>
                <a:lnTo>
                  <a:pt x="1277" y="233"/>
                </a:lnTo>
                <a:lnTo>
                  <a:pt x="1268" y="239"/>
                </a:lnTo>
                <a:lnTo>
                  <a:pt x="1261" y="241"/>
                </a:lnTo>
                <a:lnTo>
                  <a:pt x="1254" y="242"/>
                </a:lnTo>
                <a:lnTo>
                  <a:pt x="1243" y="243"/>
                </a:lnTo>
                <a:lnTo>
                  <a:pt x="1239" y="245"/>
                </a:lnTo>
                <a:lnTo>
                  <a:pt x="1236" y="248"/>
                </a:lnTo>
                <a:lnTo>
                  <a:pt x="1235" y="252"/>
                </a:lnTo>
                <a:lnTo>
                  <a:pt x="1236" y="256"/>
                </a:lnTo>
                <a:lnTo>
                  <a:pt x="1238" y="268"/>
                </a:lnTo>
                <a:lnTo>
                  <a:pt x="1240" y="278"/>
                </a:lnTo>
                <a:lnTo>
                  <a:pt x="1240" y="283"/>
                </a:lnTo>
                <a:lnTo>
                  <a:pt x="1239" y="286"/>
                </a:lnTo>
                <a:lnTo>
                  <a:pt x="1236" y="290"/>
                </a:lnTo>
                <a:lnTo>
                  <a:pt x="1234" y="291"/>
                </a:lnTo>
                <a:lnTo>
                  <a:pt x="1230" y="292"/>
                </a:lnTo>
                <a:lnTo>
                  <a:pt x="1227" y="292"/>
                </a:lnTo>
                <a:lnTo>
                  <a:pt x="1223" y="291"/>
                </a:lnTo>
                <a:lnTo>
                  <a:pt x="1220" y="288"/>
                </a:lnTo>
                <a:lnTo>
                  <a:pt x="1214" y="284"/>
                </a:lnTo>
                <a:lnTo>
                  <a:pt x="1209" y="283"/>
                </a:lnTo>
                <a:lnTo>
                  <a:pt x="1208" y="283"/>
                </a:lnTo>
                <a:lnTo>
                  <a:pt x="1207" y="284"/>
                </a:lnTo>
                <a:lnTo>
                  <a:pt x="1205" y="286"/>
                </a:lnTo>
                <a:lnTo>
                  <a:pt x="1204" y="290"/>
                </a:lnTo>
                <a:lnTo>
                  <a:pt x="1204" y="296"/>
                </a:lnTo>
                <a:lnTo>
                  <a:pt x="1203" y="303"/>
                </a:lnTo>
                <a:lnTo>
                  <a:pt x="1203" y="306"/>
                </a:lnTo>
                <a:lnTo>
                  <a:pt x="1202" y="310"/>
                </a:lnTo>
                <a:lnTo>
                  <a:pt x="1199" y="313"/>
                </a:lnTo>
                <a:lnTo>
                  <a:pt x="1197" y="317"/>
                </a:lnTo>
                <a:lnTo>
                  <a:pt x="1194" y="321"/>
                </a:lnTo>
                <a:lnTo>
                  <a:pt x="1192" y="323"/>
                </a:lnTo>
                <a:lnTo>
                  <a:pt x="1192" y="327"/>
                </a:lnTo>
                <a:lnTo>
                  <a:pt x="1194" y="329"/>
                </a:lnTo>
                <a:lnTo>
                  <a:pt x="1195" y="330"/>
                </a:lnTo>
                <a:lnTo>
                  <a:pt x="1197" y="331"/>
                </a:lnTo>
                <a:lnTo>
                  <a:pt x="1201" y="332"/>
                </a:lnTo>
                <a:lnTo>
                  <a:pt x="1205" y="332"/>
                </a:lnTo>
                <a:lnTo>
                  <a:pt x="1214" y="331"/>
                </a:lnTo>
                <a:lnTo>
                  <a:pt x="1218" y="334"/>
                </a:lnTo>
                <a:lnTo>
                  <a:pt x="1221" y="337"/>
                </a:lnTo>
                <a:lnTo>
                  <a:pt x="1224" y="344"/>
                </a:lnTo>
                <a:lnTo>
                  <a:pt x="1227" y="348"/>
                </a:lnTo>
                <a:lnTo>
                  <a:pt x="1229" y="353"/>
                </a:lnTo>
                <a:lnTo>
                  <a:pt x="1233" y="357"/>
                </a:lnTo>
                <a:lnTo>
                  <a:pt x="1238" y="361"/>
                </a:lnTo>
                <a:lnTo>
                  <a:pt x="1249" y="368"/>
                </a:lnTo>
                <a:lnTo>
                  <a:pt x="1262" y="375"/>
                </a:lnTo>
                <a:lnTo>
                  <a:pt x="1278" y="380"/>
                </a:lnTo>
                <a:lnTo>
                  <a:pt x="1292" y="384"/>
                </a:lnTo>
                <a:lnTo>
                  <a:pt x="1304" y="384"/>
                </a:lnTo>
                <a:lnTo>
                  <a:pt x="1315" y="382"/>
                </a:lnTo>
                <a:lnTo>
                  <a:pt x="1324" y="381"/>
                </a:lnTo>
                <a:lnTo>
                  <a:pt x="1334" y="382"/>
                </a:lnTo>
                <a:lnTo>
                  <a:pt x="1339" y="382"/>
                </a:lnTo>
                <a:lnTo>
                  <a:pt x="1343" y="385"/>
                </a:lnTo>
                <a:lnTo>
                  <a:pt x="1346" y="387"/>
                </a:lnTo>
                <a:lnTo>
                  <a:pt x="1349" y="391"/>
                </a:lnTo>
                <a:lnTo>
                  <a:pt x="1350" y="397"/>
                </a:lnTo>
                <a:lnTo>
                  <a:pt x="1352" y="404"/>
                </a:lnTo>
                <a:lnTo>
                  <a:pt x="1353" y="412"/>
                </a:lnTo>
                <a:lnTo>
                  <a:pt x="1353" y="420"/>
                </a:lnTo>
                <a:lnTo>
                  <a:pt x="1353" y="438"/>
                </a:lnTo>
                <a:lnTo>
                  <a:pt x="1352" y="456"/>
                </a:lnTo>
                <a:lnTo>
                  <a:pt x="1352" y="463"/>
                </a:lnTo>
                <a:lnTo>
                  <a:pt x="1353" y="469"/>
                </a:lnTo>
                <a:lnTo>
                  <a:pt x="1355" y="474"/>
                </a:lnTo>
                <a:lnTo>
                  <a:pt x="1359" y="479"/>
                </a:lnTo>
                <a:lnTo>
                  <a:pt x="1367" y="486"/>
                </a:lnTo>
                <a:lnTo>
                  <a:pt x="1377" y="493"/>
                </a:lnTo>
                <a:lnTo>
                  <a:pt x="1381" y="498"/>
                </a:lnTo>
                <a:lnTo>
                  <a:pt x="1386" y="501"/>
                </a:lnTo>
                <a:lnTo>
                  <a:pt x="1388" y="506"/>
                </a:lnTo>
                <a:lnTo>
                  <a:pt x="1391" y="510"/>
                </a:lnTo>
                <a:lnTo>
                  <a:pt x="1394" y="520"/>
                </a:lnTo>
                <a:lnTo>
                  <a:pt x="1396" y="533"/>
                </a:lnTo>
                <a:lnTo>
                  <a:pt x="1396" y="540"/>
                </a:lnTo>
                <a:lnTo>
                  <a:pt x="1394" y="546"/>
                </a:lnTo>
                <a:lnTo>
                  <a:pt x="1393" y="551"/>
                </a:lnTo>
                <a:lnTo>
                  <a:pt x="1391" y="556"/>
                </a:lnTo>
                <a:lnTo>
                  <a:pt x="1387" y="564"/>
                </a:lnTo>
                <a:lnTo>
                  <a:pt x="1383" y="576"/>
                </a:lnTo>
                <a:lnTo>
                  <a:pt x="1379" y="589"/>
                </a:lnTo>
                <a:lnTo>
                  <a:pt x="1379" y="602"/>
                </a:lnTo>
                <a:lnTo>
                  <a:pt x="1378" y="613"/>
                </a:lnTo>
                <a:lnTo>
                  <a:pt x="1377" y="624"/>
                </a:lnTo>
                <a:lnTo>
                  <a:pt x="1375" y="632"/>
                </a:lnTo>
                <a:lnTo>
                  <a:pt x="1374" y="643"/>
                </a:lnTo>
                <a:lnTo>
                  <a:pt x="1377" y="653"/>
                </a:lnTo>
                <a:lnTo>
                  <a:pt x="1380" y="665"/>
                </a:lnTo>
                <a:lnTo>
                  <a:pt x="1381" y="670"/>
                </a:lnTo>
                <a:lnTo>
                  <a:pt x="1383" y="675"/>
                </a:lnTo>
                <a:lnTo>
                  <a:pt x="1383" y="678"/>
                </a:lnTo>
                <a:lnTo>
                  <a:pt x="1383" y="681"/>
                </a:lnTo>
                <a:lnTo>
                  <a:pt x="1380" y="683"/>
                </a:lnTo>
                <a:lnTo>
                  <a:pt x="1379" y="685"/>
                </a:lnTo>
                <a:lnTo>
                  <a:pt x="1375" y="687"/>
                </a:lnTo>
                <a:lnTo>
                  <a:pt x="1372" y="687"/>
                </a:lnTo>
                <a:lnTo>
                  <a:pt x="1365" y="689"/>
                </a:lnTo>
                <a:lnTo>
                  <a:pt x="1359" y="694"/>
                </a:lnTo>
                <a:lnTo>
                  <a:pt x="1356" y="696"/>
                </a:lnTo>
                <a:lnTo>
                  <a:pt x="1354" y="699"/>
                </a:lnTo>
                <a:lnTo>
                  <a:pt x="1352" y="702"/>
                </a:lnTo>
                <a:lnTo>
                  <a:pt x="1352" y="707"/>
                </a:lnTo>
                <a:lnTo>
                  <a:pt x="1349" y="713"/>
                </a:lnTo>
                <a:lnTo>
                  <a:pt x="1347" y="718"/>
                </a:lnTo>
                <a:lnTo>
                  <a:pt x="1345" y="719"/>
                </a:lnTo>
                <a:lnTo>
                  <a:pt x="1341" y="720"/>
                </a:lnTo>
                <a:lnTo>
                  <a:pt x="1337" y="720"/>
                </a:lnTo>
                <a:lnTo>
                  <a:pt x="1331" y="720"/>
                </a:lnTo>
                <a:lnTo>
                  <a:pt x="1327" y="720"/>
                </a:lnTo>
                <a:lnTo>
                  <a:pt x="1323" y="722"/>
                </a:lnTo>
                <a:lnTo>
                  <a:pt x="1320" y="726"/>
                </a:lnTo>
                <a:lnTo>
                  <a:pt x="1317" y="731"/>
                </a:lnTo>
                <a:lnTo>
                  <a:pt x="1314" y="735"/>
                </a:lnTo>
                <a:lnTo>
                  <a:pt x="1310" y="740"/>
                </a:lnTo>
                <a:lnTo>
                  <a:pt x="1305" y="744"/>
                </a:lnTo>
                <a:lnTo>
                  <a:pt x="1299" y="747"/>
                </a:lnTo>
                <a:lnTo>
                  <a:pt x="1293" y="750"/>
                </a:lnTo>
                <a:lnTo>
                  <a:pt x="1286" y="751"/>
                </a:lnTo>
                <a:lnTo>
                  <a:pt x="1280" y="750"/>
                </a:lnTo>
                <a:lnTo>
                  <a:pt x="1273" y="747"/>
                </a:lnTo>
                <a:lnTo>
                  <a:pt x="1267" y="745"/>
                </a:lnTo>
                <a:lnTo>
                  <a:pt x="1262" y="741"/>
                </a:lnTo>
                <a:lnTo>
                  <a:pt x="1258" y="737"/>
                </a:lnTo>
                <a:lnTo>
                  <a:pt x="1254" y="732"/>
                </a:lnTo>
                <a:lnTo>
                  <a:pt x="1251" y="727"/>
                </a:lnTo>
                <a:lnTo>
                  <a:pt x="1247" y="722"/>
                </a:lnTo>
                <a:lnTo>
                  <a:pt x="1243" y="720"/>
                </a:lnTo>
                <a:lnTo>
                  <a:pt x="1239" y="718"/>
                </a:lnTo>
                <a:lnTo>
                  <a:pt x="1234" y="715"/>
                </a:lnTo>
                <a:lnTo>
                  <a:pt x="1229" y="715"/>
                </a:lnTo>
                <a:lnTo>
                  <a:pt x="1224" y="716"/>
                </a:lnTo>
                <a:lnTo>
                  <a:pt x="1220" y="719"/>
                </a:lnTo>
                <a:lnTo>
                  <a:pt x="1208" y="728"/>
                </a:lnTo>
                <a:lnTo>
                  <a:pt x="1194" y="741"/>
                </a:lnTo>
                <a:lnTo>
                  <a:pt x="1178" y="757"/>
                </a:lnTo>
                <a:lnTo>
                  <a:pt x="1164" y="770"/>
                </a:lnTo>
                <a:lnTo>
                  <a:pt x="1159" y="776"/>
                </a:lnTo>
                <a:lnTo>
                  <a:pt x="1155" y="782"/>
                </a:lnTo>
                <a:lnTo>
                  <a:pt x="1153" y="789"/>
                </a:lnTo>
                <a:lnTo>
                  <a:pt x="1152" y="796"/>
                </a:lnTo>
                <a:lnTo>
                  <a:pt x="1152" y="803"/>
                </a:lnTo>
                <a:lnTo>
                  <a:pt x="1153" y="809"/>
                </a:lnTo>
                <a:lnTo>
                  <a:pt x="1155" y="815"/>
                </a:lnTo>
                <a:lnTo>
                  <a:pt x="1158" y="819"/>
                </a:lnTo>
                <a:lnTo>
                  <a:pt x="1164" y="826"/>
                </a:lnTo>
                <a:lnTo>
                  <a:pt x="1172" y="835"/>
                </a:lnTo>
                <a:lnTo>
                  <a:pt x="1176" y="841"/>
                </a:lnTo>
                <a:lnTo>
                  <a:pt x="1179" y="846"/>
                </a:lnTo>
                <a:lnTo>
                  <a:pt x="1182" y="851"/>
                </a:lnTo>
                <a:lnTo>
                  <a:pt x="1183" y="855"/>
                </a:lnTo>
                <a:lnTo>
                  <a:pt x="1184" y="860"/>
                </a:lnTo>
                <a:lnTo>
                  <a:pt x="1184" y="866"/>
                </a:lnTo>
                <a:lnTo>
                  <a:pt x="1183" y="873"/>
                </a:lnTo>
                <a:lnTo>
                  <a:pt x="1182" y="879"/>
                </a:lnTo>
                <a:lnTo>
                  <a:pt x="1179" y="885"/>
                </a:lnTo>
                <a:lnTo>
                  <a:pt x="1176" y="891"/>
                </a:lnTo>
                <a:lnTo>
                  <a:pt x="1171" y="895"/>
                </a:lnTo>
                <a:lnTo>
                  <a:pt x="1164" y="897"/>
                </a:lnTo>
                <a:lnTo>
                  <a:pt x="1158" y="898"/>
                </a:lnTo>
                <a:lnTo>
                  <a:pt x="1152" y="901"/>
                </a:lnTo>
                <a:lnTo>
                  <a:pt x="1147" y="903"/>
                </a:lnTo>
                <a:lnTo>
                  <a:pt x="1144" y="907"/>
                </a:lnTo>
                <a:lnTo>
                  <a:pt x="1139" y="914"/>
                </a:lnTo>
                <a:lnTo>
                  <a:pt x="1136" y="922"/>
                </a:lnTo>
                <a:lnTo>
                  <a:pt x="1134" y="929"/>
                </a:lnTo>
                <a:lnTo>
                  <a:pt x="1131" y="933"/>
                </a:lnTo>
                <a:lnTo>
                  <a:pt x="1125" y="934"/>
                </a:lnTo>
                <a:lnTo>
                  <a:pt x="1116" y="935"/>
                </a:lnTo>
                <a:lnTo>
                  <a:pt x="1112" y="936"/>
                </a:lnTo>
                <a:lnTo>
                  <a:pt x="1107" y="939"/>
                </a:lnTo>
                <a:lnTo>
                  <a:pt x="1103" y="942"/>
                </a:lnTo>
                <a:lnTo>
                  <a:pt x="1101" y="946"/>
                </a:lnTo>
                <a:lnTo>
                  <a:pt x="1097" y="949"/>
                </a:lnTo>
                <a:lnTo>
                  <a:pt x="1096" y="954"/>
                </a:lnTo>
                <a:lnTo>
                  <a:pt x="1095" y="959"/>
                </a:lnTo>
                <a:lnTo>
                  <a:pt x="1094" y="965"/>
                </a:lnTo>
                <a:lnTo>
                  <a:pt x="1094" y="975"/>
                </a:lnTo>
                <a:lnTo>
                  <a:pt x="1094" y="987"/>
                </a:lnTo>
                <a:lnTo>
                  <a:pt x="1095" y="998"/>
                </a:lnTo>
                <a:lnTo>
                  <a:pt x="1095" y="1009"/>
                </a:lnTo>
                <a:lnTo>
                  <a:pt x="1091" y="1018"/>
                </a:lnTo>
                <a:lnTo>
                  <a:pt x="1088" y="1029"/>
                </a:lnTo>
                <a:lnTo>
                  <a:pt x="1085" y="1035"/>
                </a:lnTo>
                <a:lnTo>
                  <a:pt x="1084" y="1041"/>
                </a:lnTo>
                <a:lnTo>
                  <a:pt x="1084" y="1046"/>
                </a:lnTo>
                <a:lnTo>
                  <a:pt x="1087" y="1050"/>
                </a:lnTo>
                <a:lnTo>
                  <a:pt x="1089" y="1061"/>
                </a:lnTo>
                <a:lnTo>
                  <a:pt x="1091" y="1072"/>
                </a:lnTo>
                <a:lnTo>
                  <a:pt x="1092" y="1084"/>
                </a:lnTo>
                <a:lnTo>
                  <a:pt x="1094" y="1098"/>
                </a:lnTo>
                <a:lnTo>
                  <a:pt x="1095" y="1105"/>
                </a:lnTo>
                <a:lnTo>
                  <a:pt x="1097" y="1111"/>
                </a:lnTo>
                <a:lnTo>
                  <a:pt x="1101" y="1116"/>
                </a:lnTo>
                <a:lnTo>
                  <a:pt x="1104" y="1119"/>
                </a:lnTo>
                <a:lnTo>
                  <a:pt x="1110" y="1123"/>
                </a:lnTo>
                <a:lnTo>
                  <a:pt x="1116" y="1125"/>
                </a:lnTo>
                <a:lnTo>
                  <a:pt x="1122" y="1126"/>
                </a:lnTo>
                <a:lnTo>
                  <a:pt x="1131" y="1126"/>
                </a:lnTo>
                <a:lnTo>
                  <a:pt x="1136" y="1126"/>
                </a:lnTo>
                <a:lnTo>
                  <a:pt x="1141" y="1128"/>
                </a:lnTo>
                <a:lnTo>
                  <a:pt x="1145" y="1129"/>
                </a:lnTo>
                <a:lnTo>
                  <a:pt x="1147" y="1130"/>
                </a:lnTo>
                <a:lnTo>
                  <a:pt x="1150" y="1136"/>
                </a:lnTo>
                <a:lnTo>
                  <a:pt x="1152" y="1143"/>
                </a:lnTo>
                <a:lnTo>
                  <a:pt x="1154" y="1145"/>
                </a:lnTo>
                <a:lnTo>
                  <a:pt x="1157" y="1148"/>
                </a:lnTo>
                <a:lnTo>
                  <a:pt x="1159" y="1149"/>
                </a:lnTo>
                <a:lnTo>
                  <a:pt x="1161" y="1150"/>
                </a:lnTo>
                <a:lnTo>
                  <a:pt x="1167" y="1149"/>
                </a:lnTo>
                <a:lnTo>
                  <a:pt x="1175" y="1145"/>
                </a:lnTo>
                <a:lnTo>
                  <a:pt x="1178" y="1143"/>
                </a:lnTo>
                <a:lnTo>
                  <a:pt x="1182" y="1142"/>
                </a:lnTo>
                <a:lnTo>
                  <a:pt x="1185" y="1143"/>
                </a:lnTo>
                <a:lnTo>
                  <a:pt x="1186" y="1143"/>
                </a:lnTo>
                <a:lnTo>
                  <a:pt x="1189" y="1145"/>
                </a:lnTo>
                <a:lnTo>
                  <a:pt x="1189" y="1148"/>
                </a:lnTo>
                <a:lnTo>
                  <a:pt x="1189" y="1151"/>
                </a:lnTo>
                <a:lnTo>
                  <a:pt x="1188" y="1156"/>
                </a:lnTo>
                <a:lnTo>
                  <a:pt x="1186" y="1160"/>
                </a:lnTo>
                <a:lnTo>
                  <a:pt x="1186" y="1164"/>
                </a:lnTo>
                <a:lnTo>
                  <a:pt x="1186" y="1168"/>
                </a:lnTo>
                <a:lnTo>
                  <a:pt x="1188" y="1172"/>
                </a:lnTo>
                <a:lnTo>
                  <a:pt x="1192" y="1179"/>
                </a:lnTo>
                <a:lnTo>
                  <a:pt x="1198" y="1187"/>
                </a:lnTo>
                <a:lnTo>
                  <a:pt x="1201" y="1192"/>
                </a:lnTo>
                <a:lnTo>
                  <a:pt x="1204" y="1199"/>
                </a:lnTo>
                <a:lnTo>
                  <a:pt x="1207" y="1206"/>
                </a:lnTo>
                <a:lnTo>
                  <a:pt x="1209" y="1216"/>
                </a:lnTo>
                <a:lnTo>
                  <a:pt x="1215" y="1236"/>
                </a:lnTo>
                <a:lnTo>
                  <a:pt x="1222" y="1257"/>
                </a:lnTo>
                <a:lnTo>
                  <a:pt x="1228" y="1268"/>
                </a:lnTo>
                <a:lnTo>
                  <a:pt x="1234" y="1276"/>
                </a:lnTo>
                <a:lnTo>
                  <a:pt x="1240" y="1283"/>
                </a:lnTo>
                <a:lnTo>
                  <a:pt x="1246" y="1288"/>
                </a:lnTo>
                <a:lnTo>
                  <a:pt x="1257" y="1296"/>
                </a:lnTo>
                <a:lnTo>
                  <a:pt x="1267" y="1304"/>
                </a:lnTo>
                <a:lnTo>
                  <a:pt x="1268" y="1306"/>
                </a:lnTo>
                <a:lnTo>
                  <a:pt x="1270" y="1308"/>
                </a:lnTo>
                <a:lnTo>
                  <a:pt x="1271" y="1309"/>
                </a:lnTo>
                <a:lnTo>
                  <a:pt x="1270" y="1312"/>
                </a:lnTo>
                <a:lnTo>
                  <a:pt x="1267" y="1314"/>
                </a:lnTo>
                <a:lnTo>
                  <a:pt x="1262" y="1317"/>
                </a:lnTo>
                <a:lnTo>
                  <a:pt x="1258" y="1319"/>
                </a:lnTo>
                <a:lnTo>
                  <a:pt x="1253" y="1321"/>
                </a:lnTo>
                <a:lnTo>
                  <a:pt x="1249" y="1325"/>
                </a:lnTo>
                <a:lnTo>
                  <a:pt x="1248" y="1328"/>
                </a:lnTo>
                <a:lnTo>
                  <a:pt x="1249" y="1331"/>
                </a:lnTo>
                <a:lnTo>
                  <a:pt x="1251" y="1333"/>
                </a:lnTo>
                <a:lnTo>
                  <a:pt x="1253" y="1336"/>
                </a:lnTo>
                <a:lnTo>
                  <a:pt x="1257" y="1337"/>
                </a:lnTo>
                <a:lnTo>
                  <a:pt x="1265" y="1338"/>
                </a:lnTo>
                <a:lnTo>
                  <a:pt x="1278" y="1338"/>
                </a:lnTo>
                <a:lnTo>
                  <a:pt x="1284" y="1338"/>
                </a:lnTo>
                <a:lnTo>
                  <a:pt x="1290" y="1338"/>
                </a:lnTo>
                <a:lnTo>
                  <a:pt x="1295" y="1339"/>
                </a:lnTo>
                <a:lnTo>
                  <a:pt x="1298" y="1342"/>
                </a:lnTo>
                <a:lnTo>
                  <a:pt x="1302" y="1344"/>
                </a:lnTo>
                <a:lnTo>
                  <a:pt x="1304" y="1346"/>
                </a:lnTo>
                <a:lnTo>
                  <a:pt x="1306" y="1350"/>
                </a:lnTo>
                <a:lnTo>
                  <a:pt x="1308" y="1353"/>
                </a:lnTo>
                <a:lnTo>
                  <a:pt x="1306" y="1364"/>
                </a:lnTo>
                <a:lnTo>
                  <a:pt x="1304" y="1377"/>
                </a:lnTo>
                <a:lnTo>
                  <a:pt x="1299" y="1393"/>
                </a:lnTo>
                <a:lnTo>
                  <a:pt x="1292" y="1409"/>
                </a:lnTo>
                <a:lnTo>
                  <a:pt x="1285" y="1426"/>
                </a:lnTo>
                <a:lnTo>
                  <a:pt x="1278" y="1444"/>
                </a:lnTo>
                <a:lnTo>
                  <a:pt x="1268" y="1460"/>
                </a:lnTo>
                <a:lnTo>
                  <a:pt x="1259" y="1476"/>
                </a:lnTo>
                <a:lnTo>
                  <a:pt x="1249" y="1490"/>
                </a:lnTo>
                <a:lnTo>
                  <a:pt x="1239" y="1506"/>
                </a:lnTo>
                <a:lnTo>
                  <a:pt x="1234" y="1515"/>
                </a:lnTo>
                <a:lnTo>
                  <a:pt x="1230" y="1523"/>
                </a:lnTo>
                <a:lnTo>
                  <a:pt x="1227" y="1532"/>
                </a:lnTo>
                <a:lnTo>
                  <a:pt x="1224" y="1539"/>
                </a:lnTo>
                <a:lnTo>
                  <a:pt x="1221" y="1553"/>
                </a:lnTo>
                <a:lnTo>
                  <a:pt x="1216" y="1565"/>
                </a:lnTo>
                <a:lnTo>
                  <a:pt x="1209" y="1576"/>
                </a:lnTo>
                <a:lnTo>
                  <a:pt x="1201" y="1584"/>
                </a:lnTo>
                <a:lnTo>
                  <a:pt x="1192" y="1592"/>
                </a:lnTo>
                <a:lnTo>
                  <a:pt x="1186" y="1601"/>
                </a:lnTo>
                <a:lnTo>
                  <a:pt x="1185" y="1605"/>
                </a:lnTo>
                <a:lnTo>
                  <a:pt x="1184" y="1610"/>
                </a:lnTo>
                <a:lnTo>
                  <a:pt x="1184" y="1615"/>
                </a:lnTo>
                <a:lnTo>
                  <a:pt x="1184" y="1620"/>
                </a:lnTo>
                <a:lnTo>
                  <a:pt x="1186" y="1633"/>
                </a:lnTo>
                <a:lnTo>
                  <a:pt x="1188" y="1648"/>
                </a:lnTo>
                <a:lnTo>
                  <a:pt x="1190" y="1665"/>
                </a:lnTo>
                <a:lnTo>
                  <a:pt x="1190" y="1680"/>
                </a:lnTo>
                <a:lnTo>
                  <a:pt x="1190" y="1687"/>
                </a:lnTo>
                <a:lnTo>
                  <a:pt x="1189" y="1693"/>
                </a:lnTo>
                <a:lnTo>
                  <a:pt x="1188" y="1699"/>
                </a:lnTo>
                <a:lnTo>
                  <a:pt x="1185" y="1703"/>
                </a:lnTo>
                <a:lnTo>
                  <a:pt x="1182" y="1706"/>
                </a:lnTo>
                <a:lnTo>
                  <a:pt x="1178" y="1709"/>
                </a:lnTo>
                <a:lnTo>
                  <a:pt x="1173" y="1709"/>
                </a:lnTo>
                <a:lnTo>
                  <a:pt x="1169" y="1709"/>
                </a:lnTo>
                <a:lnTo>
                  <a:pt x="1164" y="1709"/>
                </a:lnTo>
                <a:lnTo>
                  <a:pt x="1160" y="1711"/>
                </a:lnTo>
                <a:lnTo>
                  <a:pt x="1159" y="1714"/>
                </a:lnTo>
                <a:lnTo>
                  <a:pt x="1157" y="1717"/>
                </a:lnTo>
                <a:lnTo>
                  <a:pt x="1155" y="1727"/>
                </a:lnTo>
                <a:lnTo>
                  <a:pt x="1153" y="1737"/>
                </a:lnTo>
                <a:lnTo>
                  <a:pt x="1152" y="1741"/>
                </a:lnTo>
                <a:lnTo>
                  <a:pt x="1148" y="1746"/>
                </a:lnTo>
                <a:lnTo>
                  <a:pt x="1144" y="1750"/>
                </a:lnTo>
                <a:lnTo>
                  <a:pt x="1138" y="1755"/>
                </a:lnTo>
                <a:lnTo>
                  <a:pt x="1131" y="1759"/>
                </a:lnTo>
                <a:lnTo>
                  <a:pt x="1125" y="1761"/>
                </a:lnTo>
                <a:lnTo>
                  <a:pt x="1117" y="1764"/>
                </a:lnTo>
                <a:lnTo>
                  <a:pt x="1112" y="1765"/>
                </a:lnTo>
                <a:lnTo>
                  <a:pt x="1107" y="1765"/>
                </a:lnTo>
                <a:lnTo>
                  <a:pt x="1102" y="1766"/>
                </a:lnTo>
                <a:lnTo>
                  <a:pt x="1100" y="1768"/>
                </a:lnTo>
                <a:lnTo>
                  <a:pt x="1098" y="1769"/>
                </a:lnTo>
                <a:lnTo>
                  <a:pt x="1098" y="1777"/>
                </a:lnTo>
                <a:lnTo>
                  <a:pt x="1098" y="1786"/>
                </a:lnTo>
                <a:lnTo>
                  <a:pt x="1097" y="1796"/>
                </a:lnTo>
                <a:lnTo>
                  <a:pt x="1098" y="1803"/>
                </a:lnTo>
                <a:lnTo>
                  <a:pt x="1101" y="1807"/>
                </a:lnTo>
                <a:lnTo>
                  <a:pt x="1104" y="1811"/>
                </a:lnTo>
                <a:lnTo>
                  <a:pt x="1110" y="1816"/>
                </a:lnTo>
                <a:lnTo>
                  <a:pt x="1119" y="1821"/>
                </a:lnTo>
                <a:lnTo>
                  <a:pt x="1122" y="1823"/>
                </a:lnTo>
                <a:lnTo>
                  <a:pt x="1126" y="1825"/>
                </a:lnTo>
                <a:lnTo>
                  <a:pt x="1128" y="1829"/>
                </a:lnTo>
                <a:lnTo>
                  <a:pt x="1131" y="1831"/>
                </a:lnTo>
                <a:lnTo>
                  <a:pt x="1133" y="1838"/>
                </a:lnTo>
                <a:lnTo>
                  <a:pt x="1133" y="1844"/>
                </a:lnTo>
                <a:lnTo>
                  <a:pt x="1132" y="1859"/>
                </a:lnTo>
                <a:lnTo>
                  <a:pt x="1132" y="1870"/>
                </a:lnTo>
                <a:lnTo>
                  <a:pt x="1134" y="1875"/>
                </a:lnTo>
                <a:lnTo>
                  <a:pt x="1139" y="1880"/>
                </a:lnTo>
                <a:lnTo>
                  <a:pt x="1144" y="1885"/>
                </a:lnTo>
                <a:lnTo>
                  <a:pt x="1150" y="1888"/>
                </a:lnTo>
                <a:lnTo>
                  <a:pt x="1163" y="1895"/>
                </a:lnTo>
                <a:lnTo>
                  <a:pt x="1177" y="1901"/>
                </a:lnTo>
                <a:lnTo>
                  <a:pt x="1182" y="1904"/>
                </a:lnTo>
                <a:lnTo>
                  <a:pt x="1184" y="1907"/>
                </a:lnTo>
                <a:lnTo>
                  <a:pt x="1186" y="1911"/>
                </a:lnTo>
                <a:lnTo>
                  <a:pt x="1189" y="1914"/>
                </a:lnTo>
                <a:lnTo>
                  <a:pt x="1189" y="1919"/>
                </a:lnTo>
                <a:lnTo>
                  <a:pt x="1189" y="1926"/>
                </a:lnTo>
                <a:lnTo>
                  <a:pt x="1189" y="1932"/>
                </a:lnTo>
                <a:lnTo>
                  <a:pt x="1188" y="1939"/>
                </a:lnTo>
                <a:lnTo>
                  <a:pt x="1184" y="1954"/>
                </a:lnTo>
                <a:lnTo>
                  <a:pt x="1180" y="1964"/>
                </a:lnTo>
                <a:lnTo>
                  <a:pt x="1178" y="1980"/>
                </a:lnTo>
                <a:lnTo>
                  <a:pt x="1176" y="1996"/>
                </a:lnTo>
                <a:lnTo>
                  <a:pt x="1173" y="2016"/>
                </a:lnTo>
                <a:lnTo>
                  <a:pt x="1172" y="2032"/>
                </a:lnTo>
                <a:lnTo>
                  <a:pt x="1170" y="2048"/>
                </a:lnTo>
                <a:lnTo>
                  <a:pt x="1170" y="2062"/>
                </a:lnTo>
                <a:lnTo>
                  <a:pt x="1170" y="2068"/>
                </a:lnTo>
                <a:lnTo>
                  <a:pt x="1171" y="2073"/>
                </a:lnTo>
                <a:lnTo>
                  <a:pt x="1172" y="2077"/>
                </a:lnTo>
                <a:lnTo>
                  <a:pt x="1173" y="2080"/>
                </a:lnTo>
                <a:lnTo>
                  <a:pt x="1177" y="2087"/>
                </a:lnTo>
                <a:lnTo>
                  <a:pt x="1178" y="2093"/>
                </a:lnTo>
                <a:lnTo>
                  <a:pt x="1177" y="2095"/>
                </a:lnTo>
                <a:lnTo>
                  <a:pt x="1176" y="2098"/>
                </a:lnTo>
                <a:lnTo>
                  <a:pt x="1173" y="2099"/>
                </a:lnTo>
                <a:lnTo>
                  <a:pt x="1170" y="2099"/>
                </a:lnTo>
                <a:lnTo>
                  <a:pt x="1167" y="2100"/>
                </a:lnTo>
                <a:lnTo>
                  <a:pt x="1164" y="2100"/>
                </a:lnTo>
                <a:lnTo>
                  <a:pt x="1161" y="2101"/>
                </a:lnTo>
                <a:lnTo>
                  <a:pt x="1160" y="2103"/>
                </a:lnTo>
                <a:lnTo>
                  <a:pt x="1158" y="2108"/>
                </a:lnTo>
                <a:lnTo>
                  <a:pt x="1157" y="2114"/>
                </a:lnTo>
                <a:lnTo>
                  <a:pt x="1158" y="2122"/>
                </a:lnTo>
                <a:lnTo>
                  <a:pt x="1160" y="2132"/>
                </a:lnTo>
                <a:lnTo>
                  <a:pt x="1164" y="2143"/>
                </a:lnTo>
                <a:lnTo>
                  <a:pt x="1166" y="2151"/>
                </a:lnTo>
                <a:lnTo>
                  <a:pt x="1167" y="2156"/>
                </a:lnTo>
                <a:lnTo>
                  <a:pt x="1169" y="2158"/>
                </a:lnTo>
                <a:lnTo>
                  <a:pt x="1167" y="2162"/>
                </a:lnTo>
                <a:lnTo>
                  <a:pt x="1166" y="2164"/>
                </a:lnTo>
                <a:lnTo>
                  <a:pt x="1161" y="2168"/>
                </a:lnTo>
                <a:lnTo>
                  <a:pt x="1153" y="2171"/>
                </a:lnTo>
                <a:lnTo>
                  <a:pt x="1150" y="2172"/>
                </a:lnTo>
                <a:lnTo>
                  <a:pt x="1146" y="2174"/>
                </a:lnTo>
                <a:lnTo>
                  <a:pt x="1145" y="2176"/>
                </a:lnTo>
                <a:lnTo>
                  <a:pt x="1144" y="2178"/>
                </a:lnTo>
                <a:lnTo>
                  <a:pt x="1144" y="2183"/>
                </a:lnTo>
                <a:lnTo>
                  <a:pt x="1145" y="2189"/>
                </a:lnTo>
                <a:lnTo>
                  <a:pt x="1148" y="2199"/>
                </a:lnTo>
                <a:lnTo>
                  <a:pt x="1152" y="2210"/>
                </a:lnTo>
                <a:lnTo>
                  <a:pt x="1155" y="2224"/>
                </a:lnTo>
                <a:lnTo>
                  <a:pt x="1158" y="2237"/>
                </a:lnTo>
                <a:lnTo>
                  <a:pt x="1158" y="2245"/>
                </a:lnTo>
                <a:lnTo>
                  <a:pt x="1155" y="2251"/>
                </a:lnTo>
                <a:lnTo>
                  <a:pt x="1152" y="2253"/>
                </a:lnTo>
                <a:lnTo>
                  <a:pt x="1146" y="2253"/>
                </a:lnTo>
                <a:lnTo>
                  <a:pt x="1142" y="2254"/>
                </a:lnTo>
                <a:lnTo>
                  <a:pt x="1140" y="2257"/>
                </a:lnTo>
                <a:lnTo>
                  <a:pt x="1138" y="2259"/>
                </a:lnTo>
                <a:lnTo>
                  <a:pt x="1135" y="2264"/>
                </a:lnTo>
                <a:lnTo>
                  <a:pt x="1131" y="2276"/>
                </a:lnTo>
                <a:lnTo>
                  <a:pt x="1122" y="2292"/>
                </a:lnTo>
                <a:lnTo>
                  <a:pt x="1116" y="2301"/>
                </a:lnTo>
                <a:lnTo>
                  <a:pt x="1109" y="2309"/>
                </a:lnTo>
                <a:lnTo>
                  <a:pt x="1101" y="2315"/>
                </a:lnTo>
                <a:lnTo>
                  <a:pt x="1092" y="2320"/>
                </a:lnTo>
                <a:lnTo>
                  <a:pt x="1085" y="2323"/>
                </a:lnTo>
                <a:lnTo>
                  <a:pt x="1078" y="2326"/>
                </a:lnTo>
                <a:lnTo>
                  <a:pt x="1071" y="2327"/>
                </a:lnTo>
                <a:lnTo>
                  <a:pt x="1066" y="2327"/>
                </a:lnTo>
                <a:lnTo>
                  <a:pt x="1062" y="2327"/>
                </a:lnTo>
                <a:lnTo>
                  <a:pt x="1058" y="2327"/>
                </a:lnTo>
                <a:lnTo>
                  <a:pt x="1056" y="2328"/>
                </a:lnTo>
                <a:lnTo>
                  <a:pt x="1053" y="2329"/>
                </a:lnTo>
                <a:lnTo>
                  <a:pt x="1051" y="2332"/>
                </a:lnTo>
                <a:lnTo>
                  <a:pt x="1051" y="2335"/>
                </a:lnTo>
                <a:lnTo>
                  <a:pt x="1051" y="2339"/>
                </a:lnTo>
                <a:lnTo>
                  <a:pt x="1052" y="2344"/>
                </a:lnTo>
                <a:lnTo>
                  <a:pt x="1053" y="2347"/>
                </a:lnTo>
                <a:lnTo>
                  <a:pt x="1052" y="2349"/>
                </a:lnTo>
                <a:lnTo>
                  <a:pt x="1050" y="2351"/>
                </a:lnTo>
                <a:lnTo>
                  <a:pt x="1047" y="2352"/>
                </a:lnTo>
                <a:lnTo>
                  <a:pt x="1039" y="2349"/>
                </a:lnTo>
                <a:lnTo>
                  <a:pt x="1031" y="2347"/>
                </a:lnTo>
                <a:lnTo>
                  <a:pt x="1027" y="2347"/>
                </a:lnTo>
                <a:lnTo>
                  <a:pt x="1024" y="2348"/>
                </a:lnTo>
                <a:lnTo>
                  <a:pt x="1020" y="2351"/>
                </a:lnTo>
                <a:lnTo>
                  <a:pt x="1018" y="2353"/>
                </a:lnTo>
                <a:lnTo>
                  <a:pt x="1010" y="2361"/>
                </a:lnTo>
                <a:lnTo>
                  <a:pt x="1005" y="2371"/>
                </a:lnTo>
                <a:lnTo>
                  <a:pt x="1000" y="2380"/>
                </a:lnTo>
                <a:lnTo>
                  <a:pt x="994" y="2390"/>
                </a:lnTo>
                <a:lnTo>
                  <a:pt x="990" y="2395"/>
                </a:lnTo>
                <a:lnTo>
                  <a:pt x="988" y="2397"/>
                </a:lnTo>
                <a:lnTo>
                  <a:pt x="986" y="2399"/>
                </a:lnTo>
                <a:lnTo>
                  <a:pt x="983" y="2399"/>
                </a:lnTo>
                <a:lnTo>
                  <a:pt x="978" y="2397"/>
                </a:lnTo>
                <a:lnTo>
                  <a:pt x="974" y="2393"/>
                </a:lnTo>
                <a:lnTo>
                  <a:pt x="968" y="2391"/>
                </a:lnTo>
                <a:lnTo>
                  <a:pt x="959" y="2390"/>
                </a:lnTo>
                <a:lnTo>
                  <a:pt x="955" y="2391"/>
                </a:lnTo>
                <a:lnTo>
                  <a:pt x="952" y="2392"/>
                </a:lnTo>
                <a:lnTo>
                  <a:pt x="951" y="2395"/>
                </a:lnTo>
                <a:lnTo>
                  <a:pt x="950" y="2398"/>
                </a:lnTo>
                <a:lnTo>
                  <a:pt x="951" y="2405"/>
                </a:lnTo>
                <a:lnTo>
                  <a:pt x="951" y="2412"/>
                </a:lnTo>
                <a:lnTo>
                  <a:pt x="950" y="2417"/>
                </a:lnTo>
                <a:lnTo>
                  <a:pt x="947" y="2420"/>
                </a:lnTo>
                <a:lnTo>
                  <a:pt x="943" y="2423"/>
                </a:lnTo>
                <a:lnTo>
                  <a:pt x="937" y="2426"/>
                </a:lnTo>
                <a:lnTo>
                  <a:pt x="931" y="2428"/>
                </a:lnTo>
                <a:lnTo>
                  <a:pt x="924" y="2429"/>
                </a:lnTo>
                <a:lnTo>
                  <a:pt x="915" y="2429"/>
                </a:lnTo>
                <a:lnTo>
                  <a:pt x="908" y="2429"/>
                </a:lnTo>
                <a:lnTo>
                  <a:pt x="901" y="2429"/>
                </a:lnTo>
                <a:lnTo>
                  <a:pt x="895" y="2429"/>
                </a:lnTo>
                <a:lnTo>
                  <a:pt x="892" y="2430"/>
                </a:lnTo>
                <a:lnTo>
                  <a:pt x="888" y="2432"/>
                </a:lnTo>
                <a:lnTo>
                  <a:pt x="882" y="2436"/>
                </a:lnTo>
                <a:lnTo>
                  <a:pt x="876" y="2441"/>
                </a:lnTo>
                <a:lnTo>
                  <a:pt x="873" y="2443"/>
                </a:lnTo>
                <a:lnTo>
                  <a:pt x="869" y="2445"/>
                </a:lnTo>
                <a:lnTo>
                  <a:pt x="864" y="2445"/>
                </a:lnTo>
                <a:lnTo>
                  <a:pt x="859" y="2443"/>
                </a:lnTo>
                <a:lnTo>
                  <a:pt x="855" y="2441"/>
                </a:lnTo>
                <a:lnTo>
                  <a:pt x="850" y="2439"/>
                </a:lnTo>
                <a:lnTo>
                  <a:pt x="845" y="2436"/>
                </a:lnTo>
                <a:lnTo>
                  <a:pt x="840" y="2433"/>
                </a:lnTo>
                <a:lnTo>
                  <a:pt x="837" y="2429"/>
                </a:lnTo>
                <a:lnTo>
                  <a:pt x="833" y="2429"/>
                </a:lnTo>
                <a:lnTo>
                  <a:pt x="830" y="2429"/>
                </a:lnTo>
                <a:lnTo>
                  <a:pt x="826" y="2432"/>
                </a:lnTo>
                <a:lnTo>
                  <a:pt x="820" y="2437"/>
                </a:lnTo>
                <a:lnTo>
                  <a:pt x="816" y="2442"/>
                </a:lnTo>
                <a:lnTo>
                  <a:pt x="813" y="2445"/>
                </a:lnTo>
                <a:lnTo>
                  <a:pt x="807" y="2446"/>
                </a:lnTo>
                <a:lnTo>
                  <a:pt x="800" y="2446"/>
                </a:lnTo>
                <a:lnTo>
                  <a:pt x="793" y="2446"/>
                </a:lnTo>
                <a:lnTo>
                  <a:pt x="775" y="2446"/>
                </a:lnTo>
                <a:lnTo>
                  <a:pt x="760" y="2446"/>
                </a:lnTo>
                <a:lnTo>
                  <a:pt x="744" y="2447"/>
                </a:lnTo>
                <a:lnTo>
                  <a:pt x="728" y="2447"/>
                </a:lnTo>
                <a:lnTo>
                  <a:pt x="719" y="2447"/>
                </a:lnTo>
                <a:lnTo>
                  <a:pt x="712" y="2447"/>
                </a:lnTo>
                <a:lnTo>
                  <a:pt x="707" y="2446"/>
                </a:lnTo>
                <a:lnTo>
                  <a:pt x="704" y="2445"/>
                </a:lnTo>
                <a:lnTo>
                  <a:pt x="699" y="2441"/>
                </a:lnTo>
                <a:lnTo>
                  <a:pt x="692" y="2440"/>
                </a:lnTo>
                <a:lnTo>
                  <a:pt x="685" y="2439"/>
                </a:lnTo>
                <a:lnTo>
                  <a:pt x="675" y="2437"/>
                </a:lnTo>
                <a:lnTo>
                  <a:pt x="661" y="2430"/>
                </a:lnTo>
                <a:lnTo>
                  <a:pt x="643" y="2421"/>
                </a:lnTo>
                <a:lnTo>
                  <a:pt x="637" y="2421"/>
                </a:lnTo>
                <a:lnTo>
                  <a:pt x="631" y="2422"/>
                </a:lnTo>
                <a:lnTo>
                  <a:pt x="628" y="2424"/>
                </a:lnTo>
                <a:lnTo>
                  <a:pt x="624" y="2428"/>
                </a:lnTo>
                <a:lnTo>
                  <a:pt x="619" y="2436"/>
                </a:lnTo>
                <a:lnTo>
                  <a:pt x="616" y="2445"/>
                </a:lnTo>
                <a:lnTo>
                  <a:pt x="615" y="2448"/>
                </a:lnTo>
                <a:lnTo>
                  <a:pt x="615" y="2453"/>
                </a:lnTo>
                <a:lnTo>
                  <a:pt x="615" y="2458"/>
                </a:lnTo>
                <a:lnTo>
                  <a:pt x="615" y="2462"/>
                </a:lnTo>
                <a:lnTo>
                  <a:pt x="617" y="2471"/>
                </a:lnTo>
                <a:lnTo>
                  <a:pt x="619" y="2481"/>
                </a:lnTo>
                <a:lnTo>
                  <a:pt x="621" y="2486"/>
                </a:lnTo>
                <a:lnTo>
                  <a:pt x="621" y="2493"/>
                </a:lnTo>
                <a:lnTo>
                  <a:pt x="619" y="2500"/>
                </a:lnTo>
                <a:lnTo>
                  <a:pt x="618" y="2508"/>
                </a:lnTo>
                <a:lnTo>
                  <a:pt x="616" y="2515"/>
                </a:lnTo>
                <a:lnTo>
                  <a:pt x="615" y="2519"/>
                </a:lnTo>
                <a:lnTo>
                  <a:pt x="613" y="2523"/>
                </a:lnTo>
                <a:lnTo>
                  <a:pt x="612" y="2525"/>
                </a:lnTo>
                <a:lnTo>
                  <a:pt x="611" y="2524"/>
                </a:lnTo>
                <a:lnTo>
                  <a:pt x="609" y="2522"/>
                </a:lnTo>
                <a:lnTo>
                  <a:pt x="606" y="2519"/>
                </a:lnTo>
                <a:lnTo>
                  <a:pt x="603" y="2517"/>
                </a:lnTo>
                <a:lnTo>
                  <a:pt x="599" y="2516"/>
                </a:lnTo>
                <a:lnTo>
                  <a:pt x="594" y="2515"/>
                </a:lnTo>
                <a:lnTo>
                  <a:pt x="583" y="2514"/>
                </a:lnTo>
                <a:lnTo>
                  <a:pt x="569" y="2514"/>
                </a:lnTo>
                <a:lnTo>
                  <a:pt x="562" y="2515"/>
                </a:lnTo>
                <a:lnTo>
                  <a:pt x="556" y="2516"/>
                </a:lnTo>
                <a:lnTo>
                  <a:pt x="550" y="2518"/>
                </a:lnTo>
                <a:lnTo>
                  <a:pt x="547" y="2519"/>
                </a:lnTo>
                <a:lnTo>
                  <a:pt x="541" y="2525"/>
                </a:lnTo>
                <a:lnTo>
                  <a:pt x="535" y="2531"/>
                </a:lnTo>
                <a:lnTo>
                  <a:pt x="528" y="2538"/>
                </a:lnTo>
                <a:lnTo>
                  <a:pt x="520" y="2543"/>
                </a:lnTo>
                <a:lnTo>
                  <a:pt x="512" y="2547"/>
                </a:lnTo>
                <a:lnTo>
                  <a:pt x="505" y="2549"/>
                </a:lnTo>
                <a:lnTo>
                  <a:pt x="502" y="2552"/>
                </a:lnTo>
                <a:lnTo>
                  <a:pt x="498" y="2555"/>
                </a:lnTo>
                <a:lnTo>
                  <a:pt x="496" y="2560"/>
                </a:lnTo>
                <a:lnTo>
                  <a:pt x="495" y="2565"/>
                </a:lnTo>
                <a:lnTo>
                  <a:pt x="493" y="2569"/>
                </a:lnTo>
                <a:lnTo>
                  <a:pt x="491" y="2573"/>
                </a:lnTo>
                <a:lnTo>
                  <a:pt x="487" y="2577"/>
                </a:lnTo>
                <a:lnTo>
                  <a:pt x="483" y="2581"/>
                </a:lnTo>
                <a:lnTo>
                  <a:pt x="472" y="2597"/>
                </a:lnTo>
                <a:lnTo>
                  <a:pt x="458" y="2613"/>
                </a:lnTo>
                <a:lnTo>
                  <a:pt x="453" y="2617"/>
                </a:lnTo>
                <a:lnTo>
                  <a:pt x="446" y="2620"/>
                </a:lnTo>
                <a:lnTo>
                  <a:pt x="437" y="2623"/>
                </a:lnTo>
                <a:lnTo>
                  <a:pt x="428" y="2625"/>
                </a:lnTo>
                <a:lnTo>
                  <a:pt x="407" y="2630"/>
                </a:lnTo>
                <a:lnTo>
                  <a:pt x="386" y="2632"/>
                </a:lnTo>
                <a:lnTo>
                  <a:pt x="370" y="2635"/>
                </a:lnTo>
                <a:lnTo>
                  <a:pt x="354" y="2637"/>
                </a:lnTo>
                <a:lnTo>
                  <a:pt x="340" y="2640"/>
                </a:lnTo>
                <a:lnTo>
                  <a:pt x="328" y="2642"/>
                </a:lnTo>
                <a:lnTo>
                  <a:pt x="322" y="2643"/>
                </a:lnTo>
                <a:lnTo>
                  <a:pt x="317" y="2644"/>
                </a:lnTo>
                <a:lnTo>
                  <a:pt x="313" y="2647"/>
                </a:lnTo>
                <a:lnTo>
                  <a:pt x="309" y="2649"/>
                </a:lnTo>
                <a:lnTo>
                  <a:pt x="302" y="2654"/>
                </a:lnTo>
                <a:lnTo>
                  <a:pt x="296" y="2661"/>
                </a:lnTo>
                <a:lnTo>
                  <a:pt x="288" y="2667"/>
                </a:lnTo>
                <a:lnTo>
                  <a:pt x="277" y="2673"/>
                </a:lnTo>
                <a:lnTo>
                  <a:pt x="266" y="2676"/>
                </a:lnTo>
                <a:lnTo>
                  <a:pt x="257" y="2679"/>
                </a:lnTo>
                <a:lnTo>
                  <a:pt x="248" y="2680"/>
                </a:lnTo>
                <a:lnTo>
                  <a:pt x="240" y="2682"/>
                </a:lnTo>
                <a:lnTo>
                  <a:pt x="233" y="2686"/>
                </a:lnTo>
                <a:lnTo>
                  <a:pt x="227" y="2689"/>
                </a:lnTo>
                <a:lnTo>
                  <a:pt x="222" y="2694"/>
                </a:lnTo>
                <a:lnTo>
                  <a:pt x="216" y="2699"/>
                </a:lnTo>
                <a:lnTo>
                  <a:pt x="207" y="2704"/>
                </a:lnTo>
                <a:lnTo>
                  <a:pt x="196" y="2707"/>
                </a:lnTo>
                <a:lnTo>
                  <a:pt x="184" y="2710"/>
                </a:lnTo>
                <a:lnTo>
                  <a:pt x="175" y="2714"/>
                </a:lnTo>
                <a:lnTo>
                  <a:pt x="166" y="2719"/>
                </a:lnTo>
                <a:lnTo>
                  <a:pt x="158" y="2725"/>
                </a:lnTo>
                <a:lnTo>
                  <a:pt x="153" y="2729"/>
                </a:lnTo>
                <a:lnTo>
                  <a:pt x="147" y="2731"/>
                </a:lnTo>
                <a:lnTo>
                  <a:pt x="139" y="2733"/>
                </a:lnTo>
                <a:lnTo>
                  <a:pt x="131" y="2735"/>
                </a:lnTo>
                <a:lnTo>
                  <a:pt x="111" y="2736"/>
                </a:lnTo>
                <a:lnTo>
                  <a:pt x="92" y="2737"/>
                </a:lnTo>
                <a:lnTo>
                  <a:pt x="78" y="2737"/>
                </a:lnTo>
                <a:lnTo>
                  <a:pt x="65" y="2738"/>
                </a:lnTo>
                <a:lnTo>
                  <a:pt x="52" y="2738"/>
                </a:lnTo>
                <a:lnTo>
                  <a:pt x="39" y="2738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8" name="吉林"/>
          <p:cNvSpPr/>
          <p:nvPr/>
        </p:nvSpPr>
        <p:spPr bwMode="auto">
          <a:xfrm>
            <a:off x="7694930" y="1478915"/>
            <a:ext cx="1263015" cy="935990"/>
          </a:xfrm>
          <a:custGeom>
            <a:avLst/>
            <a:gdLst>
              <a:gd name="T0" fmla="*/ 3049 w 3070"/>
              <a:gd name="T1" fmla="*/ 1066 h 2270"/>
              <a:gd name="T2" fmla="*/ 2912 w 3070"/>
              <a:gd name="T3" fmla="*/ 1134 h 2270"/>
              <a:gd name="T4" fmla="*/ 2939 w 3070"/>
              <a:gd name="T5" fmla="*/ 1241 h 2270"/>
              <a:gd name="T6" fmla="*/ 2898 w 3070"/>
              <a:gd name="T7" fmla="*/ 1258 h 2270"/>
              <a:gd name="T8" fmla="*/ 2808 w 3070"/>
              <a:gd name="T9" fmla="*/ 1144 h 2270"/>
              <a:gd name="T10" fmla="*/ 2698 w 3070"/>
              <a:gd name="T11" fmla="*/ 1099 h 2270"/>
              <a:gd name="T12" fmla="*/ 2672 w 3070"/>
              <a:gd name="T13" fmla="*/ 1361 h 2270"/>
              <a:gd name="T14" fmla="*/ 2561 w 3070"/>
              <a:gd name="T15" fmla="*/ 1389 h 2270"/>
              <a:gd name="T16" fmla="*/ 2456 w 3070"/>
              <a:gd name="T17" fmla="*/ 1597 h 2270"/>
              <a:gd name="T18" fmla="*/ 2264 w 3070"/>
              <a:gd name="T19" fmla="*/ 1629 h 2270"/>
              <a:gd name="T20" fmla="*/ 2260 w 3070"/>
              <a:gd name="T21" fmla="*/ 1775 h 2270"/>
              <a:gd name="T22" fmla="*/ 2242 w 3070"/>
              <a:gd name="T23" fmla="*/ 1913 h 2270"/>
              <a:gd name="T24" fmla="*/ 2009 w 3070"/>
              <a:gd name="T25" fmla="*/ 1932 h 2270"/>
              <a:gd name="T26" fmla="*/ 1914 w 3070"/>
              <a:gd name="T27" fmla="*/ 1860 h 2270"/>
              <a:gd name="T28" fmla="*/ 1833 w 3070"/>
              <a:gd name="T29" fmla="*/ 1849 h 2270"/>
              <a:gd name="T30" fmla="*/ 1760 w 3070"/>
              <a:gd name="T31" fmla="*/ 1980 h 2270"/>
              <a:gd name="T32" fmla="*/ 1688 w 3070"/>
              <a:gd name="T33" fmla="*/ 2138 h 2270"/>
              <a:gd name="T34" fmla="*/ 1572 w 3070"/>
              <a:gd name="T35" fmla="*/ 2264 h 2270"/>
              <a:gd name="T36" fmla="*/ 1532 w 3070"/>
              <a:gd name="T37" fmla="*/ 2213 h 2270"/>
              <a:gd name="T38" fmla="*/ 1513 w 3070"/>
              <a:gd name="T39" fmla="*/ 2111 h 2270"/>
              <a:gd name="T40" fmla="*/ 1364 w 3070"/>
              <a:gd name="T41" fmla="*/ 1935 h 2270"/>
              <a:gd name="T42" fmla="*/ 1373 w 3070"/>
              <a:gd name="T43" fmla="*/ 1725 h 2270"/>
              <a:gd name="T44" fmla="*/ 1272 w 3070"/>
              <a:gd name="T45" fmla="*/ 1660 h 2270"/>
              <a:gd name="T46" fmla="*/ 1194 w 3070"/>
              <a:gd name="T47" fmla="*/ 1540 h 2270"/>
              <a:gd name="T48" fmla="*/ 1128 w 3070"/>
              <a:gd name="T49" fmla="*/ 1391 h 2270"/>
              <a:gd name="T50" fmla="*/ 1005 w 3070"/>
              <a:gd name="T51" fmla="*/ 1471 h 2270"/>
              <a:gd name="T52" fmla="*/ 986 w 3070"/>
              <a:gd name="T53" fmla="*/ 1381 h 2270"/>
              <a:gd name="T54" fmla="*/ 814 w 3070"/>
              <a:gd name="T55" fmla="*/ 1271 h 2270"/>
              <a:gd name="T56" fmla="*/ 697 w 3070"/>
              <a:gd name="T57" fmla="*/ 1273 h 2270"/>
              <a:gd name="T58" fmla="*/ 677 w 3070"/>
              <a:gd name="T59" fmla="*/ 1175 h 2270"/>
              <a:gd name="T60" fmla="*/ 599 w 3070"/>
              <a:gd name="T61" fmla="*/ 972 h 2270"/>
              <a:gd name="T62" fmla="*/ 463 w 3070"/>
              <a:gd name="T63" fmla="*/ 828 h 2270"/>
              <a:gd name="T64" fmla="*/ 253 w 3070"/>
              <a:gd name="T65" fmla="*/ 865 h 2270"/>
              <a:gd name="T66" fmla="*/ 182 w 3070"/>
              <a:gd name="T67" fmla="*/ 740 h 2270"/>
              <a:gd name="T68" fmla="*/ 191 w 3070"/>
              <a:gd name="T69" fmla="*/ 534 h 2270"/>
              <a:gd name="T70" fmla="*/ 102 w 3070"/>
              <a:gd name="T71" fmla="*/ 366 h 2270"/>
              <a:gd name="T72" fmla="*/ 31 w 3070"/>
              <a:gd name="T73" fmla="*/ 286 h 2270"/>
              <a:gd name="T74" fmla="*/ 95 w 3070"/>
              <a:gd name="T75" fmla="*/ 214 h 2270"/>
              <a:gd name="T76" fmla="*/ 236 w 3070"/>
              <a:gd name="T77" fmla="*/ 229 h 2270"/>
              <a:gd name="T78" fmla="*/ 319 w 3070"/>
              <a:gd name="T79" fmla="*/ 154 h 2270"/>
              <a:gd name="T80" fmla="*/ 441 w 3070"/>
              <a:gd name="T81" fmla="*/ 45 h 2270"/>
              <a:gd name="T82" fmla="*/ 627 w 3070"/>
              <a:gd name="T83" fmla="*/ 1 h 2270"/>
              <a:gd name="T84" fmla="*/ 692 w 3070"/>
              <a:gd name="T85" fmla="*/ 161 h 2270"/>
              <a:gd name="T86" fmla="*/ 851 w 3070"/>
              <a:gd name="T87" fmla="*/ 350 h 2270"/>
              <a:gd name="T88" fmla="*/ 1017 w 3070"/>
              <a:gd name="T89" fmla="*/ 300 h 2270"/>
              <a:gd name="T90" fmla="*/ 1169 w 3070"/>
              <a:gd name="T91" fmla="*/ 275 h 2270"/>
              <a:gd name="T92" fmla="*/ 1297 w 3070"/>
              <a:gd name="T93" fmla="*/ 387 h 2270"/>
              <a:gd name="T94" fmla="*/ 1532 w 3070"/>
              <a:gd name="T95" fmla="*/ 342 h 2270"/>
              <a:gd name="T96" fmla="*/ 1685 w 3070"/>
              <a:gd name="T97" fmla="*/ 452 h 2270"/>
              <a:gd name="T98" fmla="*/ 1715 w 3070"/>
              <a:gd name="T99" fmla="*/ 600 h 2270"/>
              <a:gd name="T100" fmla="*/ 1848 w 3070"/>
              <a:gd name="T101" fmla="*/ 583 h 2270"/>
              <a:gd name="T102" fmla="*/ 1909 w 3070"/>
              <a:gd name="T103" fmla="*/ 738 h 2270"/>
              <a:gd name="T104" fmla="*/ 2029 w 3070"/>
              <a:gd name="T105" fmla="*/ 723 h 2270"/>
              <a:gd name="T106" fmla="*/ 2085 w 3070"/>
              <a:gd name="T107" fmla="*/ 562 h 2270"/>
              <a:gd name="T108" fmla="*/ 2236 w 3070"/>
              <a:gd name="T109" fmla="*/ 802 h 2270"/>
              <a:gd name="T110" fmla="*/ 2365 w 3070"/>
              <a:gd name="T111" fmla="*/ 929 h 2270"/>
              <a:gd name="T112" fmla="*/ 2443 w 3070"/>
              <a:gd name="T113" fmla="*/ 798 h 2270"/>
              <a:gd name="T114" fmla="*/ 2599 w 3070"/>
              <a:gd name="T115" fmla="*/ 669 h 2270"/>
              <a:gd name="T116" fmla="*/ 2722 w 3070"/>
              <a:gd name="T117" fmla="*/ 632 h 2270"/>
              <a:gd name="T118" fmla="*/ 2797 w 3070"/>
              <a:gd name="T119" fmla="*/ 789 h 2270"/>
              <a:gd name="T120" fmla="*/ 2968 w 3070"/>
              <a:gd name="T121" fmla="*/ 823 h 2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70" h="2270">
                <a:moveTo>
                  <a:pt x="3067" y="833"/>
                </a:moveTo>
                <a:lnTo>
                  <a:pt x="3069" y="846"/>
                </a:lnTo>
                <a:lnTo>
                  <a:pt x="3070" y="859"/>
                </a:lnTo>
                <a:lnTo>
                  <a:pt x="3070" y="874"/>
                </a:lnTo>
                <a:lnTo>
                  <a:pt x="3069" y="890"/>
                </a:lnTo>
                <a:lnTo>
                  <a:pt x="3067" y="912"/>
                </a:lnTo>
                <a:lnTo>
                  <a:pt x="3065" y="937"/>
                </a:lnTo>
                <a:lnTo>
                  <a:pt x="3064" y="949"/>
                </a:lnTo>
                <a:lnTo>
                  <a:pt x="3063" y="960"/>
                </a:lnTo>
                <a:lnTo>
                  <a:pt x="3062" y="970"/>
                </a:lnTo>
                <a:lnTo>
                  <a:pt x="3060" y="977"/>
                </a:lnTo>
                <a:lnTo>
                  <a:pt x="3055" y="989"/>
                </a:lnTo>
                <a:lnTo>
                  <a:pt x="3049" y="997"/>
                </a:lnTo>
                <a:lnTo>
                  <a:pt x="3048" y="1000"/>
                </a:lnTo>
                <a:lnTo>
                  <a:pt x="3045" y="1005"/>
                </a:lnTo>
                <a:lnTo>
                  <a:pt x="3044" y="1010"/>
                </a:lnTo>
                <a:lnTo>
                  <a:pt x="3044" y="1015"/>
                </a:lnTo>
                <a:lnTo>
                  <a:pt x="3044" y="1024"/>
                </a:lnTo>
                <a:lnTo>
                  <a:pt x="3048" y="1034"/>
                </a:lnTo>
                <a:lnTo>
                  <a:pt x="3050" y="1041"/>
                </a:lnTo>
                <a:lnTo>
                  <a:pt x="3054" y="1048"/>
                </a:lnTo>
                <a:lnTo>
                  <a:pt x="3056" y="1054"/>
                </a:lnTo>
                <a:lnTo>
                  <a:pt x="3056" y="1060"/>
                </a:lnTo>
                <a:lnTo>
                  <a:pt x="3056" y="1062"/>
                </a:lnTo>
                <a:lnTo>
                  <a:pt x="3055" y="1065"/>
                </a:lnTo>
                <a:lnTo>
                  <a:pt x="3052" y="1066"/>
                </a:lnTo>
                <a:lnTo>
                  <a:pt x="3049" y="1066"/>
                </a:lnTo>
                <a:lnTo>
                  <a:pt x="3042" y="1063"/>
                </a:lnTo>
                <a:lnTo>
                  <a:pt x="3036" y="1062"/>
                </a:lnTo>
                <a:lnTo>
                  <a:pt x="3031" y="1062"/>
                </a:lnTo>
                <a:lnTo>
                  <a:pt x="3027" y="1063"/>
                </a:lnTo>
                <a:lnTo>
                  <a:pt x="3026" y="1063"/>
                </a:lnTo>
                <a:lnTo>
                  <a:pt x="3026" y="1065"/>
                </a:lnTo>
                <a:lnTo>
                  <a:pt x="3027" y="1066"/>
                </a:lnTo>
                <a:lnTo>
                  <a:pt x="3027" y="1067"/>
                </a:lnTo>
                <a:lnTo>
                  <a:pt x="3031" y="1071"/>
                </a:lnTo>
                <a:lnTo>
                  <a:pt x="3033" y="1075"/>
                </a:lnTo>
                <a:lnTo>
                  <a:pt x="3036" y="1080"/>
                </a:lnTo>
                <a:lnTo>
                  <a:pt x="3036" y="1085"/>
                </a:lnTo>
                <a:lnTo>
                  <a:pt x="3035" y="1087"/>
                </a:lnTo>
                <a:lnTo>
                  <a:pt x="3032" y="1090"/>
                </a:lnTo>
                <a:lnTo>
                  <a:pt x="3026" y="1092"/>
                </a:lnTo>
                <a:lnTo>
                  <a:pt x="3019" y="1095"/>
                </a:lnTo>
                <a:lnTo>
                  <a:pt x="3004" y="1100"/>
                </a:lnTo>
                <a:lnTo>
                  <a:pt x="2991" y="1105"/>
                </a:lnTo>
                <a:lnTo>
                  <a:pt x="2979" y="1110"/>
                </a:lnTo>
                <a:lnTo>
                  <a:pt x="2966" y="1116"/>
                </a:lnTo>
                <a:lnTo>
                  <a:pt x="2954" y="1122"/>
                </a:lnTo>
                <a:lnTo>
                  <a:pt x="2948" y="1125"/>
                </a:lnTo>
                <a:lnTo>
                  <a:pt x="2943" y="1126"/>
                </a:lnTo>
                <a:lnTo>
                  <a:pt x="2935" y="1126"/>
                </a:lnTo>
                <a:lnTo>
                  <a:pt x="2924" y="1128"/>
                </a:lnTo>
                <a:lnTo>
                  <a:pt x="2917" y="1130"/>
                </a:lnTo>
                <a:lnTo>
                  <a:pt x="2912" y="1134"/>
                </a:lnTo>
                <a:lnTo>
                  <a:pt x="2907" y="1139"/>
                </a:lnTo>
                <a:lnTo>
                  <a:pt x="2901" y="1149"/>
                </a:lnTo>
                <a:lnTo>
                  <a:pt x="2893" y="1158"/>
                </a:lnTo>
                <a:lnTo>
                  <a:pt x="2885" y="1169"/>
                </a:lnTo>
                <a:lnTo>
                  <a:pt x="2876" y="1176"/>
                </a:lnTo>
                <a:lnTo>
                  <a:pt x="2872" y="1179"/>
                </a:lnTo>
                <a:lnTo>
                  <a:pt x="2869" y="1182"/>
                </a:lnTo>
                <a:lnTo>
                  <a:pt x="2867" y="1186"/>
                </a:lnTo>
                <a:lnTo>
                  <a:pt x="2866" y="1189"/>
                </a:lnTo>
                <a:lnTo>
                  <a:pt x="2866" y="1192"/>
                </a:lnTo>
                <a:lnTo>
                  <a:pt x="2868" y="1195"/>
                </a:lnTo>
                <a:lnTo>
                  <a:pt x="2871" y="1198"/>
                </a:lnTo>
                <a:lnTo>
                  <a:pt x="2875" y="1199"/>
                </a:lnTo>
                <a:lnTo>
                  <a:pt x="2885" y="1199"/>
                </a:lnTo>
                <a:lnTo>
                  <a:pt x="2892" y="1198"/>
                </a:lnTo>
                <a:lnTo>
                  <a:pt x="2899" y="1194"/>
                </a:lnTo>
                <a:lnTo>
                  <a:pt x="2905" y="1191"/>
                </a:lnTo>
                <a:lnTo>
                  <a:pt x="2907" y="1191"/>
                </a:lnTo>
                <a:lnTo>
                  <a:pt x="2910" y="1191"/>
                </a:lnTo>
                <a:lnTo>
                  <a:pt x="2912" y="1192"/>
                </a:lnTo>
                <a:lnTo>
                  <a:pt x="2916" y="1193"/>
                </a:lnTo>
                <a:lnTo>
                  <a:pt x="2922" y="1201"/>
                </a:lnTo>
                <a:lnTo>
                  <a:pt x="2926" y="1212"/>
                </a:lnTo>
                <a:lnTo>
                  <a:pt x="2932" y="1223"/>
                </a:lnTo>
                <a:lnTo>
                  <a:pt x="2937" y="1232"/>
                </a:lnTo>
                <a:lnTo>
                  <a:pt x="2938" y="1236"/>
                </a:lnTo>
                <a:lnTo>
                  <a:pt x="2939" y="1241"/>
                </a:lnTo>
                <a:lnTo>
                  <a:pt x="2941" y="1244"/>
                </a:lnTo>
                <a:lnTo>
                  <a:pt x="2941" y="1250"/>
                </a:lnTo>
                <a:lnTo>
                  <a:pt x="2938" y="1258"/>
                </a:lnTo>
                <a:lnTo>
                  <a:pt x="2937" y="1267"/>
                </a:lnTo>
                <a:lnTo>
                  <a:pt x="2948" y="1283"/>
                </a:lnTo>
                <a:lnTo>
                  <a:pt x="2961" y="1300"/>
                </a:lnTo>
                <a:lnTo>
                  <a:pt x="2963" y="1303"/>
                </a:lnTo>
                <a:lnTo>
                  <a:pt x="2964" y="1307"/>
                </a:lnTo>
                <a:lnTo>
                  <a:pt x="2964" y="1309"/>
                </a:lnTo>
                <a:lnTo>
                  <a:pt x="2964" y="1312"/>
                </a:lnTo>
                <a:lnTo>
                  <a:pt x="2962" y="1313"/>
                </a:lnTo>
                <a:lnTo>
                  <a:pt x="2961" y="1314"/>
                </a:lnTo>
                <a:lnTo>
                  <a:pt x="2954" y="1311"/>
                </a:lnTo>
                <a:lnTo>
                  <a:pt x="2942" y="1300"/>
                </a:lnTo>
                <a:lnTo>
                  <a:pt x="2930" y="1287"/>
                </a:lnTo>
                <a:lnTo>
                  <a:pt x="2924" y="1277"/>
                </a:lnTo>
                <a:lnTo>
                  <a:pt x="2920" y="1269"/>
                </a:lnTo>
                <a:lnTo>
                  <a:pt x="2917" y="1258"/>
                </a:lnTo>
                <a:lnTo>
                  <a:pt x="2912" y="1249"/>
                </a:lnTo>
                <a:lnTo>
                  <a:pt x="2907" y="1244"/>
                </a:lnTo>
                <a:lnTo>
                  <a:pt x="2904" y="1242"/>
                </a:lnTo>
                <a:lnTo>
                  <a:pt x="2900" y="1242"/>
                </a:lnTo>
                <a:lnTo>
                  <a:pt x="2899" y="1243"/>
                </a:lnTo>
                <a:lnTo>
                  <a:pt x="2898" y="1245"/>
                </a:lnTo>
                <a:lnTo>
                  <a:pt x="2898" y="1249"/>
                </a:lnTo>
                <a:lnTo>
                  <a:pt x="2898" y="1254"/>
                </a:lnTo>
                <a:lnTo>
                  <a:pt x="2898" y="1258"/>
                </a:lnTo>
                <a:lnTo>
                  <a:pt x="2895" y="1262"/>
                </a:lnTo>
                <a:lnTo>
                  <a:pt x="2893" y="1264"/>
                </a:lnTo>
                <a:lnTo>
                  <a:pt x="2890" y="1265"/>
                </a:lnTo>
                <a:lnTo>
                  <a:pt x="2885" y="1265"/>
                </a:lnTo>
                <a:lnTo>
                  <a:pt x="2881" y="1264"/>
                </a:lnTo>
                <a:lnTo>
                  <a:pt x="2879" y="1261"/>
                </a:lnTo>
                <a:lnTo>
                  <a:pt x="2878" y="1256"/>
                </a:lnTo>
                <a:lnTo>
                  <a:pt x="2878" y="1251"/>
                </a:lnTo>
                <a:lnTo>
                  <a:pt x="2876" y="1248"/>
                </a:lnTo>
                <a:lnTo>
                  <a:pt x="2875" y="1244"/>
                </a:lnTo>
                <a:lnTo>
                  <a:pt x="2873" y="1243"/>
                </a:lnTo>
                <a:lnTo>
                  <a:pt x="2867" y="1241"/>
                </a:lnTo>
                <a:lnTo>
                  <a:pt x="2857" y="1238"/>
                </a:lnTo>
                <a:lnTo>
                  <a:pt x="2851" y="1237"/>
                </a:lnTo>
                <a:lnTo>
                  <a:pt x="2846" y="1235"/>
                </a:lnTo>
                <a:lnTo>
                  <a:pt x="2838" y="1231"/>
                </a:lnTo>
                <a:lnTo>
                  <a:pt x="2832" y="1226"/>
                </a:lnTo>
                <a:lnTo>
                  <a:pt x="2827" y="1221"/>
                </a:lnTo>
                <a:lnTo>
                  <a:pt x="2821" y="1216"/>
                </a:lnTo>
                <a:lnTo>
                  <a:pt x="2816" y="1208"/>
                </a:lnTo>
                <a:lnTo>
                  <a:pt x="2813" y="1201"/>
                </a:lnTo>
                <a:lnTo>
                  <a:pt x="2811" y="1194"/>
                </a:lnTo>
                <a:lnTo>
                  <a:pt x="2810" y="1186"/>
                </a:lnTo>
                <a:lnTo>
                  <a:pt x="2809" y="1178"/>
                </a:lnTo>
                <a:lnTo>
                  <a:pt x="2809" y="1169"/>
                </a:lnTo>
                <a:lnTo>
                  <a:pt x="2808" y="1155"/>
                </a:lnTo>
                <a:lnTo>
                  <a:pt x="2808" y="1144"/>
                </a:lnTo>
                <a:lnTo>
                  <a:pt x="2806" y="1141"/>
                </a:lnTo>
                <a:lnTo>
                  <a:pt x="2805" y="1137"/>
                </a:lnTo>
                <a:lnTo>
                  <a:pt x="2804" y="1134"/>
                </a:lnTo>
                <a:lnTo>
                  <a:pt x="2802" y="1132"/>
                </a:lnTo>
                <a:lnTo>
                  <a:pt x="2798" y="1130"/>
                </a:lnTo>
                <a:lnTo>
                  <a:pt x="2794" y="1130"/>
                </a:lnTo>
                <a:lnTo>
                  <a:pt x="2790" y="1130"/>
                </a:lnTo>
                <a:lnTo>
                  <a:pt x="2785" y="1130"/>
                </a:lnTo>
                <a:lnTo>
                  <a:pt x="2772" y="1134"/>
                </a:lnTo>
                <a:lnTo>
                  <a:pt x="2760" y="1135"/>
                </a:lnTo>
                <a:lnTo>
                  <a:pt x="2755" y="1134"/>
                </a:lnTo>
                <a:lnTo>
                  <a:pt x="2752" y="1132"/>
                </a:lnTo>
                <a:lnTo>
                  <a:pt x="2750" y="1130"/>
                </a:lnTo>
                <a:lnTo>
                  <a:pt x="2750" y="1125"/>
                </a:lnTo>
                <a:lnTo>
                  <a:pt x="2752" y="1122"/>
                </a:lnTo>
                <a:lnTo>
                  <a:pt x="2750" y="1118"/>
                </a:lnTo>
                <a:lnTo>
                  <a:pt x="2749" y="1115"/>
                </a:lnTo>
                <a:lnTo>
                  <a:pt x="2746" y="1112"/>
                </a:lnTo>
                <a:lnTo>
                  <a:pt x="2737" y="1110"/>
                </a:lnTo>
                <a:lnTo>
                  <a:pt x="2728" y="1110"/>
                </a:lnTo>
                <a:lnTo>
                  <a:pt x="2723" y="1110"/>
                </a:lnTo>
                <a:lnTo>
                  <a:pt x="2718" y="1109"/>
                </a:lnTo>
                <a:lnTo>
                  <a:pt x="2716" y="1106"/>
                </a:lnTo>
                <a:lnTo>
                  <a:pt x="2714" y="1104"/>
                </a:lnTo>
                <a:lnTo>
                  <a:pt x="2710" y="1100"/>
                </a:lnTo>
                <a:lnTo>
                  <a:pt x="2704" y="1098"/>
                </a:lnTo>
                <a:lnTo>
                  <a:pt x="2698" y="1099"/>
                </a:lnTo>
                <a:lnTo>
                  <a:pt x="2692" y="1103"/>
                </a:lnTo>
                <a:lnTo>
                  <a:pt x="2687" y="1107"/>
                </a:lnTo>
                <a:lnTo>
                  <a:pt x="2682" y="1112"/>
                </a:lnTo>
                <a:lnTo>
                  <a:pt x="2679" y="1116"/>
                </a:lnTo>
                <a:lnTo>
                  <a:pt x="2677" y="1120"/>
                </a:lnTo>
                <a:lnTo>
                  <a:pt x="2676" y="1128"/>
                </a:lnTo>
                <a:lnTo>
                  <a:pt x="2673" y="1135"/>
                </a:lnTo>
                <a:lnTo>
                  <a:pt x="2671" y="1151"/>
                </a:lnTo>
                <a:lnTo>
                  <a:pt x="2671" y="1167"/>
                </a:lnTo>
                <a:lnTo>
                  <a:pt x="2671" y="1181"/>
                </a:lnTo>
                <a:lnTo>
                  <a:pt x="2671" y="1200"/>
                </a:lnTo>
                <a:lnTo>
                  <a:pt x="2671" y="1218"/>
                </a:lnTo>
                <a:lnTo>
                  <a:pt x="2674" y="1233"/>
                </a:lnTo>
                <a:lnTo>
                  <a:pt x="2677" y="1246"/>
                </a:lnTo>
                <a:lnTo>
                  <a:pt x="2679" y="1257"/>
                </a:lnTo>
                <a:lnTo>
                  <a:pt x="2679" y="1269"/>
                </a:lnTo>
                <a:lnTo>
                  <a:pt x="2678" y="1281"/>
                </a:lnTo>
                <a:lnTo>
                  <a:pt x="2674" y="1293"/>
                </a:lnTo>
                <a:lnTo>
                  <a:pt x="2672" y="1301"/>
                </a:lnTo>
                <a:lnTo>
                  <a:pt x="2672" y="1308"/>
                </a:lnTo>
                <a:lnTo>
                  <a:pt x="2673" y="1320"/>
                </a:lnTo>
                <a:lnTo>
                  <a:pt x="2676" y="1331"/>
                </a:lnTo>
                <a:lnTo>
                  <a:pt x="2677" y="1339"/>
                </a:lnTo>
                <a:lnTo>
                  <a:pt x="2678" y="1346"/>
                </a:lnTo>
                <a:lnTo>
                  <a:pt x="2677" y="1353"/>
                </a:lnTo>
                <a:lnTo>
                  <a:pt x="2676" y="1357"/>
                </a:lnTo>
                <a:lnTo>
                  <a:pt x="2672" y="1361"/>
                </a:lnTo>
                <a:lnTo>
                  <a:pt x="2668" y="1362"/>
                </a:lnTo>
                <a:lnTo>
                  <a:pt x="2665" y="1363"/>
                </a:lnTo>
                <a:lnTo>
                  <a:pt x="2657" y="1365"/>
                </a:lnTo>
                <a:lnTo>
                  <a:pt x="2649" y="1366"/>
                </a:lnTo>
                <a:lnTo>
                  <a:pt x="2647" y="1368"/>
                </a:lnTo>
                <a:lnTo>
                  <a:pt x="2645" y="1369"/>
                </a:lnTo>
                <a:lnTo>
                  <a:pt x="2643" y="1371"/>
                </a:lnTo>
                <a:lnTo>
                  <a:pt x="2642" y="1374"/>
                </a:lnTo>
                <a:lnTo>
                  <a:pt x="2640" y="1381"/>
                </a:lnTo>
                <a:lnTo>
                  <a:pt x="2640" y="1389"/>
                </a:lnTo>
                <a:lnTo>
                  <a:pt x="2640" y="1394"/>
                </a:lnTo>
                <a:lnTo>
                  <a:pt x="2639" y="1397"/>
                </a:lnTo>
                <a:lnTo>
                  <a:pt x="2638" y="1402"/>
                </a:lnTo>
                <a:lnTo>
                  <a:pt x="2636" y="1405"/>
                </a:lnTo>
                <a:lnTo>
                  <a:pt x="2634" y="1407"/>
                </a:lnTo>
                <a:lnTo>
                  <a:pt x="2630" y="1408"/>
                </a:lnTo>
                <a:lnTo>
                  <a:pt x="2626" y="1408"/>
                </a:lnTo>
                <a:lnTo>
                  <a:pt x="2620" y="1405"/>
                </a:lnTo>
                <a:lnTo>
                  <a:pt x="2607" y="1397"/>
                </a:lnTo>
                <a:lnTo>
                  <a:pt x="2595" y="1390"/>
                </a:lnTo>
                <a:lnTo>
                  <a:pt x="2589" y="1388"/>
                </a:lnTo>
                <a:lnTo>
                  <a:pt x="2584" y="1386"/>
                </a:lnTo>
                <a:lnTo>
                  <a:pt x="2579" y="1384"/>
                </a:lnTo>
                <a:lnTo>
                  <a:pt x="2576" y="1384"/>
                </a:lnTo>
                <a:lnTo>
                  <a:pt x="2569" y="1386"/>
                </a:lnTo>
                <a:lnTo>
                  <a:pt x="2563" y="1388"/>
                </a:lnTo>
                <a:lnTo>
                  <a:pt x="2561" y="1389"/>
                </a:lnTo>
                <a:lnTo>
                  <a:pt x="2559" y="1391"/>
                </a:lnTo>
                <a:lnTo>
                  <a:pt x="2558" y="1394"/>
                </a:lnTo>
                <a:lnTo>
                  <a:pt x="2557" y="1397"/>
                </a:lnTo>
                <a:lnTo>
                  <a:pt x="2555" y="1405"/>
                </a:lnTo>
                <a:lnTo>
                  <a:pt x="2552" y="1412"/>
                </a:lnTo>
                <a:lnTo>
                  <a:pt x="2547" y="1418"/>
                </a:lnTo>
                <a:lnTo>
                  <a:pt x="2542" y="1422"/>
                </a:lnTo>
                <a:lnTo>
                  <a:pt x="2539" y="1427"/>
                </a:lnTo>
                <a:lnTo>
                  <a:pt x="2534" y="1433"/>
                </a:lnTo>
                <a:lnTo>
                  <a:pt x="2532" y="1441"/>
                </a:lnTo>
                <a:lnTo>
                  <a:pt x="2532" y="1451"/>
                </a:lnTo>
                <a:lnTo>
                  <a:pt x="2532" y="1464"/>
                </a:lnTo>
                <a:lnTo>
                  <a:pt x="2532" y="1479"/>
                </a:lnTo>
                <a:lnTo>
                  <a:pt x="2532" y="1488"/>
                </a:lnTo>
                <a:lnTo>
                  <a:pt x="2531" y="1495"/>
                </a:lnTo>
                <a:lnTo>
                  <a:pt x="2529" y="1500"/>
                </a:lnTo>
                <a:lnTo>
                  <a:pt x="2528" y="1503"/>
                </a:lnTo>
                <a:lnTo>
                  <a:pt x="2522" y="1512"/>
                </a:lnTo>
                <a:lnTo>
                  <a:pt x="2514" y="1521"/>
                </a:lnTo>
                <a:lnTo>
                  <a:pt x="2506" y="1532"/>
                </a:lnTo>
                <a:lnTo>
                  <a:pt x="2496" y="1541"/>
                </a:lnTo>
                <a:lnTo>
                  <a:pt x="2488" y="1552"/>
                </a:lnTo>
                <a:lnTo>
                  <a:pt x="2481" y="1566"/>
                </a:lnTo>
                <a:lnTo>
                  <a:pt x="2473" y="1579"/>
                </a:lnTo>
                <a:lnTo>
                  <a:pt x="2468" y="1589"/>
                </a:lnTo>
                <a:lnTo>
                  <a:pt x="2462" y="1594"/>
                </a:lnTo>
                <a:lnTo>
                  <a:pt x="2456" y="1597"/>
                </a:lnTo>
                <a:lnTo>
                  <a:pt x="2451" y="1598"/>
                </a:lnTo>
                <a:lnTo>
                  <a:pt x="2446" y="1598"/>
                </a:lnTo>
                <a:lnTo>
                  <a:pt x="2440" y="1598"/>
                </a:lnTo>
                <a:lnTo>
                  <a:pt x="2433" y="1597"/>
                </a:lnTo>
                <a:lnTo>
                  <a:pt x="2425" y="1596"/>
                </a:lnTo>
                <a:lnTo>
                  <a:pt x="2418" y="1595"/>
                </a:lnTo>
                <a:lnTo>
                  <a:pt x="2409" y="1595"/>
                </a:lnTo>
                <a:lnTo>
                  <a:pt x="2402" y="1596"/>
                </a:lnTo>
                <a:lnTo>
                  <a:pt x="2394" y="1597"/>
                </a:lnTo>
                <a:lnTo>
                  <a:pt x="2387" y="1599"/>
                </a:lnTo>
                <a:lnTo>
                  <a:pt x="2380" y="1603"/>
                </a:lnTo>
                <a:lnTo>
                  <a:pt x="2372" y="1607"/>
                </a:lnTo>
                <a:lnTo>
                  <a:pt x="2366" y="1611"/>
                </a:lnTo>
                <a:lnTo>
                  <a:pt x="2361" y="1615"/>
                </a:lnTo>
                <a:lnTo>
                  <a:pt x="2358" y="1617"/>
                </a:lnTo>
                <a:lnTo>
                  <a:pt x="2356" y="1618"/>
                </a:lnTo>
                <a:lnTo>
                  <a:pt x="2353" y="1618"/>
                </a:lnTo>
                <a:lnTo>
                  <a:pt x="2351" y="1617"/>
                </a:lnTo>
                <a:lnTo>
                  <a:pt x="2349" y="1616"/>
                </a:lnTo>
                <a:lnTo>
                  <a:pt x="2343" y="1616"/>
                </a:lnTo>
                <a:lnTo>
                  <a:pt x="2336" y="1617"/>
                </a:lnTo>
                <a:lnTo>
                  <a:pt x="2325" y="1620"/>
                </a:lnTo>
                <a:lnTo>
                  <a:pt x="2314" y="1622"/>
                </a:lnTo>
                <a:lnTo>
                  <a:pt x="2303" y="1623"/>
                </a:lnTo>
                <a:lnTo>
                  <a:pt x="2290" y="1624"/>
                </a:lnTo>
                <a:lnTo>
                  <a:pt x="2275" y="1627"/>
                </a:lnTo>
                <a:lnTo>
                  <a:pt x="2264" y="1629"/>
                </a:lnTo>
                <a:lnTo>
                  <a:pt x="2250" y="1630"/>
                </a:lnTo>
                <a:lnTo>
                  <a:pt x="2232" y="1633"/>
                </a:lnTo>
                <a:lnTo>
                  <a:pt x="2211" y="1636"/>
                </a:lnTo>
                <a:lnTo>
                  <a:pt x="2201" y="1639"/>
                </a:lnTo>
                <a:lnTo>
                  <a:pt x="2194" y="1641"/>
                </a:lnTo>
                <a:lnTo>
                  <a:pt x="2189" y="1643"/>
                </a:lnTo>
                <a:lnTo>
                  <a:pt x="2188" y="1647"/>
                </a:lnTo>
                <a:lnTo>
                  <a:pt x="2187" y="1651"/>
                </a:lnTo>
                <a:lnTo>
                  <a:pt x="2188" y="1653"/>
                </a:lnTo>
                <a:lnTo>
                  <a:pt x="2189" y="1655"/>
                </a:lnTo>
                <a:lnTo>
                  <a:pt x="2191" y="1658"/>
                </a:lnTo>
                <a:lnTo>
                  <a:pt x="2196" y="1665"/>
                </a:lnTo>
                <a:lnTo>
                  <a:pt x="2206" y="1671"/>
                </a:lnTo>
                <a:lnTo>
                  <a:pt x="2211" y="1674"/>
                </a:lnTo>
                <a:lnTo>
                  <a:pt x="2214" y="1679"/>
                </a:lnTo>
                <a:lnTo>
                  <a:pt x="2217" y="1689"/>
                </a:lnTo>
                <a:lnTo>
                  <a:pt x="2219" y="1708"/>
                </a:lnTo>
                <a:lnTo>
                  <a:pt x="2219" y="1711"/>
                </a:lnTo>
                <a:lnTo>
                  <a:pt x="2221" y="1723"/>
                </a:lnTo>
                <a:lnTo>
                  <a:pt x="2224" y="1736"/>
                </a:lnTo>
                <a:lnTo>
                  <a:pt x="2227" y="1747"/>
                </a:lnTo>
                <a:lnTo>
                  <a:pt x="2232" y="1756"/>
                </a:lnTo>
                <a:lnTo>
                  <a:pt x="2239" y="1765"/>
                </a:lnTo>
                <a:lnTo>
                  <a:pt x="2244" y="1768"/>
                </a:lnTo>
                <a:lnTo>
                  <a:pt x="2249" y="1771"/>
                </a:lnTo>
                <a:lnTo>
                  <a:pt x="2254" y="1773"/>
                </a:lnTo>
                <a:lnTo>
                  <a:pt x="2260" y="1775"/>
                </a:lnTo>
                <a:lnTo>
                  <a:pt x="2271" y="1779"/>
                </a:lnTo>
                <a:lnTo>
                  <a:pt x="2283" y="1784"/>
                </a:lnTo>
                <a:lnTo>
                  <a:pt x="2288" y="1786"/>
                </a:lnTo>
                <a:lnTo>
                  <a:pt x="2292" y="1790"/>
                </a:lnTo>
                <a:lnTo>
                  <a:pt x="2295" y="1793"/>
                </a:lnTo>
                <a:lnTo>
                  <a:pt x="2298" y="1797"/>
                </a:lnTo>
                <a:lnTo>
                  <a:pt x="2302" y="1811"/>
                </a:lnTo>
                <a:lnTo>
                  <a:pt x="2307" y="1821"/>
                </a:lnTo>
                <a:lnTo>
                  <a:pt x="2309" y="1825"/>
                </a:lnTo>
                <a:lnTo>
                  <a:pt x="2312" y="1831"/>
                </a:lnTo>
                <a:lnTo>
                  <a:pt x="2313" y="1836"/>
                </a:lnTo>
                <a:lnTo>
                  <a:pt x="2313" y="1840"/>
                </a:lnTo>
                <a:lnTo>
                  <a:pt x="2312" y="1844"/>
                </a:lnTo>
                <a:lnTo>
                  <a:pt x="2311" y="1849"/>
                </a:lnTo>
                <a:lnTo>
                  <a:pt x="2306" y="1859"/>
                </a:lnTo>
                <a:lnTo>
                  <a:pt x="2302" y="1868"/>
                </a:lnTo>
                <a:lnTo>
                  <a:pt x="2299" y="1878"/>
                </a:lnTo>
                <a:lnTo>
                  <a:pt x="2296" y="1888"/>
                </a:lnTo>
                <a:lnTo>
                  <a:pt x="2295" y="1897"/>
                </a:lnTo>
                <a:lnTo>
                  <a:pt x="2292" y="1904"/>
                </a:lnTo>
                <a:lnTo>
                  <a:pt x="2288" y="1910"/>
                </a:lnTo>
                <a:lnTo>
                  <a:pt x="2281" y="1916"/>
                </a:lnTo>
                <a:lnTo>
                  <a:pt x="2275" y="1918"/>
                </a:lnTo>
                <a:lnTo>
                  <a:pt x="2269" y="1919"/>
                </a:lnTo>
                <a:lnTo>
                  <a:pt x="2263" y="1919"/>
                </a:lnTo>
                <a:lnTo>
                  <a:pt x="2257" y="1918"/>
                </a:lnTo>
                <a:lnTo>
                  <a:pt x="2242" y="1913"/>
                </a:lnTo>
                <a:lnTo>
                  <a:pt x="2223" y="1905"/>
                </a:lnTo>
                <a:lnTo>
                  <a:pt x="2216" y="1904"/>
                </a:lnTo>
                <a:lnTo>
                  <a:pt x="2210" y="1903"/>
                </a:lnTo>
                <a:lnTo>
                  <a:pt x="2204" y="1904"/>
                </a:lnTo>
                <a:lnTo>
                  <a:pt x="2200" y="1905"/>
                </a:lnTo>
                <a:lnTo>
                  <a:pt x="2192" y="1910"/>
                </a:lnTo>
                <a:lnTo>
                  <a:pt x="2185" y="1917"/>
                </a:lnTo>
                <a:lnTo>
                  <a:pt x="2181" y="1919"/>
                </a:lnTo>
                <a:lnTo>
                  <a:pt x="2175" y="1922"/>
                </a:lnTo>
                <a:lnTo>
                  <a:pt x="2170" y="1924"/>
                </a:lnTo>
                <a:lnTo>
                  <a:pt x="2163" y="1926"/>
                </a:lnTo>
                <a:lnTo>
                  <a:pt x="2150" y="1929"/>
                </a:lnTo>
                <a:lnTo>
                  <a:pt x="2135" y="1931"/>
                </a:lnTo>
                <a:lnTo>
                  <a:pt x="2120" y="1935"/>
                </a:lnTo>
                <a:lnTo>
                  <a:pt x="2107" y="1936"/>
                </a:lnTo>
                <a:lnTo>
                  <a:pt x="2101" y="1937"/>
                </a:lnTo>
                <a:lnTo>
                  <a:pt x="2097" y="1936"/>
                </a:lnTo>
                <a:lnTo>
                  <a:pt x="2091" y="1936"/>
                </a:lnTo>
                <a:lnTo>
                  <a:pt x="2087" y="1933"/>
                </a:lnTo>
                <a:lnTo>
                  <a:pt x="2079" y="1931"/>
                </a:lnTo>
                <a:lnTo>
                  <a:pt x="2069" y="1929"/>
                </a:lnTo>
                <a:lnTo>
                  <a:pt x="2057" y="1929"/>
                </a:lnTo>
                <a:lnTo>
                  <a:pt x="2042" y="1932"/>
                </a:lnTo>
                <a:lnTo>
                  <a:pt x="2032" y="1933"/>
                </a:lnTo>
                <a:lnTo>
                  <a:pt x="2024" y="1935"/>
                </a:lnTo>
                <a:lnTo>
                  <a:pt x="2016" y="1933"/>
                </a:lnTo>
                <a:lnTo>
                  <a:pt x="2009" y="1932"/>
                </a:lnTo>
                <a:lnTo>
                  <a:pt x="2003" y="1930"/>
                </a:lnTo>
                <a:lnTo>
                  <a:pt x="1998" y="1926"/>
                </a:lnTo>
                <a:lnTo>
                  <a:pt x="1994" y="1923"/>
                </a:lnTo>
                <a:lnTo>
                  <a:pt x="1991" y="1917"/>
                </a:lnTo>
                <a:lnTo>
                  <a:pt x="1988" y="1912"/>
                </a:lnTo>
                <a:lnTo>
                  <a:pt x="1985" y="1908"/>
                </a:lnTo>
                <a:lnTo>
                  <a:pt x="1981" y="1906"/>
                </a:lnTo>
                <a:lnTo>
                  <a:pt x="1978" y="1906"/>
                </a:lnTo>
                <a:lnTo>
                  <a:pt x="1968" y="1906"/>
                </a:lnTo>
                <a:lnTo>
                  <a:pt x="1956" y="1907"/>
                </a:lnTo>
                <a:lnTo>
                  <a:pt x="1950" y="1907"/>
                </a:lnTo>
                <a:lnTo>
                  <a:pt x="1947" y="1906"/>
                </a:lnTo>
                <a:lnTo>
                  <a:pt x="1943" y="1904"/>
                </a:lnTo>
                <a:lnTo>
                  <a:pt x="1941" y="1903"/>
                </a:lnTo>
                <a:lnTo>
                  <a:pt x="1940" y="1900"/>
                </a:lnTo>
                <a:lnTo>
                  <a:pt x="1940" y="1898"/>
                </a:lnTo>
                <a:lnTo>
                  <a:pt x="1941" y="1895"/>
                </a:lnTo>
                <a:lnTo>
                  <a:pt x="1942" y="1893"/>
                </a:lnTo>
                <a:lnTo>
                  <a:pt x="1946" y="1889"/>
                </a:lnTo>
                <a:lnTo>
                  <a:pt x="1948" y="1886"/>
                </a:lnTo>
                <a:lnTo>
                  <a:pt x="1949" y="1884"/>
                </a:lnTo>
                <a:lnTo>
                  <a:pt x="1948" y="1879"/>
                </a:lnTo>
                <a:lnTo>
                  <a:pt x="1944" y="1875"/>
                </a:lnTo>
                <a:lnTo>
                  <a:pt x="1937" y="1872"/>
                </a:lnTo>
                <a:lnTo>
                  <a:pt x="1928" y="1868"/>
                </a:lnTo>
                <a:lnTo>
                  <a:pt x="1918" y="1863"/>
                </a:lnTo>
                <a:lnTo>
                  <a:pt x="1914" y="1860"/>
                </a:lnTo>
                <a:lnTo>
                  <a:pt x="1910" y="1857"/>
                </a:lnTo>
                <a:lnTo>
                  <a:pt x="1908" y="1854"/>
                </a:lnTo>
                <a:lnTo>
                  <a:pt x="1906" y="1851"/>
                </a:lnTo>
                <a:lnTo>
                  <a:pt x="1905" y="1844"/>
                </a:lnTo>
                <a:lnTo>
                  <a:pt x="1905" y="1837"/>
                </a:lnTo>
                <a:lnTo>
                  <a:pt x="1905" y="1834"/>
                </a:lnTo>
                <a:lnTo>
                  <a:pt x="1904" y="1831"/>
                </a:lnTo>
                <a:lnTo>
                  <a:pt x="1903" y="1830"/>
                </a:lnTo>
                <a:lnTo>
                  <a:pt x="1900" y="1828"/>
                </a:lnTo>
                <a:lnTo>
                  <a:pt x="1893" y="1826"/>
                </a:lnTo>
                <a:lnTo>
                  <a:pt x="1886" y="1825"/>
                </a:lnTo>
                <a:lnTo>
                  <a:pt x="1879" y="1824"/>
                </a:lnTo>
                <a:lnTo>
                  <a:pt x="1872" y="1822"/>
                </a:lnTo>
                <a:lnTo>
                  <a:pt x="1868" y="1821"/>
                </a:lnTo>
                <a:lnTo>
                  <a:pt x="1865" y="1818"/>
                </a:lnTo>
                <a:lnTo>
                  <a:pt x="1861" y="1815"/>
                </a:lnTo>
                <a:lnTo>
                  <a:pt x="1858" y="1811"/>
                </a:lnTo>
                <a:lnTo>
                  <a:pt x="1855" y="1807"/>
                </a:lnTo>
                <a:lnTo>
                  <a:pt x="1853" y="1807"/>
                </a:lnTo>
                <a:lnTo>
                  <a:pt x="1851" y="1809"/>
                </a:lnTo>
                <a:lnTo>
                  <a:pt x="1851" y="1812"/>
                </a:lnTo>
                <a:lnTo>
                  <a:pt x="1849" y="1815"/>
                </a:lnTo>
                <a:lnTo>
                  <a:pt x="1849" y="1818"/>
                </a:lnTo>
                <a:lnTo>
                  <a:pt x="1845" y="1831"/>
                </a:lnTo>
                <a:lnTo>
                  <a:pt x="1839" y="1845"/>
                </a:lnTo>
                <a:lnTo>
                  <a:pt x="1836" y="1848"/>
                </a:lnTo>
                <a:lnTo>
                  <a:pt x="1833" y="1849"/>
                </a:lnTo>
                <a:lnTo>
                  <a:pt x="1829" y="1849"/>
                </a:lnTo>
                <a:lnTo>
                  <a:pt x="1826" y="1849"/>
                </a:lnTo>
                <a:lnTo>
                  <a:pt x="1818" y="1848"/>
                </a:lnTo>
                <a:lnTo>
                  <a:pt x="1811" y="1847"/>
                </a:lnTo>
                <a:lnTo>
                  <a:pt x="1808" y="1847"/>
                </a:lnTo>
                <a:lnTo>
                  <a:pt x="1804" y="1848"/>
                </a:lnTo>
                <a:lnTo>
                  <a:pt x="1801" y="1851"/>
                </a:lnTo>
                <a:lnTo>
                  <a:pt x="1799" y="1859"/>
                </a:lnTo>
                <a:lnTo>
                  <a:pt x="1797" y="1866"/>
                </a:lnTo>
                <a:lnTo>
                  <a:pt x="1795" y="1872"/>
                </a:lnTo>
                <a:lnTo>
                  <a:pt x="1791" y="1876"/>
                </a:lnTo>
                <a:lnTo>
                  <a:pt x="1786" y="1880"/>
                </a:lnTo>
                <a:lnTo>
                  <a:pt x="1782" y="1885"/>
                </a:lnTo>
                <a:lnTo>
                  <a:pt x="1774" y="1892"/>
                </a:lnTo>
                <a:lnTo>
                  <a:pt x="1771" y="1897"/>
                </a:lnTo>
                <a:lnTo>
                  <a:pt x="1769" y="1900"/>
                </a:lnTo>
                <a:lnTo>
                  <a:pt x="1767" y="1905"/>
                </a:lnTo>
                <a:lnTo>
                  <a:pt x="1767" y="1910"/>
                </a:lnTo>
                <a:lnTo>
                  <a:pt x="1770" y="1917"/>
                </a:lnTo>
                <a:lnTo>
                  <a:pt x="1773" y="1922"/>
                </a:lnTo>
                <a:lnTo>
                  <a:pt x="1774" y="1925"/>
                </a:lnTo>
                <a:lnTo>
                  <a:pt x="1774" y="1929"/>
                </a:lnTo>
                <a:lnTo>
                  <a:pt x="1774" y="1933"/>
                </a:lnTo>
                <a:lnTo>
                  <a:pt x="1773" y="1941"/>
                </a:lnTo>
                <a:lnTo>
                  <a:pt x="1770" y="1956"/>
                </a:lnTo>
                <a:lnTo>
                  <a:pt x="1765" y="1969"/>
                </a:lnTo>
                <a:lnTo>
                  <a:pt x="1760" y="1980"/>
                </a:lnTo>
                <a:lnTo>
                  <a:pt x="1758" y="1992"/>
                </a:lnTo>
                <a:lnTo>
                  <a:pt x="1758" y="1995"/>
                </a:lnTo>
                <a:lnTo>
                  <a:pt x="1759" y="1999"/>
                </a:lnTo>
                <a:lnTo>
                  <a:pt x="1760" y="2001"/>
                </a:lnTo>
                <a:lnTo>
                  <a:pt x="1761" y="2005"/>
                </a:lnTo>
                <a:lnTo>
                  <a:pt x="1765" y="2008"/>
                </a:lnTo>
                <a:lnTo>
                  <a:pt x="1767" y="2014"/>
                </a:lnTo>
                <a:lnTo>
                  <a:pt x="1766" y="2015"/>
                </a:lnTo>
                <a:lnTo>
                  <a:pt x="1765" y="2018"/>
                </a:lnTo>
                <a:lnTo>
                  <a:pt x="1761" y="2019"/>
                </a:lnTo>
                <a:lnTo>
                  <a:pt x="1757" y="2019"/>
                </a:lnTo>
                <a:lnTo>
                  <a:pt x="1751" y="2019"/>
                </a:lnTo>
                <a:lnTo>
                  <a:pt x="1747" y="2019"/>
                </a:lnTo>
                <a:lnTo>
                  <a:pt x="1742" y="2020"/>
                </a:lnTo>
                <a:lnTo>
                  <a:pt x="1740" y="2021"/>
                </a:lnTo>
                <a:lnTo>
                  <a:pt x="1736" y="2025"/>
                </a:lnTo>
                <a:lnTo>
                  <a:pt x="1734" y="2027"/>
                </a:lnTo>
                <a:lnTo>
                  <a:pt x="1732" y="2032"/>
                </a:lnTo>
                <a:lnTo>
                  <a:pt x="1729" y="2037"/>
                </a:lnTo>
                <a:lnTo>
                  <a:pt x="1723" y="2052"/>
                </a:lnTo>
                <a:lnTo>
                  <a:pt x="1716" y="2073"/>
                </a:lnTo>
                <a:lnTo>
                  <a:pt x="1709" y="2095"/>
                </a:lnTo>
                <a:lnTo>
                  <a:pt x="1703" y="2114"/>
                </a:lnTo>
                <a:lnTo>
                  <a:pt x="1700" y="2122"/>
                </a:lnTo>
                <a:lnTo>
                  <a:pt x="1696" y="2128"/>
                </a:lnTo>
                <a:lnTo>
                  <a:pt x="1691" y="2134"/>
                </a:lnTo>
                <a:lnTo>
                  <a:pt x="1688" y="2138"/>
                </a:lnTo>
                <a:lnTo>
                  <a:pt x="1677" y="2146"/>
                </a:lnTo>
                <a:lnTo>
                  <a:pt x="1668" y="2157"/>
                </a:lnTo>
                <a:lnTo>
                  <a:pt x="1663" y="2162"/>
                </a:lnTo>
                <a:lnTo>
                  <a:pt x="1659" y="2168"/>
                </a:lnTo>
                <a:lnTo>
                  <a:pt x="1658" y="2172"/>
                </a:lnTo>
                <a:lnTo>
                  <a:pt x="1657" y="2177"/>
                </a:lnTo>
                <a:lnTo>
                  <a:pt x="1656" y="2185"/>
                </a:lnTo>
                <a:lnTo>
                  <a:pt x="1651" y="2194"/>
                </a:lnTo>
                <a:lnTo>
                  <a:pt x="1648" y="2197"/>
                </a:lnTo>
                <a:lnTo>
                  <a:pt x="1647" y="2202"/>
                </a:lnTo>
                <a:lnTo>
                  <a:pt x="1646" y="2208"/>
                </a:lnTo>
                <a:lnTo>
                  <a:pt x="1646" y="2213"/>
                </a:lnTo>
                <a:lnTo>
                  <a:pt x="1645" y="2223"/>
                </a:lnTo>
                <a:lnTo>
                  <a:pt x="1644" y="2233"/>
                </a:lnTo>
                <a:lnTo>
                  <a:pt x="1641" y="2237"/>
                </a:lnTo>
                <a:lnTo>
                  <a:pt x="1638" y="2239"/>
                </a:lnTo>
                <a:lnTo>
                  <a:pt x="1634" y="2241"/>
                </a:lnTo>
                <a:lnTo>
                  <a:pt x="1631" y="2244"/>
                </a:lnTo>
                <a:lnTo>
                  <a:pt x="1621" y="2245"/>
                </a:lnTo>
                <a:lnTo>
                  <a:pt x="1613" y="2246"/>
                </a:lnTo>
                <a:lnTo>
                  <a:pt x="1604" y="2246"/>
                </a:lnTo>
                <a:lnTo>
                  <a:pt x="1597" y="2247"/>
                </a:lnTo>
                <a:lnTo>
                  <a:pt x="1593" y="2248"/>
                </a:lnTo>
                <a:lnTo>
                  <a:pt x="1588" y="2251"/>
                </a:lnTo>
                <a:lnTo>
                  <a:pt x="1583" y="2254"/>
                </a:lnTo>
                <a:lnTo>
                  <a:pt x="1578" y="2258"/>
                </a:lnTo>
                <a:lnTo>
                  <a:pt x="1572" y="2264"/>
                </a:lnTo>
                <a:lnTo>
                  <a:pt x="1566" y="2267"/>
                </a:lnTo>
                <a:lnTo>
                  <a:pt x="1562" y="2269"/>
                </a:lnTo>
                <a:lnTo>
                  <a:pt x="1557" y="2270"/>
                </a:lnTo>
                <a:lnTo>
                  <a:pt x="1551" y="2270"/>
                </a:lnTo>
                <a:lnTo>
                  <a:pt x="1546" y="2269"/>
                </a:lnTo>
                <a:lnTo>
                  <a:pt x="1540" y="2265"/>
                </a:lnTo>
                <a:lnTo>
                  <a:pt x="1533" y="2263"/>
                </a:lnTo>
                <a:lnTo>
                  <a:pt x="1527" y="2262"/>
                </a:lnTo>
                <a:lnTo>
                  <a:pt x="1522" y="2262"/>
                </a:lnTo>
                <a:lnTo>
                  <a:pt x="1518" y="2263"/>
                </a:lnTo>
                <a:lnTo>
                  <a:pt x="1514" y="2264"/>
                </a:lnTo>
                <a:lnTo>
                  <a:pt x="1507" y="2266"/>
                </a:lnTo>
                <a:lnTo>
                  <a:pt x="1501" y="2267"/>
                </a:lnTo>
                <a:lnTo>
                  <a:pt x="1498" y="2267"/>
                </a:lnTo>
                <a:lnTo>
                  <a:pt x="1495" y="2267"/>
                </a:lnTo>
                <a:lnTo>
                  <a:pt x="1493" y="2266"/>
                </a:lnTo>
                <a:lnTo>
                  <a:pt x="1490" y="2265"/>
                </a:lnTo>
                <a:lnTo>
                  <a:pt x="1489" y="2263"/>
                </a:lnTo>
                <a:lnTo>
                  <a:pt x="1489" y="2262"/>
                </a:lnTo>
                <a:lnTo>
                  <a:pt x="1490" y="2259"/>
                </a:lnTo>
                <a:lnTo>
                  <a:pt x="1492" y="2257"/>
                </a:lnTo>
                <a:lnTo>
                  <a:pt x="1496" y="2252"/>
                </a:lnTo>
                <a:lnTo>
                  <a:pt x="1503" y="2246"/>
                </a:lnTo>
                <a:lnTo>
                  <a:pt x="1517" y="2232"/>
                </a:lnTo>
                <a:lnTo>
                  <a:pt x="1527" y="2220"/>
                </a:lnTo>
                <a:lnTo>
                  <a:pt x="1530" y="2216"/>
                </a:lnTo>
                <a:lnTo>
                  <a:pt x="1532" y="2213"/>
                </a:lnTo>
                <a:lnTo>
                  <a:pt x="1533" y="2209"/>
                </a:lnTo>
                <a:lnTo>
                  <a:pt x="1533" y="2206"/>
                </a:lnTo>
                <a:lnTo>
                  <a:pt x="1532" y="2200"/>
                </a:lnTo>
                <a:lnTo>
                  <a:pt x="1531" y="2191"/>
                </a:lnTo>
                <a:lnTo>
                  <a:pt x="1528" y="2184"/>
                </a:lnTo>
                <a:lnTo>
                  <a:pt x="1527" y="2177"/>
                </a:lnTo>
                <a:lnTo>
                  <a:pt x="1527" y="2174"/>
                </a:lnTo>
                <a:lnTo>
                  <a:pt x="1527" y="2171"/>
                </a:lnTo>
                <a:lnTo>
                  <a:pt x="1528" y="2169"/>
                </a:lnTo>
                <a:lnTo>
                  <a:pt x="1531" y="2166"/>
                </a:lnTo>
                <a:lnTo>
                  <a:pt x="1536" y="2162"/>
                </a:lnTo>
                <a:lnTo>
                  <a:pt x="1539" y="2156"/>
                </a:lnTo>
                <a:lnTo>
                  <a:pt x="1539" y="2153"/>
                </a:lnTo>
                <a:lnTo>
                  <a:pt x="1538" y="2151"/>
                </a:lnTo>
                <a:lnTo>
                  <a:pt x="1536" y="2149"/>
                </a:lnTo>
                <a:lnTo>
                  <a:pt x="1531" y="2145"/>
                </a:lnTo>
                <a:lnTo>
                  <a:pt x="1526" y="2143"/>
                </a:lnTo>
                <a:lnTo>
                  <a:pt x="1525" y="2140"/>
                </a:lnTo>
                <a:lnTo>
                  <a:pt x="1525" y="2136"/>
                </a:lnTo>
                <a:lnTo>
                  <a:pt x="1526" y="2132"/>
                </a:lnTo>
                <a:lnTo>
                  <a:pt x="1531" y="2122"/>
                </a:lnTo>
                <a:lnTo>
                  <a:pt x="1533" y="2113"/>
                </a:lnTo>
                <a:lnTo>
                  <a:pt x="1532" y="2112"/>
                </a:lnTo>
                <a:lnTo>
                  <a:pt x="1530" y="2111"/>
                </a:lnTo>
                <a:lnTo>
                  <a:pt x="1526" y="2109"/>
                </a:lnTo>
                <a:lnTo>
                  <a:pt x="1522" y="2109"/>
                </a:lnTo>
                <a:lnTo>
                  <a:pt x="1513" y="2111"/>
                </a:lnTo>
                <a:lnTo>
                  <a:pt x="1507" y="2111"/>
                </a:lnTo>
                <a:lnTo>
                  <a:pt x="1499" y="2111"/>
                </a:lnTo>
                <a:lnTo>
                  <a:pt x="1492" y="2108"/>
                </a:lnTo>
                <a:lnTo>
                  <a:pt x="1486" y="2105"/>
                </a:lnTo>
                <a:lnTo>
                  <a:pt x="1480" y="2099"/>
                </a:lnTo>
                <a:lnTo>
                  <a:pt x="1473" y="2088"/>
                </a:lnTo>
                <a:lnTo>
                  <a:pt x="1464" y="2071"/>
                </a:lnTo>
                <a:lnTo>
                  <a:pt x="1455" y="2051"/>
                </a:lnTo>
                <a:lnTo>
                  <a:pt x="1448" y="2034"/>
                </a:lnTo>
                <a:lnTo>
                  <a:pt x="1439" y="2019"/>
                </a:lnTo>
                <a:lnTo>
                  <a:pt x="1432" y="2006"/>
                </a:lnTo>
                <a:lnTo>
                  <a:pt x="1424" y="1994"/>
                </a:lnTo>
                <a:lnTo>
                  <a:pt x="1418" y="1985"/>
                </a:lnTo>
                <a:lnTo>
                  <a:pt x="1413" y="1975"/>
                </a:lnTo>
                <a:lnTo>
                  <a:pt x="1410" y="1964"/>
                </a:lnTo>
                <a:lnTo>
                  <a:pt x="1408" y="1955"/>
                </a:lnTo>
                <a:lnTo>
                  <a:pt x="1408" y="1945"/>
                </a:lnTo>
                <a:lnTo>
                  <a:pt x="1408" y="1943"/>
                </a:lnTo>
                <a:lnTo>
                  <a:pt x="1408" y="1942"/>
                </a:lnTo>
                <a:lnTo>
                  <a:pt x="1407" y="1941"/>
                </a:lnTo>
                <a:lnTo>
                  <a:pt x="1406" y="1939"/>
                </a:lnTo>
                <a:lnTo>
                  <a:pt x="1401" y="1938"/>
                </a:lnTo>
                <a:lnTo>
                  <a:pt x="1396" y="1938"/>
                </a:lnTo>
                <a:lnTo>
                  <a:pt x="1383" y="1938"/>
                </a:lnTo>
                <a:lnTo>
                  <a:pt x="1372" y="1937"/>
                </a:lnTo>
                <a:lnTo>
                  <a:pt x="1367" y="1936"/>
                </a:lnTo>
                <a:lnTo>
                  <a:pt x="1364" y="1935"/>
                </a:lnTo>
                <a:lnTo>
                  <a:pt x="1362" y="1931"/>
                </a:lnTo>
                <a:lnTo>
                  <a:pt x="1362" y="1928"/>
                </a:lnTo>
                <a:lnTo>
                  <a:pt x="1362" y="1918"/>
                </a:lnTo>
                <a:lnTo>
                  <a:pt x="1362" y="1907"/>
                </a:lnTo>
                <a:lnTo>
                  <a:pt x="1352" y="1889"/>
                </a:lnTo>
                <a:lnTo>
                  <a:pt x="1344" y="1878"/>
                </a:lnTo>
                <a:lnTo>
                  <a:pt x="1343" y="1868"/>
                </a:lnTo>
                <a:lnTo>
                  <a:pt x="1342" y="1856"/>
                </a:lnTo>
                <a:lnTo>
                  <a:pt x="1341" y="1843"/>
                </a:lnTo>
                <a:lnTo>
                  <a:pt x="1338" y="1830"/>
                </a:lnTo>
                <a:lnTo>
                  <a:pt x="1338" y="1824"/>
                </a:lnTo>
                <a:lnTo>
                  <a:pt x="1338" y="1819"/>
                </a:lnTo>
                <a:lnTo>
                  <a:pt x="1338" y="1815"/>
                </a:lnTo>
                <a:lnTo>
                  <a:pt x="1339" y="1811"/>
                </a:lnTo>
                <a:lnTo>
                  <a:pt x="1344" y="1803"/>
                </a:lnTo>
                <a:lnTo>
                  <a:pt x="1348" y="1796"/>
                </a:lnTo>
                <a:lnTo>
                  <a:pt x="1354" y="1785"/>
                </a:lnTo>
                <a:lnTo>
                  <a:pt x="1363" y="1772"/>
                </a:lnTo>
                <a:lnTo>
                  <a:pt x="1373" y="1758"/>
                </a:lnTo>
                <a:lnTo>
                  <a:pt x="1380" y="1746"/>
                </a:lnTo>
                <a:lnTo>
                  <a:pt x="1382" y="1742"/>
                </a:lnTo>
                <a:lnTo>
                  <a:pt x="1383" y="1739"/>
                </a:lnTo>
                <a:lnTo>
                  <a:pt x="1383" y="1735"/>
                </a:lnTo>
                <a:lnTo>
                  <a:pt x="1382" y="1733"/>
                </a:lnTo>
                <a:lnTo>
                  <a:pt x="1380" y="1730"/>
                </a:lnTo>
                <a:lnTo>
                  <a:pt x="1376" y="1728"/>
                </a:lnTo>
                <a:lnTo>
                  <a:pt x="1373" y="1725"/>
                </a:lnTo>
                <a:lnTo>
                  <a:pt x="1368" y="1724"/>
                </a:lnTo>
                <a:lnTo>
                  <a:pt x="1358" y="1722"/>
                </a:lnTo>
                <a:lnTo>
                  <a:pt x="1351" y="1722"/>
                </a:lnTo>
                <a:lnTo>
                  <a:pt x="1348" y="1723"/>
                </a:lnTo>
                <a:lnTo>
                  <a:pt x="1345" y="1725"/>
                </a:lnTo>
                <a:lnTo>
                  <a:pt x="1343" y="1729"/>
                </a:lnTo>
                <a:lnTo>
                  <a:pt x="1341" y="1734"/>
                </a:lnTo>
                <a:lnTo>
                  <a:pt x="1339" y="1737"/>
                </a:lnTo>
                <a:lnTo>
                  <a:pt x="1337" y="1741"/>
                </a:lnTo>
                <a:lnTo>
                  <a:pt x="1336" y="1742"/>
                </a:lnTo>
                <a:lnTo>
                  <a:pt x="1335" y="1742"/>
                </a:lnTo>
                <a:lnTo>
                  <a:pt x="1332" y="1737"/>
                </a:lnTo>
                <a:lnTo>
                  <a:pt x="1331" y="1730"/>
                </a:lnTo>
                <a:lnTo>
                  <a:pt x="1329" y="1722"/>
                </a:lnTo>
                <a:lnTo>
                  <a:pt x="1325" y="1714"/>
                </a:lnTo>
                <a:lnTo>
                  <a:pt x="1320" y="1703"/>
                </a:lnTo>
                <a:lnTo>
                  <a:pt x="1314" y="1690"/>
                </a:lnTo>
                <a:lnTo>
                  <a:pt x="1312" y="1683"/>
                </a:lnTo>
                <a:lnTo>
                  <a:pt x="1309" y="1678"/>
                </a:lnTo>
                <a:lnTo>
                  <a:pt x="1305" y="1673"/>
                </a:lnTo>
                <a:lnTo>
                  <a:pt x="1301" y="1671"/>
                </a:lnTo>
                <a:lnTo>
                  <a:pt x="1292" y="1668"/>
                </a:lnTo>
                <a:lnTo>
                  <a:pt x="1282" y="1667"/>
                </a:lnTo>
                <a:lnTo>
                  <a:pt x="1278" y="1667"/>
                </a:lnTo>
                <a:lnTo>
                  <a:pt x="1275" y="1666"/>
                </a:lnTo>
                <a:lnTo>
                  <a:pt x="1273" y="1662"/>
                </a:lnTo>
                <a:lnTo>
                  <a:pt x="1272" y="1660"/>
                </a:lnTo>
                <a:lnTo>
                  <a:pt x="1272" y="1652"/>
                </a:lnTo>
                <a:lnTo>
                  <a:pt x="1272" y="1641"/>
                </a:lnTo>
                <a:lnTo>
                  <a:pt x="1270" y="1636"/>
                </a:lnTo>
                <a:lnTo>
                  <a:pt x="1269" y="1632"/>
                </a:lnTo>
                <a:lnTo>
                  <a:pt x="1267" y="1627"/>
                </a:lnTo>
                <a:lnTo>
                  <a:pt x="1265" y="1622"/>
                </a:lnTo>
                <a:lnTo>
                  <a:pt x="1256" y="1613"/>
                </a:lnTo>
                <a:lnTo>
                  <a:pt x="1248" y="1603"/>
                </a:lnTo>
                <a:lnTo>
                  <a:pt x="1244" y="1598"/>
                </a:lnTo>
                <a:lnTo>
                  <a:pt x="1241" y="1594"/>
                </a:lnTo>
                <a:lnTo>
                  <a:pt x="1240" y="1589"/>
                </a:lnTo>
                <a:lnTo>
                  <a:pt x="1238" y="1584"/>
                </a:lnTo>
                <a:lnTo>
                  <a:pt x="1236" y="1573"/>
                </a:lnTo>
                <a:lnTo>
                  <a:pt x="1236" y="1563"/>
                </a:lnTo>
                <a:lnTo>
                  <a:pt x="1235" y="1558"/>
                </a:lnTo>
                <a:lnTo>
                  <a:pt x="1234" y="1553"/>
                </a:lnTo>
                <a:lnTo>
                  <a:pt x="1232" y="1550"/>
                </a:lnTo>
                <a:lnTo>
                  <a:pt x="1230" y="1546"/>
                </a:lnTo>
                <a:lnTo>
                  <a:pt x="1228" y="1542"/>
                </a:lnTo>
                <a:lnTo>
                  <a:pt x="1225" y="1541"/>
                </a:lnTo>
                <a:lnTo>
                  <a:pt x="1222" y="1540"/>
                </a:lnTo>
                <a:lnTo>
                  <a:pt x="1218" y="1540"/>
                </a:lnTo>
                <a:lnTo>
                  <a:pt x="1211" y="1540"/>
                </a:lnTo>
                <a:lnTo>
                  <a:pt x="1204" y="1541"/>
                </a:lnTo>
                <a:lnTo>
                  <a:pt x="1202" y="1541"/>
                </a:lnTo>
                <a:lnTo>
                  <a:pt x="1198" y="1541"/>
                </a:lnTo>
                <a:lnTo>
                  <a:pt x="1194" y="1540"/>
                </a:lnTo>
                <a:lnTo>
                  <a:pt x="1191" y="1538"/>
                </a:lnTo>
                <a:lnTo>
                  <a:pt x="1187" y="1535"/>
                </a:lnTo>
                <a:lnTo>
                  <a:pt x="1186" y="1532"/>
                </a:lnTo>
                <a:lnTo>
                  <a:pt x="1184" y="1528"/>
                </a:lnTo>
                <a:lnTo>
                  <a:pt x="1182" y="1523"/>
                </a:lnTo>
                <a:lnTo>
                  <a:pt x="1180" y="1512"/>
                </a:lnTo>
                <a:lnTo>
                  <a:pt x="1177" y="1497"/>
                </a:lnTo>
                <a:lnTo>
                  <a:pt x="1174" y="1489"/>
                </a:lnTo>
                <a:lnTo>
                  <a:pt x="1169" y="1483"/>
                </a:lnTo>
                <a:lnTo>
                  <a:pt x="1165" y="1477"/>
                </a:lnTo>
                <a:lnTo>
                  <a:pt x="1160" y="1472"/>
                </a:lnTo>
                <a:lnTo>
                  <a:pt x="1150" y="1463"/>
                </a:lnTo>
                <a:lnTo>
                  <a:pt x="1143" y="1454"/>
                </a:lnTo>
                <a:lnTo>
                  <a:pt x="1141" y="1450"/>
                </a:lnTo>
                <a:lnTo>
                  <a:pt x="1140" y="1446"/>
                </a:lnTo>
                <a:lnTo>
                  <a:pt x="1140" y="1443"/>
                </a:lnTo>
                <a:lnTo>
                  <a:pt x="1141" y="1439"/>
                </a:lnTo>
                <a:lnTo>
                  <a:pt x="1143" y="1432"/>
                </a:lnTo>
                <a:lnTo>
                  <a:pt x="1146" y="1424"/>
                </a:lnTo>
                <a:lnTo>
                  <a:pt x="1146" y="1419"/>
                </a:lnTo>
                <a:lnTo>
                  <a:pt x="1144" y="1414"/>
                </a:lnTo>
                <a:lnTo>
                  <a:pt x="1143" y="1410"/>
                </a:lnTo>
                <a:lnTo>
                  <a:pt x="1142" y="1408"/>
                </a:lnTo>
                <a:lnTo>
                  <a:pt x="1137" y="1402"/>
                </a:lnTo>
                <a:lnTo>
                  <a:pt x="1133" y="1397"/>
                </a:lnTo>
                <a:lnTo>
                  <a:pt x="1129" y="1394"/>
                </a:lnTo>
                <a:lnTo>
                  <a:pt x="1128" y="1391"/>
                </a:lnTo>
                <a:lnTo>
                  <a:pt x="1127" y="1388"/>
                </a:lnTo>
                <a:lnTo>
                  <a:pt x="1125" y="1384"/>
                </a:lnTo>
                <a:lnTo>
                  <a:pt x="1127" y="1368"/>
                </a:lnTo>
                <a:lnTo>
                  <a:pt x="1129" y="1351"/>
                </a:lnTo>
                <a:lnTo>
                  <a:pt x="1129" y="1347"/>
                </a:lnTo>
                <a:lnTo>
                  <a:pt x="1127" y="1344"/>
                </a:lnTo>
                <a:lnTo>
                  <a:pt x="1124" y="1342"/>
                </a:lnTo>
                <a:lnTo>
                  <a:pt x="1122" y="1340"/>
                </a:lnTo>
                <a:lnTo>
                  <a:pt x="1116" y="1339"/>
                </a:lnTo>
                <a:lnTo>
                  <a:pt x="1110" y="1340"/>
                </a:lnTo>
                <a:lnTo>
                  <a:pt x="1104" y="1343"/>
                </a:lnTo>
                <a:lnTo>
                  <a:pt x="1099" y="1346"/>
                </a:lnTo>
                <a:lnTo>
                  <a:pt x="1095" y="1351"/>
                </a:lnTo>
                <a:lnTo>
                  <a:pt x="1090" y="1357"/>
                </a:lnTo>
                <a:lnTo>
                  <a:pt x="1083" y="1371"/>
                </a:lnTo>
                <a:lnTo>
                  <a:pt x="1073" y="1390"/>
                </a:lnTo>
                <a:lnTo>
                  <a:pt x="1065" y="1409"/>
                </a:lnTo>
                <a:lnTo>
                  <a:pt x="1058" y="1425"/>
                </a:lnTo>
                <a:lnTo>
                  <a:pt x="1051" y="1437"/>
                </a:lnTo>
                <a:lnTo>
                  <a:pt x="1043" y="1447"/>
                </a:lnTo>
                <a:lnTo>
                  <a:pt x="1035" y="1457"/>
                </a:lnTo>
                <a:lnTo>
                  <a:pt x="1027" y="1466"/>
                </a:lnTo>
                <a:lnTo>
                  <a:pt x="1022" y="1469"/>
                </a:lnTo>
                <a:lnTo>
                  <a:pt x="1018" y="1471"/>
                </a:lnTo>
                <a:lnTo>
                  <a:pt x="1014" y="1472"/>
                </a:lnTo>
                <a:lnTo>
                  <a:pt x="1010" y="1472"/>
                </a:lnTo>
                <a:lnTo>
                  <a:pt x="1005" y="1471"/>
                </a:lnTo>
                <a:lnTo>
                  <a:pt x="1002" y="1469"/>
                </a:lnTo>
                <a:lnTo>
                  <a:pt x="998" y="1466"/>
                </a:lnTo>
                <a:lnTo>
                  <a:pt x="993" y="1464"/>
                </a:lnTo>
                <a:lnTo>
                  <a:pt x="990" y="1460"/>
                </a:lnTo>
                <a:lnTo>
                  <a:pt x="989" y="1456"/>
                </a:lnTo>
                <a:lnTo>
                  <a:pt x="988" y="1452"/>
                </a:lnTo>
                <a:lnTo>
                  <a:pt x="988" y="1449"/>
                </a:lnTo>
                <a:lnTo>
                  <a:pt x="990" y="1440"/>
                </a:lnTo>
                <a:lnTo>
                  <a:pt x="993" y="1435"/>
                </a:lnTo>
                <a:lnTo>
                  <a:pt x="996" y="1431"/>
                </a:lnTo>
                <a:lnTo>
                  <a:pt x="998" y="1427"/>
                </a:lnTo>
                <a:lnTo>
                  <a:pt x="997" y="1425"/>
                </a:lnTo>
                <a:lnTo>
                  <a:pt x="996" y="1424"/>
                </a:lnTo>
                <a:lnTo>
                  <a:pt x="995" y="1422"/>
                </a:lnTo>
                <a:lnTo>
                  <a:pt x="991" y="1421"/>
                </a:lnTo>
                <a:lnTo>
                  <a:pt x="985" y="1421"/>
                </a:lnTo>
                <a:lnTo>
                  <a:pt x="979" y="1419"/>
                </a:lnTo>
                <a:lnTo>
                  <a:pt x="978" y="1418"/>
                </a:lnTo>
                <a:lnTo>
                  <a:pt x="977" y="1416"/>
                </a:lnTo>
                <a:lnTo>
                  <a:pt x="976" y="1414"/>
                </a:lnTo>
                <a:lnTo>
                  <a:pt x="976" y="1412"/>
                </a:lnTo>
                <a:lnTo>
                  <a:pt x="977" y="1407"/>
                </a:lnTo>
                <a:lnTo>
                  <a:pt x="978" y="1400"/>
                </a:lnTo>
                <a:lnTo>
                  <a:pt x="982" y="1394"/>
                </a:lnTo>
                <a:lnTo>
                  <a:pt x="985" y="1387"/>
                </a:lnTo>
                <a:lnTo>
                  <a:pt x="986" y="1383"/>
                </a:lnTo>
                <a:lnTo>
                  <a:pt x="986" y="1381"/>
                </a:lnTo>
                <a:lnTo>
                  <a:pt x="986" y="1378"/>
                </a:lnTo>
                <a:lnTo>
                  <a:pt x="986" y="1375"/>
                </a:lnTo>
                <a:lnTo>
                  <a:pt x="984" y="1372"/>
                </a:lnTo>
                <a:lnTo>
                  <a:pt x="982" y="1369"/>
                </a:lnTo>
                <a:lnTo>
                  <a:pt x="978" y="1366"/>
                </a:lnTo>
                <a:lnTo>
                  <a:pt x="973" y="1363"/>
                </a:lnTo>
                <a:lnTo>
                  <a:pt x="967" y="1358"/>
                </a:lnTo>
                <a:lnTo>
                  <a:pt x="963" y="1355"/>
                </a:lnTo>
                <a:lnTo>
                  <a:pt x="958" y="1350"/>
                </a:lnTo>
                <a:lnTo>
                  <a:pt x="954" y="1344"/>
                </a:lnTo>
                <a:lnTo>
                  <a:pt x="948" y="1334"/>
                </a:lnTo>
                <a:lnTo>
                  <a:pt x="946" y="1325"/>
                </a:lnTo>
                <a:lnTo>
                  <a:pt x="945" y="1321"/>
                </a:lnTo>
                <a:lnTo>
                  <a:pt x="944" y="1318"/>
                </a:lnTo>
                <a:lnTo>
                  <a:pt x="941" y="1315"/>
                </a:lnTo>
                <a:lnTo>
                  <a:pt x="939" y="1314"/>
                </a:lnTo>
                <a:lnTo>
                  <a:pt x="932" y="1312"/>
                </a:lnTo>
                <a:lnTo>
                  <a:pt x="922" y="1311"/>
                </a:lnTo>
                <a:lnTo>
                  <a:pt x="911" y="1311"/>
                </a:lnTo>
                <a:lnTo>
                  <a:pt x="901" y="1308"/>
                </a:lnTo>
                <a:lnTo>
                  <a:pt x="890" y="1307"/>
                </a:lnTo>
                <a:lnTo>
                  <a:pt x="879" y="1303"/>
                </a:lnTo>
                <a:lnTo>
                  <a:pt x="865" y="1299"/>
                </a:lnTo>
                <a:lnTo>
                  <a:pt x="847" y="1290"/>
                </a:lnTo>
                <a:lnTo>
                  <a:pt x="831" y="1283"/>
                </a:lnTo>
                <a:lnTo>
                  <a:pt x="819" y="1275"/>
                </a:lnTo>
                <a:lnTo>
                  <a:pt x="814" y="1271"/>
                </a:lnTo>
                <a:lnTo>
                  <a:pt x="809" y="1268"/>
                </a:lnTo>
                <a:lnTo>
                  <a:pt x="806" y="1263"/>
                </a:lnTo>
                <a:lnTo>
                  <a:pt x="802" y="1257"/>
                </a:lnTo>
                <a:lnTo>
                  <a:pt x="796" y="1246"/>
                </a:lnTo>
                <a:lnTo>
                  <a:pt x="791" y="1236"/>
                </a:lnTo>
                <a:lnTo>
                  <a:pt x="789" y="1231"/>
                </a:lnTo>
                <a:lnTo>
                  <a:pt x="783" y="1227"/>
                </a:lnTo>
                <a:lnTo>
                  <a:pt x="778" y="1225"/>
                </a:lnTo>
                <a:lnTo>
                  <a:pt x="772" y="1224"/>
                </a:lnTo>
                <a:lnTo>
                  <a:pt x="769" y="1223"/>
                </a:lnTo>
                <a:lnTo>
                  <a:pt x="765" y="1221"/>
                </a:lnTo>
                <a:lnTo>
                  <a:pt x="763" y="1221"/>
                </a:lnTo>
                <a:lnTo>
                  <a:pt x="759" y="1223"/>
                </a:lnTo>
                <a:lnTo>
                  <a:pt x="757" y="1226"/>
                </a:lnTo>
                <a:lnTo>
                  <a:pt x="756" y="1231"/>
                </a:lnTo>
                <a:lnTo>
                  <a:pt x="755" y="1237"/>
                </a:lnTo>
                <a:lnTo>
                  <a:pt x="753" y="1243"/>
                </a:lnTo>
                <a:lnTo>
                  <a:pt x="752" y="1250"/>
                </a:lnTo>
                <a:lnTo>
                  <a:pt x="750" y="1260"/>
                </a:lnTo>
                <a:lnTo>
                  <a:pt x="749" y="1271"/>
                </a:lnTo>
                <a:lnTo>
                  <a:pt x="747" y="1283"/>
                </a:lnTo>
                <a:lnTo>
                  <a:pt x="747" y="1286"/>
                </a:lnTo>
                <a:lnTo>
                  <a:pt x="731" y="1282"/>
                </a:lnTo>
                <a:lnTo>
                  <a:pt x="724" y="1281"/>
                </a:lnTo>
                <a:lnTo>
                  <a:pt x="717" y="1277"/>
                </a:lnTo>
                <a:lnTo>
                  <a:pt x="707" y="1275"/>
                </a:lnTo>
                <a:lnTo>
                  <a:pt x="697" y="1273"/>
                </a:lnTo>
                <a:lnTo>
                  <a:pt x="687" y="1270"/>
                </a:lnTo>
                <a:lnTo>
                  <a:pt x="676" y="1268"/>
                </a:lnTo>
                <a:lnTo>
                  <a:pt x="662" y="1264"/>
                </a:lnTo>
                <a:lnTo>
                  <a:pt x="648" y="1261"/>
                </a:lnTo>
                <a:lnTo>
                  <a:pt x="642" y="1258"/>
                </a:lnTo>
                <a:lnTo>
                  <a:pt x="636" y="1256"/>
                </a:lnTo>
                <a:lnTo>
                  <a:pt x="631" y="1251"/>
                </a:lnTo>
                <a:lnTo>
                  <a:pt x="626" y="1246"/>
                </a:lnTo>
                <a:lnTo>
                  <a:pt x="624" y="1241"/>
                </a:lnTo>
                <a:lnTo>
                  <a:pt x="623" y="1235"/>
                </a:lnTo>
                <a:lnTo>
                  <a:pt x="623" y="1229"/>
                </a:lnTo>
                <a:lnTo>
                  <a:pt x="624" y="1224"/>
                </a:lnTo>
                <a:lnTo>
                  <a:pt x="626" y="1219"/>
                </a:lnTo>
                <a:lnTo>
                  <a:pt x="629" y="1216"/>
                </a:lnTo>
                <a:lnTo>
                  <a:pt x="633" y="1212"/>
                </a:lnTo>
                <a:lnTo>
                  <a:pt x="637" y="1208"/>
                </a:lnTo>
                <a:lnTo>
                  <a:pt x="651" y="1199"/>
                </a:lnTo>
                <a:lnTo>
                  <a:pt x="662" y="1191"/>
                </a:lnTo>
                <a:lnTo>
                  <a:pt x="665" y="1189"/>
                </a:lnTo>
                <a:lnTo>
                  <a:pt x="669" y="1191"/>
                </a:lnTo>
                <a:lnTo>
                  <a:pt x="670" y="1192"/>
                </a:lnTo>
                <a:lnTo>
                  <a:pt x="673" y="1194"/>
                </a:lnTo>
                <a:lnTo>
                  <a:pt x="675" y="1194"/>
                </a:lnTo>
                <a:lnTo>
                  <a:pt x="677" y="1192"/>
                </a:lnTo>
                <a:lnTo>
                  <a:pt x="678" y="1189"/>
                </a:lnTo>
                <a:lnTo>
                  <a:pt x="678" y="1185"/>
                </a:lnTo>
                <a:lnTo>
                  <a:pt x="677" y="1175"/>
                </a:lnTo>
                <a:lnTo>
                  <a:pt x="676" y="1169"/>
                </a:lnTo>
                <a:lnTo>
                  <a:pt x="676" y="1162"/>
                </a:lnTo>
                <a:lnTo>
                  <a:pt x="674" y="1154"/>
                </a:lnTo>
                <a:lnTo>
                  <a:pt x="671" y="1147"/>
                </a:lnTo>
                <a:lnTo>
                  <a:pt x="667" y="1141"/>
                </a:lnTo>
                <a:lnTo>
                  <a:pt x="662" y="1135"/>
                </a:lnTo>
                <a:lnTo>
                  <a:pt x="657" y="1128"/>
                </a:lnTo>
                <a:lnTo>
                  <a:pt x="653" y="1120"/>
                </a:lnTo>
                <a:lnTo>
                  <a:pt x="650" y="1112"/>
                </a:lnTo>
                <a:lnTo>
                  <a:pt x="646" y="1105"/>
                </a:lnTo>
                <a:lnTo>
                  <a:pt x="643" y="1097"/>
                </a:lnTo>
                <a:lnTo>
                  <a:pt x="640" y="1088"/>
                </a:lnTo>
                <a:lnTo>
                  <a:pt x="639" y="1080"/>
                </a:lnTo>
                <a:lnTo>
                  <a:pt x="637" y="1066"/>
                </a:lnTo>
                <a:lnTo>
                  <a:pt x="632" y="1052"/>
                </a:lnTo>
                <a:lnTo>
                  <a:pt x="629" y="1046"/>
                </a:lnTo>
                <a:lnTo>
                  <a:pt x="625" y="1040"/>
                </a:lnTo>
                <a:lnTo>
                  <a:pt x="620" y="1035"/>
                </a:lnTo>
                <a:lnTo>
                  <a:pt x="615" y="1030"/>
                </a:lnTo>
                <a:lnTo>
                  <a:pt x="606" y="1022"/>
                </a:lnTo>
                <a:lnTo>
                  <a:pt x="599" y="1013"/>
                </a:lnTo>
                <a:lnTo>
                  <a:pt x="596" y="1010"/>
                </a:lnTo>
                <a:lnTo>
                  <a:pt x="595" y="1005"/>
                </a:lnTo>
                <a:lnTo>
                  <a:pt x="595" y="1000"/>
                </a:lnTo>
                <a:lnTo>
                  <a:pt x="595" y="996"/>
                </a:lnTo>
                <a:lnTo>
                  <a:pt x="596" y="984"/>
                </a:lnTo>
                <a:lnTo>
                  <a:pt x="599" y="972"/>
                </a:lnTo>
                <a:lnTo>
                  <a:pt x="600" y="966"/>
                </a:lnTo>
                <a:lnTo>
                  <a:pt x="599" y="960"/>
                </a:lnTo>
                <a:lnTo>
                  <a:pt x="596" y="954"/>
                </a:lnTo>
                <a:lnTo>
                  <a:pt x="593" y="949"/>
                </a:lnTo>
                <a:lnTo>
                  <a:pt x="583" y="940"/>
                </a:lnTo>
                <a:lnTo>
                  <a:pt x="574" y="928"/>
                </a:lnTo>
                <a:lnTo>
                  <a:pt x="563" y="916"/>
                </a:lnTo>
                <a:lnTo>
                  <a:pt x="554" y="903"/>
                </a:lnTo>
                <a:lnTo>
                  <a:pt x="545" y="891"/>
                </a:lnTo>
                <a:lnTo>
                  <a:pt x="536" y="880"/>
                </a:lnTo>
                <a:lnTo>
                  <a:pt x="527" y="871"/>
                </a:lnTo>
                <a:lnTo>
                  <a:pt x="520" y="863"/>
                </a:lnTo>
                <a:lnTo>
                  <a:pt x="517" y="859"/>
                </a:lnTo>
                <a:lnTo>
                  <a:pt x="514" y="855"/>
                </a:lnTo>
                <a:lnTo>
                  <a:pt x="512" y="851"/>
                </a:lnTo>
                <a:lnTo>
                  <a:pt x="511" y="845"/>
                </a:lnTo>
                <a:lnTo>
                  <a:pt x="510" y="833"/>
                </a:lnTo>
                <a:lnTo>
                  <a:pt x="510" y="822"/>
                </a:lnTo>
                <a:lnTo>
                  <a:pt x="511" y="813"/>
                </a:lnTo>
                <a:lnTo>
                  <a:pt x="510" y="808"/>
                </a:lnTo>
                <a:lnTo>
                  <a:pt x="506" y="807"/>
                </a:lnTo>
                <a:lnTo>
                  <a:pt x="499" y="805"/>
                </a:lnTo>
                <a:lnTo>
                  <a:pt x="494" y="807"/>
                </a:lnTo>
                <a:lnTo>
                  <a:pt x="488" y="809"/>
                </a:lnTo>
                <a:lnTo>
                  <a:pt x="482" y="813"/>
                </a:lnTo>
                <a:lnTo>
                  <a:pt x="476" y="817"/>
                </a:lnTo>
                <a:lnTo>
                  <a:pt x="463" y="828"/>
                </a:lnTo>
                <a:lnTo>
                  <a:pt x="451" y="838"/>
                </a:lnTo>
                <a:lnTo>
                  <a:pt x="436" y="852"/>
                </a:lnTo>
                <a:lnTo>
                  <a:pt x="417" y="873"/>
                </a:lnTo>
                <a:lnTo>
                  <a:pt x="396" y="896"/>
                </a:lnTo>
                <a:lnTo>
                  <a:pt x="375" y="914"/>
                </a:lnTo>
                <a:lnTo>
                  <a:pt x="355" y="929"/>
                </a:lnTo>
                <a:lnTo>
                  <a:pt x="335" y="945"/>
                </a:lnTo>
                <a:lnTo>
                  <a:pt x="317" y="956"/>
                </a:lnTo>
                <a:lnTo>
                  <a:pt x="306" y="965"/>
                </a:lnTo>
                <a:lnTo>
                  <a:pt x="303" y="966"/>
                </a:lnTo>
                <a:lnTo>
                  <a:pt x="298" y="967"/>
                </a:lnTo>
                <a:lnTo>
                  <a:pt x="292" y="967"/>
                </a:lnTo>
                <a:lnTo>
                  <a:pt x="286" y="967"/>
                </a:lnTo>
                <a:lnTo>
                  <a:pt x="281" y="966"/>
                </a:lnTo>
                <a:lnTo>
                  <a:pt x="275" y="962"/>
                </a:lnTo>
                <a:lnTo>
                  <a:pt x="270" y="959"/>
                </a:lnTo>
                <a:lnTo>
                  <a:pt x="265" y="954"/>
                </a:lnTo>
                <a:lnTo>
                  <a:pt x="261" y="948"/>
                </a:lnTo>
                <a:lnTo>
                  <a:pt x="259" y="941"/>
                </a:lnTo>
                <a:lnTo>
                  <a:pt x="258" y="934"/>
                </a:lnTo>
                <a:lnTo>
                  <a:pt x="256" y="926"/>
                </a:lnTo>
                <a:lnTo>
                  <a:pt x="255" y="910"/>
                </a:lnTo>
                <a:lnTo>
                  <a:pt x="256" y="897"/>
                </a:lnTo>
                <a:lnTo>
                  <a:pt x="256" y="885"/>
                </a:lnTo>
                <a:lnTo>
                  <a:pt x="256" y="873"/>
                </a:lnTo>
                <a:lnTo>
                  <a:pt x="255" y="868"/>
                </a:lnTo>
                <a:lnTo>
                  <a:pt x="253" y="865"/>
                </a:lnTo>
                <a:lnTo>
                  <a:pt x="249" y="860"/>
                </a:lnTo>
                <a:lnTo>
                  <a:pt x="245" y="857"/>
                </a:lnTo>
                <a:lnTo>
                  <a:pt x="233" y="851"/>
                </a:lnTo>
                <a:lnTo>
                  <a:pt x="221" y="841"/>
                </a:lnTo>
                <a:lnTo>
                  <a:pt x="209" y="830"/>
                </a:lnTo>
                <a:lnTo>
                  <a:pt x="198" y="817"/>
                </a:lnTo>
                <a:lnTo>
                  <a:pt x="193" y="810"/>
                </a:lnTo>
                <a:lnTo>
                  <a:pt x="190" y="804"/>
                </a:lnTo>
                <a:lnTo>
                  <a:pt x="188" y="798"/>
                </a:lnTo>
                <a:lnTo>
                  <a:pt x="185" y="792"/>
                </a:lnTo>
                <a:lnTo>
                  <a:pt x="184" y="788"/>
                </a:lnTo>
                <a:lnTo>
                  <a:pt x="184" y="782"/>
                </a:lnTo>
                <a:lnTo>
                  <a:pt x="184" y="777"/>
                </a:lnTo>
                <a:lnTo>
                  <a:pt x="185" y="773"/>
                </a:lnTo>
                <a:lnTo>
                  <a:pt x="186" y="765"/>
                </a:lnTo>
                <a:lnTo>
                  <a:pt x="188" y="760"/>
                </a:lnTo>
                <a:lnTo>
                  <a:pt x="186" y="758"/>
                </a:lnTo>
                <a:lnTo>
                  <a:pt x="186" y="757"/>
                </a:lnTo>
                <a:lnTo>
                  <a:pt x="184" y="756"/>
                </a:lnTo>
                <a:lnTo>
                  <a:pt x="182" y="756"/>
                </a:lnTo>
                <a:lnTo>
                  <a:pt x="179" y="754"/>
                </a:lnTo>
                <a:lnTo>
                  <a:pt x="178" y="754"/>
                </a:lnTo>
                <a:lnTo>
                  <a:pt x="177" y="753"/>
                </a:lnTo>
                <a:lnTo>
                  <a:pt x="177" y="751"/>
                </a:lnTo>
                <a:lnTo>
                  <a:pt x="178" y="747"/>
                </a:lnTo>
                <a:lnTo>
                  <a:pt x="182" y="742"/>
                </a:lnTo>
                <a:lnTo>
                  <a:pt x="182" y="740"/>
                </a:lnTo>
                <a:lnTo>
                  <a:pt x="182" y="737"/>
                </a:lnTo>
                <a:lnTo>
                  <a:pt x="180" y="734"/>
                </a:lnTo>
                <a:lnTo>
                  <a:pt x="178" y="731"/>
                </a:lnTo>
                <a:lnTo>
                  <a:pt x="173" y="726"/>
                </a:lnTo>
                <a:lnTo>
                  <a:pt x="167" y="721"/>
                </a:lnTo>
                <a:lnTo>
                  <a:pt x="165" y="718"/>
                </a:lnTo>
                <a:lnTo>
                  <a:pt x="163" y="713"/>
                </a:lnTo>
                <a:lnTo>
                  <a:pt x="161" y="707"/>
                </a:lnTo>
                <a:lnTo>
                  <a:pt x="161" y="700"/>
                </a:lnTo>
                <a:lnTo>
                  <a:pt x="161" y="685"/>
                </a:lnTo>
                <a:lnTo>
                  <a:pt x="164" y="672"/>
                </a:lnTo>
                <a:lnTo>
                  <a:pt x="165" y="659"/>
                </a:lnTo>
                <a:lnTo>
                  <a:pt x="164" y="643"/>
                </a:lnTo>
                <a:lnTo>
                  <a:pt x="163" y="626"/>
                </a:lnTo>
                <a:lnTo>
                  <a:pt x="160" y="612"/>
                </a:lnTo>
                <a:lnTo>
                  <a:pt x="160" y="601"/>
                </a:lnTo>
                <a:lnTo>
                  <a:pt x="161" y="588"/>
                </a:lnTo>
                <a:lnTo>
                  <a:pt x="163" y="582"/>
                </a:lnTo>
                <a:lnTo>
                  <a:pt x="164" y="577"/>
                </a:lnTo>
                <a:lnTo>
                  <a:pt x="165" y="573"/>
                </a:lnTo>
                <a:lnTo>
                  <a:pt x="167" y="568"/>
                </a:lnTo>
                <a:lnTo>
                  <a:pt x="174" y="561"/>
                </a:lnTo>
                <a:lnTo>
                  <a:pt x="182" y="553"/>
                </a:lnTo>
                <a:lnTo>
                  <a:pt x="185" y="549"/>
                </a:lnTo>
                <a:lnTo>
                  <a:pt x="188" y="545"/>
                </a:lnTo>
                <a:lnTo>
                  <a:pt x="190" y="540"/>
                </a:lnTo>
                <a:lnTo>
                  <a:pt x="191" y="534"/>
                </a:lnTo>
                <a:lnTo>
                  <a:pt x="192" y="524"/>
                </a:lnTo>
                <a:lnTo>
                  <a:pt x="191" y="515"/>
                </a:lnTo>
                <a:lnTo>
                  <a:pt x="189" y="511"/>
                </a:lnTo>
                <a:lnTo>
                  <a:pt x="188" y="507"/>
                </a:lnTo>
                <a:lnTo>
                  <a:pt x="184" y="505"/>
                </a:lnTo>
                <a:lnTo>
                  <a:pt x="180" y="501"/>
                </a:lnTo>
                <a:lnTo>
                  <a:pt x="173" y="495"/>
                </a:lnTo>
                <a:lnTo>
                  <a:pt x="168" y="489"/>
                </a:lnTo>
                <a:lnTo>
                  <a:pt x="166" y="485"/>
                </a:lnTo>
                <a:lnTo>
                  <a:pt x="165" y="480"/>
                </a:lnTo>
                <a:lnTo>
                  <a:pt x="164" y="474"/>
                </a:lnTo>
                <a:lnTo>
                  <a:pt x="164" y="468"/>
                </a:lnTo>
                <a:lnTo>
                  <a:pt x="164" y="462"/>
                </a:lnTo>
                <a:lnTo>
                  <a:pt x="163" y="456"/>
                </a:lnTo>
                <a:lnTo>
                  <a:pt x="161" y="450"/>
                </a:lnTo>
                <a:lnTo>
                  <a:pt x="159" y="445"/>
                </a:lnTo>
                <a:lnTo>
                  <a:pt x="155" y="439"/>
                </a:lnTo>
                <a:lnTo>
                  <a:pt x="152" y="435"/>
                </a:lnTo>
                <a:lnTo>
                  <a:pt x="146" y="430"/>
                </a:lnTo>
                <a:lnTo>
                  <a:pt x="140" y="425"/>
                </a:lnTo>
                <a:lnTo>
                  <a:pt x="127" y="414"/>
                </a:lnTo>
                <a:lnTo>
                  <a:pt x="116" y="405"/>
                </a:lnTo>
                <a:lnTo>
                  <a:pt x="109" y="398"/>
                </a:lnTo>
                <a:lnTo>
                  <a:pt x="104" y="389"/>
                </a:lnTo>
                <a:lnTo>
                  <a:pt x="102" y="381"/>
                </a:lnTo>
                <a:lnTo>
                  <a:pt x="102" y="372"/>
                </a:lnTo>
                <a:lnTo>
                  <a:pt x="102" y="366"/>
                </a:lnTo>
                <a:lnTo>
                  <a:pt x="102" y="359"/>
                </a:lnTo>
                <a:lnTo>
                  <a:pt x="101" y="351"/>
                </a:lnTo>
                <a:lnTo>
                  <a:pt x="98" y="343"/>
                </a:lnTo>
                <a:lnTo>
                  <a:pt x="95" y="336"/>
                </a:lnTo>
                <a:lnTo>
                  <a:pt x="91" y="330"/>
                </a:lnTo>
                <a:lnTo>
                  <a:pt x="88" y="326"/>
                </a:lnTo>
                <a:lnTo>
                  <a:pt x="84" y="324"/>
                </a:lnTo>
                <a:lnTo>
                  <a:pt x="81" y="323"/>
                </a:lnTo>
                <a:lnTo>
                  <a:pt x="77" y="323"/>
                </a:lnTo>
                <a:lnTo>
                  <a:pt x="73" y="324"/>
                </a:lnTo>
                <a:lnTo>
                  <a:pt x="70" y="325"/>
                </a:lnTo>
                <a:lnTo>
                  <a:pt x="63" y="330"/>
                </a:lnTo>
                <a:lnTo>
                  <a:pt x="53" y="335"/>
                </a:lnTo>
                <a:lnTo>
                  <a:pt x="44" y="340"/>
                </a:lnTo>
                <a:lnTo>
                  <a:pt x="37" y="342"/>
                </a:lnTo>
                <a:lnTo>
                  <a:pt x="31" y="341"/>
                </a:lnTo>
                <a:lnTo>
                  <a:pt x="22" y="338"/>
                </a:lnTo>
                <a:lnTo>
                  <a:pt x="14" y="335"/>
                </a:lnTo>
                <a:lnTo>
                  <a:pt x="4" y="329"/>
                </a:lnTo>
                <a:lnTo>
                  <a:pt x="2" y="324"/>
                </a:lnTo>
                <a:lnTo>
                  <a:pt x="0" y="321"/>
                </a:lnTo>
                <a:lnTo>
                  <a:pt x="0" y="317"/>
                </a:lnTo>
                <a:lnTo>
                  <a:pt x="1" y="313"/>
                </a:lnTo>
                <a:lnTo>
                  <a:pt x="7" y="307"/>
                </a:lnTo>
                <a:lnTo>
                  <a:pt x="14" y="302"/>
                </a:lnTo>
                <a:lnTo>
                  <a:pt x="22" y="296"/>
                </a:lnTo>
                <a:lnTo>
                  <a:pt x="31" y="286"/>
                </a:lnTo>
                <a:lnTo>
                  <a:pt x="34" y="281"/>
                </a:lnTo>
                <a:lnTo>
                  <a:pt x="37" y="277"/>
                </a:lnTo>
                <a:lnTo>
                  <a:pt x="39" y="272"/>
                </a:lnTo>
                <a:lnTo>
                  <a:pt x="39" y="267"/>
                </a:lnTo>
                <a:lnTo>
                  <a:pt x="40" y="256"/>
                </a:lnTo>
                <a:lnTo>
                  <a:pt x="40" y="243"/>
                </a:lnTo>
                <a:lnTo>
                  <a:pt x="40" y="237"/>
                </a:lnTo>
                <a:lnTo>
                  <a:pt x="39" y="231"/>
                </a:lnTo>
                <a:lnTo>
                  <a:pt x="38" y="227"/>
                </a:lnTo>
                <a:lnTo>
                  <a:pt x="35" y="222"/>
                </a:lnTo>
                <a:lnTo>
                  <a:pt x="28" y="215"/>
                </a:lnTo>
                <a:lnTo>
                  <a:pt x="23" y="208"/>
                </a:lnTo>
                <a:lnTo>
                  <a:pt x="22" y="204"/>
                </a:lnTo>
                <a:lnTo>
                  <a:pt x="22" y="200"/>
                </a:lnTo>
                <a:lnTo>
                  <a:pt x="23" y="198"/>
                </a:lnTo>
                <a:lnTo>
                  <a:pt x="27" y="197"/>
                </a:lnTo>
                <a:lnTo>
                  <a:pt x="35" y="196"/>
                </a:lnTo>
                <a:lnTo>
                  <a:pt x="44" y="197"/>
                </a:lnTo>
                <a:lnTo>
                  <a:pt x="53" y="198"/>
                </a:lnTo>
                <a:lnTo>
                  <a:pt x="63" y="197"/>
                </a:lnTo>
                <a:lnTo>
                  <a:pt x="72" y="195"/>
                </a:lnTo>
                <a:lnTo>
                  <a:pt x="78" y="193"/>
                </a:lnTo>
                <a:lnTo>
                  <a:pt x="81" y="195"/>
                </a:lnTo>
                <a:lnTo>
                  <a:pt x="82" y="196"/>
                </a:lnTo>
                <a:lnTo>
                  <a:pt x="84" y="198"/>
                </a:lnTo>
                <a:lnTo>
                  <a:pt x="88" y="203"/>
                </a:lnTo>
                <a:lnTo>
                  <a:pt x="95" y="214"/>
                </a:lnTo>
                <a:lnTo>
                  <a:pt x="104" y="225"/>
                </a:lnTo>
                <a:lnTo>
                  <a:pt x="109" y="231"/>
                </a:lnTo>
                <a:lnTo>
                  <a:pt x="115" y="237"/>
                </a:lnTo>
                <a:lnTo>
                  <a:pt x="121" y="242"/>
                </a:lnTo>
                <a:lnTo>
                  <a:pt x="128" y="246"/>
                </a:lnTo>
                <a:lnTo>
                  <a:pt x="140" y="252"/>
                </a:lnTo>
                <a:lnTo>
                  <a:pt x="151" y="256"/>
                </a:lnTo>
                <a:lnTo>
                  <a:pt x="160" y="261"/>
                </a:lnTo>
                <a:lnTo>
                  <a:pt x="168" y="267"/>
                </a:lnTo>
                <a:lnTo>
                  <a:pt x="177" y="272"/>
                </a:lnTo>
                <a:lnTo>
                  <a:pt x="184" y="274"/>
                </a:lnTo>
                <a:lnTo>
                  <a:pt x="186" y="273"/>
                </a:lnTo>
                <a:lnTo>
                  <a:pt x="189" y="272"/>
                </a:lnTo>
                <a:lnTo>
                  <a:pt x="191" y="268"/>
                </a:lnTo>
                <a:lnTo>
                  <a:pt x="192" y="263"/>
                </a:lnTo>
                <a:lnTo>
                  <a:pt x="193" y="253"/>
                </a:lnTo>
                <a:lnTo>
                  <a:pt x="196" y="241"/>
                </a:lnTo>
                <a:lnTo>
                  <a:pt x="197" y="236"/>
                </a:lnTo>
                <a:lnTo>
                  <a:pt x="199" y="231"/>
                </a:lnTo>
                <a:lnTo>
                  <a:pt x="202" y="227"/>
                </a:lnTo>
                <a:lnTo>
                  <a:pt x="207" y="223"/>
                </a:lnTo>
                <a:lnTo>
                  <a:pt x="211" y="221"/>
                </a:lnTo>
                <a:lnTo>
                  <a:pt x="216" y="220"/>
                </a:lnTo>
                <a:lnTo>
                  <a:pt x="222" y="220"/>
                </a:lnTo>
                <a:lnTo>
                  <a:pt x="227" y="222"/>
                </a:lnTo>
                <a:lnTo>
                  <a:pt x="231" y="224"/>
                </a:lnTo>
                <a:lnTo>
                  <a:pt x="236" y="229"/>
                </a:lnTo>
                <a:lnTo>
                  <a:pt x="239" y="234"/>
                </a:lnTo>
                <a:lnTo>
                  <a:pt x="241" y="240"/>
                </a:lnTo>
                <a:lnTo>
                  <a:pt x="246" y="253"/>
                </a:lnTo>
                <a:lnTo>
                  <a:pt x="251" y="265"/>
                </a:lnTo>
                <a:lnTo>
                  <a:pt x="254" y="271"/>
                </a:lnTo>
                <a:lnTo>
                  <a:pt x="258" y="275"/>
                </a:lnTo>
                <a:lnTo>
                  <a:pt x="262" y="280"/>
                </a:lnTo>
                <a:lnTo>
                  <a:pt x="266" y="283"/>
                </a:lnTo>
                <a:lnTo>
                  <a:pt x="277" y="286"/>
                </a:lnTo>
                <a:lnTo>
                  <a:pt x="287" y="288"/>
                </a:lnTo>
                <a:lnTo>
                  <a:pt x="298" y="290"/>
                </a:lnTo>
                <a:lnTo>
                  <a:pt x="308" y="292"/>
                </a:lnTo>
                <a:lnTo>
                  <a:pt x="314" y="293"/>
                </a:lnTo>
                <a:lnTo>
                  <a:pt x="318" y="293"/>
                </a:lnTo>
                <a:lnTo>
                  <a:pt x="323" y="293"/>
                </a:lnTo>
                <a:lnTo>
                  <a:pt x="327" y="291"/>
                </a:lnTo>
                <a:lnTo>
                  <a:pt x="330" y="288"/>
                </a:lnTo>
                <a:lnTo>
                  <a:pt x="334" y="285"/>
                </a:lnTo>
                <a:lnTo>
                  <a:pt x="336" y="279"/>
                </a:lnTo>
                <a:lnTo>
                  <a:pt x="337" y="272"/>
                </a:lnTo>
                <a:lnTo>
                  <a:pt x="337" y="254"/>
                </a:lnTo>
                <a:lnTo>
                  <a:pt x="336" y="234"/>
                </a:lnTo>
                <a:lnTo>
                  <a:pt x="333" y="214"/>
                </a:lnTo>
                <a:lnTo>
                  <a:pt x="328" y="196"/>
                </a:lnTo>
                <a:lnTo>
                  <a:pt x="323" y="179"/>
                </a:lnTo>
                <a:lnTo>
                  <a:pt x="319" y="161"/>
                </a:lnTo>
                <a:lnTo>
                  <a:pt x="319" y="154"/>
                </a:lnTo>
                <a:lnTo>
                  <a:pt x="319" y="147"/>
                </a:lnTo>
                <a:lnTo>
                  <a:pt x="321" y="141"/>
                </a:lnTo>
                <a:lnTo>
                  <a:pt x="322" y="136"/>
                </a:lnTo>
                <a:lnTo>
                  <a:pt x="325" y="133"/>
                </a:lnTo>
                <a:lnTo>
                  <a:pt x="331" y="130"/>
                </a:lnTo>
                <a:lnTo>
                  <a:pt x="338" y="128"/>
                </a:lnTo>
                <a:lnTo>
                  <a:pt x="347" y="126"/>
                </a:lnTo>
                <a:lnTo>
                  <a:pt x="363" y="122"/>
                </a:lnTo>
                <a:lnTo>
                  <a:pt x="378" y="120"/>
                </a:lnTo>
                <a:lnTo>
                  <a:pt x="387" y="117"/>
                </a:lnTo>
                <a:lnTo>
                  <a:pt x="398" y="114"/>
                </a:lnTo>
                <a:lnTo>
                  <a:pt x="401" y="110"/>
                </a:lnTo>
                <a:lnTo>
                  <a:pt x="405" y="105"/>
                </a:lnTo>
                <a:lnTo>
                  <a:pt x="407" y="101"/>
                </a:lnTo>
                <a:lnTo>
                  <a:pt x="407" y="94"/>
                </a:lnTo>
                <a:lnTo>
                  <a:pt x="407" y="83"/>
                </a:lnTo>
                <a:lnTo>
                  <a:pt x="407" y="73"/>
                </a:lnTo>
                <a:lnTo>
                  <a:pt x="407" y="61"/>
                </a:lnTo>
                <a:lnTo>
                  <a:pt x="407" y="52"/>
                </a:lnTo>
                <a:lnTo>
                  <a:pt x="407" y="41"/>
                </a:lnTo>
                <a:lnTo>
                  <a:pt x="407" y="36"/>
                </a:lnTo>
                <a:lnTo>
                  <a:pt x="409" y="35"/>
                </a:lnTo>
                <a:lnTo>
                  <a:pt x="410" y="35"/>
                </a:lnTo>
                <a:lnTo>
                  <a:pt x="413" y="36"/>
                </a:lnTo>
                <a:lnTo>
                  <a:pt x="417" y="39"/>
                </a:lnTo>
                <a:lnTo>
                  <a:pt x="429" y="42"/>
                </a:lnTo>
                <a:lnTo>
                  <a:pt x="441" y="45"/>
                </a:lnTo>
                <a:lnTo>
                  <a:pt x="455" y="46"/>
                </a:lnTo>
                <a:lnTo>
                  <a:pt x="472" y="47"/>
                </a:lnTo>
                <a:lnTo>
                  <a:pt x="479" y="48"/>
                </a:lnTo>
                <a:lnTo>
                  <a:pt x="485" y="48"/>
                </a:lnTo>
                <a:lnTo>
                  <a:pt x="489" y="47"/>
                </a:lnTo>
                <a:lnTo>
                  <a:pt x="493" y="46"/>
                </a:lnTo>
                <a:lnTo>
                  <a:pt x="500" y="41"/>
                </a:lnTo>
                <a:lnTo>
                  <a:pt x="507" y="35"/>
                </a:lnTo>
                <a:lnTo>
                  <a:pt x="511" y="33"/>
                </a:lnTo>
                <a:lnTo>
                  <a:pt x="516" y="31"/>
                </a:lnTo>
                <a:lnTo>
                  <a:pt x="519" y="31"/>
                </a:lnTo>
                <a:lnTo>
                  <a:pt x="523" y="32"/>
                </a:lnTo>
                <a:lnTo>
                  <a:pt x="530" y="34"/>
                </a:lnTo>
                <a:lnTo>
                  <a:pt x="538" y="38"/>
                </a:lnTo>
                <a:lnTo>
                  <a:pt x="542" y="38"/>
                </a:lnTo>
                <a:lnTo>
                  <a:pt x="547" y="36"/>
                </a:lnTo>
                <a:lnTo>
                  <a:pt x="552" y="35"/>
                </a:lnTo>
                <a:lnTo>
                  <a:pt x="558" y="33"/>
                </a:lnTo>
                <a:lnTo>
                  <a:pt x="573" y="27"/>
                </a:lnTo>
                <a:lnTo>
                  <a:pt x="589" y="19"/>
                </a:lnTo>
                <a:lnTo>
                  <a:pt x="601" y="13"/>
                </a:lnTo>
                <a:lnTo>
                  <a:pt x="613" y="7"/>
                </a:lnTo>
                <a:lnTo>
                  <a:pt x="619" y="3"/>
                </a:lnTo>
                <a:lnTo>
                  <a:pt x="623" y="0"/>
                </a:lnTo>
                <a:lnTo>
                  <a:pt x="624" y="0"/>
                </a:lnTo>
                <a:lnTo>
                  <a:pt x="626" y="0"/>
                </a:lnTo>
                <a:lnTo>
                  <a:pt x="627" y="1"/>
                </a:lnTo>
                <a:lnTo>
                  <a:pt x="631" y="3"/>
                </a:lnTo>
                <a:lnTo>
                  <a:pt x="633" y="4"/>
                </a:lnTo>
                <a:lnTo>
                  <a:pt x="637" y="7"/>
                </a:lnTo>
                <a:lnTo>
                  <a:pt x="642" y="7"/>
                </a:lnTo>
                <a:lnTo>
                  <a:pt x="645" y="7"/>
                </a:lnTo>
                <a:lnTo>
                  <a:pt x="653" y="8"/>
                </a:lnTo>
                <a:lnTo>
                  <a:pt x="662" y="10"/>
                </a:lnTo>
                <a:lnTo>
                  <a:pt x="665" y="13"/>
                </a:lnTo>
                <a:lnTo>
                  <a:pt x="669" y="16"/>
                </a:lnTo>
                <a:lnTo>
                  <a:pt x="670" y="21"/>
                </a:lnTo>
                <a:lnTo>
                  <a:pt x="671" y="26"/>
                </a:lnTo>
                <a:lnTo>
                  <a:pt x="671" y="39"/>
                </a:lnTo>
                <a:lnTo>
                  <a:pt x="673" y="52"/>
                </a:lnTo>
                <a:lnTo>
                  <a:pt x="674" y="65"/>
                </a:lnTo>
                <a:lnTo>
                  <a:pt x="677" y="77"/>
                </a:lnTo>
                <a:lnTo>
                  <a:pt x="687" y="97"/>
                </a:lnTo>
                <a:lnTo>
                  <a:pt x="692" y="111"/>
                </a:lnTo>
                <a:lnTo>
                  <a:pt x="692" y="118"/>
                </a:lnTo>
                <a:lnTo>
                  <a:pt x="689" y="124"/>
                </a:lnTo>
                <a:lnTo>
                  <a:pt x="688" y="132"/>
                </a:lnTo>
                <a:lnTo>
                  <a:pt x="686" y="139"/>
                </a:lnTo>
                <a:lnTo>
                  <a:pt x="683" y="145"/>
                </a:lnTo>
                <a:lnTo>
                  <a:pt x="683" y="151"/>
                </a:lnTo>
                <a:lnTo>
                  <a:pt x="683" y="153"/>
                </a:lnTo>
                <a:lnTo>
                  <a:pt x="686" y="155"/>
                </a:lnTo>
                <a:lnTo>
                  <a:pt x="688" y="159"/>
                </a:lnTo>
                <a:lnTo>
                  <a:pt x="692" y="161"/>
                </a:lnTo>
                <a:lnTo>
                  <a:pt x="699" y="168"/>
                </a:lnTo>
                <a:lnTo>
                  <a:pt x="705" y="177"/>
                </a:lnTo>
                <a:lnTo>
                  <a:pt x="707" y="181"/>
                </a:lnTo>
                <a:lnTo>
                  <a:pt x="709" y="187"/>
                </a:lnTo>
                <a:lnTo>
                  <a:pt x="711" y="195"/>
                </a:lnTo>
                <a:lnTo>
                  <a:pt x="711" y="202"/>
                </a:lnTo>
                <a:lnTo>
                  <a:pt x="711" y="217"/>
                </a:lnTo>
                <a:lnTo>
                  <a:pt x="711" y="229"/>
                </a:lnTo>
                <a:lnTo>
                  <a:pt x="712" y="234"/>
                </a:lnTo>
                <a:lnTo>
                  <a:pt x="713" y="237"/>
                </a:lnTo>
                <a:lnTo>
                  <a:pt x="714" y="241"/>
                </a:lnTo>
                <a:lnTo>
                  <a:pt x="717" y="244"/>
                </a:lnTo>
                <a:lnTo>
                  <a:pt x="722" y="249"/>
                </a:lnTo>
                <a:lnTo>
                  <a:pt x="730" y="253"/>
                </a:lnTo>
                <a:lnTo>
                  <a:pt x="737" y="259"/>
                </a:lnTo>
                <a:lnTo>
                  <a:pt x="741" y="266"/>
                </a:lnTo>
                <a:lnTo>
                  <a:pt x="746" y="272"/>
                </a:lnTo>
                <a:lnTo>
                  <a:pt x="752" y="277"/>
                </a:lnTo>
                <a:lnTo>
                  <a:pt x="759" y="280"/>
                </a:lnTo>
                <a:lnTo>
                  <a:pt x="766" y="284"/>
                </a:lnTo>
                <a:lnTo>
                  <a:pt x="777" y="288"/>
                </a:lnTo>
                <a:lnTo>
                  <a:pt x="790" y="298"/>
                </a:lnTo>
                <a:lnTo>
                  <a:pt x="803" y="307"/>
                </a:lnTo>
                <a:lnTo>
                  <a:pt x="814" y="317"/>
                </a:lnTo>
                <a:lnTo>
                  <a:pt x="831" y="335"/>
                </a:lnTo>
                <a:lnTo>
                  <a:pt x="846" y="349"/>
                </a:lnTo>
                <a:lnTo>
                  <a:pt x="851" y="350"/>
                </a:lnTo>
                <a:lnTo>
                  <a:pt x="856" y="351"/>
                </a:lnTo>
                <a:lnTo>
                  <a:pt x="862" y="353"/>
                </a:lnTo>
                <a:lnTo>
                  <a:pt x="867" y="353"/>
                </a:lnTo>
                <a:lnTo>
                  <a:pt x="881" y="351"/>
                </a:lnTo>
                <a:lnTo>
                  <a:pt x="894" y="348"/>
                </a:lnTo>
                <a:lnTo>
                  <a:pt x="913" y="342"/>
                </a:lnTo>
                <a:lnTo>
                  <a:pt x="925" y="337"/>
                </a:lnTo>
                <a:lnTo>
                  <a:pt x="928" y="335"/>
                </a:lnTo>
                <a:lnTo>
                  <a:pt x="932" y="332"/>
                </a:lnTo>
                <a:lnTo>
                  <a:pt x="936" y="330"/>
                </a:lnTo>
                <a:lnTo>
                  <a:pt x="945" y="330"/>
                </a:lnTo>
                <a:lnTo>
                  <a:pt x="954" y="329"/>
                </a:lnTo>
                <a:lnTo>
                  <a:pt x="963" y="328"/>
                </a:lnTo>
                <a:lnTo>
                  <a:pt x="966" y="325"/>
                </a:lnTo>
                <a:lnTo>
                  <a:pt x="970" y="323"/>
                </a:lnTo>
                <a:lnTo>
                  <a:pt x="972" y="318"/>
                </a:lnTo>
                <a:lnTo>
                  <a:pt x="973" y="313"/>
                </a:lnTo>
                <a:lnTo>
                  <a:pt x="974" y="303"/>
                </a:lnTo>
                <a:lnTo>
                  <a:pt x="978" y="292"/>
                </a:lnTo>
                <a:lnTo>
                  <a:pt x="979" y="288"/>
                </a:lnTo>
                <a:lnTo>
                  <a:pt x="982" y="286"/>
                </a:lnTo>
                <a:lnTo>
                  <a:pt x="984" y="285"/>
                </a:lnTo>
                <a:lnTo>
                  <a:pt x="988" y="285"/>
                </a:lnTo>
                <a:lnTo>
                  <a:pt x="997" y="288"/>
                </a:lnTo>
                <a:lnTo>
                  <a:pt x="1008" y="293"/>
                </a:lnTo>
                <a:lnTo>
                  <a:pt x="1013" y="297"/>
                </a:lnTo>
                <a:lnTo>
                  <a:pt x="1017" y="300"/>
                </a:lnTo>
                <a:lnTo>
                  <a:pt x="1021" y="305"/>
                </a:lnTo>
                <a:lnTo>
                  <a:pt x="1024" y="311"/>
                </a:lnTo>
                <a:lnTo>
                  <a:pt x="1028" y="317"/>
                </a:lnTo>
                <a:lnTo>
                  <a:pt x="1032" y="322"/>
                </a:lnTo>
                <a:lnTo>
                  <a:pt x="1035" y="326"/>
                </a:lnTo>
                <a:lnTo>
                  <a:pt x="1040" y="330"/>
                </a:lnTo>
                <a:lnTo>
                  <a:pt x="1045" y="334"/>
                </a:lnTo>
                <a:lnTo>
                  <a:pt x="1049" y="335"/>
                </a:lnTo>
                <a:lnTo>
                  <a:pt x="1055" y="336"/>
                </a:lnTo>
                <a:lnTo>
                  <a:pt x="1061" y="335"/>
                </a:lnTo>
                <a:lnTo>
                  <a:pt x="1073" y="331"/>
                </a:lnTo>
                <a:lnTo>
                  <a:pt x="1084" y="326"/>
                </a:lnTo>
                <a:lnTo>
                  <a:pt x="1089" y="324"/>
                </a:lnTo>
                <a:lnTo>
                  <a:pt x="1095" y="322"/>
                </a:lnTo>
                <a:lnTo>
                  <a:pt x="1100" y="319"/>
                </a:lnTo>
                <a:lnTo>
                  <a:pt x="1106" y="319"/>
                </a:lnTo>
                <a:lnTo>
                  <a:pt x="1121" y="318"/>
                </a:lnTo>
                <a:lnTo>
                  <a:pt x="1134" y="316"/>
                </a:lnTo>
                <a:lnTo>
                  <a:pt x="1140" y="313"/>
                </a:lnTo>
                <a:lnTo>
                  <a:pt x="1143" y="311"/>
                </a:lnTo>
                <a:lnTo>
                  <a:pt x="1147" y="309"/>
                </a:lnTo>
                <a:lnTo>
                  <a:pt x="1149" y="305"/>
                </a:lnTo>
                <a:lnTo>
                  <a:pt x="1152" y="297"/>
                </a:lnTo>
                <a:lnTo>
                  <a:pt x="1156" y="287"/>
                </a:lnTo>
                <a:lnTo>
                  <a:pt x="1160" y="283"/>
                </a:lnTo>
                <a:lnTo>
                  <a:pt x="1163" y="279"/>
                </a:lnTo>
                <a:lnTo>
                  <a:pt x="1169" y="275"/>
                </a:lnTo>
                <a:lnTo>
                  <a:pt x="1175" y="272"/>
                </a:lnTo>
                <a:lnTo>
                  <a:pt x="1185" y="268"/>
                </a:lnTo>
                <a:lnTo>
                  <a:pt x="1196" y="266"/>
                </a:lnTo>
                <a:lnTo>
                  <a:pt x="1207" y="263"/>
                </a:lnTo>
                <a:lnTo>
                  <a:pt x="1218" y="261"/>
                </a:lnTo>
                <a:lnTo>
                  <a:pt x="1225" y="260"/>
                </a:lnTo>
                <a:lnTo>
                  <a:pt x="1229" y="260"/>
                </a:lnTo>
                <a:lnTo>
                  <a:pt x="1229" y="261"/>
                </a:lnTo>
                <a:lnTo>
                  <a:pt x="1228" y="267"/>
                </a:lnTo>
                <a:lnTo>
                  <a:pt x="1225" y="273"/>
                </a:lnTo>
                <a:lnTo>
                  <a:pt x="1224" y="280"/>
                </a:lnTo>
                <a:lnTo>
                  <a:pt x="1224" y="287"/>
                </a:lnTo>
                <a:lnTo>
                  <a:pt x="1226" y="293"/>
                </a:lnTo>
                <a:lnTo>
                  <a:pt x="1230" y="300"/>
                </a:lnTo>
                <a:lnTo>
                  <a:pt x="1232" y="307"/>
                </a:lnTo>
                <a:lnTo>
                  <a:pt x="1232" y="313"/>
                </a:lnTo>
                <a:lnTo>
                  <a:pt x="1232" y="321"/>
                </a:lnTo>
                <a:lnTo>
                  <a:pt x="1234" y="326"/>
                </a:lnTo>
                <a:lnTo>
                  <a:pt x="1235" y="332"/>
                </a:lnTo>
                <a:lnTo>
                  <a:pt x="1238" y="337"/>
                </a:lnTo>
                <a:lnTo>
                  <a:pt x="1244" y="343"/>
                </a:lnTo>
                <a:lnTo>
                  <a:pt x="1254" y="350"/>
                </a:lnTo>
                <a:lnTo>
                  <a:pt x="1265" y="359"/>
                </a:lnTo>
                <a:lnTo>
                  <a:pt x="1276" y="367"/>
                </a:lnTo>
                <a:lnTo>
                  <a:pt x="1285" y="375"/>
                </a:lnTo>
                <a:lnTo>
                  <a:pt x="1291" y="382"/>
                </a:lnTo>
                <a:lnTo>
                  <a:pt x="1297" y="387"/>
                </a:lnTo>
                <a:lnTo>
                  <a:pt x="1304" y="391"/>
                </a:lnTo>
                <a:lnTo>
                  <a:pt x="1312" y="392"/>
                </a:lnTo>
                <a:lnTo>
                  <a:pt x="1322" y="392"/>
                </a:lnTo>
                <a:lnTo>
                  <a:pt x="1332" y="393"/>
                </a:lnTo>
                <a:lnTo>
                  <a:pt x="1342" y="395"/>
                </a:lnTo>
                <a:lnTo>
                  <a:pt x="1351" y="399"/>
                </a:lnTo>
                <a:lnTo>
                  <a:pt x="1357" y="400"/>
                </a:lnTo>
                <a:lnTo>
                  <a:pt x="1363" y="401"/>
                </a:lnTo>
                <a:lnTo>
                  <a:pt x="1370" y="403"/>
                </a:lnTo>
                <a:lnTo>
                  <a:pt x="1379" y="403"/>
                </a:lnTo>
                <a:lnTo>
                  <a:pt x="1387" y="401"/>
                </a:lnTo>
                <a:lnTo>
                  <a:pt x="1395" y="399"/>
                </a:lnTo>
                <a:lnTo>
                  <a:pt x="1404" y="397"/>
                </a:lnTo>
                <a:lnTo>
                  <a:pt x="1412" y="392"/>
                </a:lnTo>
                <a:lnTo>
                  <a:pt x="1427" y="382"/>
                </a:lnTo>
                <a:lnTo>
                  <a:pt x="1442" y="370"/>
                </a:lnTo>
                <a:lnTo>
                  <a:pt x="1455" y="359"/>
                </a:lnTo>
                <a:lnTo>
                  <a:pt x="1467" y="348"/>
                </a:lnTo>
                <a:lnTo>
                  <a:pt x="1471" y="344"/>
                </a:lnTo>
                <a:lnTo>
                  <a:pt x="1476" y="341"/>
                </a:lnTo>
                <a:lnTo>
                  <a:pt x="1482" y="338"/>
                </a:lnTo>
                <a:lnTo>
                  <a:pt x="1488" y="336"/>
                </a:lnTo>
                <a:lnTo>
                  <a:pt x="1500" y="335"/>
                </a:lnTo>
                <a:lnTo>
                  <a:pt x="1513" y="336"/>
                </a:lnTo>
                <a:lnTo>
                  <a:pt x="1520" y="337"/>
                </a:lnTo>
                <a:lnTo>
                  <a:pt x="1526" y="340"/>
                </a:lnTo>
                <a:lnTo>
                  <a:pt x="1532" y="342"/>
                </a:lnTo>
                <a:lnTo>
                  <a:pt x="1538" y="345"/>
                </a:lnTo>
                <a:lnTo>
                  <a:pt x="1547" y="353"/>
                </a:lnTo>
                <a:lnTo>
                  <a:pt x="1557" y="360"/>
                </a:lnTo>
                <a:lnTo>
                  <a:pt x="1566" y="363"/>
                </a:lnTo>
                <a:lnTo>
                  <a:pt x="1574" y="365"/>
                </a:lnTo>
                <a:lnTo>
                  <a:pt x="1583" y="363"/>
                </a:lnTo>
                <a:lnTo>
                  <a:pt x="1595" y="361"/>
                </a:lnTo>
                <a:lnTo>
                  <a:pt x="1607" y="359"/>
                </a:lnTo>
                <a:lnTo>
                  <a:pt x="1618" y="359"/>
                </a:lnTo>
                <a:lnTo>
                  <a:pt x="1621" y="360"/>
                </a:lnTo>
                <a:lnTo>
                  <a:pt x="1625" y="361"/>
                </a:lnTo>
                <a:lnTo>
                  <a:pt x="1627" y="363"/>
                </a:lnTo>
                <a:lnTo>
                  <a:pt x="1628" y="366"/>
                </a:lnTo>
                <a:lnTo>
                  <a:pt x="1631" y="375"/>
                </a:lnTo>
                <a:lnTo>
                  <a:pt x="1635" y="386"/>
                </a:lnTo>
                <a:lnTo>
                  <a:pt x="1639" y="392"/>
                </a:lnTo>
                <a:lnTo>
                  <a:pt x="1643" y="398"/>
                </a:lnTo>
                <a:lnTo>
                  <a:pt x="1647" y="404"/>
                </a:lnTo>
                <a:lnTo>
                  <a:pt x="1653" y="411"/>
                </a:lnTo>
                <a:lnTo>
                  <a:pt x="1663" y="420"/>
                </a:lnTo>
                <a:lnTo>
                  <a:pt x="1672" y="430"/>
                </a:lnTo>
                <a:lnTo>
                  <a:pt x="1681" y="438"/>
                </a:lnTo>
                <a:lnTo>
                  <a:pt x="1688" y="448"/>
                </a:lnTo>
                <a:lnTo>
                  <a:pt x="1688" y="450"/>
                </a:lnTo>
                <a:lnTo>
                  <a:pt x="1688" y="451"/>
                </a:lnTo>
                <a:lnTo>
                  <a:pt x="1687" y="452"/>
                </a:lnTo>
                <a:lnTo>
                  <a:pt x="1685" y="452"/>
                </a:lnTo>
                <a:lnTo>
                  <a:pt x="1681" y="454"/>
                </a:lnTo>
                <a:lnTo>
                  <a:pt x="1677" y="454"/>
                </a:lnTo>
                <a:lnTo>
                  <a:pt x="1672" y="455"/>
                </a:lnTo>
                <a:lnTo>
                  <a:pt x="1669" y="457"/>
                </a:lnTo>
                <a:lnTo>
                  <a:pt x="1664" y="458"/>
                </a:lnTo>
                <a:lnTo>
                  <a:pt x="1663" y="462"/>
                </a:lnTo>
                <a:lnTo>
                  <a:pt x="1662" y="466"/>
                </a:lnTo>
                <a:lnTo>
                  <a:pt x="1660" y="473"/>
                </a:lnTo>
                <a:lnTo>
                  <a:pt x="1660" y="481"/>
                </a:lnTo>
                <a:lnTo>
                  <a:pt x="1662" y="491"/>
                </a:lnTo>
                <a:lnTo>
                  <a:pt x="1663" y="500"/>
                </a:lnTo>
                <a:lnTo>
                  <a:pt x="1664" y="510"/>
                </a:lnTo>
                <a:lnTo>
                  <a:pt x="1666" y="518"/>
                </a:lnTo>
                <a:lnTo>
                  <a:pt x="1670" y="524"/>
                </a:lnTo>
                <a:lnTo>
                  <a:pt x="1675" y="534"/>
                </a:lnTo>
                <a:lnTo>
                  <a:pt x="1679" y="545"/>
                </a:lnTo>
                <a:lnTo>
                  <a:pt x="1682" y="555"/>
                </a:lnTo>
                <a:lnTo>
                  <a:pt x="1684" y="567"/>
                </a:lnTo>
                <a:lnTo>
                  <a:pt x="1685" y="573"/>
                </a:lnTo>
                <a:lnTo>
                  <a:pt x="1687" y="577"/>
                </a:lnTo>
                <a:lnTo>
                  <a:pt x="1689" y="583"/>
                </a:lnTo>
                <a:lnTo>
                  <a:pt x="1692" y="587"/>
                </a:lnTo>
                <a:lnTo>
                  <a:pt x="1697" y="592"/>
                </a:lnTo>
                <a:lnTo>
                  <a:pt x="1704" y="596"/>
                </a:lnTo>
                <a:lnTo>
                  <a:pt x="1708" y="599"/>
                </a:lnTo>
                <a:lnTo>
                  <a:pt x="1711" y="600"/>
                </a:lnTo>
                <a:lnTo>
                  <a:pt x="1715" y="600"/>
                </a:lnTo>
                <a:lnTo>
                  <a:pt x="1717" y="599"/>
                </a:lnTo>
                <a:lnTo>
                  <a:pt x="1723" y="589"/>
                </a:lnTo>
                <a:lnTo>
                  <a:pt x="1728" y="578"/>
                </a:lnTo>
                <a:lnTo>
                  <a:pt x="1726" y="570"/>
                </a:lnTo>
                <a:lnTo>
                  <a:pt x="1725" y="561"/>
                </a:lnTo>
                <a:lnTo>
                  <a:pt x="1727" y="559"/>
                </a:lnTo>
                <a:lnTo>
                  <a:pt x="1731" y="559"/>
                </a:lnTo>
                <a:lnTo>
                  <a:pt x="1739" y="562"/>
                </a:lnTo>
                <a:lnTo>
                  <a:pt x="1746" y="565"/>
                </a:lnTo>
                <a:lnTo>
                  <a:pt x="1748" y="567"/>
                </a:lnTo>
                <a:lnTo>
                  <a:pt x="1752" y="568"/>
                </a:lnTo>
                <a:lnTo>
                  <a:pt x="1754" y="568"/>
                </a:lnTo>
                <a:lnTo>
                  <a:pt x="1757" y="565"/>
                </a:lnTo>
                <a:lnTo>
                  <a:pt x="1763" y="562"/>
                </a:lnTo>
                <a:lnTo>
                  <a:pt x="1770" y="559"/>
                </a:lnTo>
                <a:lnTo>
                  <a:pt x="1777" y="559"/>
                </a:lnTo>
                <a:lnTo>
                  <a:pt x="1784" y="561"/>
                </a:lnTo>
                <a:lnTo>
                  <a:pt x="1792" y="561"/>
                </a:lnTo>
                <a:lnTo>
                  <a:pt x="1801" y="561"/>
                </a:lnTo>
                <a:lnTo>
                  <a:pt x="1809" y="562"/>
                </a:lnTo>
                <a:lnTo>
                  <a:pt x="1816" y="564"/>
                </a:lnTo>
                <a:lnTo>
                  <a:pt x="1828" y="571"/>
                </a:lnTo>
                <a:lnTo>
                  <a:pt x="1839" y="577"/>
                </a:lnTo>
                <a:lnTo>
                  <a:pt x="1842" y="578"/>
                </a:lnTo>
                <a:lnTo>
                  <a:pt x="1846" y="581"/>
                </a:lnTo>
                <a:lnTo>
                  <a:pt x="1847" y="582"/>
                </a:lnTo>
                <a:lnTo>
                  <a:pt x="1848" y="583"/>
                </a:lnTo>
                <a:lnTo>
                  <a:pt x="1848" y="584"/>
                </a:lnTo>
                <a:lnTo>
                  <a:pt x="1847" y="586"/>
                </a:lnTo>
                <a:lnTo>
                  <a:pt x="1837" y="594"/>
                </a:lnTo>
                <a:lnTo>
                  <a:pt x="1829" y="602"/>
                </a:lnTo>
                <a:lnTo>
                  <a:pt x="1828" y="606"/>
                </a:lnTo>
                <a:lnTo>
                  <a:pt x="1827" y="611"/>
                </a:lnTo>
                <a:lnTo>
                  <a:pt x="1827" y="614"/>
                </a:lnTo>
                <a:lnTo>
                  <a:pt x="1827" y="619"/>
                </a:lnTo>
                <a:lnTo>
                  <a:pt x="1828" y="624"/>
                </a:lnTo>
                <a:lnTo>
                  <a:pt x="1830" y="628"/>
                </a:lnTo>
                <a:lnTo>
                  <a:pt x="1833" y="633"/>
                </a:lnTo>
                <a:lnTo>
                  <a:pt x="1836" y="638"/>
                </a:lnTo>
                <a:lnTo>
                  <a:pt x="1847" y="649"/>
                </a:lnTo>
                <a:lnTo>
                  <a:pt x="1859" y="663"/>
                </a:lnTo>
                <a:lnTo>
                  <a:pt x="1871" y="676"/>
                </a:lnTo>
                <a:lnTo>
                  <a:pt x="1880" y="687"/>
                </a:lnTo>
                <a:lnTo>
                  <a:pt x="1885" y="693"/>
                </a:lnTo>
                <a:lnTo>
                  <a:pt x="1889" y="700"/>
                </a:lnTo>
                <a:lnTo>
                  <a:pt x="1891" y="706"/>
                </a:lnTo>
                <a:lnTo>
                  <a:pt x="1892" y="712"/>
                </a:lnTo>
                <a:lnTo>
                  <a:pt x="1893" y="719"/>
                </a:lnTo>
                <a:lnTo>
                  <a:pt x="1896" y="726"/>
                </a:lnTo>
                <a:lnTo>
                  <a:pt x="1897" y="729"/>
                </a:lnTo>
                <a:lnTo>
                  <a:pt x="1899" y="732"/>
                </a:lnTo>
                <a:lnTo>
                  <a:pt x="1900" y="734"/>
                </a:lnTo>
                <a:lnTo>
                  <a:pt x="1904" y="737"/>
                </a:lnTo>
                <a:lnTo>
                  <a:pt x="1909" y="738"/>
                </a:lnTo>
                <a:lnTo>
                  <a:pt x="1915" y="737"/>
                </a:lnTo>
                <a:lnTo>
                  <a:pt x="1921" y="735"/>
                </a:lnTo>
                <a:lnTo>
                  <a:pt x="1927" y="733"/>
                </a:lnTo>
                <a:lnTo>
                  <a:pt x="1930" y="733"/>
                </a:lnTo>
                <a:lnTo>
                  <a:pt x="1933" y="734"/>
                </a:lnTo>
                <a:lnTo>
                  <a:pt x="1934" y="735"/>
                </a:lnTo>
                <a:lnTo>
                  <a:pt x="1936" y="738"/>
                </a:lnTo>
                <a:lnTo>
                  <a:pt x="1939" y="744"/>
                </a:lnTo>
                <a:lnTo>
                  <a:pt x="1941" y="750"/>
                </a:lnTo>
                <a:lnTo>
                  <a:pt x="1944" y="757"/>
                </a:lnTo>
                <a:lnTo>
                  <a:pt x="1952" y="765"/>
                </a:lnTo>
                <a:lnTo>
                  <a:pt x="1956" y="769"/>
                </a:lnTo>
                <a:lnTo>
                  <a:pt x="1961" y="771"/>
                </a:lnTo>
                <a:lnTo>
                  <a:pt x="1968" y="772"/>
                </a:lnTo>
                <a:lnTo>
                  <a:pt x="1975" y="772"/>
                </a:lnTo>
                <a:lnTo>
                  <a:pt x="1984" y="771"/>
                </a:lnTo>
                <a:lnTo>
                  <a:pt x="1992" y="769"/>
                </a:lnTo>
                <a:lnTo>
                  <a:pt x="1999" y="765"/>
                </a:lnTo>
                <a:lnTo>
                  <a:pt x="2006" y="762"/>
                </a:lnTo>
                <a:lnTo>
                  <a:pt x="2019" y="753"/>
                </a:lnTo>
                <a:lnTo>
                  <a:pt x="2029" y="747"/>
                </a:lnTo>
                <a:lnTo>
                  <a:pt x="2032" y="744"/>
                </a:lnTo>
                <a:lnTo>
                  <a:pt x="2034" y="741"/>
                </a:lnTo>
                <a:lnTo>
                  <a:pt x="2035" y="739"/>
                </a:lnTo>
                <a:lnTo>
                  <a:pt x="2035" y="735"/>
                </a:lnTo>
                <a:lnTo>
                  <a:pt x="2032" y="731"/>
                </a:lnTo>
                <a:lnTo>
                  <a:pt x="2029" y="723"/>
                </a:lnTo>
                <a:lnTo>
                  <a:pt x="2025" y="712"/>
                </a:lnTo>
                <a:lnTo>
                  <a:pt x="2023" y="695"/>
                </a:lnTo>
                <a:lnTo>
                  <a:pt x="2023" y="679"/>
                </a:lnTo>
                <a:lnTo>
                  <a:pt x="2023" y="669"/>
                </a:lnTo>
                <a:lnTo>
                  <a:pt x="2023" y="662"/>
                </a:lnTo>
                <a:lnTo>
                  <a:pt x="2021" y="655"/>
                </a:lnTo>
                <a:lnTo>
                  <a:pt x="2017" y="649"/>
                </a:lnTo>
                <a:lnTo>
                  <a:pt x="2012" y="644"/>
                </a:lnTo>
                <a:lnTo>
                  <a:pt x="2009" y="639"/>
                </a:lnTo>
                <a:lnTo>
                  <a:pt x="2006" y="634"/>
                </a:lnTo>
                <a:lnTo>
                  <a:pt x="2007" y="632"/>
                </a:lnTo>
                <a:lnTo>
                  <a:pt x="2009" y="631"/>
                </a:lnTo>
                <a:lnTo>
                  <a:pt x="2010" y="630"/>
                </a:lnTo>
                <a:lnTo>
                  <a:pt x="2013" y="630"/>
                </a:lnTo>
                <a:lnTo>
                  <a:pt x="2022" y="632"/>
                </a:lnTo>
                <a:lnTo>
                  <a:pt x="2031" y="633"/>
                </a:lnTo>
                <a:lnTo>
                  <a:pt x="2035" y="633"/>
                </a:lnTo>
                <a:lnTo>
                  <a:pt x="2040" y="632"/>
                </a:lnTo>
                <a:lnTo>
                  <a:pt x="2043" y="630"/>
                </a:lnTo>
                <a:lnTo>
                  <a:pt x="2046" y="626"/>
                </a:lnTo>
                <a:lnTo>
                  <a:pt x="2049" y="616"/>
                </a:lnTo>
                <a:lnTo>
                  <a:pt x="2054" y="605"/>
                </a:lnTo>
                <a:lnTo>
                  <a:pt x="2059" y="593"/>
                </a:lnTo>
                <a:lnTo>
                  <a:pt x="2063" y="584"/>
                </a:lnTo>
                <a:lnTo>
                  <a:pt x="2069" y="577"/>
                </a:lnTo>
                <a:lnTo>
                  <a:pt x="2078" y="569"/>
                </a:lnTo>
                <a:lnTo>
                  <a:pt x="2085" y="562"/>
                </a:lnTo>
                <a:lnTo>
                  <a:pt x="2091" y="558"/>
                </a:lnTo>
                <a:lnTo>
                  <a:pt x="2094" y="558"/>
                </a:lnTo>
                <a:lnTo>
                  <a:pt x="2097" y="559"/>
                </a:lnTo>
                <a:lnTo>
                  <a:pt x="2100" y="562"/>
                </a:lnTo>
                <a:lnTo>
                  <a:pt x="2103" y="564"/>
                </a:lnTo>
                <a:lnTo>
                  <a:pt x="2111" y="571"/>
                </a:lnTo>
                <a:lnTo>
                  <a:pt x="2118" y="578"/>
                </a:lnTo>
                <a:lnTo>
                  <a:pt x="2124" y="587"/>
                </a:lnTo>
                <a:lnTo>
                  <a:pt x="2129" y="596"/>
                </a:lnTo>
                <a:lnTo>
                  <a:pt x="2133" y="608"/>
                </a:lnTo>
                <a:lnTo>
                  <a:pt x="2136" y="621"/>
                </a:lnTo>
                <a:lnTo>
                  <a:pt x="2137" y="639"/>
                </a:lnTo>
                <a:lnTo>
                  <a:pt x="2139" y="660"/>
                </a:lnTo>
                <a:lnTo>
                  <a:pt x="2142" y="671"/>
                </a:lnTo>
                <a:lnTo>
                  <a:pt x="2143" y="681"/>
                </a:lnTo>
                <a:lnTo>
                  <a:pt x="2147" y="689"/>
                </a:lnTo>
                <a:lnTo>
                  <a:pt x="2150" y="695"/>
                </a:lnTo>
                <a:lnTo>
                  <a:pt x="2167" y="713"/>
                </a:lnTo>
                <a:lnTo>
                  <a:pt x="2180" y="729"/>
                </a:lnTo>
                <a:lnTo>
                  <a:pt x="2185" y="740"/>
                </a:lnTo>
                <a:lnTo>
                  <a:pt x="2189" y="754"/>
                </a:lnTo>
                <a:lnTo>
                  <a:pt x="2194" y="769"/>
                </a:lnTo>
                <a:lnTo>
                  <a:pt x="2200" y="781"/>
                </a:lnTo>
                <a:lnTo>
                  <a:pt x="2208" y="789"/>
                </a:lnTo>
                <a:lnTo>
                  <a:pt x="2216" y="795"/>
                </a:lnTo>
                <a:lnTo>
                  <a:pt x="2225" y="798"/>
                </a:lnTo>
                <a:lnTo>
                  <a:pt x="2236" y="802"/>
                </a:lnTo>
                <a:lnTo>
                  <a:pt x="2242" y="803"/>
                </a:lnTo>
                <a:lnTo>
                  <a:pt x="2246" y="804"/>
                </a:lnTo>
                <a:lnTo>
                  <a:pt x="2251" y="807"/>
                </a:lnTo>
                <a:lnTo>
                  <a:pt x="2256" y="809"/>
                </a:lnTo>
                <a:lnTo>
                  <a:pt x="2261" y="813"/>
                </a:lnTo>
                <a:lnTo>
                  <a:pt x="2264" y="817"/>
                </a:lnTo>
                <a:lnTo>
                  <a:pt x="2268" y="822"/>
                </a:lnTo>
                <a:lnTo>
                  <a:pt x="2270" y="827"/>
                </a:lnTo>
                <a:lnTo>
                  <a:pt x="2276" y="841"/>
                </a:lnTo>
                <a:lnTo>
                  <a:pt x="2283" y="858"/>
                </a:lnTo>
                <a:lnTo>
                  <a:pt x="2290" y="874"/>
                </a:lnTo>
                <a:lnTo>
                  <a:pt x="2298" y="889"/>
                </a:lnTo>
                <a:lnTo>
                  <a:pt x="2302" y="901"/>
                </a:lnTo>
                <a:lnTo>
                  <a:pt x="2307" y="911"/>
                </a:lnTo>
                <a:lnTo>
                  <a:pt x="2309" y="915"/>
                </a:lnTo>
                <a:lnTo>
                  <a:pt x="2314" y="917"/>
                </a:lnTo>
                <a:lnTo>
                  <a:pt x="2319" y="917"/>
                </a:lnTo>
                <a:lnTo>
                  <a:pt x="2327" y="915"/>
                </a:lnTo>
                <a:lnTo>
                  <a:pt x="2331" y="914"/>
                </a:lnTo>
                <a:lnTo>
                  <a:pt x="2334" y="912"/>
                </a:lnTo>
                <a:lnTo>
                  <a:pt x="2338" y="912"/>
                </a:lnTo>
                <a:lnTo>
                  <a:pt x="2342" y="914"/>
                </a:lnTo>
                <a:lnTo>
                  <a:pt x="2347" y="916"/>
                </a:lnTo>
                <a:lnTo>
                  <a:pt x="2352" y="920"/>
                </a:lnTo>
                <a:lnTo>
                  <a:pt x="2357" y="924"/>
                </a:lnTo>
                <a:lnTo>
                  <a:pt x="2361" y="928"/>
                </a:lnTo>
                <a:lnTo>
                  <a:pt x="2365" y="929"/>
                </a:lnTo>
                <a:lnTo>
                  <a:pt x="2369" y="929"/>
                </a:lnTo>
                <a:lnTo>
                  <a:pt x="2387" y="914"/>
                </a:lnTo>
                <a:lnTo>
                  <a:pt x="2399" y="901"/>
                </a:lnTo>
                <a:lnTo>
                  <a:pt x="2405" y="899"/>
                </a:lnTo>
                <a:lnTo>
                  <a:pt x="2409" y="899"/>
                </a:lnTo>
                <a:lnTo>
                  <a:pt x="2413" y="901"/>
                </a:lnTo>
                <a:lnTo>
                  <a:pt x="2419" y="901"/>
                </a:lnTo>
                <a:lnTo>
                  <a:pt x="2421" y="902"/>
                </a:lnTo>
                <a:lnTo>
                  <a:pt x="2425" y="901"/>
                </a:lnTo>
                <a:lnTo>
                  <a:pt x="2428" y="899"/>
                </a:lnTo>
                <a:lnTo>
                  <a:pt x="2431" y="897"/>
                </a:lnTo>
                <a:lnTo>
                  <a:pt x="2432" y="893"/>
                </a:lnTo>
                <a:lnTo>
                  <a:pt x="2432" y="890"/>
                </a:lnTo>
                <a:lnTo>
                  <a:pt x="2432" y="885"/>
                </a:lnTo>
                <a:lnTo>
                  <a:pt x="2429" y="880"/>
                </a:lnTo>
                <a:lnTo>
                  <a:pt x="2425" y="870"/>
                </a:lnTo>
                <a:lnTo>
                  <a:pt x="2420" y="858"/>
                </a:lnTo>
                <a:lnTo>
                  <a:pt x="2416" y="845"/>
                </a:lnTo>
                <a:lnTo>
                  <a:pt x="2414" y="833"/>
                </a:lnTo>
                <a:lnTo>
                  <a:pt x="2414" y="827"/>
                </a:lnTo>
                <a:lnTo>
                  <a:pt x="2415" y="821"/>
                </a:lnTo>
                <a:lnTo>
                  <a:pt x="2418" y="816"/>
                </a:lnTo>
                <a:lnTo>
                  <a:pt x="2420" y="811"/>
                </a:lnTo>
                <a:lnTo>
                  <a:pt x="2425" y="807"/>
                </a:lnTo>
                <a:lnTo>
                  <a:pt x="2429" y="803"/>
                </a:lnTo>
                <a:lnTo>
                  <a:pt x="2437" y="800"/>
                </a:lnTo>
                <a:lnTo>
                  <a:pt x="2443" y="798"/>
                </a:lnTo>
                <a:lnTo>
                  <a:pt x="2450" y="796"/>
                </a:lnTo>
                <a:lnTo>
                  <a:pt x="2457" y="792"/>
                </a:lnTo>
                <a:lnTo>
                  <a:pt x="2463" y="788"/>
                </a:lnTo>
                <a:lnTo>
                  <a:pt x="2470" y="782"/>
                </a:lnTo>
                <a:lnTo>
                  <a:pt x="2481" y="771"/>
                </a:lnTo>
                <a:lnTo>
                  <a:pt x="2491" y="760"/>
                </a:lnTo>
                <a:lnTo>
                  <a:pt x="2497" y="757"/>
                </a:lnTo>
                <a:lnTo>
                  <a:pt x="2503" y="753"/>
                </a:lnTo>
                <a:lnTo>
                  <a:pt x="2509" y="751"/>
                </a:lnTo>
                <a:lnTo>
                  <a:pt x="2515" y="750"/>
                </a:lnTo>
                <a:lnTo>
                  <a:pt x="2528" y="747"/>
                </a:lnTo>
                <a:lnTo>
                  <a:pt x="2540" y="746"/>
                </a:lnTo>
                <a:lnTo>
                  <a:pt x="2551" y="744"/>
                </a:lnTo>
                <a:lnTo>
                  <a:pt x="2560" y="741"/>
                </a:lnTo>
                <a:lnTo>
                  <a:pt x="2564" y="739"/>
                </a:lnTo>
                <a:lnTo>
                  <a:pt x="2566" y="735"/>
                </a:lnTo>
                <a:lnTo>
                  <a:pt x="2569" y="732"/>
                </a:lnTo>
                <a:lnTo>
                  <a:pt x="2571" y="727"/>
                </a:lnTo>
                <a:lnTo>
                  <a:pt x="2571" y="716"/>
                </a:lnTo>
                <a:lnTo>
                  <a:pt x="2571" y="706"/>
                </a:lnTo>
                <a:lnTo>
                  <a:pt x="2571" y="700"/>
                </a:lnTo>
                <a:lnTo>
                  <a:pt x="2573" y="694"/>
                </a:lnTo>
                <a:lnTo>
                  <a:pt x="2576" y="688"/>
                </a:lnTo>
                <a:lnTo>
                  <a:pt x="2580" y="682"/>
                </a:lnTo>
                <a:lnTo>
                  <a:pt x="2586" y="677"/>
                </a:lnTo>
                <a:lnTo>
                  <a:pt x="2594" y="672"/>
                </a:lnTo>
                <a:lnTo>
                  <a:pt x="2599" y="669"/>
                </a:lnTo>
                <a:lnTo>
                  <a:pt x="2607" y="668"/>
                </a:lnTo>
                <a:lnTo>
                  <a:pt x="2614" y="666"/>
                </a:lnTo>
                <a:lnTo>
                  <a:pt x="2619" y="668"/>
                </a:lnTo>
                <a:lnTo>
                  <a:pt x="2624" y="670"/>
                </a:lnTo>
                <a:lnTo>
                  <a:pt x="2628" y="672"/>
                </a:lnTo>
                <a:lnTo>
                  <a:pt x="2633" y="682"/>
                </a:lnTo>
                <a:lnTo>
                  <a:pt x="2635" y="691"/>
                </a:lnTo>
                <a:lnTo>
                  <a:pt x="2638" y="701"/>
                </a:lnTo>
                <a:lnTo>
                  <a:pt x="2641" y="712"/>
                </a:lnTo>
                <a:lnTo>
                  <a:pt x="2643" y="716"/>
                </a:lnTo>
                <a:lnTo>
                  <a:pt x="2647" y="721"/>
                </a:lnTo>
                <a:lnTo>
                  <a:pt x="2652" y="726"/>
                </a:lnTo>
                <a:lnTo>
                  <a:pt x="2657" y="728"/>
                </a:lnTo>
                <a:lnTo>
                  <a:pt x="2661" y="731"/>
                </a:lnTo>
                <a:lnTo>
                  <a:pt x="2666" y="731"/>
                </a:lnTo>
                <a:lnTo>
                  <a:pt x="2668" y="731"/>
                </a:lnTo>
                <a:lnTo>
                  <a:pt x="2670" y="729"/>
                </a:lnTo>
                <a:lnTo>
                  <a:pt x="2671" y="727"/>
                </a:lnTo>
                <a:lnTo>
                  <a:pt x="2672" y="726"/>
                </a:lnTo>
                <a:lnTo>
                  <a:pt x="2678" y="713"/>
                </a:lnTo>
                <a:lnTo>
                  <a:pt x="2685" y="697"/>
                </a:lnTo>
                <a:lnTo>
                  <a:pt x="2695" y="682"/>
                </a:lnTo>
                <a:lnTo>
                  <a:pt x="2701" y="669"/>
                </a:lnTo>
                <a:lnTo>
                  <a:pt x="2706" y="657"/>
                </a:lnTo>
                <a:lnTo>
                  <a:pt x="2714" y="646"/>
                </a:lnTo>
                <a:lnTo>
                  <a:pt x="2718" y="637"/>
                </a:lnTo>
                <a:lnTo>
                  <a:pt x="2722" y="632"/>
                </a:lnTo>
                <a:lnTo>
                  <a:pt x="2724" y="631"/>
                </a:lnTo>
                <a:lnTo>
                  <a:pt x="2725" y="631"/>
                </a:lnTo>
                <a:lnTo>
                  <a:pt x="2725" y="633"/>
                </a:lnTo>
                <a:lnTo>
                  <a:pt x="2727" y="636"/>
                </a:lnTo>
                <a:lnTo>
                  <a:pt x="2728" y="643"/>
                </a:lnTo>
                <a:lnTo>
                  <a:pt x="2729" y="652"/>
                </a:lnTo>
                <a:lnTo>
                  <a:pt x="2731" y="662"/>
                </a:lnTo>
                <a:lnTo>
                  <a:pt x="2735" y="672"/>
                </a:lnTo>
                <a:lnTo>
                  <a:pt x="2741" y="682"/>
                </a:lnTo>
                <a:lnTo>
                  <a:pt x="2745" y="691"/>
                </a:lnTo>
                <a:lnTo>
                  <a:pt x="2748" y="700"/>
                </a:lnTo>
                <a:lnTo>
                  <a:pt x="2749" y="708"/>
                </a:lnTo>
                <a:lnTo>
                  <a:pt x="2752" y="718"/>
                </a:lnTo>
                <a:lnTo>
                  <a:pt x="2753" y="727"/>
                </a:lnTo>
                <a:lnTo>
                  <a:pt x="2754" y="739"/>
                </a:lnTo>
                <a:lnTo>
                  <a:pt x="2755" y="751"/>
                </a:lnTo>
                <a:lnTo>
                  <a:pt x="2756" y="756"/>
                </a:lnTo>
                <a:lnTo>
                  <a:pt x="2758" y="759"/>
                </a:lnTo>
                <a:lnTo>
                  <a:pt x="2760" y="762"/>
                </a:lnTo>
                <a:lnTo>
                  <a:pt x="2762" y="760"/>
                </a:lnTo>
                <a:lnTo>
                  <a:pt x="2767" y="758"/>
                </a:lnTo>
                <a:lnTo>
                  <a:pt x="2771" y="758"/>
                </a:lnTo>
                <a:lnTo>
                  <a:pt x="2775" y="758"/>
                </a:lnTo>
                <a:lnTo>
                  <a:pt x="2780" y="760"/>
                </a:lnTo>
                <a:lnTo>
                  <a:pt x="2787" y="772"/>
                </a:lnTo>
                <a:lnTo>
                  <a:pt x="2794" y="785"/>
                </a:lnTo>
                <a:lnTo>
                  <a:pt x="2797" y="789"/>
                </a:lnTo>
                <a:lnTo>
                  <a:pt x="2800" y="792"/>
                </a:lnTo>
                <a:lnTo>
                  <a:pt x="2805" y="794"/>
                </a:lnTo>
                <a:lnTo>
                  <a:pt x="2809" y="796"/>
                </a:lnTo>
                <a:lnTo>
                  <a:pt x="2817" y="797"/>
                </a:lnTo>
                <a:lnTo>
                  <a:pt x="2824" y="797"/>
                </a:lnTo>
                <a:lnTo>
                  <a:pt x="2831" y="797"/>
                </a:lnTo>
                <a:lnTo>
                  <a:pt x="2838" y="798"/>
                </a:lnTo>
                <a:lnTo>
                  <a:pt x="2846" y="801"/>
                </a:lnTo>
                <a:lnTo>
                  <a:pt x="2851" y="805"/>
                </a:lnTo>
                <a:lnTo>
                  <a:pt x="2859" y="813"/>
                </a:lnTo>
                <a:lnTo>
                  <a:pt x="2867" y="817"/>
                </a:lnTo>
                <a:lnTo>
                  <a:pt x="2876" y="822"/>
                </a:lnTo>
                <a:lnTo>
                  <a:pt x="2887" y="826"/>
                </a:lnTo>
                <a:lnTo>
                  <a:pt x="2898" y="830"/>
                </a:lnTo>
                <a:lnTo>
                  <a:pt x="2909" y="838"/>
                </a:lnTo>
                <a:lnTo>
                  <a:pt x="2918" y="845"/>
                </a:lnTo>
                <a:lnTo>
                  <a:pt x="2928" y="853"/>
                </a:lnTo>
                <a:lnTo>
                  <a:pt x="2931" y="855"/>
                </a:lnTo>
                <a:lnTo>
                  <a:pt x="2936" y="858"/>
                </a:lnTo>
                <a:lnTo>
                  <a:pt x="2941" y="858"/>
                </a:lnTo>
                <a:lnTo>
                  <a:pt x="2944" y="858"/>
                </a:lnTo>
                <a:lnTo>
                  <a:pt x="2948" y="857"/>
                </a:lnTo>
                <a:lnTo>
                  <a:pt x="2951" y="854"/>
                </a:lnTo>
                <a:lnTo>
                  <a:pt x="2954" y="851"/>
                </a:lnTo>
                <a:lnTo>
                  <a:pt x="2956" y="847"/>
                </a:lnTo>
                <a:lnTo>
                  <a:pt x="2961" y="835"/>
                </a:lnTo>
                <a:lnTo>
                  <a:pt x="2968" y="823"/>
                </a:lnTo>
                <a:lnTo>
                  <a:pt x="2969" y="821"/>
                </a:lnTo>
                <a:lnTo>
                  <a:pt x="2972" y="820"/>
                </a:lnTo>
                <a:lnTo>
                  <a:pt x="2973" y="820"/>
                </a:lnTo>
                <a:lnTo>
                  <a:pt x="2975" y="820"/>
                </a:lnTo>
                <a:lnTo>
                  <a:pt x="2980" y="822"/>
                </a:lnTo>
                <a:lnTo>
                  <a:pt x="2985" y="826"/>
                </a:lnTo>
                <a:lnTo>
                  <a:pt x="2999" y="838"/>
                </a:lnTo>
                <a:lnTo>
                  <a:pt x="3013" y="849"/>
                </a:lnTo>
                <a:lnTo>
                  <a:pt x="3017" y="853"/>
                </a:lnTo>
                <a:lnTo>
                  <a:pt x="3020" y="854"/>
                </a:lnTo>
                <a:lnTo>
                  <a:pt x="3023" y="854"/>
                </a:lnTo>
                <a:lnTo>
                  <a:pt x="3025" y="854"/>
                </a:lnTo>
                <a:lnTo>
                  <a:pt x="3029" y="851"/>
                </a:lnTo>
                <a:lnTo>
                  <a:pt x="3033" y="846"/>
                </a:lnTo>
                <a:lnTo>
                  <a:pt x="3039" y="840"/>
                </a:lnTo>
                <a:lnTo>
                  <a:pt x="3046" y="833"/>
                </a:lnTo>
                <a:lnTo>
                  <a:pt x="3051" y="829"/>
                </a:lnTo>
                <a:lnTo>
                  <a:pt x="3055" y="826"/>
                </a:lnTo>
                <a:lnTo>
                  <a:pt x="3060" y="823"/>
                </a:lnTo>
                <a:lnTo>
                  <a:pt x="3062" y="822"/>
                </a:lnTo>
                <a:lnTo>
                  <a:pt x="3064" y="826"/>
                </a:lnTo>
                <a:lnTo>
                  <a:pt x="3067" y="833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19" name="湖南"/>
          <p:cNvSpPr/>
          <p:nvPr/>
        </p:nvSpPr>
        <p:spPr bwMode="auto">
          <a:xfrm>
            <a:off x="6052820" y="4537075"/>
            <a:ext cx="861695" cy="980440"/>
          </a:xfrm>
          <a:custGeom>
            <a:avLst/>
            <a:gdLst>
              <a:gd name="T0" fmla="*/ 1870 w 2092"/>
              <a:gd name="T1" fmla="*/ 2073 h 2386"/>
              <a:gd name="T2" fmla="*/ 1729 w 2092"/>
              <a:gd name="T3" fmla="*/ 1997 h 2386"/>
              <a:gd name="T4" fmla="*/ 1575 w 2092"/>
              <a:gd name="T5" fmla="*/ 2103 h 2386"/>
              <a:gd name="T6" fmla="*/ 1639 w 2092"/>
              <a:gd name="T7" fmla="*/ 2220 h 2386"/>
              <a:gd name="T8" fmla="*/ 1554 w 2092"/>
              <a:gd name="T9" fmla="*/ 2265 h 2386"/>
              <a:gd name="T10" fmla="*/ 1347 w 2092"/>
              <a:gd name="T11" fmla="*/ 2157 h 2386"/>
              <a:gd name="T12" fmla="*/ 1280 w 2092"/>
              <a:gd name="T13" fmla="*/ 2308 h 2386"/>
              <a:gd name="T14" fmla="*/ 1071 w 2092"/>
              <a:gd name="T15" fmla="*/ 2386 h 2386"/>
              <a:gd name="T16" fmla="*/ 1030 w 2092"/>
              <a:gd name="T17" fmla="*/ 2244 h 2386"/>
              <a:gd name="T18" fmla="*/ 979 w 2092"/>
              <a:gd name="T19" fmla="*/ 2191 h 2386"/>
              <a:gd name="T20" fmla="*/ 857 w 2092"/>
              <a:gd name="T21" fmla="*/ 2273 h 2386"/>
              <a:gd name="T22" fmla="*/ 897 w 2092"/>
              <a:gd name="T23" fmla="*/ 2110 h 2386"/>
              <a:gd name="T24" fmla="*/ 979 w 2092"/>
              <a:gd name="T25" fmla="*/ 1903 h 2386"/>
              <a:gd name="T26" fmla="*/ 963 w 2092"/>
              <a:gd name="T27" fmla="*/ 1854 h 2386"/>
              <a:gd name="T28" fmla="*/ 948 w 2092"/>
              <a:gd name="T29" fmla="*/ 1737 h 2386"/>
              <a:gd name="T30" fmla="*/ 814 w 2092"/>
              <a:gd name="T31" fmla="*/ 1645 h 2386"/>
              <a:gd name="T32" fmla="*/ 667 w 2092"/>
              <a:gd name="T33" fmla="*/ 1677 h 2386"/>
              <a:gd name="T34" fmla="*/ 555 w 2092"/>
              <a:gd name="T35" fmla="*/ 1815 h 2386"/>
              <a:gd name="T36" fmla="*/ 491 w 2092"/>
              <a:gd name="T37" fmla="*/ 1740 h 2386"/>
              <a:gd name="T38" fmla="*/ 378 w 2092"/>
              <a:gd name="T39" fmla="*/ 1830 h 2386"/>
              <a:gd name="T40" fmla="*/ 346 w 2092"/>
              <a:gd name="T41" fmla="*/ 1810 h 2386"/>
              <a:gd name="T42" fmla="*/ 258 w 2092"/>
              <a:gd name="T43" fmla="*/ 1750 h 2386"/>
              <a:gd name="T44" fmla="*/ 213 w 2092"/>
              <a:gd name="T45" fmla="*/ 1699 h 2386"/>
              <a:gd name="T46" fmla="*/ 230 w 2092"/>
              <a:gd name="T47" fmla="*/ 1494 h 2386"/>
              <a:gd name="T48" fmla="*/ 245 w 2092"/>
              <a:gd name="T49" fmla="*/ 1426 h 2386"/>
              <a:gd name="T50" fmla="*/ 250 w 2092"/>
              <a:gd name="T51" fmla="*/ 1313 h 2386"/>
              <a:gd name="T52" fmla="*/ 121 w 2092"/>
              <a:gd name="T53" fmla="*/ 1321 h 2386"/>
              <a:gd name="T54" fmla="*/ 37 w 2092"/>
              <a:gd name="T55" fmla="*/ 1313 h 2386"/>
              <a:gd name="T56" fmla="*/ 195 w 2092"/>
              <a:gd name="T57" fmla="*/ 1180 h 2386"/>
              <a:gd name="T58" fmla="*/ 196 w 2092"/>
              <a:gd name="T59" fmla="*/ 1038 h 2386"/>
              <a:gd name="T60" fmla="*/ 193 w 2092"/>
              <a:gd name="T61" fmla="*/ 891 h 2386"/>
              <a:gd name="T62" fmla="*/ 180 w 2092"/>
              <a:gd name="T63" fmla="*/ 745 h 2386"/>
              <a:gd name="T64" fmla="*/ 180 w 2092"/>
              <a:gd name="T65" fmla="*/ 632 h 2386"/>
              <a:gd name="T66" fmla="*/ 182 w 2092"/>
              <a:gd name="T67" fmla="*/ 467 h 2386"/>
              <a:gd name="T68" fmla="*/ 208 w 2092"/>
              <a:gd name="T69" fmla="*/ 346 h 2386"/>
              <a:gd name="T70" fmla="*/ 334 w 2092"/>
              <a:gd name="T71" fmla="*/ 226 h 2386"/>
              <a:gd name="T72" fmla="*/ 521 w 2092"/>
              <a:gd name="T73" fmla="*/ 164 h 2386"/>
              <a:gd name="T74" fmla="*/ 684 w 2092"/>
              <a:gd name="T75" fmla="*/ 168 h 2386"/>
              <a:gd name="T76" fmla="*/ 624 w 2092"/>
              <a:gd name="T77" fmla="*/ 38 h 2386"/>
              <a:gd name="T78" fmla="*/ 740 w 2092"/>
              <a:gd name="T79" fmla="*/ 2 h 2386"/>
              <a:gd name="T80" fmla="*/ 942 w 2092"/>
              <a:gd name="T81" fmla="*/ 69 h 2386"/>
              <a:gd name="T82" fmla="*/ 1127 w 2092"/>
              <a:gd name="T83" fmla="*/ 111 h 2386"/>
              <a:gd name="T84" fmla="*/ 1254 w 2092"/>
              <a:gd name="T85" fmla="*/ 214 h 2386"/>
              <a:gd name="T86" fmla="*/ 1353 w 2092"/>
              <a:gd name="T87" fmla="*/ 229 h 2386"/>
              <a:gd name="T88" fmla="*/ 1503 w 2092"/>
              <a:gd name="T89" fmla="*/ 151 h 2386"/>
              <a:gd name="T90" fmla="*/ 1586 w 2092"/>
              <a:gd name="T91" fmla="*/ 162 h 2386"/>
              <a:gd name="T92" fmla="*/ 1597 w 2092"/>
              <a:gd name="T93" fmla="*/ 289 h 2386"/>
              <a:gd name="T94" fmla="*/ 1764 w 2092"/>
              <a:gd name="T95" fmla="*/ 115 h 2386"/>
              <a:gd name="T96" fmla="*/ 1825 w 2092"/>
              <a:gd name="T97" fmla="*/ 227 h 2386"/>
              <a:gd name="T98" fmla="*/ 1815 w 2092"/>
              <a:gd name="T99" fmla="*/ 366 h 2386"/>
              <a:gd name="T100" fmla="*/ 1882 w 2092"/>
              <a:gd name="T101" fmla="*/ 426 h 2386"/>
              <a:gd name="T102" fmla="*/ 1981 w 2092"/>
              <a:gd name="T103" fmla="*/ 521 h 2386"/>
              <a:gd name="T104" fmla="*/ 2037 w 2092"/>
              <a:gd name="T105" fmla="*/ 668 h 2386"/>
              <a:gd name="T106" fmla="*/ 2063 w 2092"/>
              <a:gd name="T107" fmla="*/ 750 h 2386"/>
              <a:gd name="T108" fmla="*/ 1979 w 2092"/>
              <a:gd name="T109" fmla="*/ 883 h 2386"/>
              <a:gd name="T110" fmla="*/ 1824 w 2092"/>
              <a:gd name="T111" fmla="*/ 1070 h 2386"/>
              <a:gd name="T112" fmla="*/ 1848 w 2092"/>
              <a:gd name="T113" fmla="*/ 1160 h 2386"/>
              <a:gd name="T114" fmla="*/ 1930 w 2092"/>
              <a:gd name="T115" fmla="*/ 1195 h 2386"/>
              <a:gd name="T116" fmla="*/ 1932 w 2092"/>
              <a:gd name="T117" fmla="*/ 1439 h 2386"/>
              <a:gd name="T118" fmla="*/ 2025 w 2092"/>
              <a:gd name="T119" fmla="*/ 1594 h 2386"/>
              <a:gd name="T120" fmla="*/ 2083 w 2092"/>
              <a:gd name="T121" fmla="*/ 1677 h 2386"/>
              <a:gd name="T122" fmla="*/ 1982 w 2092"/>
              <a:gd name="T123" fmla="*/ 1883 h 2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92" h="2386">
                <a:moveTo>
                  <a:pt x="1994" y="2005"/>
                </a:moveTo>
                <a:lnTo>
                  <a:pt x="1989" y="2009"/>
                </a:lnTo>
                <a:lnTo>
                  <a:pt x="1983" y="2015"/>
                </a:lnTo>
                <a:lnTo>
                  <a:pt x="1979" y="2022"/>
                </a:lnTo>
                <a:lnTo>
                  <a:pt x="1978" y="2030"/>
                </a:lnTo>
                <a:lnTo>
                  <a:pt x="1976" y="2041"/>
                </a:lnTo>
                <a:lnTo>
                  <a:pt x="1971" y="2054"/>
                </a:lnTo>
                <a:lnTo>
                  <a:pt x="1968" y="2060"/>
                </a:lnTo>
                <a:lnTo>
                  <a:pt x="1963" y="2065"/>
                </a:lnTo>
                <a:lnTo>
                  <a:pt x="1957" y="2067"/>
                </a:lnTo>
                <a:lnTo>
                  <a:pt x="1951" y="2069"/>
                </a:lnTo>
                <a:lnTo>
                  <a:pt x="1944" y="2069"/>
                </a:lnTo>
                <a:lnTo>
                  <a:pt x="1938" y="2069"/>
                </a:lnTo>
                <a:lnTo>
                  <a:pt x="1933" y="2067"/>
                </a:lnTo>
                <a:lnTo>
                  <a:pt x="1928" y="2065"/>
                </a:lnTo>
                <a:lnTo>
                  <a:pt x="1924" y="2062"/>
                </a:lnTo>
                <a:lnTo>
                  <a:pt x="1920" y="2061"/>
                </a:lnTo>
                <a:lnTo>
                  <a:pt x="1914" y="2061"/>
                </a:lnTo>
                <a:lnTo>
                  <a:pt x="1909" y="2062"/>
                </a:lnTo>
                <a:lnTo>
                  <a:pt x="1900" y="2066"/>
                </a:lnTo>
                <a:lnTo>
                  <a:pt x="1893" y="2071"/>
                </a:lnTo>
                <a:lnTo>
                  <a:pt x="1888" y="2072"/>
                </a:lnTo>
                <a:lnTo>
                  <a:pt x="1884" y="2073"/>
                </a:lnTo>
                <a:lnTo>
                  <a:pt x="1880" y="2074"/>
                </a:lnTo>
                <a:lnTo>
                  <a:pt x="1875" y="2074"/>
                </a:lnTo>
                <a:lnTo>
                  <a:pt x="1870" y="2073"/>
                </a:lnTo>
                <a:lnTo>
                  <a:pt x="1865" y="2071"/>
                </a:lnTo>
                <a:lnTo>
                  <a:pt x="1862" y="2068"/>
                </a:lnTo>
                <a:lnTo>
                  <a:pt x="1859" y="2066"/>
                </a:lnTo>
                <a:lnTo>
                  <a:pt x="1856" y="2063"/>
                </a:lnTo>
                <a:lnTo>
                  <a:pt x="1853" y="2061"/>
                </a:lnTo>
                <a:lnTo>
                  <a:pt x="1851" y="2060"/>
                </a:lnTo>
                <a:lnTo>
                  <a:pt x="1848" y="2059"/>
                </a:lnTo>
                <a:lnTo>
                  <a:pt x="1838" y="2059"/>
                </a:lnTo>
                <a:lnTo>
                  <a:pt x="1825" y="2060"/>
                </a:lnTo>
                <a:lnTo>
                  <a:pt x="1818" y="2060"/>
                </a:lnTo>
                <a:lnTo>
                  <a:pt x="1811" y="2060"/>
                </a:lnTo>
                <a:lnTo>
                  <a:pt x="1806" y="2059"/>
                </a:lnTo>
                <a:lnTo>
                  <a:pt x="1801" y="2057"/>
                </a:lnTo>
                <a:lnTo>
                  <a:pt x="1792" y="2053"/>
                </a:lnTo>
                <a:lnTo>
                  <a:pt x="1783" y="2047"/>
                </a:lnTo>
                <a:lnTo>
                  <a:pt x="1774" y="2040"/>
                </a:lnTo>
                <a:lnTo>
                  <a:pt x="1764" y="2031"/>
                </a:lnTo>
                <a:lnTo>
                  <a:pt x="1761" y="2027"/>
                </a:lnTo>
                <a:lnTo>
                  <a:pt x="1757" y="2022"/>
                </a:lnTo>
                <a:lnTo>
                  <a:pt x="1755" y="2016"/>
                </a:lnTo>
                <a:lnTo>
                  <a:pt x="1752" y="2010"/>
                </a:lnTo>
                <a:lnTo>
                  <a:pt x="1750" y="2005"/>
                </a:lnTo>
                <a:lnTo>
                  <a:pt x="1746" y="2000"/>
                </a:lnTo>
                <a:lnTo>
                  <a:pt x="1743" y="1998"/>
                </a:lnTo>
                <a:lnTo>
                  <a:pt x="1739" y="1997"/>
                </a:lnTo>
                <a:lnTo>
                  <a:pt x="1729" y="1997"/>
                </a:lnTo>
                <a:lnTo>
                  <a:pt x="1718" y="1998"/>
                </a:lnTo>
                <a:lnTo>
                  <a:pt x="1707" y="1999"/>
                </a:lnTo>
                <a:lnTo>
                  <a:pt x="1699" y="2003"/>
                </a:lnTo>
                <a:lnTo>
                  <a:pt x="1691" y="2006"/>
                </a:lnTo>
                <a:lnTo>
                  <a:pt x="1686" y="2012"/>
                </a:lnTo>
                <a:lnTo>
                  <a:pt x="1680" y="2021"/>
                </a:lnTo>
                <a:lnTo>
                  <a:pt x="1675" y="2031"/>
                </a:lnTo>
                <a:lnTo>
                  <a:pt x="1669" y="2044"/>
                </a:lnTo>
                <a:lnTo>
                  <a:pt x="1666" y="2054"/>
                </a:lnTo>
                <a:lnTo>
                  <a:pt x="1663" y="2057"/>
                </a:lnTo>
                <a:lnTo>
                  <a:pt x="1660" y="2061"/>
                </a:lnTo>
                <a:lnTo>
                  <a:pt x="1656" y="2062"/>
                </a:lnTo>
                <a:lnTo>
                  <a:pt x="1651" y="2063"/>
                </a:lnTo>
                <a:lnTo>
                  <a:pt x="1642" y="2065"/>
                </a:lnTo>
                <a:lnTo>
                  <a:pt x="1634" y="2066"/>
                </a:lnTo>
                <a:lnTo>
                  <a:pt x="1616" y="2078"/>
                </a:lnTo>
                <a:lnTo>
                  <a:pt x="1600" y="2085"/>
                </a:lnTo>
                <a:lnTo>
                  <a:pt x="1593" y="2084"/>
                </a:lnTo>
                <a:lnTo>
                  <a:pt x="1586" y="2084"/>
                </a:lnTo>
                <a:lnTo>
                  <a:pt x="1582" y="2084"/>
                </a:lnTo>
                <a:lnTo>
                  <a:pt x="1580" y="2086"/>
                </a:lnTo>
                <a:lnTo>
                  <a:pt x="1578" y="2088"/>
                </a:lnTo>
                <a:lnTo>
                  <a:pt x="1575" y="2091"/>
                </a:lnTo>
                <a:lnTo>
                  <a:pt x="1575" y="2094"/>
                </a:lnTo>
                <a:lnTo>
                  <a:pt x="1574" y="2098"/>
                </a:lnTo>
                <a:lnTo>
                  <a:pt x="1575" y="2103"/>
                </a:lnTo>
                <a:lnTo>
                  <a:pt x="1576" y="2106"/>
                </a:lnTo>
                <a:lnTo>
                  <a:pt x="1579" y="2110"/>
                </a:lnTo>
                <a:lnTo>
                  <a:pt x="1582" y="2113"/>
                </a:lnTo>
                <a:lnTo>
                  <a:pt x="1587" y="2117"/>
                </a:lnTo>
                <a:lnTo>
                  <a:pt x="1593" y="2119"/>
                </a:lnTo>
                <a:lnTo>
                  <a:pt x="1600" y="2120"/>
                </a:lnTo>
                <a:lnTo>
                  <a:pt x="1607" y="2120"/>
                </a:lnTo>
                <a:lnTo>
                  <a:pt x="1615" y="2120"/>
                </a:lnTo>
                <a:lnTo>
                  <a:pt x="1622" y="2119"/>
                </a:lnTo>
                <a:lnTo>
                  <a:pt x="1629" y="2118"/>
                </a:lnTo>
                <a:lnTo>
                  <a:pt x="1634" y="2118"/>
                </a:lnTo>
                <a:lnTo>
                  <a:pt x="1638" y="2118"/>
                </a:lnTo>
                <a:lnTo>
                  <a:pt x="1642" y="2120"/>
                </a:lnTo>
                <a:lnTo>
                  <a:pt x="1644" y="2124"/>
                </a:lnTo>
                <a:lnTo>
                  <a:pt x="1644" y="2128"/>
                </a:lnTo>
                <a:lnTo>
                  <a:pt x="1644" y="2130"/>
                </a:lnTo>
                <a:lnTo>
                  <a:pt x="1644" y="2134"/>
                </a:lnTo>
                <a:lnTo>
                  <a:pt x="1641" y="2138"/>
                </a:lnTo>
                <a:lnTo>
                  <a:pt x="1635" y="2145"/>
                </a:lnTo>
                <a:lnTo>
                  <a:pt x="1632" y="2150"/>
                </a:lnTo>
                <a:lnTo>
                  <a:pt x="1630" y="2156"/>
                </a:lnTo>
                <a:lnTo>
                  <a:pt x="1630" y="2163"/>
                </a:lnTo>
                <a:lnTo>
                  <a:pt x="1631" y="2173"/>
                </a:lnTo>
                <a:lnTo>
                  <a:pt x="1634" y="2191"/>
                </a:lnTo>
                <a:lnTo>
                  <a:pt x="1636" y="2206"/>
                </a:lnTo>
                <a:lnTo>
                  <a:pt x="1639" y="2220"/>
                </a:lnTo>
                <a:lnTo>
                  <a:pt x="1643" y="2232"/>
                </a:lnTo>
                <a:lnTo>
                  <a:pt x="1648" y="2244"/>
                </a:lnTo>
                <a:lnTo>
                  <a:pt x="1653" y="2254"/>
                </a:lnTo>
                <a:lnTo>
                  <a:pt x="1653" y="2258"/>
                </a:lnTo>
                <a:lnTo>
                  <a:pt x="1653" y="2262"/>
                </a:lnTo>
                <a:lnTo>
                  <a:pt x="1650" y="2265"/>
                </a:lnTo>
                <a:lnTo>
                  <a:pt x="1647" y="2267"/>
                </a:lnTo>
                <a:lnTo>
                  <a:pt x="1643" y="2268"/>
                </a:lnTo>
                <a:lnTo>
                  <a:pt x="1638" y="2268"/>
                </a:lnTo>
                <a:lnTo>
                  <a:pt x="1635" y="2267"/>
                </a:lnTo>
                <a:lnTo>
                  <a:pt x="1631" y="2264"/>
                </a:lnTo>
                <a:lnTo>
                  <a:pt x="1628" y="2262"/>
                </a:lnTo>
                <a:lnTo>
                  <a:pt x="1624" y="2261"/>
                </a:lnTo>
                <a:lnTo>
                  <a:pt x="1619" y="2260"/>
                </a:lnTo>
                <a:lnTo>
                  <a:pt x="1613" y="2260"/>
                </a:lnTo>
                <a:lnTo>
                  <a:pt x="1606" y="2261"/>
                </a:lnTo>
                <a:lnTo>
                  <a:pt x="1598" y="2262"/>
                </a:lnTo>
                <a:lnTo>
                  <a:pt x="1590" y="2265"/>
                </a:lnTo>
                <a:lnTo>
                  <a:pt x="1579" y="2269"/>
                </a:lnTo>
                <a:lnTo>
                  <a:pt x="1573" y="2271"/>
                </a:lnTo>
                <a:lnTo>
                  <a:pt x="1569" y="2273"/>
                </a:lnTo>
                <a:lnTo>
                  <a:pt x="1565" y="2273"/>
                </a:lnTo>
                <a:lnTo>
                  <a:pt x="1561" y="2271"/>
                </a:lnTo>
                <a:lnTo>
                  <a:pt x="1559" y="2270"/>
                </a:lnTo>
                <a:lnTo>
                  <a:pt x="1556" y="2268"/>
                </a:lnTo>
                <a:lnTo>
                  <a:pt x="1554" y="2265"/>
                </a:lnTo>
                <a:lnTo>
                  <a:pt x="1552" y="2263"/>
                </a:lnTo>
                <a:lnTo>
                  <a:pt x="1547" y="2250"/>
                </a:lnTo>
                <a:lnTo>
                  <a:pt x="1541" y="2236"/>
                </a:lnTo>
                <a:lnTo>
                  <a:pt x="1535" y="2225"/>
                </a:lnTo>
                <a:lnTo>
                  <a:pt x="1530" y="2214"/>
                </a:lnTo>
                <a:lnTo>
                  <a:pt x="1527" y="2202"/>
                </a:lnTo>
                <a:lnTo>
                  <a:pt x="1521" y="2189"/>
                </a:lnTo>
                <a:lnTo>
                  <a:pt x="1517" y="2183"/>
                </a:lnTo>
                <a:lnTo>
                  <a:pt x="1512" y="2179"/>
                </a:lnTo>
                <a:lnTo>
                  <a:pt x="1506" y="2175"/>
                </a:lnTo>
                <a:lnTo>
                  <a:pt x="1499" y="2173"/>
                </a:lnTo>
                <a:lnTo>
                  <a:pt x="1483" y="2170"/>
                </a:lnTo>
                <a:lnTo>
                  <a:pt x="1465" y="2169"/>
                </a:lnTo>
                <a:lnTo>
                  <a:pt x="1456" y="2162"/>
                </a:lnTo>
                <a:lnTo>
                  <a:pt x="1449" y="2156"/>
                </a:lnTo>
                <a:lnTo>
                  <a:pt x="1433" y="2163"/>
                </a:lnTo>
                <a:lnTo>
                  <a:pt x="1417" y="2169"/>
                </a:lnTo>
                <a:lnTo>
                  <a:pt x="1408" y="2161"/>
                </a:lnTo>
                <a:lnTo>
                  <a:pt x="1398" y="2154"/>
                </a:lnTo>
                <a:lnTo>
                  <a:pt x="1391" y="2155"/>
                </a:lnTo>
                <a:lnTo>
                  <a:pt x="1382" y="2160"/>
                </a:lnTo>
                <a:lnTo>
                  <a:pt x="1376" y="2161"/>
                </a:lnTo>
                <a:lnTo>
                  <a:pt x="1370" y="2163"/>
                </a:lnTo>
                <a:lnTo>
                  <a:pt x="1365" y="2163"/>
                </a:lnTo>
                <a:lnTo>
                  <a:pt x="1360" y="2162"/>
                </a:lnTo>
                <a:lnTo>
                  <a:pt x="1347" y="2157"/>
                </a:lnTo>
                <a:lnTo>
                  <a:pt x="1336" y="2154"/>
                </a:lnTo>
                <a:lnTo>
                  <a:pt x="1327" y="2153"/>
                </a:lnTo>
                <a:lnTo>
                  <a:pt x="1319" y="2153"/>
                </a:lnTo>
                <a:lnTo>
                  <a:pt x="1316" y="2153"/>
                </a:lnTo>
                <a:lnTo>
                  <a:pt x="1314" y="2154"/>
                </a:lnTo>
                <a:lnTo>
                  <a:pt x="1313" y="2156"/>
                </a:lnTo>
                <a:lnTo>
                  <a:pt x="1311" y="2157"/>
                </a:lnTo>
                <a:lnTo>
                  <a:pt x="1309" y="2163"/>
                </a:lnTo>
                <a:lnTo>
                  <a:pt x="1308" y="2170"/>
                </a:lnTo>
                <a:lnTo>
                  <a:pt x="1307" y="2185"/>
                </a:lnTo>
                <a:lnTo>
                  <a:pt x="1305" y="2197"/>
                </a:lnTo>
                <a:lnTo>
                  <a:pt x="1302" y="2211"/>
                </a:lnTo>
                <a:lnTo>
                  <a:pt x="1300" y="2227"/>
                </a:lnTo>
                <a:lnTo>
                  <a:pt x="1298" y="2236"/>
                </a:lnTo>
                <a:lnTo>
                  <a:pt x="1298" y="2244"/>
                </a:lnTo>
                <a:lnTo>
                  <a:pt x="1300" y="2251"/>
                </a:lnTo>
                <a:lnTo>
                  <a:pt x="1302" y="2257"/>
                </a:lnTo>
                <a:lnTo>
                  <a:pt x="1303" y="2262"/>
                </a:lnTo>
                <a:lnTo>
                  <a:pt x="1304" y="2268"/>
                </a:lnTo>
                <a:lnTo>
                  <a:pt x="1305" y="2273"/>
                </a:lnTo>
                <a:lnTo>
                  <a:pt x="1304" y="2279"/>
                </a:lnTo>
                <a:lnTo>
                  <a:pt x="1303" y="2283"/>
                </a:lnTo>
                <a:lnTo>
                  <a:pt x="1301" y="2288"/>
                </a:lnTo>
                <a:lnTo>
                  <a:pt x="1297" y="2293"/>
                </a:lnTo>
                <a:lnTo>
                  <a:pt x="1294" y="2298"/>
                </a:lnTo>
                <a:lnTo>
                  <a:pt x="1280" y="2308"/>
                </a:lnTo>
                <a:lnTo>
                  <a:pt x="1265" y="2321"/>
                </a:lnTo>
                <a:lnTo>
                  <a:pt x="1258" y="2328"/>
                </a:lnTo>
                <a:lnTo>
                  <a:pt x="1254" y="2333"/>
                </a:lnTo>
                <a:lnTo>
                  <a:pt x="1251" y="2338"/>
                </a:lnTo>
                <a:lnTo>
                  <a:pt x="1248" y="2339"/>
                </a:lnTo>
                <a:lnTo>
                  <a:pt x="1246" y="2338"/>
                </a:lnTo>
                <a:lnTo>
                  <a:pt x="1244" y="2336"/>
                </a:lnTo>
                <a:lnTo>
                  <a:pt x="1238" y="2334"/>
                </a:lnTo>
                <a:lnTo>
                  <a:pt x="1227" y="2333"/>
                </a:lnTo>
                <a:lnTo>
                  <a:pt x="1210" y="2332"/>
                </a:lnTo>
                <a:lnTo>
                  <a:pt x="1189" y="2331"/>
                </a:lnTo>
                <a:lnTo>
                  <a:pt x="1166" y="2331"/>
                </a:lnTo>
                <a:lnTo>
                  <a:pt x="1145" y="2331"/>
                </a:lnTo>
                <a:lnTo>
                  <a:pt x="1137" y="2332"/>
                </a:lnTo>
                <a:lnTo>
                  <a:pt x="1127" y="2334"/>
                </a:lnTo>
                <a:lnTo>
                  <a:pt x="1119" y="2339"/>
                </a:lnTo>
                <a:lnTo>
                  <a:pt x="1110" y="2344"/>
                </a:lnTo>
                <a:lnTo>
                  <a:pt x="1103" y="2350"/>
                </a:lnTo>
                <a:lnTo>
                  <a:pt x="1097" y="2356"/>
                </a:lnTo>
                <a:lnTo>
                  <a:pt x="1093" y="2363"/>
                </a:lnTo>
                <a:lnTo>
                  <a:pt x="1089" y="2369"/>
                </a:lnTo>
                <a:lnTo>
                  <a:pt x="1086" y="2375"/>
                </a:lnTo>
                <a:lnTo>
                  <a:pt x="1082" y="2378"/>
                </a:lnTo>
                <a:lnTo>
                  <a:pt x="1078" y="2382"/>
                </a:lnTo>
                <a:lnTo>
                  <a:pt x="1075" y="2384"/>
                </a:lnTo>
                <a:lnTo>
                  <a:pt x="1071" y="2386"/>
                </a:lnTo>
                <a:lnTo>
                  <a:pt x="1069" y="2386"/>
                </a:lnTo>
                <a:lnTo>
                  <a:pt x="1065" y="2386"/>
                </a:lnTo>
                <a:lnTo>
                  <a:pt x="1063" y="2383"/>
                </a:lnTo>
                <a:lnTo>
                  <a:pt x="1058" y="2381"/>
                </a:lnTo>
                <a:lnTo>
                  <a:pt x="1053" y="2378"/>
                </a:lnTo>
                <a:lnTo>
                  <a:pt x="1046" y="2376"/>
                </a:lnTo>
                <a:lnTo>
                  <a:pt x="1036" y="2375"/>
                </a:lnTo>
                <a:lnTo>
                  <a:pt x="1031" y="2375"/>
                </a:lnTo>
                <a:lnTo>
                  <a:pt x="1027" y="2372"/>
                </a:lnTo>
                <a:lnTo>
                  <a:pt x="1025" y="2371"/>
                </a:lnTo>
                <a:lnTo>
                  <a:pt x="1024" y="2369"/>
                </a:lnTo>
                <a:lnTo>
                  <a:pt x="1024" y="2363"/>
                </a:lnTo>
                <a:lnTo>
                  <a:pt x="1025" y="2355"/>
                </a:lnTo>
                <a:lnTo>
                  <a:pt x="1028" y="2347"/>
                </a:lnTo>
                <a:lnTo>
                  <a:pt x="1031" y="2340"/>
                </a:lnTo>
                <a:lnTo>
                  <a:pt x="1033" y="2332"/>
                </a:lnTo>
                <a:lnTo>
                  <a:pt x="1034" y="2323"/>
                </a:lnTo>
                <a:lnTo>
                  <a:pt x="1027" y="2307"/>
                </a:lnTo>
                <a:lnTo>
                  <a:pt x="1019" y="2289"/>
                </a:lnTo>
                <a:lnTo>
                  <a:pt x="1019" y="2283"/>
                </a:lnTo>
                <a:lnTo>
                  <a:pt x="1020" y="2279"/>
                </a:lnTo>
                <a:lnTo>
                  <a:pt x="1021" y="2274"/>
                </a:lnTo>
                <a:lnTo>
                  <a:pt x="1024" y="2268"/>
                </a:lnTo>
                <a:lnTo>
                  <a:pt x="1027" y="2257"/>
                </a:lnTo>
                <a:lnTo>
                  <a:pt x="1030" y="2249"/>
                </a:lnTo>
                <a:lnTo>
                  <a:pt x="1030" y="2244"/>
                </a:lnTo>
                <a:lnTo>
                  <a:pt x="1028" y="2241"/>
                </a:lnTo>
                <a:lnTo>
                  <a:pt x="1027" y="2238"/>
                </a:lnTo>
                <a:lnTo>
                  <a:pt x="1026" y="2236"/>
                </a:lnTo>
                <a:lnTo>
                  <a:pt x="1020" y="2235"/>
                </a:lnTo>
                <a:lnTo>
                  <a:pt x="1011" y="2232"/>
                </a:lnTo>
                <a:lnTo>
                  <a:pt x="1008" y="2232"/>
                </a:lnTo>
                <a:lnTo>
                  <a:pt x="1007" y="2231"/>
                </a:lnTo>
                <a:lnTo>
                  <a:pt x="1007" y="2229"/>
                </a:lnTo>
                <a:lnTo>
                  <a:pt x="1007" y="2226"/>
                </a:lnTo>
                <a:lnTo>
                  <a:pt x="1008" y="2220"/>
                </a:lnTo>
                <a:lnTo>
                  <a:pt x="1009" y="2213"/>
                </a:lnTo>
                <a:lnTo>
                  <a:pt x="1013" y="2206"/>
                </a:lnTo>
                <a:lnTo>
                  <a:pt x="1014" y="2199"/>
                </a:lnTo>
                <a:lnTo>
                  <a:pt x="1017" y="2194"/>
                </a:lnTo>
                <a:lnTo>
                  <a:pt x="1015" y="2191"/>
                </a:lnTo>
                <a:lnTo>
                  <a:pt x="1013" y="2186"/>
                </a:lnTo>
                <a:lnTo>
                  <a:pt x="1009" y="2183"/>
                </a:lnTo>
                <a:lnTo>
                  <a:pt x="1006" y="2181"/>
                </a:lnTo>
                <a:lnTo>
                  <a:pt x="1002" y="2181"/>
                </a:lnTo>
                <a:lnTo>
                  <a:pt x="999" y="2181"/>
                </a:lnTo>
                <a:lnTo>
                  <a:pt x="995" y="2182"/>
                </a:lnTo>
                <a:lnTo>
                  <a:pt x="992" y="2185"/>
                </a:lnTo>
                <a:lnTo>
                  <a:pt x="988" y="2187"/>
                </a:lnTo>
                <a:lnTo>
                  <a:pt x="984" y="2189"/>
                </a:lnTo>
                <a:lnTo>
                  <a:pt x="982" y="2191"/>
                </a:lnTo>
                <a:lnTo>
                  <a:pt x="979" y="2191"/>
                </a:lnTo>
                <a:lnTo>
                  <a:pt x="976" y="2191"/>
                </a:lnTo>
                <a:lnTo>
                  <a:pt x="971" y="2187"/>
                </a:lnTo>
                <a:lnTo>
                  <a:pt x="965" y="2182"/>
                </a:lnTo>
                <a:lnTo>
                  <a:pt x="962" y="2180"/>
                </a:lnTo>
                <a:lnTo>
                  <a:pt x="960" y="2179"/>
                </a:lnTo>
                <a:lnTo>
                  <a:pt x="956" y="2179"/>
                </a:lnTo>
                <a:lnTo>
                  <a:pt x="954" y="2179"/>
                </a:lnTo>
                <a:lnTo>
                  <a:pt x="946" y="2181"/>
                </a:lnTo>
                <a:lnTo>
                  <a:pt x="941" y="2187"/>
                </a:lnTo>
                <a:lnTo>
                  <a:pt x="925" y="2201"/>
                </a:lnTo>
                <a:lnTo>
                  <a:pt x="908" y="2217"/>
                </a:lnTo>
                <a:lnTo>
                  <a:pt x="905" y="2220"/>
                </a:lnTo>
                <a:lnTo>
                  <a:pt x="902" y="2225"/>
                </a:lnTo>
                <a:lnTo>
                  <a:pt x="900" y="2230"/>
                </a:lnTo>
                <a:lnTo>
                  <a:pt x="899" y="2235"/>
                </a:lnTo>
                <a:lnTo>
                  <a:pt x="897" y="2244"/>
                </a:lnTo>
                <a:lnTo>
                  <a:pt x="895" y="2256"/>
                </a:lnTo>
                <a:lnTo>
                  <a:pt x="894" y="2261"/>
                </a:lnTo>
                <a:lnTo>
                  <a:pt x="892" y="2265"/>
                </a:lnTo>
                <a:lnTo>
                  <a:pt x="889" y="2268"/>
                </a:lnTo>
                <a:lnTo>
                  <a:pt x="886" y="2270"/>
                </a:lnTo>
                <a:lnTo>
                  <a:pt x="881" y="2273"/>
                </a:lnTo>
                <a:lnTo>
                  <a:pt x="876" y="2273"/>
                </a:lnTo>
                <a:lnTo>
                  <a:pt x="870" y="2274"/>
                </a:lnTo>
                <a:lnTo>
                  <a:pt x="863" y="2274"/>
                </a:lnTo>
                <a:lnTo>
                  <a:pt x="857" y="2273"/>
                </a:lnTo>
                <a:lnTo>
                  <a:pt x="853" y="2271"/>
                </a:lnTo>
                <a:lnTo>
                  <a:pt x="848" y="2269"/>
                </a:lnTo>
                <a:lnTo>
                  <a:pt x="845" y="2265"/>
                </a:lnTo>
                <a:lnTo>
                  <a:pt x="841" y="2256"/>
                </a:lnTo>
                <a:lnTo>
                  <a:pt x="838" y="2243"/>
                </a:lnTo>
                <a:lnTo>
                  <a:pt x="836" y="2229"/>
                </a:lnTo>
                <a:lnTo>
                  <a:pt x="835" y="2213"/>
                </a:lnTo>
                <a:lnTo>
                  <a:pt x="835" y="2206"/>
                </a:lnTo>
                <a:lnTo>
                  <a:pt x="836" y="2199"/>
                </a:lnTo>
                <a:lnTo>
                  <a:pt x="837" y="2192"/>
                </a:lnTo>
                <a:lnTo>
                  <a:pt x="839" y="2186"/>
                </a:lnTo>
                <a:lnTo>
                  <a:pt x="843" y="2180"/>
                </a:lnTo>
                <a:lnTo>
                  <a:pt x="847" y="2175"/>
                </a:lnTo>
                <a:lnTo>
                  <a:pt x="851" y="2172"/>
                </a:lnTo>
                <a:lnTo>
                  <a:pt x="856" y="2168"/>
                </a:lnTo>
                <a:lnTo>
                  <a:pt x="868" y="2162"/>
                </a:lnTo>
                <a:lnTo>
                  <a:pt x="879" y="2157"/>
                </a:lnTo>
                <a:lnTo>
                  <a:pt x="885" y="2154"/>
                </a:lnTo>
                <a:lnTo>
                  <a:pt x="887" y="2151"/>
                </a:lnTo>
                <a:lnTo>
                  <a:pt x="889" y="2149"/>
                </a:lnTo>
                <a:lnTo>
                  <a:pt x="891" y="2145"/>
                </a:lnTo>
                <a:lnTo>
                  <a:pt x="892" y="2138"/>
                </a:lnTo>
                <a:lnTo>
                  <a:pt x="893" y="2126"/>
                </a:lnTo>
                <a:lnTo>
                  <a:pt x="893" y="2119"/>
                </a:lnTo>
                <a:lnTo>
                  <a:pt x="895" y="2115"/>
                </a:lnTo>
                <a:lnTo>
                  <a:pt x="897" y="2110"/>
                </a:lnTo>
                <a:lnTo>
                  <a:pt x="900" y="2105"/>
                </a:lnTo>
                <a:lnTo>
                  <a:pt x="908" y="2095"/>
                </a:lnTo>
                <a:lnTo>
                  <a:pt x="920" y="2085"/>
                </a:lnTo>
                <a:lnTo>
                  <a:pt x="932" y="2073"/>
                </a:lnTo>
                <a:lnTo>
                  <a:pt x="943" y="2061"/>
                </a:lnTo>
                <a:lnTo>
                  <a:pt x="954" y="2050"/>
                </a:lnTo>
                <a:lnTo>
                  <a:pt x="963" y="2040"/>
                </a:lnTo>
                <a:lnTo>
                  <a:pt x="968" y="2035"/>
                </a:lnTo>
                <a:lnTo>
                  <a:pt x="970" y="2029"/>
                </a:lnTo>
                <a:lnTo>
                  <a:pt x="974" y="2022"/>
                </a:lnTo>
                <a:lnTo>
                  <a:pt x="975" y="2015"/>
                </a:lnTo>
                <a:lnTo>
                  <a:pt x="976" y="2008"/>
                </a:lnTo>
                <a:lnTo>
                  <a:pt x="976" y="2000"/>
                </a:lnTo>
                <a:lnTo>
                  <a:pt x="976" y="1994"/>
                </a:lnTo>
                <a:lnTo>
                  <a:pt x="975" y="1987"/>
                </a:lnTo>
                <a:lnTo>
                  <a:pt x="971" y="1977"/>
                </a:lnTo>
                <a:lnTo>
                  <a:pt x="968" y="1967"/>
                </a:lnTo>
                <a:lnTo>
                  <a:pt x="964" y="1956"/>
                </a:lnTo>
                <a:lnTo>
                  <a:pt x="963" y="1945"/>
                </a:lnTo>
                <a:lnTo>
                  <a:pt x="961" y="1933"/>
                </a:lnTo>
                <a:lnTo>
                  <a:pt x="960" y="1922"/>
                </a:lnTo>
                <a:lnTo>
                  <a:pt x="960" y="1917"/>
                </a:lnTo>
                <a:lnTo>
                  <a:pt x="961" y="1914"/>
                </a:lnTo>
                <a:lnTo>
                  <a:pt x="964" y="1909"/>
                </a:lnTo>
                <a:lnTo>
                  <a:pt x="969" y="1905"/>
                </a:lnTo>
                <a:lnTo>
                  <a:pt x="979" y="1903"/>
                </a:lnTo>
                <a:lnTo>
                  <a:pt x="992" y="1904"/>
                </a:lnTo>
                <a:lnTo>
                  <a:pt x="999" y="1904"/>
                </a:lnTo>
                <a:lnTo>
                  <a:pt x="1005" y="1904"/>
                </a:lnTo>
                <a:lnTo>
                  <a:pt x="1009" y="1903"/>
                </a:lnTo>
                <a:lnTo>
                  <a:pt x="1014" y="1902"/>
                </a:lnTo>
                <a:lnTo>
                  <a:pt x="1017" y="1899"/>
                </a:lnTo>
                <a:lnTo>
                  <a:pt x="1018" y="1896"/>
                </a:lnTo>
                <a:lnTo>
                  <a:pt x="1018" y="1892"/>
                </a:lnTo>
                <a:lnTo>
                  <a:pt x="1017" y="1887"/>
                </a:lnTo>
                <a:lnTo>
                  <a:pt x="1015" y="1880"/>
                </a:lnTo>
                <a:lnTo>
                  <a:pt x="1015" y="1874"/>
                </a:lnTo>
                <a:lnTo>
                  <a:pt x="1021" y="1868"/>
                </a:lnTo>
                <a:lnTo>
                  <a:pt x="1028" y="1863"/>
                </a:lnTo>
                <a:lnTo>
                  <a:pt x="1031" y="1860"/>
                </a:lnTo>
                <a:lnTo>
                  <a:pt x="1032" y="1858"/>
                </a:lnTo>
                <a:lnTo>
                  <a:pt x="1032" y="1855"/>
                </a:lnTo>
                <a:lnTo>
                  <a:pt x="1031" y="1854"/>
                </a:lnTo>
                <a:lnTo>
                  <a:pt x="1026" y="1851"/>
                </a:lnTo>
                <a:lnTo>
                  <a:pt x="1018" y="1849"/>
                </a:lnTo>
                <a:lnTo>
                  <a:pt x="1006" y="1848"/>
                </a:lnTo>
                <a:lnTo>
                  <a:pt x="993" y="1845"/>
                </a:lnTo>
                <a:lnTo>
                  <a:pt x="986" y="1844"/>
                </a:lnTo>
                <a:lnTo>
                  <a:pt x="980" y="1845"/>
                </a:lnTo>
                <a:lnTo>
                  <a:pt x="976" y="1846"/>
                </a:lnTo>
                <a:lnTo>
                  <a:pt x="971" y="1847"/>
                </a:lnTo>
                <a:lnTo>
                  <a:pt x="963" y="1854"/>
                </a:lnTo>
                <a:lnTo>
                  <a:pt x="954" y="1865"/>
                </a:lnTo>
                <a:lnTo>
                  <a:pt x="948" y="1868"/>
                </a:lnTo>
                <a:lnTo>
                  <a:pt x="943" y="1870"/>
                </a:lnTo>
                <a:lnTo>
                  <a:pt x="939" y="1870"/>
                </a:lnTo>
                <a:lnTo>
                  <a:pt x="937" y="1867"/>
                </a:lnTo>
                <a:lnTo>
                  <a:pt x="933" y="1859"/>
                </a:lnTo>
                <a:lnTo>
                  <a:pt x="931" y="1849"/>
                </a:lnTo>
                <a:lnTo>
                  <a:pt x="931" y="1841"/>
                </a:lnTo>
                <a:lnTo>
                  <a:pt x="931" y="1834"/>
                </a:lnTo>
                <a:lnTo>
                  <a:pt x="931" y="1832"/>
                </a:lnTo>
                <a:lnTo>
                  <a:pt x="930" y="1829"/>
                </a:lnTo>
                <a:lnTo>
                  <a:pt x="929" y="1827"/>
                </a:lnTo>
                <a:lnTo>
                  <a:pt x="925" y="1824"/>
                </a:lnTo>
                <a:lnTo>
                  <a:pt x="923" y="1822"/>
                </a:lnTo>
                <a:lnTo>
                  <a:pt x="920" y="1820"/>
                </a:lnTo>
                <a:lnTo>
                  <a:pt x="919" y="1816"/>
                </a:lnTo>
                <a:lnTo>
                  <a:pt x="919" y="1813"/>
                </a:lnTo>
                <a:lnTo>
                  <a:pt x="920" y="1808"/>
                </a:lnTo>
                <a:lnTo>
                  <a:pt x="923" y="1803"/>
                </a:lnTo>
                <a:lnTo>
                  <a:pt x="925" y="1798"/>
                </a:lnTo>
                <a:lnTo>
                  <a:pt x="929" y="1792"/>
                </a:lnTo>
                <a:lnTo>
                  <a:pt x="936" y="1782"/>
                </a:lnTo>
                <a:lnTo>
                  <a:pt x="941" y="1770"/>
                </a:lnTo>
                <a:lnTo>
                  <a:pt x="944" y="1759"/>
                </a:lnTo>
                <a:lnTo>
                  <a:pt x="946" y="1747"/>
                </a:lnTo>
                <a:lnTo>
                  <a:pt x="948" y="1737"/>
                </a:lnTo>
                <a:lnTo>
                  <a:pt x="949" y="1727"/>
                </a:lnTo>
                <a:lnTo>
                  <a:pt x="951" y="1718"/>
                </a:lnTo>
                <a:lnTo>
                  <a:pt x="954" y="1708"/>
                </a:lnTo>
                <a:lnTo>
                  <a:pt x="954" y="1704"/>
                </a:lnTo>
                <a:lnTo>
                  <a:pt x="952" y="1701"/>
                </a:lnTo>
                <a:lnTo>
                  <a:pt x="950" y="1697"/>
                </a:lnTo>
                <a:lnTo>
                  <a:pt x="946" y="1693"/>
                </a:lnTo>
                <a:lnTo>
                  <a:pt x="936" y="1685"/>
                </a:lnTo>
                <a:lnTo>
                  <a:pt x="923" y="1677"/>
                </a:lnTo>
                <a:lnTo>
                  <a:pt x="916" y="1674"/>
                </a:lnTo>
                <a:lnTo>
                  <a:pt x="908" y="1671"/>
                </a:lnTo>
                <a:lnTo>
                  <a:pt x="902" y="1671"/>
                </a:lnTo>
                <a:lnTo>
                  <a:pt x="897" y="1671"/>
                </a:lnTo>
                <a:lnTo>
                  <a:pt x="883" y="1672"/>
                </a:lnTo>
                <a:lnTo>
                  <a:pt x="869" y="1674"/>
                </a:lnTo>
                <a:lnTo>
                  <a:pt x="862" y="1674"/>
                </a:lnTo>
                <a:lnTo>
                  <a:pt x="856" y="1671"/>
                </a:lnTo>
                <a:lnTo>
                  <a:pt x="851" y="1669"/>
                </a:lnTo>
                <a:lnTo>
                  <a:pt x="847" y="1664"/>
                </a:lnTo>
                <a:lnTo>
                  <a:pt x="839" y="1655"/>
                </a:lnTo>
                <a:lnTo>
                  <a:pt x="831" y="1643"/>
                </a:lnTo>
                <a:lnTo>
                  <a:pt x="826" y="1638"/>
                </a:lnTo>
                <a:lnTo>
                  <a:pt x="823" y="1637"/>
                </a:lnTo>
                <a:lnTo>
                  <a:pt x="819" y="1638"/>
                </a:lnTo>
                <a:lnTo>
                  <a:pt x="817" y="1640"/>
                </a:lnTo>
                <a:lnTo>
                  <a:pt x="814" y="1645"/>
                </a:lnTo>
                <a:lnTo>
                  <a:pt x="812" y="1651"/>
                </a:lnTo>
                <a:lnTo>
                  <a:pt x="811" y="1657"/>
                </a:lnTo>
                <a:lnTo>
                  <a:pt x="811" y="1663"/>
                </a:lnTo>
                <a:lnTo>
                  <a:pt x="810" y="1669"/>
                </a:lnTo>
                <a:lnTo>
                  <a:pt x="809" y="1674"/>
                </a:lnTo>
                <a:lnTo>
                  <a:pt x="806" y="1678"/>
                </a:lnTo>
                <a:lnTo>
                  <a:pt x="804" y="1683"/>
                </a:lnTo>
                <a:lnTo>
                  <a:pt x="799" y="1687"/>
                </a:lnTo>
                <a:lnTo>
                  <a:pt x="793" y="1690"/>
                </a:lnTo>
                <a:lnTo>
                  <a:pt x="786" y="1693"/>
                </a:lnTo>
                <a:lnTo>
                  <a:pt x="776" y="1694"/>
                </a:lnTo>
                <a:lnTo>
                  <a:pt x="768" y="1695"/>
                </a:lnTo>
                <a:lnTo>
                  <a:pt x="761" y="1695"/>
                </a:lnTo>
                <a:lnTo>
                  <a:pt x="755" y="1694"/>
                </a:lnTo>
                <a:lnTo>
                  <a:pt x="750" y="1691"/>
                </a:lnTo>
                <a:lnTo>
                  <a:pt x="743" y="1685"/>
                </a:lnTo>
                <a:lnTo>
                  <a:pt x="736" y="1677"/>
                </a:lnTo>
                <a:lnTo>
                  <a:pt x="731" y="1672"/>
                </a:lnTo>
                <a:lnTo>
                  <a:pt x="725" y="1670"/>
                </a:lnTo>
                <a:lnTo>
                  <a:pt x="718" y="1668"/>
                </a:lnTo>
                <a:lnTo>
                  <a:pt x="710" y="1666"/>
                </a:lnTo>
                <a:lnTo>
                  <a:pt x="693" y="1666"/>
                </a:lnTo>
                <a:lnTo>
                  <a:pt x="680" y="1666"/>
                </a:lnTo>
                <a:lnTo>
                  <a:pt x="674" y="1669"/>
                </a:lnTo>
                <a:lnTo>
                  <a:pt x="671" y="1672"/>
                </a:lnTo>
                <a:lnTo>
                  <a:pt x="667" y="1677"/>
                </a:lnTo>
                <a:lnTo>
                  <a:pt x="664" y="1683"/>
                </a:lnTo>
                <a:lnTo>
                  <a:pt x="660" y="1695"/>
                </a:lnTo>
                <a:lnTo>
                  <a:pt x="659" y="1707"/>
                </a:lnTo>
                <a:lnTo>
                  <a:pt x="656" y="1715"/>
                </a:lnTo>
                <a:lnTo>
                  <a:pt x="654" y="1722"/>
                </a:lnTo>
                <a:lnTo>
                  <a:pt x="650" y="1725"/>
                </a:lnTo>
                <a:lnTo>
                  <a:pt x="648" y="1727"/>
                </a:lnTo>
                <a:lnTo>
                  <a:pt x="643" y="1731"/>
                </a:lnTo>
                <a:lnTo>
                  <a:pt x="639" y="1733"/>
                </a:lnTo>
                <a:lnTo>
                  <a:pt x="633" y="1735"/>
                </a:lnTo>
                <a:lnTo>
                  <a:pt x="628" y="1739"/>
                </a:lnTo>
                <a:lnTo>
                  <a:pt x="624" y="1742"/>
                </a:lnTo>
                <a:lnTo>
                  <a:pt x="621" y="1746"/>
                </a:lnTo>
                <a:lnTo>
                  <a:pt x="615" y="1756"/>
                </a:lnTo>
                <a:lnTo>
                  <a:pt x="609" y="1766"/>
                </a:lnTo>
                <a:lnTo>
                  <a:pt x="602" y="1779"/>
                </a:lnTo>
                <a:lnTo>
                  <a:pt x="593" y="1795"/>
                </a:lnTo>
                <a:lnTo>
                  <a:pt x="589" y="1801"/>
                </a:lnTo>
                <a:lnTo>
                  <a:pt x="583" y="1808"/>
                </a:lnTo>
                <a:lnTo>
                  <a:pt x="578" y="1813"/>
                </a:lnTo>
                <a:lnTo>
                  <a:pt x="572" y="1817"/>
                </a:lnTo>
                <a:lnTo>
                  <a:pt x="566" y="1820"/>
                </a:lnTo>
                <a:lnTo>
                  <a:pt x="562" y="1821"/>
                </a:lnTo>
                <a:lnTo>
                  <a:pt x="560" y="1821"/>
                </a:lnTo>
                <a:lnTo>
                  <a:pt x="558" y="1820"/>
                </a:lnTo>
                <a:lnTo>
                  <a:pt x="555" y="1815"/>
                </a:lnTo>
                <a:lnTo>
                  <a:pt x="554" y="1807"/>
                </a:lnTo>
                <a:lnTo>
                  <a:pt x="554" y="1797"/>
                </a:lnTo>
                <a:lnTo>
                  <a:pt x="552" y="1788"/>
                </a:lnTo>
                <a:lnTo>
                  <a:pt x="551" y="1785"/>
                </a:lnTo>
                <a:lnTo>
                  <a:pt x="548" y="1782"/>
                </a:lnTo>
                <a:lnTo>
                  <a:pt x="547" y="1781"/>
                </a:lnTo>
                <a:lnTo>
                  <a:pt x="543" y="1781"/>
                </a:lnTo>
                <a:lnTo>
                  <a:pt x="539" y="1782"/>
                </a:lnTo>
                <a:lnTo>
                  <a:pt x="533" y="1785"/>
                </a:lnTo>
                <a:lnTo>
                  <a:pt x="526" y="1792"/>
                </a:lnTo>
                <a:lnTo>
                  <a:pt x="519" y="1801"/>
                </a:lnTo>
                <a:lnTo>
                  <a:pt x="515" y="1804"/>
                </a:lnTo>
                <a:lnTo>
                  <a:pt x="511" y="1807"/>
                </a:lnTo>
                <a:lnTo>
                  <a:pt x="508" y="1809"/>
                </a:lnTo>
                <a:lnTo>
                  <a:pt x="504" y="1809"/>
                </a:lnTo>
                <a:lnTo>
                  <a:pt x="501" y="1808"/>
                </a:lnTo>
                <a:lnTo>
                  <a:pt x="497" y="1805"/>
                </a:lnTo>
                <a:lnTo>
                  <a:pt x="495" y="1802"/>
                </a:lnTo>
                <a:lnTo>
                  <a:pt x="491" y="1797"/>
                </a:lnTo>
                <a:lnTo>
                  <a:pt x="489" y="1791"/>
                </a:lnTo>
                <a:lnTo>
                  <a:pt x="489" y="1785"/>
                </a:lnTo>
                <a:lnTo>
                  <a:pt x="489" y="1777"/>
                </a:lnTo>
                <a:lnTo>
                  <a:pt x="490" y="1770"/>
                </a:lnTo>
                <a:lnTo>
                  <a:pt x="491" y="1756"/>
                </a:lnTo>
                <a:lnTo>
                  <a:pt x="491" y="1742"/>
                </a:lnTo>
                <a:lnTo>
                  <a:pt x="491" y="1740"/>
                </a:lnTo>
                <a:lnTo>
                  <a:pt x="490" y="1738"/>
                </a:lnTo>
                <a:lnTo>
                  <a:pt x="488" y="1735"/>
                </a:lnTo>
                <a:lnTo>
                  <a:pt x="485" y="1734"/>
                </a:lnTo>
                <a:lnTo>
                  <a:pt x="479" y="1731"/>
                </a:lnTo>
                <a:lnTo>
                  <a:pt x="473" y="1729"/>
                </a:lnTo>
                <a:lnTo>
                  <a:pt x="458" y="1728"/>
                </a:lnTo>
                <a:lnTo>
                  <a:pt x="444" y="1729"/>
                </a:lnTo>
                <a:lnTo>
                  <a:pt x="439" y="1731"/>
                </a:lnTo>
                <a:lnTo>
                  <a:pt x="434" y="1732"/>
                </a:lnTo>
                <a:lnTo>
                  <a:pt x="431" y="1734"/>
                </a:lnTo>
                <a:lnTo>
                  <a:pt x="427" y="1739"/>
                </a:lnTo>
                <a:lnTo>
                  <a:pt x="421" y="1750"/>
                </a:lnTo>
                <a:lnTo>
                  <a:pt x="415" y="1766"/>
                </a:lnTo>
                <a:lnTo>
                  <a:pt x="412" y="1775"/>
                </a:lnTo>
                <a:lnTo>
                  <a:pt x="409" y="1782"/>
                </a:lnTo>
                <a:lnTo>
                  <a:pt x="407" y="1786"/>
                </a:lnTo>
                <a:lnTo>
                  <a:pt x="403" y="1790"/>
                </a:lnTo>
                <a:lnTo>
                  <a:pt x="397" y="1794"/>
                </a:lnTo>
                <a:lnTo>
                  <a:pt x="389" y="1797"/>
                </a:lnTo>
                <a:lnTo>
                  <a:pt x="384" y="1801"/>
                </a:lnTo>
                <a:lnTo>
                  <a:pt x="381" y="1804"/>
                </a:lnTo>
                <a:lnTo>
                  <a:pt x="378" y="1809"/>
                </a:lnTo>
                <a:lnTo>
                  <a:pt x="377" y="1814"/>
                </a:lnTo>
                <a:lnTo>
                  <a:pt x="376" y="1819"/>
                </a:lnTo>
                <a:lnTo>
                  <a:pt x="377" y="1824"/>
                </a:lnTo>
                <a:lnTo>
                  <a:pt x="378" y="1830"/>
                </a:lnTo>
                <a:lnTo>
                  <a:pt x="379" y="1835"/>
                </a:lnTo>
                <a:lnTo>
                  <a:pt x="383" y="1846"/>
                </a:lnTo>
                <a:lnTo>
                  <a:pt x="384" y="1854"/>
                </a:lnTo>
                <a:lnTo>
                  <a:pt x="383" y="1858"/>
                </a:lnTo>
                <a:lnTo>
                  <a:pt x="381" y="1861"/>
                </a:lnTo>
                <a:lnTo>
                  <a:pt x="377" y="1864"/>
                </a:lnTo>
                <a:lnTo>
                  <a:pt x="371" y="1865"/>
                </a:lnTo>
                <a:lnTo>
                  <a:pt x="365" y="1866"/>
                </a:lnTo>
                <a:lnTo>
                  <a:pt x="358" y="1866"/>
                </a:lnTo>
                <a:lnTo>
                  <a:pt x="350" y="1865"/>
                </a:lnTo>
                <a:lnTo>
                  <a:pt x="344" y="1864"/>
                </a:lnTo>
                <a:lnTo>
                  <a:pt x="338" y="1863"/>
                </a:lnTo>
                <a:lnTo>
                  <a:pt x="333" y="1859"/>
                </a:lnTo>
                <a:lnTo>
                  <a:pt x="329" y="1855"/>
                </a:lnTo>
                <a:lnTo>
                  <a:pt x="328" y="1852"/>
                </a:lnTo>
                <a:lnTo>
                  <a:pt x="328" y="1847"/>
                </a:lnTo>
                <a:lnTo>
                  <a:pt x="331" y="1842"/>
                </a:lnTo>
                <a:lnTo>
                  <a:pt x="333" y="1840"/>
                </a:lnTo>
                <a:lnTo>
                  <a:pt x="337" y="1836"/>
                </a:lnTo>
                <a:lnTo>
                  <a:pt x="340" y="1833"/>
                </a:lnTo>
                <a:lnTo>
                  <a:pt x="344" y="1830"/>
                </a:lnTo>
                <a:lnTo>
                  <a:pt x="346" y="1826"/>
                </a:lnTo>
                <a:lnTo>
                  <a:pt x="347" y="1822"/>
                </a:lnTo>
                <a:lnTo>
                  <a:pt x="349" y="1817"/>
                </a:lnTo>
                <a:lnTo>
                  <a:pt x="347" y="1814"/>
                </a:lnTo>
                <a:lnTo>
                  <a:pt x="346" y="1810"/>
                </a:lnTo>
                <a:lnTo>
                  <a:pt x="344" y="1807"/>
                </a:lnTo>
                <a:lnTo>
                  <a:pt x="337" y="1802"/>
                </a:lnTo>
                <a:lnTo>
                  <a:pt x="326" y="1798"/>
                </a:lnTo>
                <a:lnTo>
                  <a:pt x="321" y="1797"/>
                </a:lnTo>
                <a:lnTo>
                  <a:pt x="316" y="1797"/>
                </a:lnTo>
                <a:lnTo>
                  <a:pt x="312" y="1797"/>
                </a:lnTo>
                <a:lnTo>
                  <a:pt x="308" y="1798"/>
                </a:lnTo>
                <a:lnTo>
                  <a:pt x="300" y="1802"/>
                </a:lnTo>
                <a:lnTo>
                  <a:pt x="290" y="1807"/>
                </a:lnTo>
                <a:lnTo>
                  <a:pt x="284" y="1809"/>
                </a:lnTo>
                <a:lnTo>
                  <a:pt x="278" y="1810"/>
                </a:lnTo>
                <a:lnTo>
                  <a:pt x="274" y="1810"/>
                </a:lnTo>
                <a:lnTo>
                  <a:pt x="269" y="1809"/>
                </a:lnTo>
                <a:lnTo>
                  <a:pt x="261" y="1803"/>
                </a:lnTo>
                <a:lnTo>
                  <a:pt x="253" y="1797"/>
                </a:lnTo>
                <a:lnTo>
                  <a:pt x="247" y="1792"/>
                </a:lnTo>
                <a:lnTo>
                  <a:pt x="244" y="1789"/>
                </a:lnTo>
                <a:lnTo>
                  <a:pt x="242" y="1785"/>
                </a:lnTo>
                <a:lnTo>
                  <a:pt x="240" y="1782"/>
                </a:lnTo>
                <a:lnTo>
                  <a:pt x="239" y="1778"/>
                </a:lnTo>
                <a:lnTo>
                  <a:pt x="240" y="1775"/>
                </a:lnTo>
                <a:lnTo>
                  <a:pt x="240" y="1771"/>
                </a:lnTo>
                <a:lnTo>
                  <a:pt x="243" y="1767"/>
                </a:lnTo>
                <a:lnTo>
                  <a:pt x="249" y="1760"/>
                </a:lnTo>
                <a:lnTo>
                  <a:pt x="255" y="1753"/>
                </a:lnTo>
                <a:lnTo>
                  <a:pt x="258" y="1750"/>
                </a:lnTo>
                <a:lnTo>
                  <a:pt x="259" y="1745"/>
                </a:lnTo>
                <a:lnTo>
                  <a:pt x="259" y="1741"/>
                </a:lnTo>
                <a:lnTo>
                  <a:pt x="257" y="1737"/>
                </a:lnTo>
                <a:lnTo>
                  <a:pt x="251" y="1729"/>
                </a:lnTo>
                <a:lnTo>
                  <a:pt x="244" y="1723"/>
                </a:lnTo>
                <a:lnTo>
                  <a:pt x="243" y="1720"/>
                </a:lnTo>
                <a:lnTo>
                  <a:pt x="242" y="1716"/>
                </a:lnTo>
                <a:lnTo>
                  <a:pt x="242" y="1713"/>
                </a:lnTo>
                <a:lnTo>
                  <a:pt x="243" y="1707"/>
                </a:lnTo>
                <a:lnTo>
                  <a:pt x="245" y="1701"/>
                </a:lnTo>
                <a:lnTo>
                  <a:pt x="247" y="1695"/>
                </a:lnTo>
                <a:lnTo>
                  <a:pt x="249" y="1688"/>
                </a:lnTo>
                <a:lnTo>
                  <a:pt x="249" y="1681"/>
                </a:lnTo>
                <a:lnTo>
                  <a:pt x="247" y="1675"/>
                </a:lnTo>
                <a:lnTo>
                  <a:pt x="246" y="1670"/>
                </a:lnTo>
                <a:lnTo>
                  <a:pt x="243" y="1665"/>
                </a:lnTo>
                <a:lnTo>
                  <a:pt x="239" y="1662"/>
                </a:lnTo>
                <a:lnTo>
                  <a:pt x="234" y="1660"/>
                </a:lnTo>
                <a:lnTo>
                  <a:pt x="231" y="1660"/>
                </a:lnTo>
                <a:lnTo>
                  <a:pt x="230" y="1663"/>
                </a:lnTo>
                <a:lnTo>
                  <a:pt x="228" y="1666"/>
                </a:lnTo>
                <a:lnTo>
                  <a:pt x="226" y="1675"/>
                </a:lnTo>
                <a:lnTo>
                  <a:pt x="224" y="1685"/>
                </a:lnTo>
                <a:lnTo>
                  <a:pt x="221" y="1691"/>
                </a:lnTo>
                <a:lnTo>
                  <a:pt x="218" y="1695"/>
                </a:lnTo>
                <a:lnTo>
                  <a:pt x="213" y="1699"/>
                </a:lnTo>
                <a:lnTo>
                  <a:pt x="208" y="1700"/>
                </a:lnTo>
                <a:lnTo>
                  <a:pt x="203" y="1701"/>
                </a:lnTo>
                <a:lnTo>
                  <a:pt x="199" y="1701"/>
                </a:lnTo>
                <a:lnTo>
                  <a:pt x="195" y="1700"/>
                </a:lnTo>
                <a:lnTo>
                  <a:pt x="192" y="1696"/>
                </a:lnTo>
                <a:lnTo>
                  <a:pt x="187" y="1691"/>
                </a:lnTo>
                <a:lnTo>
                  <a:pt x="184" y="1684"/>
                </a:lnTo>
                <a:lnTo>
                  <a:pt x="182" y="1678"/>
                </a:lnTo>
                <a:lnTo>
                  <a:pt x="182" y="1671"/>
                </a:lnTo>
                <a:lnTo>
                  <a:pt x="182" y="1665"/>
                </a:lnTo>
                <a:lnTo>
                  <a:pt x="183" y="1659"/>
                </a:lnTo>
                <a:lnTo>
                  <a:pt x="187" y="1649"/>
                </a:lnTo>
                <a:lnTo>
                  <a:pt x="193" y="1637"/>
                </a:lnTo>
                <a:lnTo>
                  <a:pt x="200" y="1624"/>
                </a:lnTo>
                <a:lnTo>
                  <a:pt x="211" y="1608"/>
                </a:lnTo>
                <a:lnTo>
                  <a:pt x="220" y="1593"/>
                </a:lnTo>
                <a:lnTo>
                  <a:pt x="225" y="1581"/>
                </a:lnTo>
                <a:lnTo>
                  <a:pt x="228" y="1570"/>
                </a:lnTo>
                <a:lnTo>
                  <a:pt x="228" y="1559"/>
                </a:lnTo>
                <a:lnTo>
                  <a:pt x="227" y="1549"/>
                </a:lnTo>
                <a:lnTo>
                  <a:pt x="225" y="1540"/>
                </a:lnTo>
                <a:lnTo>
                  <a:pt x="224" y="1532"/>
                </a:lnTo>
                <a:lnTo>
                  <a:pt x="223" y="1521"/>
                </a:lnTo>
                <a:lnTo>
                  <a:pt x="224" y="1510"/>
                </a:lnTo>
                <a:lnTo>
                  <a:pt x="227" y="1499"/>
                </a:lnTo>
                <a:lnTo>
                  <a:pt x="230" y="1494"/>
                </a:lnTo>
                <a:lnTo>
                  <a:pt x="232" y="1489"/>
                </a:lnTo>
                <a:lnTo>
                  <a:pt x="236" y="1486"/>
                </a:lnTo>
                <a:lnTo>
                  <a:pt x="239" y="1482"/>
                </a:lnTo>
                <a:lnTo>
                  <a:pt x="256" y="1479"/>
                </a:lnTo>
                <a:lnTo>
                  <a:pt x="269" y="1479"/>
                </a:lnTo>
                <a:lnTo>
                  <a:pt x="271" y="1476"/>
                </a:lnTo>
                <a:lnTo>
                  <a:pt x="274" y="1473"/>
                </a:lnTo>
                <a:lnTo>
                  <a:pt x="275" y="1468"/>
                </a:lnTo>
                <a:lnTo>
                  <a:pt x="276" y="1463"/>
                </a:lnTo>
                <a:lnTo>
                  <a:pt x="277" y="1451"/>
                </a:lnTo>
                <a:lnTo>
                  <a:pt x="278" y="1442"/>
                </a:lnTo>
                <a:lnTo>
                  <a:pt x="277" y="1437"/>
                </a:lnTo>
                <a:lnTo>
                  <a:pt x="277" y="1433"/>
                </a:lnTo>
                <a:lnTo>
                  <a:pt x="276" y="1431"/>
                </a:lnTo>
                <a:lnTo>
                  <a:pt x="274" y="1429"/>
                </a:lnTo>
                <a:lnTo>
                  <a:pt x="271" y="1428"/>
                </a:lnTo>
                <a:lnTo>
                  <a:pt x="269" y="1428"/>
                </a:lnTo>
                <a:lnTo>
                  <a:pt x="266" y="1429"/>
                </a:lnTo>
                <a:lnTo>
                  <a:pt x="264" y="1430"/>
                </a:lnTo>
                <a:lnTo>
                  <a:pt x="257" y="1433"/>
                </a:lnTo>
                <a:lnTo>
                  <a:pt x="250" y="1436"/>
                </a:lnTo>
                <a:lnTo>
                  <a:pt x="247" y="1436"/>
                </a:lnTo>
                <a:lnTo>
                  <a:pt x="245" y="1435"/>
                </a:lnTo>
                <a:lnTo>
                  <a:pt x="244" y="1432"/>
                </a:lnTo>
                <a:lnTo>
                  <a:pt x="244" y="1430"/>
                </a:lnTo>
                <a:lnTo>
                  <a:pt x="245" y="1426"/>
                </a:lnTo>
                <a:lnTo>
                  <a:pt x="247" y="1424"/>
                </a:lnTo>
                <a:lnTo>
                  <a:pt x="251" y="1422"/>
                </a:lnTo>
                <a:lnTo>
                  <a:pt x="255" y="1419"/>
                </a:lnTo>
                <a:lnTo>
                  <a:pt x="263" y="1416"/>
                </a:lnTo>
                <a:lnTo>
                  <a:pt x="272" y="1411"/>
                </a:lnTo>
                <a:lnTo>
                  <a:pt x="276" y="1408"/>
                </a:lnTo>
                <a:lnTo>
                  <a:pt x="278" y="1404"/>
                </a:lnTo>
                <a:lnTo>
                  <a:pt x="281" y="1400"/>
                </a:lnTo>
                <a:lnTo>
                  <a:pt x="282" y="1395"/>
                </a:lnTo>
                <a:lnTo>
                  <a:pt x="282" y="1385"/>
                </a:lnTo>
                <a:lnTo>
                  <a:pt x="282" y="1375"/>
                </a:lnTo>
                <a:lnTo>
                  <a:pt x="281" y="1367"/>
                </a:lnTo>
                <a:lnTo>
                  <a:pt x="278" y="1360"/>
                </a:lnTo>
                <a:lnTo>
                  <a:pt x="276" y="1359"/>
                </a:lnTo>
                <a:lnTo>
                  <a:pt x="272" y="1356"/>
                </a:lnTo>
                <a:lnTo>
                  <a:pt x="269" y="1355"/>
                </a:lnTo>
                <a:lnTo>
                  <a:pt x="264" y="1355"/>
                </a:lnTo>
                <a:lnTo>
                  <a:pt x="259" y="1354"/>
                </a:lnTo>
                <a:lnTo>
                  <a:pt x="256" y="1351"/>
                </a:lnTo>
                <a:lnTo>
                  <a:pt x="253" y="1349"/>
                </a:lnTo>
                <a:lnTo>
                  <a:pt x="252" y="1345"/>
                </a:lnTo>
                <a:lnTo>
                  <a:pt x="252" y="1337"/>
                </a:lnTo>
                <a:lnTo>
                  <a:pt x="252" y="1328"/>
                </a:lnTo>
                <a:lnTo>
                  <a:pt x="252" y="1322"/>
                </a:lnTo>
                <a:lnTo>
                  <a:pt x="251" y="1318"/>
                </a:lnTo>
                <a:lnTo>
                  <a:pt x="250" y="1313"/>
                </a:lnTo>
                <a:lnTo>
                  <a:pt x="247" y="1310"/>
                </a:lnTo>
                <a:lnTo>
                  <a:pt x="243" y="1306"/>
                </a:lnTo>
                <a:lnTo>
                  <a:pt x="238" y="1304"/>
                </a:lnTo>
                <a:lnTo>
                  <a:pt x="231" y="1302"/>
                </a:lnTo>
                <a:lnTo>
                  <a:pt x="223" y="1300"/>
                </a:lnTo>
                <a:lnTo>
                  <a:pt x="213" y="1300"/>
                </a:lnTo>
                <a:lnTo>
                  <a:pt x="203" y="1302"/>
                </a:lnTo>
                <a:lnTo>
                  <a:pt x="195" y="1304"/>
                </a:lnTo>
                <a:lnTo>
                  <a:pt x="187" y="1306"/>
                </a:lnTo>
                <a:lnTo>
                  <a:pt x="180" y="1310"/>
                </a:lnTo>
                <a:lnTo>
                  <a:pt x="174" y="1315"/>
                </a:lnTo>
                <a:lnTo>
                  <a:pt x="168" y="1319"/>
                </a:lnTo>
                <a:lnTo>
                  <a:pt x="163" y="1324"/>
                </a:lnTo>
                <a:lnTo>
                  <a:pt x="155" y="1334"/>
                </a:lnTo>
                <a:lnTo>
                  <a:pt x="148" y="1340"/>
                </a:lnTo>
                <a:lnTo>
                  <a:pt x="144" y="1342"/>
                </a:lnTo>
                <a:lnTo>
                  <a:pt x="140" y="1343"/>
                </a:lnTo>
                <a:lnTo>
                  <a:pt x="137" y="1344"/>
                </a:lnTo>
                <a:lnTo>
                  <a:pt x="132" y="1344"/>
                </a:lnTo>
                <a:lnTo>
                  <a:pt x="129" y="1344"/>
                </a:lnTo>
                <a:lnTo>
                  <a:pt x="126" y="1343"/>
                </a:lnTo>
                <a:lnTo>
                  <a:pt x="124" y="1342"/>
                </a:lnTo>
                <a:lnTo>
                  <a:pt x="121" y="1340"/>
                </a:lnTo>
                <a:lnTo>
                  <a:pt x="120" y="1334"/>
                </a:lnTo>
                <a:lnTo>
                  <a:pt x="120" y="1325"/>
                </a:lnTo>
                <a:lnTo>
                  <a:pt x="121" y="1321"/>
                </a:lnTo>
                <a:lnTo>
                  <a:pt x="120" y="1318"/>
                </a:lnTo>
                <a:lnTo>
                  <a:pt x="118" y="1315"/>
                </a:lnTo>
                <a:lnTo>
                  <a:pt x="116" y="1313"/>
                </a:lnTo>
                <a:lnTo>
                  <a:pt x="113" y="1312"/>
                </a:lnTo>
                <a:lnTo>
                  <a:pt x="110" y="1313"/>
                </a:lnTo>
                <a:lnTo>
                  <a:pt x="106" y="1315"/>
                </a:lnTo>
                <a:lnTo>
                  <a:pt x="102" y="1317"/>
                </a:lnTo>
                <a:lnTo>
                  <a:pt x="92" y="1325"/>
                </a:lnTo>
                <a:lnTo>
                  <a:pt x="77" y="1340"/>
                </a:lnTo>
                <a:lnTo>
                  <a:pt x="61" y="1354"/>
                </a:lnTo>
                <a:lnTo>
                  <a:pt x="48" y="1366"/>
                </a:lnTo>
                <a:lnTo>
                  <a:pt x="43" y="1368"/>
                </a:lnTo>
                <a:lnTo>
                  <a:pt x="38" y="1369"/>
                </a:lnTo>
                <a:lnTo>
                  <a:pt x="35" y="1369"/>
                </a:lnTo>
                <a:lnTo>
                  <a:pt x="31" y="1368"/>
                </a:lnTo>
                <a:lnTo>
                  <a:pt x="25" y="1362"/>
                </a:lnTo>
                <a:lnTo>
                  <a:pt x="19" y="1356"/>
                </a:lnTo>
                <a:lnTo>
                  <a:pt x="11" y="1350"/>
                </a:lnTo>
                <a:lnTo>
                  <a:pt x="5" y="1345"/>
                </a:lnTo>
                <a:lnTo>
                  <a:pt x="1" y="1343"/>
                </a:lnTo>
                <a:lnTo>
                  <a:pt x="0" y="1341"/>
                </a:lnTo>
                <a:lnTo>
                  <a:pt x="0" y="1338"/>
                </a:lnTo>
                <a:lnTo>
                  <a:pt x="1" y="1335"/>
                </a:lnTo>
                <a:lnTo>
                  <a:pt x="11" y="1330"/>
                </a:lnTo>
                <a:lnTo>
                  <a:pt x="29" y="1322"/>
                </a:lnTo>
                <a:lnTo>
                  <a:pt x="37" y="1313"/>
                </a:lnTo>
                <a:lnTo>
                  <a:pt x="43" y="1305"/>
                </a:lnTo>
                <a:lnTo>
                  <a:pt x="56" y="1294"/>
                </a:lnTo>
                <a:lnTo>
                  <a:pt x="74" y="1280"/>
                </a:lnTo>
                <a:lnTo>
                  <a:pt x="82" y="1271"/>
                </a:lnTo>
                <a:lnTo>
                  <a:pt x="87" y="1262"/>
                </a:lnTo>
                <a:lnTo>
                  <a:pt x="92" y="1255"/>
                </a:lnTo>
                <a:lnTo>
                  <a:pt x="95" y="1247"/>
                </a:lnTo>
                <a:lnTo>
                  <a:pt x="99" y="1237"/>
                </a:lnTo>
                <a:lnTo>
                  <a:pt x="104" y="1225"/>
                </a:lnTo>
                <a:lnTo>
                  <a:pt x="108" y="1216"/>
                </a:lnTo>
                <a:lnTo>
                  <a:pt x="111" y="1209"/>
                </a:lnTo>
                <a:lnTo>
                  <a:pt x="117" y="1199"/>
                </a:lnTo>
                <a:lnTo>
                  <a:pt x="120" y="1187"/>
                </a:lnTo>
                <a:lnTo>
                  <a:pt x="123" y="1184"/>
                </a:lnTo>
                <a:lnTo>
                  <a:pt x="126" y="1181"/>
                </a:lnTo>
                <a:lnTo>
                  <a:pt x="132" y="1180"/>
                </a:lnTo>
                <a:lnTo>
                  <a:pt x="138" y="1180"/>
                </a:lnTo>
                <a:lnTo>
                  <a:pt x="152" y="1183"/>
                </a:lnTo>
                <a:lnTo>
                  <a:pt x="169" y="1186"/>
                </a:lnTo>
                <a:lnTo>
                  <a:pt x="176" y="1187"/>
                </a:lnTo>
                <a:lnTo>
                  <a:pt x="182" y="1189"/>
                </a:lnTo>
                <a:lnTo>
                  <a:pt x="187" y="1189"/>
                </a:lnTo>
                <a:lnTo>
                  <a:pt x="190" y="1187"/>
                </a:lnTo>
                <a:lnTo>
                  <a:pt x="193" y="1185"/>
                </a:lnTo>
                <a:lnTo>
                  <a:pt x="194" y="1183"/>
                </a:lnTo>
                <a:lnTo>
                  <a:pt x="195" y="1180"/>
                </a:lnTo>
                <a:lnTo>
                  <a:pt x="195" y="1176"/>
                </a:lnTo>
                <a:lnTo>
                  <a:pt x="195" y="1168"/>
                </a:lnTo>
                <a:lnTo>
                  <a:pt x="196" y="1164"/>
                </a:lnTo>
                <a:lnTo>
                  <a:pt x="201" y="1158"/>
                </a:lnTo>
                <a:lnTo>
                  <a:pt x="208" y="1149"/>
                </a:lnTo>
                <a:lnTo>
                  <a:pt x="219" y="1141"/>
                </a:lnTo>
                <a:lnTo>
                  <a:pt x="233" y="1133"/>
                </a:lnTo>
                <a:lnTo>
                  <a:pt x="239" y="1129"/>
                </a:lnTo>
                <a:lnTo>
                  <a:pt x="245" y="1126"/>
                </a:lnTo>
                <a:lnTo>
                  <a:pt x="250" y="1121"/>
                </a:lnTo>
                <a:lnTo>
                  <a:pt x="252" y="1116"/>
                </a:lnTo>
                <a:lnTo>
                  <a:pt x="255" y="1110"/>
                </a:lnTo>
                <a:lnTo>
                  <a:pt x="256" y="1104"/>
                </a:lnTo>
                <a:lnTo>
                  <a:pt x="257" y="1098"/>
                </a:lnTo>
                <a:lnTo>
                  <a:pt x="257" y="1091"/>
                </a:lnTo>
                <a:lnTo>
                  <a:pt x="256" y="1084"/>
                </a:lnTo>
                <a:lnTo>
                  <a:pt x="255" y="1078"/>
                </a:lnTo>
                <a:lnTo>
                  <a:pt x="251" y="1071"/>
                </a:lnTo>
                <a:lnTo>
                  <a:pt x="247" y="1065"/>
                </a:lnTo>
                <a:lnTo>
                  <a:pt x="243" y="1060"/>
                </a:lnTo>
                <a:lnTo>
                  <a:pt x="237" y="1057"/>
                </a:lnTo>
                <a:lnTo>
                  <a:pt x="231" y="1054"/>
                </a:lnTo>
                <a:lnTo>
                  <a:pt x="224" y="1051"/>
                </a:lnTo>
                <a:lnTo>
                  <a:pt x="211" y="1047"/>
                </a:lnTo>
                <a:lnTo>
                  <a:pt x="200" y="1041"/>
                </a:lnTo>
                <a:lnTo>
                  <a:pt x="196" y="1038"/>
                </a:lnTo>
                <a:lnTo>
                  <a:pt x="193" y="1033"/>
                </a:lnTo>
                <a:lnTo>
                  <a:pt x="192" y="1027"/>
                </a:lnTo>
                <a:lnTo>
                  <a:pt x="190" y="1020"/>
                </a:lnTo>
                <a:lnTo>
                  <a:pt x="190" y="1006"/>
                </a:lnTo>
                <a:lnTo>
                  <a:pt x="192" y="987"/>
                </a:lnTo>
                <a:lnTo>
                  <a:pt x="192" y="978"/>
                </a:lnTo>
                <a:lnTo>
                  <a:pt x="193" y="970"/>
                </a:lnTo>
                <a:lnTo>
                  <a:pt x="195" y="964"/>
                </a:lnTo>
                <a:lnTo>
                  <a:pt x="196" y="959"/>
                </a:lnTo>
                <a:lnTo>
                  <a:pt x="201" y="951"/>
                </a:lnTo>
                <a:lnTo>
                  <a:pt x="206" y="944"/>
                </a:lnTo>
                <a:lnTo>
                  <a:pt x="211" y="938"/>
                </a:lnTo>
                <a:lnTo>
                  <a:pt x="214" y="931"/>
                </a:lnTo>
                <a:lnTo>
                  <a:pt x="214" y="927"/>
                </a:lnTo>
                <a:lnTo>
                  <a:pt x="213" y="925"/>
                </a:lnTo>
                <a:lnTo>
                  <a:pt x="211" y="924"/>
                </a:lnTo>
                <a:lnTo>
                  <a:pt x="206" y="924"/>
                </a:lnTo>
                <a:lnTo>
                  <a:pt x="201" y="922"/>
                </a:lnTo>
                <a:lnTo>
                  <a:pt x="198" y="922"/>
                </a:lnTo>
                <a:lnTo>
                  <a:pt x="195" y="920"/>
                </a:lnTo>
                <a:lnTo>
                  <a:pt x="193" y="918"/>
                </a:lnTo>
                <a:lnTo>
                  <a:pt x="192" y="915"/>
                </a:lnTo>
                <a:lnTo>
                  <a:pt x="190" y="912"/>
                </a:lnTo>
                <a:lnTo>
                  <a:pt x="190" y="907"/>
                </a:lnTo>
                <a:lnTo>
                  <a:pt x="190" y="902"/>
                </a:lnTo>
                <a:lnTo>
                  <a:pt x="193" y="891"/>
                </a:lnTo>
                <a:lnTo>
                  <a:pt x="199" y="880"/>
                </a:lnTo>
                <a:lnTo>
                  <a:pt x="206" y="868"/>
                </a:lnTo>
                <a:lnTo>
                  <a:pt x="213" y="858"/>
                </a:lnTo>
                <a:lnTo>
                  <a:pt x="218" y="853"/>
                </a:lnTo>
                <a:lnTo>
                  <a:pt x="221" y="847"/>
                </a:lnTo>
                <a:lnTo>
                  <a:pt x="223" y="842"/>
                </a:lnTo>
                <a:lnTo>
                  <a:pt x="223" y="832"/>
                </a:lnTo>
                <a:lnTo>
                  <a:pt x="223" y="828"/>
                </a:lnTo>
                <a:lnTo>
                  <a:pt x="221" y="825"/>
                </a:lnTo>
                <a:lnTo>
                  <a:pt x="220" y="823"/>
                </a:lnTo>
                <a:lnTo>
                  <a:pt x="219" y="821"/>
                </a:lnTo>
                <a:lnTo>
                  <a:pt x="213" y="820"/>
                </a:lnTo>
                <a:lnTo>
                  <a:pt x="203" y="820"/>
                </a:lnTo>
                <a:lnTo>
                  <a:pt x="198" y="820"/>
                </a:lnTo>
                <a:lnTo>
                  <a:pt x="193" y="818"/>
                </a:lnTo>
                <a:lnTo>
                  <a:pt x="189" y="815"/>
                </a:lnTo>
                <a:lnTo>
                  <a:pt x="186" y="813"/>
                </a:lnTo>
                <a:lnTo>
                  <a:pt x="182" y="808"/>
                </a:lnTo>
                <a:lnTo>
                  <a:pt x="180" y="805"/>
                </a:lnTo>
                <a:lnTo>
                  <a:pt x="180" y="801"/>
                </a:lnTo>
                <a:lnTo>
                  <a:pt x="181" y="795"/>
                </a:lnTo>
                <a:lnTo>
                  <a:pt x="182" y="788"/>
                </a:lnTo>
                <a:lnTo>
                  <a:pt x="183" y="780"/>
                </a:lnTo>
                <a:lnTo>
                  <a:pt x="183" y="770"/>
                </a:lnTo>
                <a:lnTo>
                  <a:pt x="182" y="758"/>
                </a:lnTo>
                <a:lnTo>
                  <a:pt x="180" y="745"/>
                </a:lnTo>
                <a:lnTo>
                  <a:pt x="177" y="733"/>
                </a:lnTo>
                <a:lnTo>
                  <a:pt x="176" y="723"/>
                </a:lnTo>
                <a:lnTo>
                  <a:pt x="176" y="712"/>
                </a:lnTo>
                <a:lnTo>
                  <a:pt x="175" y="692"/>
                </a:lnTo>
                <a:lnTo>
                  <a:pt x="174" y="679"/>
                </a:lnTo>
                <a:lnTo>
                  <a:pt x="173" y="675"/>
                </a:lnTo>
                <a:lnTo>
                  <a:pt x="170" y="673"/>
                </a:lnTo>
                <a:lnTo>
                  <a:pt x="168" y="672"/>
                </a:lnTo>
                <a:lnTo>
                  <a:pt x="164" y="670"/>
                </a:lnTo>
                <a:lnTo>
                  <a:pt x="161" y="670"/>
                </a:lnTo>
                <a:lnTo>
                  <a:pt x="157" y="669"/>
                </a:lnTo>
                <a:lnTo>
                  <a:pt x="154" y="668"/>
                </a:lnTo>
                <a:lnTo>
                  <a:pt x="151" y="664"/>
                </a:lnTo>
                <a:lnTo>
                  <a:pt x="151" y="662"/>
                </a:lnTo>
                <a:lnTo>
                  <a:pt x="151" y="658"/>
                </a:lnTo>
                <a:lnTo>
                  <a:pt x="152" y="656"/>
                </a:lnTo>
                <a:lnTo>
                  <a:pt x="154" y="654"/>
                </a:lnTo>
                <a:lnTo>
                  <a:pt x="159" y="650"/>
                </a:lnTo>
                <a:lnTo>
                  <a:pt x="168" y="649"/>
                </a:lnTo>
                <a:lnTo>
                  <a:pt x="171" y="648"/>
                </a:lnTo>
                <a:lnTo>
                  <a:pt x="174" y="647"/>
                </a:lnTo>
                <a:lnTo>
                  <a:pt x="175" y="644"/>
                </a:lnTo>
                <a:lnTo>
                  <a:pt x="176" y="642"/>
                </a:lnTo>
                <a:lnTo>
                  <a:pt x="177" y="638"/>
                </a:lnTo>
                <a:lnTo>
                  <a:pt x="179" y="636"/>
                </a:lnTo>
                <a:lnTo>
                  <a:pt x="180" y="632"/>
                </a:lnTo>
                <a:lnTo>
                  <a:pt x="182" y="631"/>
                </a:lnTo>
                <a:lnTo>
                  <a:pt x="186" y="629"/>
                </a:lnTo>
                <a:lnTo>
                  <a:pt x="188" y="626"/>
                </a:lnTo>
                <a:lnTo>
                  <a:pt x="189" y="624"/>
                </a:lnTo>
                <a:lnTo>
                  <a:pt x="190" y="622"/>
                </a:lnTo>
                <a:lnTo>
                  <a:pt x="190" y="619"/>
                </a:lnTo>
                <a:lnTo>
                  <a:pt x="189" y="616"/>
                </a:lnTo>
                <a:lnTo>
                  <a:pt x="188" y="613"/>
                </a:lnTo>
                <a:lnTo>
                  <a:pt x="186" y="610"/>
                </a:lnTo>
                <a:lnTo>
                  <a:pt x="180" y="601"/>
                </a:lnTo>
                <a:lnTo>
                  <a:pt x="174" y="591"/>
                </a:lnTo>
                <a:lnTo>
                  <a:pt x="171" y="585"/>
                </a:lnTo>
                <a:lnTo>
                  <a:pt x="170" y="578"/>
                </a:lnTo>
                <a:lnTo>
                  <a:pt x="169" y="572"/>
                </a:lnTo>
                <a:lnTo>
                  <a:pt x="168" y="566"/>
                </a:lnTo>
                <a:lnTo>
                  <a:pt x="169" y="554"/>
                </a:lnTo>
                <a:lnTo>
                  <a:pt x="171" y="540"/>
                </a:lnTo>
                <a:lnTo>
                  <a:pt x="175" y="527"/>
                </a:lnTo>
                <a:lnTo>
                  <a:pt x="181" y="515"/>
                </a:lnTo>
                <a:lnTo>
                  <a:pt x="187" y="504"/>
                </a:lnTo>
                <a:lnTo>
                  <a:pt x="193" y="493"/>
                </a:lnTo>
                <a:lnTo>
                  <a:pt x="194" y="489"/>
                </a:lnTo>
                <a:lnTo>
                  <a:pt x="194" y="484"/>
                </a:lnTo>
                <a:lnTo>
                  <a:pt x="193" y="479"/>
                </a:lnTo>
                <a:lnTo>
                  <a:pt x="190" y="475"/>
                </a:lnTo>
                <a:lnTo>
                  <a:pt x="182" y="467"/>
                </a:lnTo>
                <a:lnTo>
                  <a:pt x="174" y="459"/>
                </a:lnTo>
                <a:lnTo>
                  <a:pt x="171" y="455"/>
                </a:lnTo>
                <a:lnTo>
                  <a:pt x="171" y="452"/>
                </a:lnTo>
                <a:lnTo>
                  <a:pt x="171" y="447"/>
                </a:lnTo>
                <a:lnTo>
                  <a:pt x="173" y="443"/>
                </a:lnTo>
                <a:lnTo>
                  <a:pt x="176" y="434"/>
                </a:lnTo>
                <a:lnTo>
                  <a:pt x="180" y="429"/>
                </a:lnTo>
                <a:lnTo>
                  <a:pt x="182" y="426"/>
                </a:lnTo>
                <a:lnTo>
                  <a:pt x="184" y="423"/>
                </a:lnTo>
                <a:lnTo>
                  <a:pt x="186" y="418"/>
                </a:lnTo>
                <a:lnTo>
                  <a:pt x="186" y="412"/>
                </a:lnTo>
                <a:lnTo>
                  <a:pt x="187" y="408"/>
                </a:lnTo>
                <a:lnTo>
                  <a:pt x="188" y="404"/>
                </a:lnTo>
                <a:lnTo>
                  <a:pt x="189" y="401"/>
                </a:lnTo>
                <a:lnTo>
                  <a:pt x="192" y="398"/>
                </a:lnTo>
                <a:lnTo>
                  <a:pt x="195" y="396"/>
                </a:lnTo>
                <a:lnTo>
                  <a:pt x="200" y="395"/>
                </a:lnTo>
                <a:lnTo>
                  <a:pt x="203" y="393"/>
                </a:lnTo>
                <a:lnTo>
                  <a:pt x="208" y="391"/>
                </a:lnTo>
                <a:lnTo>
                  <a:pt x="211" y="387"/>
                </a:lnTo>
                <a:lnTo>
                  <a:pt x="213" y="383"/>
                </a:lnTo>
                <a:lnTo>
                  <a:pt x="211" y="374"/>
                </a:lnTo>
                <a:lnTo>
                  <a:pt x="208" y="364"/>
                </a:lnTo>
                <a:lnTo>
                  <a:pt x="207" y="358"/>
                </a:lnTo>
                <a:lnTo>
                  <a:pt x="207" y="352"/>
                </a:lnTo>
                <a:lnTo>
                  <a:pt x="208" y="346"/>
                </a:lnTo>
                <a:lnTo>
                  <a:pt x="211" y="341"/>
                </a:lnTo>
                <a:lnTo>
                  <a:pt x="219" y="335"/>
                </a:lnTo>
                <a:lnTo>
                  <a:pt x="225" y="332"/>
                </a:lnTo>
                <a:lnTo>
                  <a:pt x="230" y="329"/>
                </a:lnTo>
                <a:lnTo>
                  <a:pt x="232" y="327"/>
                </a:lnTo>
                <a:lnTo>
                  <a:pt x="234" y="325"/>
                </a:lnTo>
                <a:lnTo>
                  <a:pt x="236" y="322"/>
                </a:lnTo>
                <a:lnTo>
                  <a:pt x="236" y="316"/>
                </a:lnTo>
                <a:lnTo>
                  <a:pt x="236" y="308"/>
                </a:lnTo>
                <a:lnTo>
                  <a:pt x="236" y="302"/>
                </a:lnTo>
                <a:lnTo>
                  <a:pt x="236" y="295"/>
                </a:lnTo>
                <a:lnTo>
                  <a:pt x="237" y="289"/>
                </a:lnTo>
                <a:lnTo>
                  <a:pt x="239" y="284"/>
                </a:lnTo>
                <a:lnTo>
                  <a:pt x="245" y="275"/>
                </a:lnTo>
                <a:lnTo>
                  <a:pt x="252" y="263"/>
                </a:lnTo>
                <a:lnTo>
                  <a:pt x="259" y="251"/>
                </a:lnTo>
                <a:lnTo>
                  <a:pt x="265" y="242"/>
                </a:lnTo>
                <a:lnTo>
                  <a:pt x="270" y="237"/>
                </a:lnTo>
                <a:lnTo>
                  <a:pt x="276" y="231"/>
                </a:lnTo>
                <a:lnTo>
                  <a:pt x="283" y="226"/>
                </a:lnTo>
                <a:lnTo>
                  <a:pt x="290" y="223"/>
                </a:lnTo>
                <a:lnTo>
                  <a:pt x="305" y="222"/>
                </a:lnTo>
                <a:lnTo>
                  <a:pt x="318" y="222"/>
                </a:lnTo>
                <a:lnTo>
                  <a:pt x="327" y="225"/>
                </a:lnTo>
                <a:lnTo>
                  <a:pt x="333" y="226"/>
                </a:lnTo>
                <a:lnTo>
                  <a:pt x="334" y="226"/>
                </a:lnTo>
                <a:lnTo>
                  <a:pt x="337" y="225"/>
                </a:lnTo>
                <a:lnTo>
                  <a:pt x="340" y="222"/>
                </a:lnTo>
                <a:lnTo>
                  <a:pt x="343" y="220"/>
                </a:lnTo>
                <a:lnTo>
                  <a:pt x="346" y="216"/>
                </a:lnTo>
                <a:lnTo>
                  <a:pt x="349" y="212"/>
                </a:lnTo>
                <a:lnTo>
                  <a:pt x="352" y="206"/>
                </a:lnTo>
                <a:lnTo>
                  <a:pt x="353" y="200"/>
                </a:lnTo>
                <a:lnTo>
                  <a:pt x="356" y="193"/>
                </a:lnTo>
                <a:lnTo>
                  <a:pt x="358" y="187"/>
                </a:lnTo>
                <a:lnTo>
                  <a:pt x="362" y="181"/>
                </a:lnTo>
                <a:lnTo>
                  <a:pt x="366" y="176"/>
                </a:lnTo>
                <a:lnTo>
                  <a:pt x="372" y="171"/>
                </a:lnTo>
                <a:lnTo>
                  <a:pt x="381" y="168"/>
                </a:lnTo>
                <a:lnTo>
                  <a:pt x="390" y="165"/>
                </a:lnTo>
                <a:lnTo>
                  <a:pt x="402" y="163"/>
                </a:lnTo>
                <a:lnTo>
                  <a:pt x="425" y="163"/>
                </a:lnTo>
                <a:lnTo>
                  <a:pt x="442" y="164"/>
                </a:lnTo>
                <a:lnTo>
                  <a:pt x="451" y="165"/>
                </a:lnTo>
                <a:lnTo>
                  <a:pt x="458" y="165"/>
                </a:lnTo>
                <a:lnTo>
                  <a:pt x="465" y="164"/>
                </a:lnTo>
                <a:lnTo>
                  <a:pt x="473" y="163"/>
                </a:lnTo>
                <a:lnTo>
                  <a:pt x="488" y="158"/>
                </a:lnTo>
                <a:lnTo>
                  <a:pt x="501" y="157"/>
                </a:lnTo>
                <a:lnTo>
                  <a:pt x="508" y="158"/>
                </a:lnTo>
                <a:lnTo>
                  <a:pt x="515" y="160"/>
                </a:lnTo>
                <a:lnTo>
                  <a:pt x="521" y="164"/>
                </a:lnTo>
                <a:lnTo>
                  <a:pt x="528" y="170"/>
                </a:lnTo>
                <a:lnTo>
                  <a:pt x="547" y="190"/>
                </a:lnTo>
                <a:lnTo>
                  <a:pt x="558" y="204"/>
                </a:lnTo>
                <a:lnTo>
                  <a:pt x="561" y="209"/>
                </a:lnTo>
                <a:lnTo>
                  <a:pt x="567" y="212"/>
                </a:lnTo>
                <a:lnTo>
                  <a:pt x="573" y="212"/>
                </a:lnTo>
                <a:lnTo>
                  <a:pt x="580" y="212"/>
                </a:lnTo>
                <a:lnTo>
                  <a:pt x="585" y="215"/>
                </a:lnTo>
                <a:lnTo>
                  <a:pt x="591" y="218"/>
                </a:lnTo>
                <a:lnTo>
                  <a:pt x="596" y="216"/>
                </a:lnTo>
                <a:lnTo>
                  <a:pt x="599" y="215"/>
                </a:lnTo>
                <a:lnTo>
                  <a:pt x="602" y="212"/>
                </a:lnTo>
                <a:lnTo>
                  <a:pt x="606" y="207"/>
                </a:lnTo>
                <a:lnTo>
                  <a:pt x="610" y="201"/>
                </a:lnTo>
                <a:lnTo>
                  <a:pt x="615" y="197"/>
                </a:lnTo>
                <a:lnTo>
                  <a:pt x="621" y="195"/>
                </a:lnTo>
                <a:lnTo>
                  <a:pt x="627" y="194"/>
                </a:lnTo>
                <a:lnTo>
                  <a:pt x="635" y="193"/>
                </a:lnTo>
                <a:lnTo>
                  <a:pt x="645" y="191"/>
                </a:lnTo>
                <a:lnTo>
                  <a:pt x="654" y="190"/>
                </a:lnTo>
                <a:lnTo>
                  <a:pt x="664" y="187"/>
                </a:lnTo>
                <a:lnTo>
                  <a:pt x="669" y="184"/>
                </a:lnTo>
                <a:lnTo>
                  <a:pt x="674" y="182"/>
                </a:lnTo>
                <a:lnTo>
                  <a:pt x="678" y="177"/>
                </a:lnTo>
                <a:lnTo>
                  <a:pt x="681" y="172"/>
                </a:lnTo>
                <a:lnTo>
                  <a:pt x="684" y="168"/>
                </a:lnTo>
                <a:lnTo>
                  <a:pt x="685" y="163"/>
                </a:lnTo>
                <a:lnTo>
                  <a:pt x="686" y="158"/>
                </a:lnTo>
                <a:lnTo>
                  <a:pt x="685" y="153"/>
                </a:lnTo>
                <a:lnTo>
                  <a:pt x="684" y="149"/>
                </a:lnTo>
                <a:lnTo>
                  <a:pt x="681" y="144"/>
                </a:lnTo>
                <a:lnTo>
                  <a:pt x="679" y="139"/>
                </a:lnTo>
                <a:lnTo>
                  <a:pt x="675" y="136"/>
                </a:lnTo>
                <a:lnTo>
                  <a:pt x="667" y="127"/>
                </a:lnTo>
                <a:lnTo>
                  <a:pt x="658" y="120"/>
                </a:lnTo>
                <a:lnTo>
                  <a:pt x="648" y="113"/>
                </a:lnTo>
                <a:lnTo>
                  <a:pt x="640" y="106"/>
                </a:lnTo>
                <a:lnTo>
                  <a:pt x="634" y="99"/>
                </a:lnTo>
                <a:lnTo>
                  <a:pt x="630" y="92"/>
                </a:lnTo>
                <a:lnTo>
                  <a:pt x="629" y="88"/>
                </a:lnTo>
                <a:lnTo>
                  <a:pt x="629" y="84"/>
                </a:lnTo>
                <a:lnTo>
                  <a:pt x="630" y="81"/>
                </a:lnTo>
                <a:lnTo>
                  <a:pt x="631" y="78"/>
                </a:lnTo>
                <a:lnTo>
                  <a:pt x="636" y="74"/>
                </a:lnTo>
                <a:lnTo>
                  <a:pt x="641" y="71"/>
                </a:lnTo>
                <a:lnTo>
                  <a:pt x="643" y="70"/>
                </a:lnTo>
                <a:lnTo>
                  <a:pt x="643" y="68"/>
                </a:lnTo>
                <a:lnTo>
                  <a:pt x="642" y="64"/>
                </a:lnTo>
                <a:lnTo>
                  <a:pt x="640" y="61"/>
                </a:lnTo>
                <a:lnTo>
                  <a:pt x="634" y="51"/>
                </a:lnTo>
                <a:lnTo>
                  <a:pt x="627" y="43"/>
                </a:lnTo>
                <a:lnTo>
                  <a:pt x="624" y="38"/>
                </a:lnTo>
                <a:lnTo>
                  <a:pt x="623" y="36"/>
                </a:lnTo>
                <a:lnTo>
                  <a:pt x="623" y="32"/>
                </a:lnTo>
                <a:lnTo>
                  <a:pt x="625" y="30"/>
                </a:lnTo>
                <a:lnTo>
                  <a:pt x="631" y="25"/>
                </a:lnTo>
                <a:lnTo>
                  <a:pt x="641" y="19"/>
                </a:lnTo>
                <a:lnTo>
                  <a:pt x="646" y="17"/>
                </a:lnTo>
                <a:lnTo>
                  <a:pt x="653" y="15"/>
                </a:lnTo>
                <a:lnTo>
                  <a:pt x="660" y="15"/>
                </a:lnTo>
                <a:lnTo>
                  <a:pt x="668" y="15"/>
                </a:lnTo>
                <a:lnTo>
                  <a:pt x="675" y="18"/>
                </a:lnTo>
                <a:lnTo>
                  <a:pt x="684" y="20"/>
                </a:lnTo>
                <a:lnTo>
                  <a:pt x="691" y="23"/>
                </a:lnTo>
                <a:lnTo>
                  <a:pt x="697" y="26"/>
                </a:lnTo>
                <a:lnTo>
                  <a:pt x="702" y="30"/>
                </a:lnTo>
                <a:lnTo>
                  <a:pt x="706" y="32"/>
                </a:lnTo>
                <a:lnTo>
                  <a:pt x="712" y="34"/>
                </a:lnTo>
                <a:lnTo>
                  <a:pt x="717" y="34"/>
                </a:lnTo>
                <a:lnTo>
                  <a:pt x="721" y="34"/>
                </a:lnTo>
                <a:lnTo>
                  <a:pt x="724" y="33"/>
                </a:lnTo>
                <a:lnTo>
                  <a:pt x="727" y="31"/>
                </a:lnTo>
                <a:lnTo>
                  <a:pt x="728" y="26"/>
                </a:lnTo>
                <a:lnTo>
                  <a:pt x="730" y="18"/>
                </a:lnTo>
                <a:lnTo>
                  <a:pt x="731" y="10"/>
                </a:lnTo>
                <a:lnTo>
                  <a:pt x="734" y="7"/>
                </a:lnTo>
                <a:lnTo>
                  <a:pt x="736" y="5"/>
                </a:lnTo>
                <a:lnTo>
                  <a:pt x="740" y="2"/>
                </a:lnTo>
                <a:lnTo>
                  <a:pt x="744" y="1"/>
                </a:lnTo>
                <a:lnTo>
                  <a:pt x="757" y="0"/>
                </a:lnTo>
                <a:lnTo>
                  <a:pt x="771" y="0"/>
                </a:lnTo>
                <a:lnTo>
                  <a:pt x="778" y="1"/>
                </a:lnTo>
                <a:lnTo>
                  <a:pt x="782" y="2"/>
                </a:lnTo>
                <a:lnTo>
                  <a:pt x="787" y="5"/>
                </a:lnTo>
                <a:lnTo>
                  <a:pt x="788" y="7"/>
                </a:lnTo>
                <a:lnTo>
                  <a:pt x="792" y="15"/>
                </a:lnTo>
                <a:lnTo>
                  <a:pt x="794" y="25"/>
                </a:lnTo>
                <a:lnTo>
                  <a:pt x="797" y="29"/>
                </a:lnTo>
                <a:lnTo>
                  <a:pt x="799" y="32"/>
                </a:lnTo>
                <a:lnTo>
                  <a:pt x="801" y="34"/>
                </a:lnTo>
                <a:lnTo>
                  <a:pt x="804" y="36"/>
                </a:lnTo>
                <a:lnTo>
                  <a:pt x="816" y="34"/>
                </a:lnTo>
                <a:lnTo>
                  <a:pt x="832" y="34"/>
                </a:lnTo>
                <a:lnTo>
                  <a:pt x="853" y="34"/>
                </a:lnTo>
                <a:lnTo>
                  <a:pt x="872" y="34"/>
                </a:lnTo>
                <a:lnTo>
                  <a:pt x="885" y="36"/>
                </a:lnTo>
                <a:lnTo>
                  <a:pt x="899" y="38"/>
                </a:lnTo>
                <a:lnTo>
                  <a:pt x="913" y="43"/>
                </a:lnTo>
                <a:lnTo>
                  <a:pt x="926" y="50"/>
                </a:lnTo>
                <a:lnTo>
                  <a:pt x="930" y="52"/>
                </a:lnTo>
                <a:lnTo>
                  <a:pt x="933" y="55"/>
                </a:lnTo>
                <a:lnTo>
                  <a:pt x="937" y="58"/>
                </a:lnTo>
                <a:lnTo>
                  <a:pt x="939" y="64"/>
                </a:lnTo>
                <a:lnTo>
                  <a:pt x="942" y="69"/>
                </a:lnTo>
                <a:lnTo>
                  <a:pt x="945" y="74"/>
                </a:lnTo>
                <a:lnTo>
                  <a:pt x="948" y="77"/>
                </a:lnTo>
                <a:lnTo>
                  <a:pt x="950" y="78"/>
                </a:lnTo>
                <a:lnTo>
                  <a:pt x="955" y="80"/>
                </a:lnTo>
                <a:lnTo>
                  <a:pt x="958" y="82"/>
                </a:lnTo>
                <a:lnTo>
                  <a:pt x="960" y="87"/>
                </a:lnTo>
                <a:lnTo>
                  <a:pt x="962" y="90"/>
                </a:lnTo>
                <a:lnTo>
                  <a:pt x="964" y="94"/>
                </a:lnTo>
                <a:lnTo>
                  <a:pt x="969" y="95"/>
                </a:lnTo>
                <a:lnTo>
                  <a:pt x="974" y="95"/>
                </a:lnTo>
                <a:lnTo>
                  <a:pt x="977" y="93"/>
                </a:lnTo>
                <a:lnTo>
                  <a:pt x="981" y="90"/>
                </a:lnTo>
                <a:lnTo>
                  <a:pt x="984" y="88"/>
                </a:lnTo>
                <a:lnTo>
                  <a:pt x="989" y="88"/>
                </a:lnTo>
                <a:lnTo>
                  <a:pt x="995" y="90"/>
                </a:lnTo>
                <a:lnTo>
                  <a:pt x="1011" y="97"/>
                </a:lnTo>
                <a:lnTo>
                  <a:pt x="1026" y="102"/>
                </a:lnTo>
                <a:lnTo>
                  <a:pt x="1040" y="102"/>
                </a:lnTo>
                <a:lnTo>
                  <a:pt x="1057" y="101"/>
                </a:lnTo>
                <a:lnTo>
                  <a:pt x="1075" y="100"/>
                </a:lnTo>
                <a:lnTo>
                  <a:pt x="1091" y="99"/>
                </a:lnTo>
                <a:lnTo>
                  <a:pt x="1099" y="99"/>
                </a:lnTo>
                <a:lnTo>
                  <a:pt x="1105" y="100"/>
                </a:lnTo>
                <a:lnTo>
                  <a:pt x="1110" y="102"/>
                </a:lnTo>
                <a:lnTo>
                  <a:pt x="1116" y="105"/>
                </a:lnTo>
                <a:lnTo>
                  <a:pt x="1127" y="111"/>
                </a:lnTo>
                <a:lnTo>
                  <a:pt x="1139" y="116"/>
                </a:lnTo>
                <a:lnTo>
                  <a:pt x="1152" y="125"/>
                </a:lnTo>
                <a:lnTo>
                  <a:pt x="1166" y="133"/>
                </a:lnTo>
                <a:lnTo>
                  <a:pt x="1178" y="141"/>
                </a:lnTo>
                <a:lnTo>
                  <a:pt x="1188" y="150"/>
                </a:lnTo>
                <a:lnTo>
                  <a:pt x="1194" y="156"/>
                </a:lnTo>
                <a:lnTo>
                  <a:pt x="1198" y="159"/>
                </a:lnTo>
                <a:lnTo>
                  <a:pt x="1203" y="162"/>
                </a:lnTo>
                <a:lnTo>
                  <a:pt x="1207" y="162"/>
                </a:lnTo>
                <a:lnTo>
                  <a:pt x="1209" y="163"/>
                </a:lnTo>
                <a:lnTo>
                  <a:pt x="1212" y="163"/>
                </a:lnTo>
                <a:lnTo>
                  <a:pt x="1213" y="165"/>
                </a:lnTo>
                <a:lnTo>
                  <a:pt x="1214" y="168"/>
                </a:lnTo>
                <a:lnTo>
                  <a:pt x="1216" y="174"/>
                </a:lnTo>
                <a:lnTo>
                  <a:pt x="1220" y="182"/>
                </a:lnTo>
                <a:lnTo>
                  <a:pt x="1222" y="189"/>
                </a:lnTo>
                <a:lnTo>
                  <a:pt x="1226" y="195"/>
                </a:lnTo>
                <a:lnTo>
                  <a:pt x="1227" y="197"/>
                </a:lnTo>
                <a:lnTo>
                  <a:pt x="1229" y="199"/>
                </a:lnTo>
                <a:lnTo>
                  <a:pt x="1233" y="200"/>
                </a:lnTo>
                <a:lnTo>
                  <a:pt x="1237" y="200"/>
                </a:lnTo>
                <a:lnTo>
                  <a:pt x="1242" y="201"/>
                </a:lnTo>
                <a:lnTo>
                  <a:pt x="1246" y="203"/>
                </a:lnTo>
                <a:lnTo>
                  <a:pt x="1250" y="207"/>
                </a:lnTo>
                <a:lnTo>
                  <a:pt x="1253" y="212"/>
                </a:lnTo>
                <a:lnTo>
                  <a:pt x="1254" y="214"/>
                </a:lnTo>
                <a:lnTo>
                  <a:pt x="1257" y="215"/>
                </a:lnTo>
                <a:lnTo>
                  <a:pt x="1259" y="216"/>
                </a:lnTo>
                <a:lnTo>
                  <a:pt x="1261" y="216"/>
                </a:lnTo>
                <a:lnTo>
                  <a:pt x="1267" y="215"/>
                </a:lnTo>
                <a:lnTo>
                  <a:pt x="1272" y="212"/>
                </a:lnTo>
                <a:lnTo>
                  <a:pt x="1275" y="209"/>
                </a:lnTo>
                <a:lnTo>
                  <a:pt x="1277" y="207"/>
                </a:lnTo>
                <a:lnTo>
                  <a:pt x="1280" y="206"/>
                </a:lnTo>
                <a:lnTo>
                  <a:pt x="1284" y="204"/>
                </a:lnTo>
                <a:lnTo>
                  <a:pt x="1288" y="206"/>
                </a:lnTo>
                <a:lnTo>
                  <a:pt x="1290" y="207"/>
                </a:lnTo>
                <a:lnTo>
                  <a:pt x="1294" y="212"/>
                </a:lnTo>
                <a:lnTo>
                  <a:pt x="1297" y="218"/>
                </a:lnTo>
                <a:lnTo>
                  <a:pt x="1302" y="229"/>
                </a:lnTo>
                <a:lnTo>
                  <a:pt x="1304" y="240"/>
                </a:lnTo>
                <a:lnTo>
                  <a:pt x="1305" y="248"/>
                </a:lnTo>
                <a:lnTo>
                  <a:pt x="1305" y="257"/>
                </a:lnTo>
                <a:lnTo>
                  <a:pt x="1305" y="260"/>
                </a:lnTo>
                <a:lnTo>
                  <a:pt x="1307" y="262"/>
                </a:lnTo>
                <a:lnTo>
                  <a:pt x="1309" y="263"/>
                </a:lnTo>
                <a:lnTo>
                  <a:pt x="1313" y="263"/>
                </a:lnTo>
                <a:lnTo>
                  <a:pt x="1321" y="259"/>
                </a:lnTo>
                <a:lnTo>
                  <a:pt x="1330" y="253"/>
                </a:lnTo>
                <a:lnTo>
                  <a:pt x="1339" y="246"/>
                </a:lnTo>
                <a:lnTo>
                  <a:pt x="1346" y="238"/>
                </a:lnTo>
                <a:lnTo>
                  <a:pt x="1353" y="229"/>
                </a:lnTo>
                <a:lnTo>
                  <a:pt x="1358" y="222"/>
                </a:lnTo>
                <a:lnTo>
                  <a:pt x="1361" y="219"/>
                </a:lnTo>
                <a:lnTo>
                  <a:pt x="1365" y="216"/>
                </a:lnTo>
                <a:lnTo>
                  <a:pt x="1370" y="214"/>
                </a:lnTo>
                <a:lnTo>
                  <a:pt x="1376" y="213"/>
                </a:lnTo>
                <a:lnTo>
                  <a:pt x="1389" y="213"/>
                </a:lnTo>
                <a:lnTo>
                  <a:pt x="1402" y="215"/>
                </a:lnTo>
                <a:lnTo>
                  <a:pt x="1415" y="218"/>
                </a:lnTo>
                <a:lnTo>
                  <a:pt x="1424" y="221"/>
                </a:lnTo>
                <a:lnTo>
                  <a:pt x="1434" y="225"/>
                </a:lnTo>
                <a:lnTo>
                  <a:pt x="1441" y="228"/>
                </a:lnTo>
                <a:lnTo>
                  <a:pt x="1445" y="229"/>
                </a:lnTo>
                <a:lnTo>
                  <a:pt x="1447" y="229"/>
                </a:lnTo>
                <a:lnTo>
                  <a:pt x="1449" y="229"/>
                </a:lnTo>
                <a:lnTo>
                  <a:pt x="1452" y="228"/>
                </a:lnTo>
                <a:lnTo>
                  <a:pt x="1455" y="223"/>
                </a:lnTo>
                <a:lnTo>
                  <a:pt x="1461" y="215"/>
                </a:lnTo>
                <a:lnTo>
                  <a:pt x="1477" y="201"/>
                </a:lnTo>
                <a:lnTo>
                  <a:pt x="1491" y="187"/>
                </a:lnTo>
                <a:lnTo>
                  <a:pt x="1493" y="182"/>
                </a:lnTo>
                <a:lnTo>
                  <a:pt x="1496" y="177"/>
                </a:lnTo>
                <a:lnTo>
                  <a:pt x="1497" y="174"/>
                </a:lnTo>
                <a:lnTo>
                  <a:pt x="1498" y="169"/>
                </a:lnTo>
                <a:lnTo>
                  <a:pt x="1498" y="162"/>
                </a:lnTo>
                <a:lnTo>
                  <a:pt x="1499" y="156"/>
                </a:lnTo>
                <a:lnTo>
                  <a:pt x="1503" y="151"/>
                </a:lnTo>
                <a:lnTo>
                  <a:pt x="1510" y="146"/>
                </a:lnTo>
                <a:lnTo>
                  <a:pt x="1513" y="143"/>
                </a:lnTo>
                <a:lnTo>
                  <a:pt x="1518" y="140"/>
                </a:lnTo>
                <a:lnTo>
                  <a:pt x="1523" y="140"/>
                </a:lnTo>
                <a:lnTo>
                  <a:pt x="1527" y="141"/>
                </a:lnTo>
                <a:lnTo>
                  <a:pt x="1530" y="145"/>
                </a:lnTo>
                <a:lnTo>
                  <a:pt x="1531" y="149"/>
                </a:lnTo>
                <a:lnTo>
                  <a:pt x="1534" y="153"/>
                </a:lnTo>
                <a:lnTo>
                  <a:pt x="1535" y="159"/>
                </a:lnTo>
                <a:lnTo>
                  <a:pt x="1536" y="172"/>
                </a:lnTo>
                <a:lnTo>
                  <a:pt x="1536" y="184"/>
                </a:lnTo>
                <a:lnTo>
                  <a:pt x="1538" y="183"/>
                </a:lnTo>
                <a:lnTo>
                  <a:pt x="1546" y="177"/>
                </a:lnTo>
                <a:lnTo>
                  <a:pt x="1554" y="169"/>
                </a:lnTo>
                <a:lnTo>
                  <a:pt x="1559" y="160"/>
                </a:lnTo>
                <a:lnTo>
                  <a:pt x="1561" y="157"/>
                </a:lnTo>
                <a:lnTo>
                  <a:pt x="1565" y="150"/>
                </a:lnTo>
                <a:lnTo>
                  <a:pt x="1567" y="146"/>
                </a:lnTo>
                <a:lnTo>
                  <a:pt x="1569" y="144"/>
                </a:lnTo>
                <a:lnTo>
                  <a:pt x="1573" y="141"/>
                </a:lnTo>
                <a:lnTo>
                  <a:pt x="1575" y="140"/>
                </a:lnTo>
                <a:lnTo>
                  <a:pt x="1579" y="141"/>
                </a:lnTo>
                <a:lnTo>
                  <a:pt x="1581" y="145"/>
                </a:lnTo>
                <a:lnTo>
                  <a:pt x="1584" y="150"/>
                </a:lnTo>
                <a:lnTo>
                  <a:pt x="1585" y="156"/>
                </a:lnTo>
                <a:lnTo>
                  <a:pt x="1586" y="162"/>
                </a:lnTo>
                <a:lnTo>
                  <a:pt x="1586" y="168"/>
                </a:lnTo>
                <a:lnTo>
                  <a:pt x="1585" y="172"/>
                </a:lnTo>
                <a:lnTo>
                  <a:pt x="1584" y="176"/>
                </a:lnTo>
                <a:lnTo>
                  <a:pt x="1575" y="193"/>
                </a:lnTo>
                <a:lnTo>
                  <a:pt x="1566" y="204"/>
                </a:lnTo>
                <a:lnTo>
                  <a:pt x="1559" y="214"/>
                </a:lnTo>
                <a:lnTo>
                  <a:pt x="1552" y="220"/>
                </a:lnTo>
                <a:lnTo>
                  <a:pt x="1541" y="227"/>
                </a:lnTo>
                <a:lnTo>
                  <a:pt x="1538" y="231"/>
                </a:lnTo>
                <a:lnTo>
                  <a:pt x="1540" y="240"/>
                </a:lnTo>
                <a:lnTo>
                  <a:pt x="1542" y="248"/>
                </a:lnTo>
                <a:lnTo>
                  <a:pt x="1544" y="259"/>
                </a:lnTo>
                <a:lnTo>
                  <a:pt x="1548" y="270"/>
                </a:lnTo>
                <a:lnTo>
                  <a:pt x="1549" y="273"/>
                </a:lnTo>
                <a:lnTo>
                  <a:pt x="1553" y="275"/>
                </a:lnTo>
                <a:lnTo>
                  <a:pt x="1555" y="276"/>
                </a:lnTo>
                <a:lnTo>
                  <a:pt x="1560" y="273"/>
                </a:lnTo>
                <a:lnTo>
                  <a:pt x="1569" y="269"/>
                </a:lnTo>
                <a:lnTo>
                  <a:pt x="1576" y="267"/>
                </a:lnTo>
                <a:lnTo>
                  <a:pt x="1580" y="267"/>
                </a:lnTo>
                <a:lnTo>
                  <a:pt x="1584" y="269"/>
                </a:lnTo>
                <a:lnTo>
                  <a:pt x="1586" y="272"/>
                </a:lnTo>
                <a:lnTo>
                  <a:pt x="1588" y="276"/>
                </a:lnTo>
                <a:lnTo>
                  <a:pt x="1592" y="284"/>
                </a:lnTo>
                <a:lnTo>
                  <a:pt x="1594" y="289"/>
                </a:lnTo>
                <a:lnTo>
                  <a:pt x="1597" y="289"/>
                </a:lnTo>
                <a:lnTo>
                  <a:pt x="1598" y="289"/>
                </a:lnTo>
                <a:lnTo>
                  <a:pt x="1600" y="286"/>
                </a:lnTo>
                <a:lnTo>
                  <a:pt x="1603" y="284"/>
                </a:lnTo>
                <a:lnTo>
                  <a:pt x="1609" y="277"/>
                </a:lnTo>
                <a:lnTo>
                  <a:pt x="1613" y="275"/>
                </a:lnTo>
                <a:lnTo>
                  <a:pt x="1616" y="273"/>
                </a:lnTo>
                <a:lnTo>
                  <a:pt x="1618" y="275"/>
                </a:lnTo>
                <a:lnTo>
                  <a:pt x="1620" y="276"/>
                </a:lnTo>
                <a:lnTo>
                  <a:pt x="1623" y="277"/>
                </a:lnTo>
                <a:lnTo>
                  <a:pt x="1625" y="279"/>
                </a:lnTo>
                <a:lnTo>
                  <a:pt x="1629" y="279"/>
                </a:lnTo>
                <a:lnTo>
                  <a:pt x="1631" y="279"/>
                </a:lnTo>
                <a:lnTo>
                  <a:pt x="1634" y="277"/>
                </a:lnTo>
                <a:lnTo>
                  <a:pt x="1639" y="271"/>
                </a:lnTo>
                <a:lnTo>
                  <a:pt x="1645" y="262"/>
                </a:lnTo>
                <a:lnTo>
                  <a:pt x="1655" y="246"/>
                </a:lnTo>
                <a:lnTo>
                  <a:pt x="1667" y="227"/>
                </a:lnTo>
                <a:lnTo>
                  <a:pt x="1680" y="206"/>
                </a:lnTo>
                <a:lnTo>
                  <a:pt x="1693" y="188"/>
                </a:lnTo>
                <a:lnTo>
                  <a:pt x="1702" y="177"/>
                </a:lnTo>
                <a:lnTo>
                  <a:pt x="1712" y="165"/>
                </a:lnTo>
                <a:lnTo>
                  <a:pt x="1724" y="153"/>
                </a:lnTo>
                <a:lnTo>
                  <a:pt x="1736" y="140"/>
                </a:lnTo>
                <a:lnTo>
                  <a:pt x="1749" y="128"/>
                </a:lnTo>
                <a:lnTo>
                  <a:pt x="1761" y="118"/>
                </a:lnTo>
                <a:lnTo>
                  <a:pt x="1764" y="115"/>
                </a:lnTo>
                <a:lnTo>
                  <a:pt x="1767" y="115"/>
                </a:lnTo>
                <a:lnTo>
                  <a:pt x="1768" y="118"/>
                </a:lnTo>
                <a:lnTo>
                  <a:pt x="1768" y="124"/>
                </a:lnTo>
                <a:lnTo>
                  <a:pt x="1769" y="134"/>
                </a:lnTo>
                <a:lnTo>
                  <a:pt x="1770" y="146"/>
                </a:lnTo>
                <a:lnTo>
                  <a:pt x="1771" y="157"/>
                </a:lnTo>
                <a:lnTo>
                  <a:pt x="1773" y="166"/>
                </a:lnTo>
                <a:lnTo>
                  <a:pt x="1773" y="172"/>
                </a:lnTo>
                <a:lnTo>
                  <a:pt x="1774" y="176"/>
                </a:lnTo>
                <a:lnTo>
                  <a:pt x="1776" y="178"/>
                </a:lnTo>
                <a:lnTo>
                  <a:pt x="1779" y="179"/>
                </a:lnTo>
                <a:lnTo>
                  <a:pt x="1785" y="179"/>
                </a:lnTo>
                <a:lnTo>
                  <a:pt x="1795" y="178"/>
                </a:lnTo>
                <a:lnTo>
                  <a:pt x="1801" y="178"/>
                </a:lnTo>
                <a:lnTo>
                  <a:pt x="1807" y="178"/>
                </a:lnTo>
                <a:lnTo>
                  <a:pt x="1812" y="179"/>
                </a:lnTo>
                <a:lnTo>
                  <a:pt x="1817" y="181"/>
                </a:lnTo>
                <a:lnTo>
                  <a:pt x="1821" y="183"/>
                </a:lnTo>
                <a:lnTo>
                  <a:pt x="1825" y="185"/>
                </a:lnTo>
                <a:lnTo>
                  <a:pt x="1829" y="189"/>
                </a:lnTo>
                <a:lnTo>
                  <a:pt x="1830" y="194"/>
                </a:lnTo>
                <a:lnTo>
                  <a:pt x="1832" y="201"/>
                </a:lnTo>
                <a:lnTo>
                  <a:pt x="1832" y="207"/>
                </a:lnTo>
                <a:lnTo>
                  <a:pt x="1831" y="212"/>
                </a:lnTo>
                <a:lnTo>
                  <a:pt x="1830" y="218"/>
                </a:lnTo>
                <a:lnTo>
                  <a:pt x="1825" y="227"/>
                </a:lnTo>
                <a:lnTo>
                  <a:pt x="1820" y="234"/>
                </a:lnTo>
                <a:lnTo>
                  <a:pt x="1819" y="238"/>
                </a:lnTo>
                <a:lnTo>
                  <a:pt x="1819" y="241"/>
                </a:lnTo>
                <a:lnTo>
                  <a:pt x="1820" y="244"/>
                </a:lnTo>
                <a:lnTo>
                  <a:pt x="1821" y="247"/>
                </a:lnTo>
                <a:lnTo>
                  <a:pt x="1829" y="253"/>
                </a:lnTo>
                <a:lnTo>
                  <a:pt x="1838" y="258"/>
                </a:lnTo>
                <a:lnTo>
                  <a:pt x="1843" y="262"/>
                </a:lnTo>
                <a:lnTo>
                  <a:pt x="1846" y="266"/>
                </a:lnTo>
                <a:lnTo>
                  <a:pt x="1849" y="270"/>
                </a:lnTo>
                <a:lnTo>
                  <a:pt x="1850" y="275"/>
                </a:lnTo>
                <a:lnTo>
                  <a:pt x="1850" y="281"/>
                </a:lnTo>
                <a:lnTo>
                  <a:pt x="1849" y="285"/>
                </a:lnTo>
                <a:lnTo>
                  <a:pt x="1846" y="290"/>
                </a:lnTo>
                <a:lnTo>
                  <a:pt x="1843" y="294"/>
                </a:lnTo>
                <a:lnTo>
                  <a:pt x="1832" y="303"/>
                </a:lnTo>
                <a:lnTo>
                  <a:pt x="1820" y="316"/>
                </a:lnTo>
                <a:lnTo>
                  <a:pt x="1809" y="328"/>
                </a:lnTo>
                <a:lnTo>
                  <a:pt x="1801" y="338"/>
                </a:lnTo>
                <a:lnTo>
                  <a:pt x="1798" y="345"/>
                </a:lnTo>
                <a:lnTo>
                  <a:pt x="1795" y="352"/>
                </a:lnTo>
                <a:lnTo>
                  <a:pt x="1795" y="355"/>
                </a:lnTo>
                <a:lnTo>
                  <a:pt x="1795" y="359"/>
                </a:lnTo>
                <a:lnTo>
                  <a:pt x="1798" y="361"/>
                </a:lnTo>
                <a:lnTo>
                  <a:pt x="1800" y="363"/>
                </a:lnTo>
                <a:lnTo>
                  <a:pt x="1815" y="366"/>
                </a:lnTo>
                <a:lnTo>
                  <a:pt x="1829" y="371"/>
                </a:lnTo>
                <a:lnTo>
                  <a:pt x="1831" y="373"/>
                </a:lnTo>
                <a:lnTo>
                  <a:pt x="1831" y="376"/>
                </a:lnTo>
                <a:lnTo>
                  <a:pt x="1831" y="380"/>
                </a:lnTo>
                <a:lnTo>
                  <a:pt x="1830" y="384"/>
                </a:lnTo>
                <a:lnTo>
                  <a:pt x="1827" y="393"/>
                </a:lnTo>
                <a:lnTo>
                  <a:pt x="1825" y="404"/>
                </a:lnTo>
                <a:lnTo>
                  <a:pt x="1825" y="410"/>
                </a:lnTo>
                <a:lnTo>
                  <a:pt x="1826" y="416"/>
                </a:lnTo>
                <a:lnTo>
                  <a:pt x="1829" y="422"/>
                </a:lnTo>
                <a:lnTo>
                  <a:pt x="1831" y="427"/>
                </a:lnTo>
                <a:lnTo>
                  <a:pt x="1838" y="436"/>
                </a:lnTo>
                <a:lnTo>
                  <a:pt x="1844" y="442"/>
                </a:lnTo>
                <a:lnTo>
                  <a:pt x="1851" y="446"/>
                </a:lnTo>
                <a:lnTo>
                  <a:pt x="1858" y="446"/>
                </a:lnTo>
                <a:lnTo>
                  <a:pt x="1861" y="446"/>
                </a:lnTo>
                <a:lnTo>
                  <a:pt x="1863" y="445"/>
                </a:lnTo>
                <a:lnTo>
                  <a:pt x="1864" y="443"/>
                </a:lnTo>
                <a:lnTo>
                  <a:pt x="1865" y="441"/>
                </a:lnTo>
                <a:lnTo>
                  <a:pt x="1867" y="435"/>
                </a:lnTo>
                <a:lnTo>
                  <a:pt x="1869" y="430"/>
                </a:lnTo>
                <a:lnTo>
                  <a:pt x="1870" y="427"/>
                </a:lnTo>
                <a:lnTo>
                  <a:pt x="1872" y="426"/>
                </a:lnTo>
                <a:lnTo>
                  <a:pt x="1874" y="424"/>
                </a:lnTo>
                <a:lnTo>
                  <a:pt x="1877" y="423"/>
                </a:lnTo>
                <a:lnTo>
                  <a:pt x="1882" y="426"/>
                </a:lnTo>
                <a:lnTo>
                  <a:pt x="1888" y="430"/>
                </a:lnTo>
                <a:lnTo>
                  <a:pt x="1893" y="436"/>
                </a:lnTo>
                <a:lnTo>
                  <a:pt x="1897" y="443"/>
                </a:lnTo>
                <a:lnTo>
                  <a:pt x="1902" y="449"/>
                </a:lnTo>
                <a:lnTo>
                  <a:pt x="1906" y="454"/>
                </a:lnTo>
                <a:lnTo>
                  <a:pt x="1907" y="455"/>
                </a:lnTo>
                <a:lnTo>
                  <a:pt x="1909" y="455"/>
                </a:lnTo>
                <a:lnTo>
                  <a:pt x="1912" y="455"/>
                </a:lnTo>
                <a:lnTo>
                  <a:pt x="1914" y="454"/>
                </a:lnTo>
                <a:lnTo>
                  <a:pt x="1925" y="447"/>
                </a:lnTo>
                <a:lnTo>
                  <a:pt x="1931" y="443"/>
                </a:lnTo>
                <a:lnTo>
                  <a:pt x="1933" y="445"/>
                </a:lnTo>
                <a:lnTo>
                  <a:pt x="1934" y="448"/>
                </a:lnTo>
                <a:lnTo>
                  <a:pt x="1935" y="454"/>
                </a:lnTo>
                <a:lnTo>
                  <a:pt x="1935" y="462"/>
                </a:lnTo>
                <a:lnTo>
                  <a:pt x="1935" y="471"/>
                </a:lnTo>
                <a:lnTo>
                  <a:pt x="1938" y="478"/>
                </a:lnTo>
                <a:lnTo>
                  <a:pt x="1940" y="481"/>
                </a:lnTo>
                <a:lnTo>
                  <a:pt x="1943" y="484"/>
                </a:lnTo>
                <a:lnTo>
                  <a:pt x="1945" y="486"/>
                </a:lnTo>
                <a:lnTo>
                  <a:pt x="1949" y="487"/>
                </a:lnTo>
                <a:lnTo>
                  <a:pt x="1956" y="492"/>
                </a:lnTo>
                <a:lnTo>
                  <a:pt x="1964" y="499"/>
                </a:lnTo>
                <a:lnTo>
                  <a:pt x="1972" y="508"/>
                </a:lnTo>
                <a:lnTo>
                  <a:pt x="1977" y="515"/>
                </a:lnTo>
                <a:lnTo>
                  <a:pt x="1981" y="521"/>
                </a:lnTo>
                <a:lnTo>
                  <a:pt x="1984" y="527"/>
                </a:lnTo>
                <a:lnTo>
                  <a:pt x="1987" y="529"/>
                </a:lnTo>
                <a:lnTo>
                  <a:pt x="1989" y="530"/>
                </a:lnTo>
                <a:lnTo>
                  <a:pt x="1993" y="531"/>
                </a:lnTo>
                <a:lnTo>
                  <a:pt x="1996" y="531"/>
                </a:lnTo>
                <a:lnTo>
                  <a:pt x="2001" y="531"/>
                </a:lnTo>
                <a:lnTo>
                  <a:pt x="2004" y="533"/>
                </a:lnTo>
                <a:lnTo>
                  <a:pt x="2008" y="535"/>
                </a:lnTo>
                <a:lnTo>
                  <a:pt x="2010" y="537"/>
                </a:lnTo>
                <a:lnTo>
                  <a:pt x="2013" y="541"/>
                </a:lnTo>
                <a:lnTo>
                  <a:pt x="2015" y="544"/>
                </a:lnTo>
                <a:lnTo>
                  <a:pt x="2015" y="548"/>
                </a:lnTo>
                <a:lnTo>
                  <a:pt x="2016" y="553"/>
                </a:lnTo>
                <a:lnTo>
                  <a:pt x="2016" y="565"/>
                </a:lnTo>
                <a:lnTo>
                  <a:pt x="2015" y="581"/>
                </a:lnTo>
                <a:lnTo>
                  <a:pt x="2013" y="598"/>
                </a:lnTo>
                <a:lnTo>
                  <a:pt x="2010" y="612"/>
                </a:lnTo>
                <a:lnTo>
                  <a:pt x="2007" y="623"/>
                </a:lnTo>
                <a:lnTo>
                  <a:pt x="2006" y="635"/>
                </a:lnTo>
                <a:lnTo>
                  <a:pt x="2006" y="641"/>
                </a:lnTo>
                <a:lnTo>
                  <a:pt x="2007" y="645"/>
                </a:lnTo>
                <a:lnTo>
                  <a:pt x="2008" y="650"/>
                </a:lnTo>
                <a:lnTo>
                  <a:pt x="2010" y="654"/>
                </a:lnTo>
                <a:lnTo>
                  <a:pt x="2019" y="660"/>
                </a:lnTo>
                <a:lnTo>
                  <a:pt x="2027" y="664"/>
                </a:lnTo>
                <a:lnTo>
                  <a:pt x="2037" y="668"/>
                </a:lnTo>
                <a:lnTo>
                  <a:pt x="2045" y="673"/>
                </a:lnTo>
                <a:lnTo>
                  <a:pt x="2047" y="675"/>
                </a:lnTo>
                <a:lnTo>
                  <a:pt x="2050" y="678"/>
                </a:lnTo>
                <a:lnTo>
                  <a:pt x="2050" y="681"/>
                </a:lnTo>
                <a:lnTo>
                  <a:pt x="2050" y="683"/>
                </a:lnTo>
                <a:lnTo>
                  <a:pt x="2048" y="687"/>
                </a:lnTo>
                <a:lnTo>
                  <a:pt x="2046" y="689"/>
                </a:lnTo>
                <a:lnTo>
                  <a:pt x="2044" y="692"/>
                </a:lnTo>
                <a:lnTo>
                  <a:pt x="2040" y="693"/>
                </a:lnTo>
                <a:lnTo>
                  <a:pt x="2038" y="694"/>
                </a:lnTo>
                <a:lnTo>
                  <a:pt x="2037" y="697"/>
                </a:lnTo>
                <a:lnTo>
                  <a:pt x="2035" y="699"/>
                </a:lnTo>
                <a:lnTo>
                  <a:pt x="2034" y="701"/>
                </a:lnTo>
                <a:lnTo>
                  <a:pt x="2035" y="704"/>
                </a:lnTo>
                <a:lnTo>
                  <a:pt x="2037" y="707"/>
                </a:lnTo>
                <a:lnTo>
                  <a:pt x="2038" y="708"/>
                </a:lnTo>
                <a:lnTo>
                  <a:pt x="2041" y="711"/>
                </a:lnTo>
                <a:lnTo>
                  <a:pt x="2048" y="713"/>
                </a:lnTo>
                <a:lnTo>
                  <a:pt x="2056" y="717"/>
                </a:lnTo>
                <a:lnTo>
                  <a:pt x="2059" y="719"/>
                </a:lnTo>
                <a:lnTo>
                  <a:pt x="2063" y="723"/>
                </a:lnTo>
                <a:lnTo>
                  <a:pt x="2065" y="725"/>
                </a:lnTo>
                <a:lnTo>
                  <a:pt x="2066" y="729"/>
                </a:lnTo>
                <a:lnTo>
                  <a:pt x="2067" y="736"/>
                </a:lnTo>
                <a:lnTo>
                  <a:pt x="2066" y="743"/>
                </a:lnTo>
                <a:lnTo>
                  <a:pt x="2063" y="750"/>
                </a:lnTo>
                <a:lnTo>
                  <a:pt x="2056" y="760"/>
                </a:lnTo>
                <a:lnTo>
                  <a:pt x="2046" y="770"/>
                </a:lnTo>
                <a:lnTo>
                  <a:pt x="2034" y="781"/>
                </a:lnTo>
                <a:lnTo>
                  <a:pt x="2022" y="793"/>
                </a:lnTo>
                <a:lnTo>
                  <a:pt x="2014" y="805"/>
                </a:lnTo>
                <a:lnTo>
                  <a:pt x="2009" y="808"/>
                </a:lnTo>
                <a:lnTo>
                  <a:pt x="2006" y="812"/>
                </a:lnTo>
                <a:lnTo>
                  <a:pt x="2002" y="815"/>
                </a:lnTo>
                <a:lnTo>
                  <a:pt x="1997" y="818"/>
                </a:lnTo>
                <a:lnTo>
                  <a:pt x="1989" y="820"/>
                </a:lnTo>
                <a:lnTo>
                  <a:pt x="1979" y="821"/>
                </a:lnTo>
                <a:lnTo>
                  <a:pt x="1975" y="821"/>
                </a:lnTo>
                <a:lnTo>
                  <a:pt x="1972" y="823"/>
                </a:lnTo>
                <a:lnTo>
                  <a:pt x="1970" y="825"/>
                </a:lnTo>
                <a:lnTo>
                  <a:pt x="1970" y="828"/>
                </a:lnTo>
                <a:lnTo>
                  <a:pt x="1971" y="834"/>
                </a:lnTo>
                <a:lnTo>
                  <a:pt x="1975" y="842"/>
                </a:lnTo>
                <a:lnTo>
                  <a:pt x="1979" y="849"/>
                </a:lnTo>
                <a:lnTo>
                  <a:pt x="1984" y="858"/>
                </a:lnTo>
                <a:lnTo>
                  <a:pt x="1987" y="863"/>
                </a:lnTo>
                <a:lnTo>
                  <a:pt x="1988" y="868"/>
                </a:lnTo>
                <a:lnTo>
                  <a:pt x="1989" y="871"/>
                </a:lnTo>
                <a:lnTo>
                  <a:pt x="1989" y="875"/>
                </a:lnTo>
                <a:lnTo>
                  <a:pt x="1987" y="877"/>
                </a:lnTo>
                <a:lnTo>
                  <a:pt x="1983" y="880"/>
                </a:lnTo>
                <a:lnTo>
                  <a:pt x="1979" y="883"/>
                </a:lnTo>
                <a:lnTo>
                  <a:pt x="1975" y="886"/>
                </a:lnTo>
                <a:lnTo>
                  <a:pt x="1962" y="890"/>
                </a:lnTo>
                <a:lnTo>
                  <a:pt x="1947" y="894"/>
                </a:lnTo>
                <a:lnTo>
                  <a:pt x="1933" y="897"/>
                </a:lnTo>
                <a:lnTo>
                  <a:pt x="1919" y="902"/>
                </a:lnTo>
                <a:lnTo>
                  <a:pt x="1906" y="906"/>
                </a:lnTo>
                <a:lnTo>
                  <a:pt x="1893" y="912"/>
                </a:lnTo>
                <a:lnTo>
                  <a:pt x="1887" y="916"/>
                </a:lnTo>
                <a:lnTo>
                  <a:pt x="1882" y="920"/>
                </a:lnTo>
                <a:lnTo>
                  <a:pt x="1878" y="925"/>
                </a:lnTo>
                <a:lnTo>
                  <a:pt x="1876" y="929"/>
                </a:lnTo>
                <a:lnTo>
                  <a:pt x="1875" y="935"/>
                </a:lnTo>
                <a:lnTo>
                  <a:pt x="1874" y="943"/>
                </a:lnTo>
                <a:lnTo>
                  <a:pt x="1872" y="950"/>
                </a:lnTo>
                <a:lnTo>
                  <a:pt x="1874" y="957"/>
                </a:lnTo>
                <a:lnTo>
                  <a:pt x="1874" y="973"/>
                </a:lnTo>
                <a:lnTo>
                  <a:pt x="1874" y="992"/>
                </a:lnTo>
                <a:lnTo>
                  <a:pt x="1874" y="1001"/>
                </a:lnTo>
                <a:lnTo>
                  <a:pt x="1871" y="1008"/>
                </a:lnTo>
                <a:lnTo>
                  <a:pt x="1869" y="1015"/>
                </a:lnTo>
                <a:lnTo>
                  <a:pt x="1865" y="1019"/>
                </a:lnTo>
                <a:lnTo>
                  <a:pt x="1853" y="1029"/>
                </a:lnTo>
                <a:lnTo>
                  <a:pt x="1840" y="1044"/>
                </a:lnTo>
                <a:lnTo>
                  <a:pt x="1834" y="1052"/>
                </a:lnTo>
                <a:lnTo>
                  <a:pt x="1829" y="1060"/>
                </a:lnTo>
                <a:lnTo>
                  <a:pt x="1824" y="1070"/>
                </a:lnTo>
                <a:lnTo>
                  <a:pt x="1820" y="1078"/>
                </a:lnTo>
                <a:lnTo>
                  <a:pt x="1818" y="1085"/>
                </a:lnTo>
                <a:lnTo>
                  <a:pt x="1818" y="1091"/>
                </a:lnTo>
                <a:lnTo>
                  <a:pt x="1817" y="1097"/>
                </a:lnTo>
                <a:lnTo>
                  <a:pt x="1818" y="1102"/>
                </a:lnTo>
                <a:lnTo>
                  <a:pt x="1819" y="1105"/>
                </a:lnTo>
                <a:lnTo>
                  <a:pt x="1821" y="1108"/>
                </a:lnTo>
                <a:lnTo>
                  <a:pt x="1824" y="1110"/>
                </a:lnTo>
                <a:lnTo>
                  <a:pt x="1826" y="1110"/>
                </a:lnTo>
                <a:lnTo>
                  <a:pt x="1831" y="1111"/>
                </a:lnTo>
                <a:lnTo>
                  <a:pt x="1833" y="1113"/>
                </a:lnTo>
                <a:lnTo>
                  <a:pt x="1834" y="1114"/>
                </a:lnTo>
                <a:lnTo>
                  <a:pt x="1836" y="1116"/>
                </a:lnTo>
                <a:lnTo>
                  <a:pt x="1834" y="1117"/>
                </a:lnTo>
                <a:lnTo>
                  <a:pt x="1833" y="1120"/>
                </a:lnTo>
                <a:lnTo>
                  <a:pt x="1829" y="1127"/>
                </a:lnTo>
                <a:lnTo>
                  <a:pt x="1826" y="1136"/>
                </a:lnTo>
                <a:lnTo>
                  <a:pt x="1826" y="1141"/>
                </a:lnTo>
                <a:lnTo>
                  <a:pt x="1827" y="1145"/>
                </a:lnTo>
                <a:lnTo>
                  <a:pt x="1831" y="1147"/>
                </a:lnTo>
                <a:lnTo>
                  <a:pt x="1837" y="1147"/>
                </a:lnTo>
                <a:lnTo>
                  <a:pt x="1840" y="1148"/>
                </a:lnTo>
                <a:lnTo>
                  <a:pt x="1844" y="1149"/>
                </a:lnTo>
                <a:lnTo>
                  <a:pt x="1845" y="1153"/>
                </a:lnTo>
                <a:lnTo>
                  <a:pt x="1846" y="1157"/>
                </a:lnTo>
                <a:lnTo>
                  <a:pt x="1848" y="1160"/>
                </a:lnTo>
                <a:lnTo>
                  <a:pt x="1846" y="1164"/>
                </a:lnTo>
                <a:lnTo>
                  <a:pt x="1845" y="1167"/>
                </a:lnTo>
                <a:lnTo>
                  <a:pt x="1843" y="1171"/>
                </a:lnTo>
                <a:lnTo>
                  <a:pt x="1839" y="1174"/>
                </a:lnTo>
                <a:lnTo>
                  <a:pt x="1838" y="1177"/>
                </a:lnTo>
                <a:lnTo>
                  <a:pt x="1838" y="1179"/>
                </a:lnTo>
                <a:lnTo>
                  <a:pt x="1840" y="1181"/>
                </a:lnTo>
                <a:lnTo>
                  <a:pt x="1849" y="1187"/>
                </a:lnTo>
                <a:lnTo>
                  <a:pt x="1858" y="1191"/>
                </a:lnTo>
                <a:lnTo>
                  <a:pt x="1863" y="1192"/>
                </a:lnTo>
                <a:lnTo>
                  <a:pt x="1868" y="1192"/>
                </a:lnTo>
                <a:lnTo>
                  <a:pt x="1872" y="1191"/>
                </a:lnTo>
                <a:lnTo>
                  <a:pt x="1877" y="1190"/>
                </a:lnTo>
                <a:lnTo>
                  <a:pt x="1887" y="1186"/>
                </a:lnTo>
                <a:lnTo>
                  <a:pt x="1896" y="1181"/>
                </a:lnTo>
                <a:lnTo>
                  <a:pt x="1907" y="1177"/>
                </a:lnTo>
                <a:lnTo>
                  <a:pt x="1916" y="1172"/>
                </a:lnTo>
                <a:lnTo>
                  <a:pt x="1920" y="1171"/>
                </a:lnTo>
                <a:lnTo>
                  <a:pt x="1924" y="1170"/>
                </a:lnTo>
                <a:lnTo>
                  <a:pt x="1926" y="1170"/>
                </a:lnTo>
                <a:lnTo>
                  <a:pt x="1928" y="1171"/>
                </a:lnTo>
                <a:lnTo>
                  <a:pt x="1930" y="1173"/>
                </a:lnTo>
                <a:lnTo>
                  <a:pt x="1931" y="1176"/>
                </a:lnTo>
                <a:lnTo>
                  <a:pt x="1931" y="1179"/>
                </a:lnTo>
                <a:lnTo>
                  <a:pt x="1931" y="1184"/>
                </a:lnTo>
                <a:lnTo>
                  <a:pt x="1930" y="1195"/>
                </a:lnTo>
                <a:lnTo>
                  <a:pt x="1930" y="1206"/>
                </a:lnTo>
                <a:lnTo>
                  <a:pt x="1930" y="1218"/>
                </a:lnTo>
                <a:lnTo>
                  <a:pt x="1928" y="1228"/>
                </a:lnTo>
                <a:lnTo>
                  <a:pt x="1925" y="1237"/>
                </a:lnTo>
                <a:lnTo>
                  <a:pt x="1919" y="1249"/>
                </a:lnTo>
                <a:lnTo>
                  <a:pt x="1911" y="1262"/>
                </a:lnTo>
                <a:lnTo>
                  <a:pt x="1906" y="1274"/>
                </a:lnTo>
                <a:lnTo>
                  <a:pt x="1905" y="1281"/>
                </a:lnTo>
                <a:lnTo>
                  <a:pt x="1906" y="1287"/>
                </a:lnTo>
                <a:lnTo>
                  <a:pt x="1908" y="1292"/>
                </a:lnTo>
                <a:lnTo>
                  <a:pt x="1911" y="1298"/>
                </a:lnTo>
                <a:lnTo>
                  <a:pt x="1920" y="1309"/>
                </a:lnTo>
                <a:lnTo>
                  <a:pt x="1928" y="1318"/>
                </a:lnTo>
                <a:lnTo>
                  <a:pt x="1940" y="1329"/>
                </a:lnTo>
                <a:lnTo>
                  <a:pt x="1955" y="1343"/>
                </a:lnTo>
                <a:lnTo>
                  <a:pt x="1960" y="1349"/>
                </a:lnTo>
                <a:lnTo>
                  <a:pt x="1966" y="1356"/>
                </a:lnTo>
                <a:lnTo>
                  <a:pt x="1969" y="1361"/>
                </a:lnTo>
                <a:lnTo>
                  <a:pt x="1970" y="1365"/>
                </a:lnTo>
                <a:lnTo>
                  <a:pt x="1965" y="1370"/>
                </a:lnTo>
                <a:lnTo>
                  <a:pt x="1959" y="1381"/>
                </a:lnTo>
                <a:lnTo>
                  <a:pt x="1951" y="1394"/>
                </a:lnTo>
                <a:lnTo>
                  <a:pt x="1940" y="1411"/>
                </a:lnTo>
                <a:lnTo>
                  <a:pt x="1937" y="1419"/>
                </a:lnTo>
                <a:lnTo>
                  <a:pt x="1933" y="1430"/>
                </a:lnTo>
                <a:lnTo>
                  <a:pt x="1932" y="1439"/>
                </a:lnTo>
                <a:lnTo>
                  <a:pt x="1932" y="1449"/>
                </a:lnTo>
                <a:lnTo>
                  <a:pt x="1932" y="1458"/>
                </a:lnTo>
                <a:lnTo>
                  <a:pt x="1934" y="1468"/>
                </a:lnTo>
                <a:lnTo>
                  <a:pt x="1935" y="1475"/>
                </a:lnTo>
                <a:lnTo>
                  <a:pt x="1938" y="1482"/>
                </a:lnTo>
                <a:lnTo>
                  <a:pt x="1941" y="1488"/>
                </a:lnTo>
                <a:lnTo>
                  <a:pt x="1946" y="1493"/>
                </a:lnTo>
                <a:lnTo>
                  <a:pt x="1952" y="1496"/>
                </a:lnTo>
                <a:lnTo>
                  <a:pt x="1959" y="1500"/>
                </a:lnTo>
                <a:lnTo>
                  <a:pt x="1976" y="1505"/>
                </a:lnTo>
                <a:lnTo>
                  <a:pt x="1995" y="1507"/>
                </a:lnTo>
                <a:lnTo>
                  <a:pt x="2004" y="1508"/>
                </a:lnTo>
                <a:lnTo>
                  <a:pt x="2012" y="1511"/>
                </a:lnTo>
                <a:lnTo>
                  <a:pt x="2019" y="1514"/>
                </a:lnTo>
                <a:lnTo>
                  <a:pt x="2025" y="1518"/>
                </a:lnTo>
                <a:lnTo>
                  <a:pt x="2029" y="1521"/>
                </a:lnTo>
                <a:lnTo>
                  <a:pt x="2033" y="1525"/>
                </a:lnTo>
                <a:lnTo>
                  <a:pt x="2037" y="1530"/>
                </a:lnTo>
                <a:lnTo>
                  <a:pt x="2038" y="1534"/>
                </a:lnTo>
                <a:lnTo>
                  <a:pt x="2039" y="1546"/>
                </a:lnTo>
                <a:lnTo>
                  <a:pt x="2038" y="1562"/>
                </a:lnTo>
                <a:lnTo>
                  <a:pt x="2037" y="1570"/>
                </a:lnTo>
                <a:lnTo>
                  <a:pt x="2035" y="1577"/>
                </a:lnTo>
                <a:lnTo>
                  <a:pt x="2032" y="1583"/>
                </a:lnTo>
                <a:lnTo>
                  <a:pt x="2029" y="1589"/>
                </a:lnTo>
                <a:lnTo>
                  <a:pt x="2025" y="1594"/>
                </a:lnTo>
                <a:lnTo>
                  <a:pt x="2022" y="1597"/>
                </a:lnTo>
                <a:lnTo>
                  <a:pt x="2021" y="1602"/>
                </a:lnTo>
                <a:lnTo>
                  <a:pt x="2020" y="1607"/>
                </a:lnTo>
                <a:lnTo>
                  <a:pt x="2019" y="1616"/>
                </a:lnTo>
                <a:lnTo>
                  <a:pt x="2021" y="1626"/>
                </a:lnTo>
                <a:lnTo>
                  <a:pt x="2022" y="1631"/>
                </a:lnTo>
                <a:lnTo>
                  <a:pt x="2022" y="1636"/>
                </a:lnTo>
                <a:lnTo>
                  <a:pt x="2021" y="1640"/>
                </a:lnTo>
                <a:lnTo>
                  <a:pt x="2020" y="1645"/>
                </a:lnTo>
                <a:lnTo>
                  <a:pt x="2014" y="1653"/>
                </a:lnTo>
                <a:lnTo>
                  <a:pt x="2004" y="1663"/>
                </a:lnTo>
                <a:lnTo>
                  <a:pt x="2000" y="1669"/>
                </a:lnTo>
                <a:lnTo>
                  <a:pt x="1997" y="1674"/>
                </a:lnTo>
                <a:lnTo>
                  <a:pt x="1996" y="1679"/>
                </a:lnTo>
                <a:lnTo>
                  <a:pt x="1996" y="1684"/>
                </a:lnTo>
                <a:lnTo>
                  <a:pt x="1998" y="1688"/>
                </a:lnTo>
                <a:lnTo>
                  <a:pt x="2002" y="1691"/>
                </a:lnTo>
                <a:lnTo>
                  <a:pt x="2007" y="1694"/>
                </a:lnTo>
                <a:lnTo>
                  <a:pt x="2014" y="1694"/>
                </a:lnTo>
                <a:lnTo>
                  <a:pt x="2027" y="1691"/>
                </a:lnTo>
                <a:lnTo>
                  <a:pt x="2039" y="1687"/>
                </a:lnTo>
                <a:lnTo>
                  <a:pt x="2051" y="1682"/>
                </a:lnTo>
                <a:lnTo>
                  <a:pt x="2065" y="1677"/>
                </a:lnTo>
                <a:lnTo>
                  <a:pt x="2072" y="1676"/>
                </a:lnTo>
                <a:lnTo>
                  <a:pt x="2078" y="1676"/>
                </a:lnTo>
                <a:lnTo>
                  <a:pt x="2083" y="1677"/>
                </a:lnTo>
                <a:lnTo>
                  <a:pt x="2088" y="1678"/>
                </a:lnTo>
                <a:lnTo>
                  <a:pt x="2090" y="1682"/>
                </a:lnTo>
                <a:lnTo>
                  <a:pt x="2092" y="1685"/>
                </a:lnTo>
                <a:lnTo>
                  <a:pt x="2092" y="1690"/>
                </a:lnTo>
                <a:lnTo>
                  <a:pt x="2091" y="1696"/>
                </a:lnTo>
                <a:lnTo>
                  <a:pt x="2088" y="1702"/>
                </a:lnTo>
                <a:lnTo>
                  <a:pt x="2082" y="1707"/>
                </a:lnTo>
                <a:lnTo>
                  <a:pt x="2073" y="1713"/>
                </a:lnTo>
                <a:lnTo>
                  <a:pt x="2064" y="1719"/>
                </a:lnTo>
                <a:lnTo>
                  <a:pt x="2045" y="1731"/>
                </a:lnTo>
                <a:lnTo>
                  <a:pt x="2029" y="1741"/>
                </a:lnTo>
                <a:lnTo>
                  <a:pt x="2026" y="1747"/>
                </a:lnTo>
                <a:lnTo>
                  <a:pt x="2022" y="1754"/>
                </a:lnTo>
                <a:lnTo>
                  <a:pt x="2019" y="1763"/>
                </a:lnTo>
                <a:lnTo>
                  <a:pt x="2018" y="1771"/>
                </a:lnTo>
                <a:lnTo>
                  <a:pt x="2014" y="1792"/>
                </a:lnTo>
                <a:lnTo>
                  <a:pt x="2012" y="1815"/>
                </a:lnTo>
                <a:lnTo>
                  <a:pt x="2009" y="1827"/>
                </a:lnTo>
                <a:lnTo>
                  <a:pt x="2006" y="1836"/>
                </a:lnTo>
                <a:lnTo>
                  <a:pt x="2000" y="1845"/>
                </a:lnTo>
                <a:lnTo>
                  <a:pt x="1995" y="1853"/>
                </a:lnTo>
                <a:lnTo>
                  <a:pt x="1989" y="1861"/>
                </a:lnTo>
                <a:lnTo>
                  <a:pt x="1985" y="1870"/>
                </a:lnTo>
                <a:lnTo>
                  <a:pt x="1983" y="1873"/>
                </a:lnTo>
                <a:lnTo>
                  <a:pt x="1982" y="1878"/>
                </a:lnTo>
                <a:lnTo>
                  <a:pt x="1982" y="1883"/>
                </a:lnTo>
                <a:lnTo>
                  <a:pt x="1982" y="1889"/>
                </a:lnTo>
                <a:lnTo>
                  <a:pt x="1983" y="1898"/>
                </a:lnTo>
                <a:lnTo>
                  <a:pt x="1987" y="1907"/>
                </a:lnTo>
                <a:lnTo>
                  <a:pt x="1989" y="1912"/>
                </a:lnTo>
                <a:lnTo>
                  <a:pt x="1994" y="1918"/>
                </a:lnTo>
                <a:lnTo>
                  <a:pt x="1997" y="1923"/>
                </a:lnTo>
                <a:lnTo>
                  <a:pt x="2001" y="1928"/>
                </a:lnTo>
                <a:lnTo>
                  <a:pt x="2004" y="1934"/>
                </a:lnTo>
                <a:lnTo>
                  <a:pt x="2007" y="1940"/>
                </a:lnTo>
                <a:lnTo>
                  <a:pt x="2008" y="1955"/>
                </a:lnTo>
                <a:lnTo>
                  <a:pt x="2008" y="1968"/>
                </a:lnTo>
                <a:lnTo>
                  <a:pt x="2006" y="1980"/>
                </a:lnTo>
                <a:lnTo>
                  <a:pt x="2003" y="1990"/>
                </a:lnTo>
                <a:lnTo>
                  <a:pt x="2002" y="1996"/>
                </a:lnTo>
                <a:lnTo>
                  <a:pt x="2002" y="1999"/>
                </a:lnTo>
                <a:lnTo>
                  <a:pt x="2000" y="2002"/>
                </a:lnTo>
                <a:lnTo>
                  <a:pt x="1994" y="2005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0" name="江苏"/>
          <p:cNvSpPr/>
          <p:nvPr/>
        </p:nvSpPr>
        <p:spPr bwMode="auto">
          <a:xfrm>
            <a:off x="7160260" y="3573780"/>
            <a:ext cx="861695" cy="757555"/>
          </a:xfrm>
          <a:custGeom>
            <a:avLst/>
            <a:gdLst>
              <a:gd name="T0" fmla="*/ 1699 w 2079"/>
              <a:gd name="T1" fmla="*/ 1399 h 1843"/>
              <a:gd name="T2" fmla="*/ 1653 w 2079"/>
              <a:gd name="T3" fmla="*/ 1318 h 1843"/>
              <a:gd name="T4" fmla="*/ 1534 w 2079"/>
              <a:gd name="T5" fmla="*/ 1336 h 1843"/>
              <a:gd name="T6" fmla="*/ 1579 w 2079"/>
              <a:gd name="T7" fmla="*/ 1274 h 1843"/>
              <a:gd name="T8" fmla="*/ 1695 w 2079"/>
              <a:gd name="T9" fmla="*/ 1372 h 1843"/>
              <a:gd name="T10" fmla="*/ 1837 w 2079"/>
              <a:gd name="T11" fmla="*/ 1343 h 1843"/>
              <a:gd name="T12" fmla="*/ 2066 w 2079"/>
              <a:gd name="T13" fmla="*/ 1401 h 1843"/>
              <a:gd name="T14" fmla="*/ 2026 w 2079"/>
              <a:gd name="T15" fmla="*/ 1268 h 1843"/>
              <a:gd name="T16" fmla="*/ 1882 w 2079"/>
              <a:gd name="T17" fmla="*/ 1198 h 1843"/>
              <a:gd name="T18" fmla="*/ 1830 w 2079"/>
              <a:gd name="T19" fmla="*/ 1091 h 1843"/>
              <a:gd name="T20" fmla="*/ 1665 w 2079"/>
              <a:gd name="T21" fmla="*/ 975 h 1843"/>
              <a:gd name="T22" fmla="*/ 1666 w 2079"/>
              <a:gd name="T23" fmla="*/ 898 h 1843"/>
              <a:gd name="T24" fmla="*/ 1588 w 2079"/>
              <a:gd name="T25" fmla="*/ 769 h 1843"/>
              <a:gd name="T26" fmla="*/ 1502 w 2079"/>
              <a:gd name="T27" fmla="*/ 581 h 1843"/>
              <a:gd name="T28" fmla="*/ 1443 w 2079"/>
              <a:gd name="T29" fmla="*/ 452 h 1843"/>
              <a:gd name="T30" fmla="*/ 1291 w 2079"/>
              <a:gd name="T31" fmla="*/ 273 h 1843"/>
              <a:gd name="T32" fmla="*/ 1201 w 2079"/>
              <a:gd name="T33" fmla="*/ 247 h 1843"/>
              <a:gd name="T34" fmla="*/ 1119 w 2079"/>
              <a:gd name="T35" fmla="*/ 259 h 1843"/>
              <a:gd name="T36" fmla="*/ 1070 w 2079"/>
              <a:gd name="T37" fmla="*/ 147 h 1843"/>
              <a:gd name="T38" fmla="*/ 987 w 2079"/>
              <a:gd name="T39" fmla="*/ 53 h 1843"/>
              <a:gd name="T40" fmla="*/ 897 w 2079"/>
              <a:gd name="T41" fmla="*/ 34 h 1843"/>
              <a:gd name="T42" fmla="*/ 834 w 2079"/>
              <a:gd name="T43" fmla="*/ 187 h 1843"/>
              <a:gd name="T44" fmla="*/ 728 w 2079"/>
              <a:gd name="T45" fmla="*/ 260 h 1843"/>
              <a:gd name="T46" fmla="*/ 653 w 2079"/>
              <a:gd name="T47" fmla="*/ 344 h 1843"/>
              <a:gd name="T48" fmla="*/ 567 w 2079"/>
              <a:gd name="T49" fmla="*/ 230 h 1843"/>
              <a:gd name="T50" fmla="*/ 478 w 2079"/>
              <a:gd name="T51" fmla="*/ 298 h 1843"/>
              <a:gd name="T52" fmla="*/ 331 w 2079"/>
              <a:gd name="T53" fmla="*/ 286 h 1843"/>
              <a:gd name="T54" fmla="*/ 237 w 2079"/>
              <a:gd name="T55" fmla="*/ 205 h 1843"/>
              <a:gd name="T56" fmla="*/ 68 w 2079"/>
              <a:gd name="T57" fmla="*/ 14 h 1843"/>
              <a:gd name="T58" fmla="*/ 94 w 2079"/>
              <a:gd name="T59" fmla="*/ 146 h 1843"/>
              <a:gd name="T60" fmla="*/ 1 w 2079"/>
              <a:gd name="T61" fmla="*/ 283 h 1843"/>
              <a:gd name="T62" fmla="*/ 152 w 2079"/>
              <a:gd name="T63" fmla="*/ 365 h 1843"/>
              <a:gd name="T64" fmla="*/ 240 w 2079"/>
              <a:gd name="T65" fmla="*/ 449 h 1843"/>
              <a:gd name="T66" fmla="*/ 371 w 2079"/>
              <a:gd name="T67" fmla="*/ 513 h 1843"/>
              <a:gd name="T68" fmla="*/ 439 w 2079"/>
              <a:gd name="T69" fmla="*/ 540 h 1843"/>
              <a:gd name="T70" fmla="*/ 509 w 2079"/>
              <a:gd name="T71" fmla="*/ 582 h 1843"/>
              <a:gd name="T72" fmla="*/ 636 w 2079"/>
              <a:gd name="T73" fmla="*/ 631 h 1843"/>
              <a:gd name="T74" fmla="*/ 660 w 2079"/>
              <a:gd name="T75" fmla="*/ 739 h 1843"/>
              <a:gd name="T76" fmla="*/ 608 w 2079"/>
              <a:gd name="T77" fmla="*/ 835 h 1843"/>
              <a:gd name="T78" fmla="*/ 672 w 2079"/>
              <a:gd name="T79" fmla="*/ 868 h 1843"/>
              <a:gd name="T80" fmla="*/ 730 w 2079"/>
              <a:gd name="T81" fmla="*/ 952 h 1843"/>
              <a:gd name="T82" fmla="*/ 790 w 2079"/>
              <a:gd name="T83" fmla="*/ 1061 h 1843"/>
              <a:gd name="T84" fmla="*/ 914 w 2079"/>
              <a:gd name="T85" fmla="*/ 1006 h 1843"/>
              <a:gd name="T86" fmla="*/ 1002 w 2079"/>
              <a:gd name="T87" fmla="*/ 962 h 1843"/>
              <a:gd name="T88" fmla="*/ 1081 w 2079"/>
              <a:gd name="T89" fmla="*/ 1109 h 1843"/>
              <a:gd name="T90" fmla="*/ 963 w 2079"/>
              <a:gd name="T91" fmla="*/ 1107 h 1843"/>
              <a:gd name="T92" fmla="*/ 874 w 2079"/>
              <a:gd name="T93" fmla="*/ 1163 h 1843"/>
              <a:gd name="T94" fmla="*/ 891 w 2079"/>
              <a:gd name="T95" fmla="*/ 1280 h 1843"/>
              <a:gd name="T96" fmla="*/ 804 w 2079"/>
              <a:gd name="T97" fmla="*/ 1362 h 1843"/>
              <a:gd name="T98" fmla="*/ 861 w 2079"/>
              <a:gd name="T99" fmla="*/ 1470 h 1843"/>
              <a:gd name="T100" fmla="*/ 923 w 2079"/>
              <a:gd name="T101" fmla="*/ 1534 h 1843"/>
              <a:gd name="T102" fmla="*/ 977 w 2079"/>
              <a:gd name="T103" fmla="*/ 1528 h 1843"/>
              <a:gd name="T104" fmla="*/ 987 w 2079"/>
              <a:gd name="T105" fmla="*/ 1638 h 1843"/>
              <a:gd name="T106" fmla="*/ 1011 w 2079"/>
              <a:gd name="T107" fmla="*/ 1698 h 1843"/>
              <a:gd name="T108" fmla="*/ 1177 w 2079"/>
              <a:gd name="T109" fmla="*/ 1665 h 1843"/>
              <a:gd name="T110" fmla="*/ 1271 w 2079"/>
              <a:gd name="T111" fmla="*/ 1716 h 1843"/>
              <a:gd name="T112" fmla="*/ 1402 w 2079"/>
              <a:gd name="T113" fmla="*/ 1699 h 1843"/>
              <a:gd name="T114" fmla="*/ 1543 w 2079"/>
              <a:gd name="T115" fmla="*/ 1784 h 1843"/>
              <a:gd name="T116" fmla="*/ 1643 w 2079"/>
              <a:gd name="T117" fmla="*/ 1821 h 1843"/>
              <a:gd name="T118" fmla="*/ 1722 w 2079"/>
              <a:gd name="T119" fmla="*/ 1730 h 1843"/>
              <a:gd name="T120" fmla="*/ 1819 w 2079"/>
              <a:gd name="T121" fmla="*/ 1555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79" h="1843">
                <a:moveTo>
                  <a:pt x="1868" y="1488"/>
                </a:moveTo>
                <a:lnTo>
                  <a:pt x="1867" y="1478"/>
                </a:lnTo>
                <a:lnTo>
                  <a:pt x="1864" y="1470"/>
                </a:lnTo>
                <a:lnTo>
                  <a:pt x="1861" y="1466"/>
                </a:lnTo>
                <a:lnTo>
                  <a:pt x="1857" y="1460"/>
                </a:lnTo>
                <a:lnTo>
                  <a:pt x="1850" y="1456"/>
                </a:lnTo>
                <a:lnTo>
                  <a:pt x="1842" y="1449"/>
                </a:lnTo>
                <a:lnTo>
                  <a:pt x="1823" y="1435"/>
                </a:lnTo>
                <a:lnTo>
                  <a:pt x="1802" y="1424"/>
                </a:lnTo>
                <a:lnTo>
                  <a:pt x="1785" y="1413"/>
                </a:lnTo>
                <a:lnTo>
                  <a:pt x="1772" y="1406"/>
                </a:lnTo>
                <a:lnTo>
                  <a:pt x="1760" y="1402"/>
                </a:lnTo>
                <a:lnTo>
                  <a:pt x="1749" y="1400"/>
                </a:lnTo>
                <a:lnTo>
                  <a:pt x="1743" y="1399"/>
                </a:lnTo>
                <a:lnTo>
                  <a:pt x="1737" y="1399"/>
                </a:lnTo>
                <a:lnTo>
                  <a:pt x="1731" y="1399"/>
                </a:lnTo>
                <a:lnTo>
                  <a:pt x="1725" y="1400"/>
                </a:lnTo>
                <a:lnTo>
                  <a:pt x="1714" y="1402"/>
                </a:lnTo>
                <a:lnTo>
                  <a:pt x="1706" y="1401"/>
                </a:lnTo>
                <a:lnTo>
                  <a:pt x="1699" y="1399"/>
                </a:lnTo>
                <a:lnTo>
                  <a:pt x="1693" y="1394"/>
                </a:lnTo>
                <a:lnTo>
                  <a:pt x="1686" y="1389"/>
                </a:lnTo>
                <a:lnTo>
                  <a:pt x="1679" y="1386"/>
                </a:lnTo>
                <a:lnTo>
                  <a:pt x="1672" y="1382"/>
                </a:lnTo>
                <a:lnTo>
                  <a:pt x="1666" y="1380"/>
                </a:lnTo>
                <a:lnTo>
                  <a:pt x="1663" y="1378"/>
                </a:lnTo>
                <a:lnTo>
                  <a:pt x="1662" y="1377"/>
                </a:lnTo>
                <a:lnTo>
                  <a:pt x="1662" y="1376"/>
                </a:lnTo>
                <a:lnTo>
                  <a:pt x="1662" y="1375"/>
                </a:lnTo>
                <a:lnTo>
                  <a:pt x="1666" y="1372"/>
                </a:lnTo>
                <a:lnTo>
                  <a:pt x="1673" y="1371"/>
                </a:lnTo>
                <a:lnTo>
                  <a:pt x="1676" y="1370"/>
                </a:lnTo>
                <a:lnTo>
                  <a:pt x="1680" y="1369"/>
                </a:lnTo>
                <a:lnTo>
                  <a:pt x="1681" y="1367"/>
                </a:lnTo>
                <a:lnTo>
                  <a:pt x="1681" y="1364"/>
                </a:lnTo>
                <a:lnTo>
                  <a:pt x="1680" y="1357"/>
                </a:lnTo>
                <a:lnTo>
                  <a:pt x="1675" y="1347"/>
                </a:lnTo>
                <a:lnTo>
                  <a:pt x="1667" y="1336"/>
                </a:lnTo>
                <a:lnTo>
                  <a:pt x="1657" y="1323"/>
                </a:lnTo>
                <a:lnTo>
                  <a:pt x="1653" y="1318"/>
                </a:lnTo>
                <a:lnTo>
                  <a:pt x="1647" y="1312"/>
                </a:lnTo>
                <a:lnTo>
                  <a:pt x="1642" y="1308"/>
                </a:lnTo>
                <a:lnTo>
                  <a:pt x="1636" y="1305"/>
                </a:lnTo>
                <a:lnTo>
                  <a:pt x="1630" y="1304"/>
                </a:lnTo>
                <a:lnTo>
                  <a:pt x="1622" y="1304"/>
                </a:lnTo>
                <a:lnTo>
                  <a:pt x="1612" y="1304"/>
                </a:lnTo>
                <a:lnTo>
                  <a:pt x="1602" y="1305"/>
                </a:lnTo>
                <a:lnTo>
                  <a:pt x="1580" y="1307"/>
                </a:lnTo>
                <a:lnTo>
                  <a:pt x="1566" y="1308"/>
                </a:lnTo>
                <a:lnTo>
                  <a:pt x="1556" y="1308"/>
                </a:lnTo>
                <a:lnTo>
                  <a:pt x="1549" y="1308"/>
                </a:lnTo>
                <a:lnTo>
                  <a:pt x="1547" y="1309"/>
                </a:lnTo>
                <a:lnTo>
                  <a:pt x="1544" y="1311"/>
                </a:lnTo>
                <a:lnTo>
                  <a:pt x="1543" y="1313"/>
                </a:lnTo>
                <a:lnTo>
                  <a:pt x="1543" y="1317"/>
                </a:lnTo>
                <a:lnTo>
                  <a:pt x="1543" y="1324"/>
                </a:lnTo>
                <a:lnTo>
                  <a:pt x="1541" y="1328"/>
                </a:lnTo>
                <a:lnTo>
                  <a:pt x="1540" y="1331"/>
                </a:lnTo>
                <a:lnTo>
                  <a:pt x="1537" y="1333"/>
                </a:lnTo>
                <a:lnTo>
                  <a:pt x="1534" y="1336"/>
                </a:lnTo>
                <a:lnTo>
                  <a:pt x="1530" y="1337"/>
                </a:lnTo>
                <a:lnTo>
                  <a:pt x="1523" y="1339"/>
                </a:lnTo>
                <a:lnTo>
                  <a:pt x="1514" y="1343"/>
                </a:lnTo>
                <a:lnTo>
                  <a:pt x="1509" y="1344"/>
                </a:lnTo>
                <a:lnTo>
                  <a:pt x="1504" y="1344"/>
                </a:lnTo>
                <a:lnTo>
                  <a:pt x="1498" y="1344"/>
                </a:lnTo>
                <a:lnTo>
                  <a:pt x="1493" y="1343"/>
                </a:lnTo>
                <a:lnTo>
                  <a:pt x="1493" y="1340"/>
                </a:lnTo>
                <a:lnTo>
                  <a:pt x="1493" y="1338"/>
                </a:lnTo>
                <a:lnTo>
                  <a:pt x="1495" y="1334"/>
                </a:lnTo>
                <a:lnTo>
                  <a:pt x="1497" y="1332"/>
                </a:lnTo>
                <a:lnTo>
                  <a:pt x="1502" y="1326"/>
                </a:lnTo>
                <a:lnTo>
                  <a:pt x="1508" y="1320"/>
                </a:lnTo>
                <a:lnTo>
                  <a:pt x="1519" y="1307"/>
                </a:lnTo>
                <a:lnTo>
                  <a:pt x="1533" y="1295"/>
                </a:lnTo>
                <a:lnTo>
                  <a:pt x="1547" y="1283"/>
                </a:lnTo>
                <a:lnTo>
                  <a:pt x="1559" y="1276"/>
                </a:lnTo>
                <a:lnTo>
                  <a:pt x="1565" y="1275"/>
                </a:lnTo>
                <a:lnTo>
                  <a:pt x="1572" y="1274"/>
                </a:lnTo>
                <a:lnTo>
                  <a:pt x="1579" y="1274"/>
                </a:lnTo>
                <a:lnTo>
                  <a:pt x="1588" y="1274"/>
                </a:lnTo>
                <a:lnTo>
                  <a:pt x="1598" y="1275"/>
                </a:lnTo>
                <a:lnTo>
                  <a:pt x="1606" y="1276"/>
                </a:lnTo>
                <a:lnTo>
                  <a:pt x="1616" y="1279"/>
                </a:lnTo>
                <a:lnTo>
                  <a:pt x="1624" y="1282"/>
                </a:lnTo>
                <a:lnTo>
                  <a:pt x="1640" y="1287"/>
                </a:lnTo>
                <a:lnTo>
                  <a:pt x="1656" y="1293"/>
                </a:lnTo>
                <a:lnTo>
                  <a:pt x="1670" y="1299"/>
                </a:lnTo>
                <a:lnTo>
                  <a:pt x="1682" y="1305"/>
                </a:lnTo>
                <a:lnTo>
                  <a:pt x="1691" y="1313"/>
                </a:lnTo>
                <a:lnTo>
                  <a:pt x="1698" y="1324"/>
                </a:lnTo>
                <a:lnTo>
                  <a:pt x="1701" y="1328"/>
                </a:lnTo>
                <a:lnTo>
                  <a:pt x="1704" y="1334"/>
                </a:lnTo>
                <a:lnTo>
                  <a:pt x="1704" y="1339"/>
                </a:lnTo>
                <a:lnTo>
                  <a:pt x="1704" y="1344"/>
                </a:lnTo>
                <a:lnTo>
                  <a:pt x="1700" y="1353"/>
                </a:lnTo>
                <a:lnTo>
                  <a:pt x="1695" y="1363"/>
                </a:lnTo>
                <a:lnTo>
                  <a:pt x="1694" y="1367"/>
                </a:lnTo>
                <a:lnTo>
                  <a:pt x="1694" y="1370"/>
                </a:lnTo>
                <a:lnTo>
                  <a:pt x="1695" y="1372"/>
                </a:lnTo>
                <a:lnTo>
                  <a:pt x="1699" y="1374"/>
                </a:lnTo>
                <a:lnTo>
                  <a:pt x="1713" y="1372"/>
                </a:lnTo>
                <a:lnTo>
                  <a:pt x="1732" y="1368"/>
                </a:lnTo>
                <a:lnTo>
                  <a:pt x="1743" y="1367"/>
                </a:lnTo>
                <a:lnTo>
                  <a:pt x="1752" y="1365"/>
                </a:lnTo>
                <a:lnTo>
                  <a:pt x="1756" y="1365"/>
                </a:lnTo>
                <a:lnTo>
                  <a:pt x="1761" y="1365"/>
                </a:lnTo>
                <a:lnTo>
                  <a:pt x="1764" y="1367"/>
                </a:lnTo>
                <a:lnTo>
                  <a:pt x="1767" y="1369"/>
                </a:lnTo>
                <a:lnTo>
                  <a:pt x="1775" y="1375"/>
                </a:lnTo>
                <a:lnTo>
                  <a:pt x="1782" y="1378"/>
                </a:lnTo>
                <a:lnTo>
                  <a:pt x="1785" y="1380"/>
                </a:lnTo>
                <a:lnTo>
                  <a:pt x="1787" y="1378"/>
                </a:lnTo>
                <a:lnTo>
                  <a:pt x="1789" y="1377"/>
                </a:lnTo>
                <a:lnTo>
                  <a:pt x="1793" y="1374"/>
                </a:lnTo>
                <a:lnTo>
                  <a:pt x="1800" y="1367"/>
                </a:lnTo>
                <a:lnTo>
                  <a:pt x="1808" y="1358"/>
                </a:lnTo>
                <a:lnTo>
                  <a:pt x="1818" y="1351"/>
                </a:lnTo>
                <a:lnTo>
                  <a:pt x="1830" y="1345"/>
                </a:lnTo>
                <a:lnTo>
                  <a:pt x="1837" y="1343"/>
                </a:lnTo>
                <a:lnTo>
                  <a:pt x="1846" y="1342"/>
                </a:lnTo>
                <a:lnTo>
                  <a:pt x="1856" y="1340"/>
                </a:lnTo>
                <a:lnTo>
                  <a:pt x="1865" y="1340"/>
                </a:lnTo>
                <a:lnTo>
                  <a:pt x="1876" y="1340"/>
                </a:lnTo>
                <a:lnTo>
                  <a:pt x="1886" y="1342"/>
                </a:lnTo>
                <a:lnTo>
                  <a:pt x="1895" y="1343"/>
                </a:lnTo>
                <a:lnTo>
                  <a:pt x="1902" y="1345"/>
                </a:lnTo>
                <a:lnTo>
                  <a:pt x="1914" y="1350"/>
                </a:lnTo>
                <a:lnTo>
                  <a:pt x="1922" y="1355"/>
                </a:lnTo>
                <a:lnTo>
                  <a:pt x="1932" y="1359"/>
                </a:lnTo>
                <a:lnTo>
                  <a:pt x="1944" y="1363"/>
                </a:lnTo>
                <a:lnTo>
                  <a:pt x="1959" y="1368"/>
                </a:lnTo>
                <a:lnTo>
                  <a:pt x="1976" y="1374"/>
                </a:lnTo>
                <a:lnTo>
                  <a:pt x="1993" y="1381"/>
                </a:lnTo>
                <a:lnTo>
                  <a:pt x="2008" y="1388"/>
                </a:lnTo>
                <a:lnTo>
                  <a:pt x="2025" y="1394"/>
                </a:lnTo>
                <a:lnTo>
                  <a:pt x="2043" y="1399"/>
                </a:lnTo>
                <a:lnTo>
                  <a:pt x="2052" y="1401"/>
                </a:lnTo>
                <a:lnTo>
                  <a:pt x="2059" y="1401"/>
                </a:lnTo>
                <a:lnTo>
                  <a:pt x="2066" y="1401"/>
                </a:lnTo>
                <a:lnTo>
                  <a:pt x="2072" y="1400"/>
                </a:lnTo>
                <a:lnTo>
                  <a:pt x="2076" y="1397"/>
                </a:lnTo>
                <a:lnTo>
                  <a:pt x="2078" y="1394"/>
                </a:lnTo>
                <a:lnTo>
                  <a:pt x="2079" y="1390"/>
                </a:lnTo>
                <a:lnTo>
                  <a:pt x="2079" y="1386"/>
                </a:lnTo>
                <a:lnTo>
                  <a:pt x="2078" y="1376"/>
                </a:lnTo>
                <a:lnTo>
                  <a:pt x="2076" y="1367"/>
                </a:lnTo>
                <a:lnTo>
                  <a:pt x="2072" y="1355"/>
                </a:lnTo>
                <a:lnTo>
                  <a:pt x="2069" y="1339"/>
                </a:lnTo>
                <a:lnTo>
                  <a:pt x="2068" y="1332"/>
                </a:lnTo>
                <a:lnTo>
                  <a:pt x="2065" y="1325"/>
                </a:lnTo>
                <a:lnTo>
                  <a:pt x="2062" y="1319"/>
                </a:lnTo>
                <a:lnTo>
                  <a:pt x="2058" y="1315"/>
                </a:lnTo>
                <a:lnTo>
                  <a:pt x="2054" y="1312"/>
                </a:lnTo>
                <a:lnTo>
                  <a:pt x="2052" y="1307"/>
                </a:lnTo>
                <a:lnTo>
                  <a:pt x="2050" y="1302"/>
                </a:lnTo>
                <a:lnTo>
                  <a:pt x="2047" y="1296"/>
                </a:lnTo>
                <a:lnTo>
                  <a:pt x="2043" y="1287"/>
                </a:lnTo>
                <a:lnTo>
                  <a:pt x="2037" y="1277"/>
                </a:lnTo>
                <a:lnTo>
                  <a:pt x="2026" y="1268"/>
                </a:lnTo>
                <a:lnTo>
                  <a:pt x="2010" y="1258"/>
                </a:lnTo>
                <a:lnTo>
                  <a:pt x="1995" y="1249"/>
                </a:lnTo>
                <a:lnTo>
                  <a:pt x="1980" y="1241"/>
                </a:lnTo>
                <a:lnTo>
                  <a:pt x="1968" y="1235"/>
                </a:lnTo>
                <a:lnTo>
                  <a:pt x="1955" y="1230"/>
                </a:lnTo>
                <a:lnTo>
                  <a:pt x="1947" y="1229"/>
                </a:lnTo>
                <a:lnTo>
                  <a:pt x="1940" y="1227"/>
                </a:lnTo>
                <a:lnTo>
                  <a:pt x="1932" y="1226"/>
                </a:lnTo>
                <a:lnTo>
                  <a:pt x="1924" y="1226"/>
                </a:lnTo>
                <a:lnTo>
                  <a:pt x="1909" y="1227"/>
                </a:lnTo>
                <a:lnTo>
                  <a:pt x="1900" y="1227"/>
                </a:lnTo>
                <a:lnTo>
                  <a:pt x="1898" y="1226"/>
                </a:lnTo>
                <a:lnTo>
                  <a:pt x="1895" y="1225"/>
                </a:lnTo>
                <a:lnTo>
                  <a:pt x="1894" y="1223"/>
                </a:lnTo>
                <a:lnTo>
                  <a:pt x="1893" y="1218"/>
                </a:lnTo>
                <a:lnTo>
                  <a:pt x="1892" y="1210"/>
                </a:lnTo>
                <a:lnTo>
                  <a:pt x="1890" y="1202"/>
                </a:lnTo>
                <a:lnTo>
                  <a:pt x="1888" y="1200"/>
                </a:lnTo>
                <a:lnTo>
                  <a:pt x="1886" y="1199"/>
                </a:lnTo>
                <a:lnTo>
                  <a:pt x="1882" y="1198"/>
                </a:lnTo>
                <a:lnTo>
                  <a:pt x="1878" y="1199"/>
                </a:lnTo>
                <a:lnTo>
                  <a:pt x="1874" y="1200"/>
                </a:lnTo>
                <a:lnTo>
                  <a:pt x="1869" y="1200"/>
                </a:lnTo>
                <a:lnTo>
                  <a:pt x="1865" y="1199"/>
                </a:lnTo>
                <a:lnTo>
                  <a:pt x="1863" y="1198"/>
                </a:lnTo>
                <a:lnTo>
                  <a:pt x="1861" y="1195"/>
                </a:lnTo>
                <a:lnTo>
                  <a:pt x="1859" y="1192"/>
                </a:lnTo>
                <a:lnTo>
                  <a:pt x="1859" y="1187"/>
                </a:lnTo>
                <a:lnTo>
                  <a:pt x="1861" y="1182"/>
                </a:lnTo>
                <a:lnTo>
                  <a:pt x="1862" y="1172"/>
                </a:lnTo>
                <a:lnTo>
                  <a:pt x="1861" y="1161"/>
                </a:lnTo>
                <a:lnTo>
                  <a:pt x="1859" y="1148"/>
                </a:lnTo>
                <a:lnTo>
                  <a:pt x="1859" y="1135"/>
                </a:lnTo>
                <a:lnTo>
                  <a:pt x="1859" y="1123"/>
                </a:lnTo>
                <a:lnTo>
                  <a:pt x="1859" y="1113"/>
                </a:lnTo>
                <a:lnTo>
                  <a:pt x="1858" y="1110"/>
                </a:lnTo>
                <a:lnTo>
                  <a:pt x="1856" y="1105"/>
                </a:lnTo>
                <a:lnTo>
                  <a:pt x="1852" y="1101"/>
                </a:lnTo>
                <a:lnTo>
                  <a:pt x="1846" y="1098"/>
                </a:lnTo>
                <a:lnTo>
                  <a:pt x="1830" y="1091"/>
                </a:lnTo>
                <a:lnTo>
                  <a:pt x="1806" y="1084"/>
                </a:lnTo>
                <a:lnTo>
                  <a:pt x="1785" y="1078"/>
                </a:lnTo>
                <a:lnTo>
                  <a:pt x="1769" y="1074"/>
                </a:lnTo>
                <a:lnTo>
                  <a:pt x="1757" y="1072"/>
                </a:lnTo>
                <a:lnTo>
                  <a:pt x="1741" y="1068"/>
                </a:lnTo>
                <a:lnTo>
                  <a:pt x="1732" y="1066"/>
                </a:lnTo>
                <a:lnTo>
                  <a:pt x="1725" y="1063"/>
                </a:lnTo>
                <a:lnTo>
                  <a:pt x="1718" y="1061"/>
                </a:lnTo>
                <a:lnTo>
                  <a:pt x="1713" y="1057"/>
                </a:lnTo>
                <a:lnTo>
                  <a:pt x="1700" y="1050"/>
                </a:lnTo>
                <a:lnTo>
                  <a:pt x="1687" y="1043"/>
                </a:lnTo>
                <a:lnTo>
                  <a:pt x="1675" y="1037"/>
                </a:lnTo>
                <a:lnTo>
                  <a:pt x="1666" y="1030"/>
                </a:lnTo>
                <a:lnTo>
                  <a:pt x="1662" y="1025"/>
                </a:lnTo>
                <a:lnTo>
                  <a:pt x="1662" y="1021"/>
                </a:lnTo>
                <a:lnTo>
                  <a:pt x="1662" y="1015"/>
                </a:lnTo>
                <a:lnTo>
                  <a:pt x="1663" y="1009"/>
                </a:lnTo>
                <a:lnTo>
                  <a:pt x="1666" y="996"/>
                </a:lnTo>
                <a:lnTo>
                  <a:pt x="1667" y="984"/>
                </a:lnTo>
                <a:lnTo>
                  <a:pt x="1665" y="975"/>
                </a:lnTo>
                <a:lnTo>
                  <a:pt x="1663" y="972"/>
                </a:lnTo>
                <a:lnTo>
                  <a:pt x="1661" y="971"/>
                </a:lnTo>
                <a:lnTo>
                  <a:pt x="1656" y="970"/>
                </a:lnTo>
                <a:lnTo>
                  <a:pt x="1655" y="968"/>
                </a:lnTo>
                <a:lnTo>
                  <a:pt x="1653" y="966"/>
                </a:lnTo>
                <a:lnTo>
                  <a:pt x="1651" y="961"/>
                </a:lnTo>
                <a:lnTo>
                  <a:pt x="1650" y="956"/>
                </a:lnTo>
                <a:lnTo>
                  <a:pt x="1650" y="952"/>
                </a:lnTo>
                <a:lnTo>
                  <a:pt x="1651" y="947"/>
                </a:lnTo>
                <a:lnTo>
                  <a:pt x="1653" y="943"/>
                </a:lnTo>
                <a:lnTo>
                  <a:pt x="1655" y="941"/>
                </a:lnTo>
                <a:lnTo>
                  <a:pt x="1661" y="937"/>
                </a:lnTo>
                <a:lnTo>
                  <a:pt x="1667" y="934"/>
                </a:lnTo>
                <a:lnTo>
                  <a:pt x="1669" y="931"/>
                </a:lnTo>
                <a:lnTo>
                  <a:pt x="1672" y="928"/>
                </a:lnTo>
                <a:lnTo>
                  <a:pt x="1673" y="924"/>
                </a:lnTo>
                <a:lnTo>
                  <a:pt x="1673" y="920"/>
                </a:lnTo>
                <a:lnTo>
                  <a:pt x="1670" y="912"/>
                </a:lnTo>
                <a:lnTo>
                  <a:pt x="1669" y="904"/>
                </a:lnTo>
                <a:lnTo>
                  <a:pt x="1666" y="898"/>
                </a:lnTo>
                <a:lnTo>
                  <a:pt x="1660" y="891"/>
                </a:lnTo>
                <a:lnTo>
                  <a:pt x="1656" y="886"/>
                </a:lnTo>
                <a:lnTo>
                  <a:pt x="1655" y="882"/>
                </a:lnTo>
                <a:lnTo>
                  <a:pt x="1654" y="876"/>
                </a:lnTo>
                <a:lnTo>
                  <a:pt x="1653" y="870"/>
                </a:lnTo>
                <a:lnTo>
                  <a:pt x="1653" y="858"/>
                </a:lnTo>
                <a:lnTo>
                  <a:pt x="1653" y="848"/>
                </a:lnTo>
                <a:lnTo>
                  <a:pt x="1650" y="845"/>
                </a:lnTo>
                <a:lnTo>
                  <a:pt x="1646" y="841"/>
                </a:lnTo>
                <a:lnTo>
                  <a:pt x="1637" y="836"/>
                </a:lnTo>
                <a:lnTo>
                  <a:pt x="1629" y="830"/>
                </a:lnTo>
                <a:lnTo>
                  <a:pt x="1611" y="822"/>
                </a:lnTo>
                <a:lnTo>
                  <a:pt x="1602" y="817"/>
                </a:lnTo>
                <a:lnTo>
                  <a:pt x="1598" y="815"/>
                </a:lnTo>
                <a:lnTo>
                  <a:pt x="1596" y="811"/>
                </a:lnTo>
                <a:lnTo>
                  <a:pt x="1593" y="808"/>
                </a:lnTo>
                <a:lnTo>
                  <a:pt x="1591" y="804"/>
                </a:lnTo>
                <a:lnTo>
                  <a:pt x="1590" y="795"/>
                </a:lnTo>
                <a:lnTo>
                  <a:pt x="1588" y="786"/>
                </a:lnTo>
                <a:lnTo>
                  <a:pt x="1588" y="769"/>
                </a:lnTo>
                <a:lnTo>
                  <a:pt x="1587" y="758"/>
                </a:lnTo>
                <a:lnTo>
                  <a:pt x="1584" y="752"/>
                </a:lnTo>
                <a:lnTo>
                  <a:pt x="1581" y="750"/>
                </a:lnTo>
                <a:lnTo>
                  <a:pt x="1577" y="748"/>
                </a:lnTo>
                <a:lnTo>
                  <a:pt x="1571" y="748"/>
                </a:lnTo>
                <a:lnTo>
                  <a:pt x="1567" y="748"/>
                </a:lnTo>
                <a:lnTo>
                  <a:pt x="1563" y="747"/>
                </a:lnTo>
                <a:lnTo>
                  <a:pt x="1561" y="746"/>
                </a:lnTo>
                <a:lnTo>
                  <a:pt x="1559" y="744"/>
                </a:lnTo>
                <a:lnTo>
                  <a:pt x="1556" y="740"/>
                </a:lnTo>
                <a:lnTo>
                  <a:pt x="1554" y="735"/>
                </a:lnTo>
                <a:lnTo>
                  <a:pt x="1553" y="731"/>
                </a:lnTo>
                <a:lnTo>
                  <a:pt x="1552" y="723"/>
                </a:lnTo>
                <a:lnTo>
                  <a:pt x="1548" y="706"/>
                </a:lnTo>
                <a:lnTo>
                  <a:pt x="1542" y="684"/>
                </a:lnTo>
                <a:lnTo>
                  <a:pt x="1536" y="664"/>
                </a:lnTo>
                <a:lnTo>
                  <a:pt x="1531" y="646"/>
                </a:lnTo>
                <a:lnTo>
                  <a:pt x="1525" y="632"/>
                </a:lnTo>
                <a:lnTo>
                  <a:pt x="1514" y="606"/>
                </a:lnTo>
                <a:lnTo>
                  <a:pt x="1502" y="581"/>
                </a:lnTo>
                <a:lnTo>
                  <a:pt x="1493" y="565"/>
                </a:lnTo>
                <a:lnTo>
                  <a:pt x="1489" y="556"/>
                </a:lnTo>
                <a:lnTo>
                  <a:pt x="1485" y="545"/>
                </a:lnTo>
                <a:lnTo>
                  <a:pt x="1484" y="540"/>
                </a:lnTo>
                <a:lnTo>
                  <a:pt x="1481" y="537"/>
                </a:lnTo>
                <a:lnTo>
                  <a:pt x="1479" y="533"/>
                </a:lnTo>
                <a:lnTo>
                  <a:pt x="1476" y="533"/>
                </a:lnTo>
                <a:lnTo>
                  <a:pt x="1472" y="532"/>
                </a:lnTo>
                <a:lnTo>
                  <a:pt x="1471" y="531"/>
                </a:lnTo>
                <a:lnTo>
                  <a:pt x="1471" y="527"/>
                </a:lnTo>
                <a:lnTo>
                  <a:pt x="1473" y="521"/>
                </a:lnTo>
                <a:lnTo>
                  <a:pt x="1474" y="519"/>
                </a:lnTo>
                <a:lnTo>
                  <a:pt x="1474" y="515"/>
                </a:lnTo>
                <a:lnTo>
                  <a:pt x="1474" y="513"/>
                </a:lnTo>
                <a:lnTo>
                  <a:pt x="1473" y="510"/>
                </a:lnTo>
                <a:lnTo>
                  <a:pt x="1470" y="505"/>
                </a:lnTo>
                <a:lnTo>
                  <a:pt x="1466" y="498"/>
                </a:lnTo>
                <a:lnTo>
                  <a:pt x="1460" y="487"/>
                </a:lnTo>
                <a:lnTo>
                  <a:pt x="1452" y="470"/>
                </a:lnTo>
                <a:lnTo>
                  <a:pt x="1443" y="452"/>
                </a:lnTo>
                <a:lnTo>
                  <a:pt x="1436" y="438"/>
                </a:lnTo>
                <a:lnTo>
                  <a:pt x="1428" y="425"/>
                </a:lnTo>
                <a:lnTo>
                  <a:pt x="1418" y="409"/>
                </a:lnTo>
                <a:lnTo>
                  <a:pt x="1410" y="391"/>
                </a:lnTo>
                <a:lnTo>
                  <a:pt x="1405" y="376"/>
                </a:lnTo>
                <a:lnTo>
                  <a:pt x="1402" y="363"/>
                </a:lnTo>
                <a:lnTo>
                  <a:pt x="1398" y="348"/>
                </a:lnTo>
                <a:lnTo>
                  <a:pt x="1392" y="334"/>
                </a:lnTo>
                <a:lnTo>
                  <a:pt x="1386" y="322"/>
                </a:lnTo>
                <a:lnTo>
                  <a:pt x="1383" y="316"/>
                </a:lnTo>
                <a:lnTo>
                  <a:pt x="1377" y="312"/>
                </a:lnTo>
                <a:lnTo>
                  <a:pt x="1371" y="307"/>
                </a:lnTo>
                <a:lnTo>
                  <a:pt x="1364" y="303"/>
                </a:lnTo>
                <a:lnTo>
                  <a:pt x="1348" y="296"/>
                </a:lnTo>
                <a:lnTo>
                  <a:pt x="1335" y="291"/>
                </a:lnTo>
                <a:lnTo>
                  <a:pt x="1325" y="288"/>
                </a:lnTo>
                <a:lnTo>
                  <a:pt x="1316" y="286"/>
                </a:lnTo>
                <a:lnTo>
                  <a:pt x="1309" y="284"/>
                </a:lnTo>
                <a:lnTo>
                  <a:pt x="1301" y="279"/>
                </a:lnTo>
                <a:lnTo>
                  <a:pt x="1291" y="273"/>
                </a:lnTo>
                <a:lnTo>
                  <a:pt x="1282" y="268"/>
                </a:lnTo>
                <a:lnTo>
                  <a:pt x="1272" y="265"/>
                </a:lnTo>
                <a:lnTo>
                  <a:pt x="1264" y="263"/>
                </a:lnTo>
                <a:lnTo>
                  <a:pt x="1254" y="260"/>
                </a:lnTo>
                <a:lnTo>
                  <a:pt x="1243" y="256"/>
                </a:lnTo>
                <a:lnTo>
                  <a:pt x="1237" y="254"/>
                </a:lnTo>
                <a:lnTo>
                  <a:pt x="1231" y="254"/>
                </a:lnTo>
                <a:lnTo>
                  <a:pt x="1226" y="253"/>
                </a:lnTo>
                <a:lnTo>
                  <a:pt x="1221" y="254"/>
                </a:lnTo>
                <a:lnTo>
                  <a:pt x="1213" y="258"/>
                </a:lnTo>
                <a:lnTo>
                  <a:pt x="1206" y="259"/>
                </a:lnTo>
                <a:lnTo>
                  <a:pt x="1201" y="260"/>
                </a:lnTo>
                <a:lnTo>
                  <a:pt x="1196" y="259"/>
                </a:lnTo>
                <a:lnTo>
                  <a:pt x="1194" y="258"/>
                </a:lnTo>
                <a:lnTo>
                  <a:pt x="1193" y="256"/>
                </a:lnTo>
                <a:lnTo>
                  <a:pt x="1193" y="254"/>
                </a:lnTo>
                <a:lnTo>
                  <a:pt x="1193" y="253"/>
                </a:lnTo>
                <a:lnTo>
                  <a:pt x="1195" y="249"/>
                </a:lnTo>
                <a:lnTo>
                  <a:pt x="1200" y="248"/>
                </a:lnTo>
                <a:lnTo>
                  <a:pt x="1201" y="247"/>
                </a:lnTo>
                <a:lnTo>
                  <a:pt x="1202" y="244"/>
                </a:lnTo>
                <a:lnTo>
                  <a:pt x="1202" y="243"/>
                </a:lnTo>
                <a:lnTo>
                  <a:pt x="1201" y="241"/>
                </a:lnTo>
                <a:lnTo>
                  <a:pt x="1200" y="240"/>
                </a:lnTo>
                <a:lnTo>
                  <a:pt x="1196" y="237"/>
                </a:lnTo>
                <a:lnTo>
                  <a:pt x="1191" y="236"/>
                </a:lnTo>
                <a:lnTo>
                  <a:pt x="1185" y="236"/>
                </a:lnTo>
                <a:lnTo>
                  <a:pt x="1174" y="237"/>
                </a:lnTo>
                <a:lnTo>
                  <a:pt x="1163" y="241"/>
                </a:lnTo>
                <a:lnTo>
                  <a:pt x="1159" y="243"/>
                </a:lnTo>
                <a:lnTo>
                  <a:pt x="1155" y="246"/>
                </a:lnTo>
                <a:lnTo>
                  <a:pt x="1151" y="249"/>
                </a:lnTo>
                <a:lnTo>
                  <a:pt x="1149" y="253"/>
                </a:lnTo>
                <a:lnTo>
                  <a:pt x="1143" y="259"/>
                </a:lnTo>
                <a:lnTo>
                  <a:pt x="1138" y="263"/>
                </a:lnTo>
                <a:lnTo>
                  <a:pt x="1132" y="265"/>
                </a:lnTo>
                <a:lnTo>
                  <a:pt x="1126" y="263"/>
                </a:lnTo>
                <a:lnTo>
                  <a:pt x="1122" y="263"/>
                </a:lnTo>
                <a:lnTo>
                  <a:pt x="1120" y="261"/>
                </a:lnTo>
                <a:lnTo>
                  <a:pt x="1119" y="259"/>
                </a:lnTo>
                <a:lnTo>
                  <a:pt x="1119" y="258"/>
                </a:lnTo>
                <a:lnTo>
                  <a:pt x="1119" y="255"/>
                </a:lnTo>
                <a:lnTo>
                  <a:pt x="1120" y="253"/>
                </a:lnTo>
                <a:lnTo>
                  <a:pt x="1122" y="250"/>
                </a:lnTo>
                <a:lnTo>
                  <a:pt x="1125" y="248"/>
                </a:lnTo>
                <a:lnTo>
                  <a:pt x="1133" y="243"/>
                </a:lnTo>
                <a:lnTo>
                  <a:pt x="1139" y="237"/>
                </a:lnTo>
                <a:lnTo>
                  <a:pt x="1144" y="230"/>
                </a:lnTo>
                <a:lnTo>
                  <a:pt x="1147" y="224"/>
                </a:lnTo>
                <a:lnTo>
                  <a:pt x="1149" y="222"/>
                </a:lnTo>
                <a:lnTo>
                  <a:pt x="1147" y="218"/>
                </a:lnTo>
                <a:lnTo>
                  <a:pt x="1146" y="216"/>
                </a:lnTo>
                <a:lnTo>
                  <a:pt x="1143" y="214"/>
                </a:lnTo>
                <a:lnTo>
                  <a:pt x="1136" y="206"/>
                </a:lnTo>
                <a:lnTo>
                  <a:pt x="1125" y="196"/>
                </a:lnTo>
                <a:lnTo>
                  <a:pt x="1112" y="181"/>
                </a:lnTo>
                <a:lnTo>
                  <a:pt x="1095" y="165"/>
                </a:lnTo>
                <a:lnTo>
                  <a:pt x="1087" y="158"/>
                </a:lnTo>
                <a:lnTo>
                  <a:pt x="1078" y="152"/>
                </a:lnTo>
                <a:lnTo>
                  <a:pt x="1070" y="147"/>
                </a:lnTo>
                <a:lnTo>
                  <a:pt x="1062" y="145"/>
                </a:lnTo>
                <a:lnTo>
                  <a:pt x="1055" y="145"/>
                </a:lnTo>
                <a:lnTo>
                  <a:pt x="1049" y="146"/>
                </a:lnTo>
                <a:lnTo>
                  <a:pt x="1042" y="148"/>
                </a:lnTo>
                <a:lnTo>
                  <a:pt x="1034" y="149"/>
                </a:lnTo>
                <a:lnTo>
                  <a:pt x="1027" y="152"/>
                </a:lnTo>
                <a:lnTo>
                  <a:pt x="1021" y="153"/>
                </a:lnTo>
                <a:lnTo>
                  <a:pt x="1015" y="153"/>
                </a:lnTo>
                <a:lnTo>
                  <a:pt x="1011" y="152"/>
                </a:lnTo>
                <a:lnTo>
                  <a:pt x="1002" y="146"/>
                </a:lnTo>
                <a:lnTo>
                  <a:pt x="994" y="138"/>
                </a:lnTo>
                <a:lnTo>
                  <a:pt x="987" y="129"/>
                </a:lnTo>
                <a:lnTo>
                  <a:pt x="982" y="120"/>
                </a:lnTo>
                <a:lnTo>
                  <a:pt x="981" y="115"/>
                </a:lnTo>
                <a:lnTo>
                  <a:pt x="981" y="108"/>
                </a:lnTo>
                <a:lnTo>
                  <a:pt x="982" y="101"/>
                </a:lnTo>
                <a:lnTo>
                  <a:pt x="983" y="92"/>
                </a:lnTo>
                <a:lnTo>
                  <a:pt x="986" y="77"/>
                </a:lnTo>
                <a:lnTo>
                  <a:pt x="987" y="64"/>
                </a:lnTo>
                <a:lnTo>
                  <a:pt x="987" y="53"/>
                </a:lnTo>
                <a:lnTo>
                  <a:pt x="988" y="40"/>
                </a:lnTo>
                <a:lnTo>
                  <a:pt x="989" y="34"/>
                </a:lnTo>
                <a:lnTo>
                  <a:pt x="992" y="29"/>
                </a:lnTo>
                <a:lnTo>
                  <a:pt x="994" y="25"/>
                </a:lnTo>
                <a:lnTo>
                  <a:pt x="999" y="21"/>
                </a:lnTo>
                <a:lnTo>
                  <a:pt x="1010" y="15"/>
                </a:lnTo>
                <a:lnTo>
                  <a:pt x="1021" y="7"/>
                </a:lnTo>
                <a:lnTo>
                  <a:pt x="1007" y="2"/>
                </a:lnTo>
                <a:lnTo>
                  <a:pt x="990" y="0"/>
                </a:lnTo>
                <a:lnTo>
                  <a:pt x="982" y="0"/>
                </a:lnTo>
                <a:lnTo>
                  <a:pt x="975" y="0"/>
                </a:lnTo>
                <a:lnTo>
                  <a:pt x="969" y="1"/>
                </a:lnTo>
                <a:lnTo>
                  <a:pt x="962" y="3"/>
                </a:lnTo>
                <a:lnTo>
                  <a:pt x="951" y="9"/>
                </a:lnTo>
                <a:lnTo>
                  <a:pt x="942" y="16"/>
                </a:lnTo>
                <a:lnTo>
                  <a:pt x="935" y="21"/>
                </a:lnTo>
                <a:lnTo>
                  <a:pt x="927" y="25"/>
                </a:lnTo>
                <a:lnTo>
                  <a:pt x="920" y="28"/>
                </a:lnTo>
                <a:lnTo>
                  <a:pt x="913" y="31"/>
                </a:lnTo>
                <a:lnTo>
                  <a:pt x="897" y="34"/>
                </a:lnTo>
                <a:lnTo>
                  <a:pt x="879" y="38"/>
                </a:lnTo>
                <a:lnTo>
                  <a:pt x="870" y="40"/>
                </a:lnTo>
                <a:lnTo>
                  <a:pt x="866" y="42"/>
                </a:lnTo>
                <a:lnTo>
                  <a:pt x="863" y="47"/>
                </a:lnTo>
                <a:lnTo>
                  <a:pt x="861" y="52"/>
                </a:lnTo>
                <a:lnTo>
                  <a:pt x="862" y="66"/>
                </a:lnTo>
                <a:lnTo>
                  <a:pt x="862" y="83"/>
                </a:lnTo>
                <a:lnTo>
                  <a:pt x="861" y="92"/>
                </a:lnTo>
                <a:lnTo>
                  <a:pt x="859" y="101"/>
                </a:lnTo>
                <a:lnTo>
                  <a:pt x="855" y="108"/>
                </a:lnTo>
                <a:lnTo>
                  <a:pt x="851" y="115"/>
                </a:lnTo>
                <a:lnTo>
                  <a:pt x="841" y="127"/>
                </a:lnTo>
                <a:lnTo>
                  <a:pt x="830" y="139"/>
                </a:lnTo>
                <a:lnTo>
                  <a:pt x="825" y="145"/>
                </a:lnTo>
                <a:lnTo>
                  <a:pt x="824" y="149"/>
                </a:lnTo>
                <a:lnTo>
                  <a:pt x="824" y="155"/>
                </a:lnTo>
                <a:lnTo>
                  <a:pt x="825" y="161"/>
                </a:lnTo>
                <a:lnTo>
                  <a:pt x="831" y="172"/>
                </a:lnTo>
                <a:lnTo>
                  <a:pt x="835" y="183"/>
                </a:lnTo>
                <a:lnTo>
                  <a:pt x="834" y="187"/>
                </a:lnTo>
                <a:lnTo>
                  <a:pt x="831" y="191"/>
                </a:lnTo>
                <a:lnTo>
                  <a:pt x="828" y="193"/>
                </a:lnTo>
                <a:lnTo>
                  <a:pt x="823" y="195"/>
                </a:lnTo>
                <a:lnTo>
                  <a:pt x="816" y="196"/>
                </a:lnTo>
                <a:lnTo>
                  <a:pt x="810" y="196"/>
                </a:lnTo>
                <a:lnTo>
                  <a:pt x="803" y="195"/>
                </a:lnTo>
                <a:lnTo>
                  <a:pt x="794" y="192"/>
                </a:lnTo>
                <a:lnTo>
                  <a:pt x="788" y="191"/>
                </a:lnTo>
                <a:lnTo>
                  <a:pt x="781" y="191"/>
                </a:lnTo>
                <a:lnTo>
                  <a:pt x="774" y="191"/>
                </a:lnTo>
                <a:lnTo>
                  <a:pt x="767" y="192"/>
                </a:lnTo>
                <a:lnTo>
                  <a:pt x="761" y="195"/>
                </a:lnTo>
                <a:lnTo>
                  <a:pt x="754" y="198"/>
                </a:lnTo>
                <a:lnTo>
                  <a:pt x="747" y="203"/>
                </a:lnTo>
                <a:lnTo>
                  <a:pt x="740" y="210"/>
                </a:lnTo>
                <a:lnTo>
                  <a:pt x="736" y="216"/>
                </a:lnTo>
                <a:lnTo>
                  <a:pt x="733" y="223"/>
                </a:lnTo>
                <a:lnTo>
                  <a:pt x="730" y="233"/>
                </a:lnTo>
                <a:lnTo>
                  <a:pt x="729" y="244"/>
                </a:lnTo>
                <a:lnTo>
                  <a:pt x="728" y="260"/>
                </a:lnTo>
                <a:lnTo>
                  <a:pt x="728" y="275"/>
                </a:lnTo>
                <a:lnTo>
                  <a:pt x="727" y="288"/>
                </a:lnTo>
                <a:lnTo>
                  <a:pt x="727" y="299"/>
                </a:lnTo>
                <a:lnTo>
                  <a:pt x="727" y="305"/>
                </a:lnTo>
                <a:lnTo>
                  <a:pt x="725" y="310"/>
                </a:lnTo>
                <a:lnTo>
                  <a:pt x="724" y="315"/>
                </a:lnTo>
                <a:lnTo>
                  <a:pt x="722" y="317"/>
                </a:lnTo>
                <a:lnTo>
                  <a:pt x="719" y="319"/>
                </a:lnTo>
                <a:lnTo>
                  <a:pt x="716" y="321"/>
                </a:lnTo>
                <a:lnTo>
                  <a:pt x="711" y="322"/>
                </a:lnTo>
                <a:lnTo>
                  <a:pt x="706" y="323"/>
                </a:lnTo>
                <a:lnTo>
                  <a:pt x="696" y="324"/>
                </a:lnTo>
                <a:lnTo>
                  <a:pt x="687" y="328"/>
                </a:lnTo>
                <a:lnTo>
                  <a:pt x="681" y="331"/>
                </a:lnTo>
                <a:lnTo>
                  <a:pt x="674" y="338"/>
                </a:lnTo>
                <a:lnTo>
                  <a:pt x="670" y="341"/>
                </a:lnTo>
                <a:lnTo>
                  <a:pt x="666" y="343"/>
                </a:lnTo>
                <a:lnTo>
                  <a:pt x="661" y="344"/>
                </a:lnTo>
                <a:lnTo>
                  <a:pt x="656" y="344"/>
                </a:lnTo>
                <a:lnTo>
                  <a:pt x="653" y="344"/>
                </a:lnTo>
                <a:lnTo>
                  <a:pt x="649" y="342"/>
                </a:lnTo>
                <a:lnTo>
                  <a:pt x="646" y="340"/>
                </a:lnTo>
                <a:lnTo>
                  <a:pt x="643" y="335"/>
                </a:lnTo>
                <a:lnTo>
                  <a:pt x="640" y="325"/>
                </a:lnTo>
                <a:lnTo>
                  <a:pt x="637" y="312"/>
                </a:lnTo>
                <a:lnTo>
                  <a:pt x="634" y="299"/>
                </a:lnTo>
                <a:lnTo>
                  <a:pt x="630" y="287"/>
                </a:lnTo>
                <a:lnTo>
                  <a:pt x="624" y="278"/>
                </a:lnTo>
                <a:lnTo>
                  <a:pt x="618" y="269"/>
                </a:lnTo>
                <a:lnTo>
                  <a:pt x="616" y="266"/>
                </a:lnTo>
                <a:lnTo>
                  <a:pt x="612" y="261"/>
                </a:lnTo>
                <a:lnTo>
                  <a:pt x="610" y="256"/>
                </a:lnTo>
                <a:lnTo>
                  <a:pt x="609" y="250"/>
                </a:lnTo>
                <a:lnTo>
                  <a:pt x="607" y="244"/>
                </a:lnTo>
                <a:lnTo>
                  <a:pt x="603" y="241"/>
                </a:lnTo>
                <a:lnTo>
                  <a:pt x="598" y="236"/>
                </a:lnTo>
                <a:lnTo>
                  <a:pt x="591" y="234"/>
                </a:lnTo>
                <a:lnTo>
                  <a:pt x="584" y="233"/>
                </a:lnTo>
                <a:lnTo>
                  <a:pt x="576" y="231"/>
                </a:lnTo>
                <a:lnTo>
                  <a:pt x="567" y="230"/>
                </a:lnTo>
                <a:lnTo>
                  <a:pt x="558" y="231"/>
                </a:lnTo>
                <a:lnTo>
                  <a:pt x="549" y="233"/>
                </a:lnTo>
                <a:lnTo>
                  <a:pt x="542" y="235"/>
                </a:lnTo>
                <a:lnTo>
                  <a:pt x="534" y="239"/>
                </a:lnTo>
                <a:lnTo>
                  <a:pt x="527" y="242"/>
                </a:lnTo>
                <a:lnTo>
                  <a:pt x="521" y="247"/>
                </a:lnTo>
                <a:lnTo>
                  <a:pt x="516" y="252"/>
                </a:lnTo>
                <a:lnTo>
                  <a:pt x="511" y="258"/>
                </a:lnTo>
                <a:lnTo>
                  <a:pt x="509" y="263"/>
                </a:lnTo>
                <a:lnTo>
                  <a:pt x="507" y="273"/>
                </a:lnTo>
                <a:lnTo>
                  <a:pt x="502" y="287"/>
                </a:lnTo>
                <a:lnTo>
                  <a:pt x="500" y="294"/>
                </a:lnTo>
                <a:lnTo>
                  <a:pt x="496" y="299"/>
                </a:lnTo>
                <a:lnTo>
                  <a:pt x="495" y="300"/>
                </a:lnTo>
                <a:lnTo>
                  <a:pt x="494" y="302"/>
                </a:lnTo>
                <a:lnTo>
                  <a:pt x="491" y="302"/>
                </a:lnTo>
                <a:lnTo>
                  <a:pt x="490" y="300"/>
                </a:lnTo>
                <a:lnTo>
                  <a:pt x="486" y="297"/>
                </a:lnTo>
                <a:lnTo>
                  <a:pt x="483" y="296"/>
                </a:lnTo>
                <a:lnTo>
                  <a:pt x="478" y="298"/>
                </a:lnTo>
                <a:lnTo>
                  <a:pt x="471" y="304"/>
                </a:lnTo>
                <a:lnTo>
                  <a:pt x="460" y="312"/>
                </a:lnTo>
                <a:lnTo>
                  <a:pt x="450" y="321"/>
                </a:lnTo>
                <a:lnTo>
                  <a:pt x="444" y="324"/>
                </a:lnTo>
                <a:lnTo>
                  <a:pt x="438" y="328"/>
                </a:lnTo>
                <a:lnTo>
                  <a:pt x="432" y="330"/>
                </a:lnTo>
                <a:lnTo>
                  <a:pt x="427" y="331"/>
                </a:lnTo>
                <a:lnTo>
                  <a:pt x="419" y="332"/>
                </a:lnTo>
                <a:lnTo>
                  <a:pt x="412" y="332"/>
                </a:lnTo>
                <a:lnTo>
                  <a:pt x="403" y="332"/>
                </a:lnTo>
                <a:lnTo>
                  <a:pt x="396" y="331"/>
                </a:lnTo>
                <a:lnTo>
                  <a:pt x="390" y="328"/>
                </a:lnTo>
                <a:lnTo>
                  <a:pt x="383" y="325"/>
                </a:lnTo>
                <a:lnTo>
                  <a:pt x="377" y="321"/>
                </a:lnTo>
                <a:lnTo>
                  <a:pt x="372" y="316"/>
                </a:lnTo>
                <a:lnTo>
                  <a:pt x="365" y="309"/>
                </a:lnTo>
                <a:lnTo>
                  <a:pt x="358" y="303"/>
                </a:lnTo>
                <a:lnTo>
                  <a:pt x="350" y="297"/>
                </a:lnTo>
                <a:lnTo>
                  <a:pt x="341" y="291"/>
                </a:lnTo>
                <a:lnTo>
                  <a:pt x="331" y="286"/>
                </a:lnTo>
                <a:lnTo>
                  <a:pt x="321" y="283"/>
                </a:lnTo>
                <a:lnTo>
                  <a:pt x="309" y="279"/>
                </a:lnTo>
                <a:lnTo>
                  <a:pt x="297" y="277"/>
                </a:lnTo>
                <a:lnTo>
                  <a:pt x="282" y="275"/>
                </a:lnTo>
                <a:lnTo>
                  <a:pt x="265" y="277"/>
                </a:lnTo>
                <a:lnTo>
                  <a:pt x="257" y="277"/>
                </a:lnTo>
                <a:lnTo>
                  <a:pt x="250" y="275"/>
                </a:lnTo>
                <a:lnTo>
                  <a:pt x="243" y="273"/>
                </a:lnTo>
                <a:lnTo>
                  <a:pt x="236" y="269"/>
                </a:lnTo>
                <a:lnTo>
                  <a:pt x="234" y="267"/>
                </a:lnTo>
                <a:lnTo>
                  <a:pt x="233" y="265"/>
                </a:lnTo>
                <a:lnTo>
                  <a:pt x="233" y="261"/>
                </a:lnTo>
                <a:lnTo>
                  <a:pt x="233" y="258"/>
                </a:lnTo>
                <a:lnTo>
                  <a:pt x="236" y="252"/>
                </a:lnTo>
                <a:lnTo>
                  <a:pt x="238" y="243"/>
                </a:lnTo>
                <a:lnTo>
                  <a:pt x="243" y="236"/>
                </a:lnTo>
                <a:lnTo>
                  <a:pt x="245" y="230"/>
                </a:lnTo>
                <a:lnTo>
                  <a:pt x="248" y="224"/>
                </a:lnTo>
                <a:lnTo>
                  <a:pt x="246" y="220"/>
                </a:lnTo>
                <a:lnTo>
                  <a:pt x="237" y="205"/>
                </a:lnTo>
                <a:lnTo>
                  <a:pt x="225" y="191"/>
                </a:lnTo>
                <a:lnTo>
                  <a:pt x="213" y="178"/>
                </a:lnTo>
                <a:lnTo>
                  <a:pt x="204" y="167"/>
                </a:lnTo>
                <a:lnTo>
                  <a:pt x="187" y="147"/>
                </a:lnTo>
                <a:lnTo>
                  <a:pt x="166" y="123"/>
                </a:lnTo>
                <a:lnTo>
                  <a:pt x="154" y="110"/>
                </a:lnTo>
                <a:lnTo>
                  <a:pt x="142" y="99"/>
                </a:lnTo>
                <a:lnTo>
                  <a:pt x="130" y="89"/>
                </a:lnTo>
                <a:lnTo>
                  <a:pt x="119" y="79"/>
                </a:lnTo>
                <a:lnTo>
                  <a:pt x="108" y="70"/>
                </a:lnTo>
                <a:lnTo>
                  <a:pt x="101" y="60"/>
                </a:lnTo>
                <a:lnTo>
                  <a:pt x="94" y="51"/>
                </a:lnTo>
                <a:lnTo>
                  <a:pt x="89" y="40"/>
                </a:lnTo>
                <a:lnTo>
                  <a:pt x="82" y="21"/>
                </a:lnTo>
                <a:lnTo>
                  <a:pt x="78" y="6"/>
                </a:lnTo>
                <a:lnTo>
                  <a:pt x="74" y="2"/>
                </a:lnTo>
                <a:lnTo>
                  <a:pt x="72" y="1"/>
                </a:lnTo>
                <a:lnTo>
                  <a:pt x="70" y="3"/>
                </a:lnTo>
                <a:lnTo>
                  <a:pt x="69" y="8"/>
                </a:lnTo>
                <a:lnTo>
                  <a:pt x="68" y="14"/>
                </a:lnTo>
                <a:lnTo>
                  <a:pt x="68" y="21"/>
                </a:lnTo>
                <a:lnTo>
                  <a:pt x="69" y="29"/>
                </a:lnTo>
                <a:lnTo>
                  <a:pt x="70" y="36"/>
                </a:lnTo>
                <a:lnTo>
                  <a:pt x="74" y="45"/>
                </a:lnTo>
                <a:lnTo>
                  <a:pt x="78" y="53"/>
                </a:lnTo>
                <a:lnTo>
                  <a:pt x="83" y="63"/>
                </a:lnTo>
                <a:lnTo>
                  <a:pt x="89" y="72"/>
                </a:lnTo>
                <a:lnTo>
                  <a:pt x="101" y="88"/>
                </a:lnTo>
                <a:lnTo>
                  <a:pt x="111" y="99"/>
                </a:lnTo>
                <a:lnTo>
                  <a:pt x="119" y="107"/>
                </a:lnTo>
                <a:lnTo>
                  <a:pt x="129" y="116"/>
                </a:lnTo>
                <a:lnTo>
                  <a:pt x="132" y="120"/>
                </a:lnTo>
                <a:lnTo>
                  <a:pt x="133" y="123"/>
                </a:lnTo>
                <a:lnTo>
                  <a:pt x="133" y="126"/>
                </a:lnTo>
                <a:lnTo>
                  <a:pt x="133" y="127"/>
                </a:lnTo>
                <a:lnTo>
                  <a:pt x="132" y="128"/>
                </a:lnTo>
                <a:lnTo>
                  <a:pt x="130" y="129"/>
                </a:lnTo>
                <a:lnTo>
                  <a:pt x="119" y="135"/>
                </a:lnTo>
                <a:lnTo>
                  <a:pt x="107" y="140"/>
                </a:lnTo>
                <a:lnTo>
                  <a:pt x="94" y="146"/>
                </a:lnTo>
                <a:lnTo>
                  <a:pt x="83" y="151"/>
                </a:lnTo>
                <a:lnTo>
                  <a:pt x="67" y="158"/>
                </a:lnTo>
                <a:lnTo>
                  <a:pt x="49" y="165"/>
                </a:lnTo>
                <a:lnTo>
                  <a:pt x="39" y="170"/>
                </a:lnTo>
                <a:lnTo>
                  <a:pt x="32" y="174"/>
                </a:lnTo>
                <a:lnTo>
                  <a:pt x="28" y="179"/>
                </a:lnTo>
                <a:lnTo>
                  <a:pt x="24" y="185"/>
                </a:lnTo>
                <a:lnTo>
                  <a:pt x="22" y="197"/>
                </a:lnTo>
                <a:lnTo>
                  <a:pt x="18" y="209"/>
                </a:lnTo>
                <a:lnTo>
                  <a:pt x="13" y="220"/>
                </a:lnTo>
                <a:lnTo>
                  <a:pt x="6" y="231"/>
                </a:lnTo>
                <a:lnTo>
                  <a:pt x="3" y="237"/>
                </a:lnTo>
                <a:lnTo>
                  <a:pt x="0" y="246"/>
                </a:lnTo>
                <a:lnTo>
                  <a:pt x="0" y="255"/>
                </a:lnTo>
                <a:lnTo>
                  <a:pt x="0" y="263"/>
                </a:lnTo>
                <a:lnTo>
                  <a:pt x="1" y="271"/>
                </a:lnTo>
                <a:lnTo>
                  <a:pt x="1" y="275"/>
                </a:lnTo>
                <a:lnTo>
                  <a:pt x="0" y="279"/>
                </a:lnTo>
                <a:lnTo>
                  <a:pt x="0" y="281"/>
                </a:lnTo>
                <a:lnTo>
                  <a:pt x="1" y="283"/>
                </a:lnTo>
                <a:lnTo>
                  <a:pt x="6" y="281"/>
                </a:lnTo>
                <a:lnTo>
                  <a:pt x="12" y="280"/>
                </a:lnTo>
                <a:lnTo>
                  <a:pt x="17" y="281"/>
                </a:lnTo>
                <a:lnTo>
                  <a:pt x="29" y="290"/>
                </a:lnTo>
                <a:lnTo>
                  <a:pt x="43" y="303"/>
                </a:lnTo>
                <a:lnTo>
                  <a:pt x="56" y="317"/>
                </a:lnTo>
                <a:lnTo>
                  <a:pt x="67" y="328"/>
                </a:lnTo>
                <a:lnTo>
                  <a:pt x="70" y="331"/>
                </a:lnTo>
                <a:lnTo>
                  <a:pt x="74" y="335"/>
                </a:lnTo>
                <a:lnTo>
                  <a:pt x="79" y="338"/>
                </a:lnTo>
                <a:lnTo>
                  <a:pt x="83" y="341"/>
                </a:lnTo>
                <a:lnTo>
                  <a:pt x="94" y="344"/>
                </a:lnTo>
                <a:lnTo>
                  <a:pt x="106" y="346"/>
                </a:lnTo>
                <a:lnTo>
                  <a:pt x="119" y="346"/>
                </a:lnTo>
                <a:lnTo>
                  <a:pt x="130" y="347"/>
                </a:lnTo>
                <a:lnTo>
                  <a:pt x="135" y="348"/>
                </a:lnTo>
                <a:lnTo>
                  <a:pt x="139" y="349"/>
                </a:lnTo>
                <a:lnTo>
                  <a:pt x="143" y="351"/>
                </a:lnTo>
                <a:lnTo>
                  <a:pt x="146" y="356"/>
                </a:lnTo>
                <a:lnTo>
                  <a:pt x="152" y="365"/>
                </a:lnTo>
                <a:lnTo>
                  <a:pt x="160" y="372"/>
                </a:lnTo>
                <a:lnTo>
                  <a:pt x="164" y="374"/>
                </a:lnTo>
                <a:lnTo>
                  <a:pt x="170" y="376"/>
                </a:lnTo>
                <a:lnTo>
                  <a:pt x="176" y="378"/>
                </a:lnTo>
                <a:lnTo>
                  <a:pt x="183" y="378"/>
                </a:lnTo>
                <a:lnTo>
                  <a:pt x="199" y="376"/>
                </a:lnTo>
                <a:lnTo>
                  <a:pt x="209" y="375"/>
                </a:lnTo>
                <a:lnTo>
                  <a:pt x="214" y="376"/>
                </a:lnTo>
                <a:lnTo>
                  <a:pt x="218" y="378"/>
                </a:lnTo>
                <a:lnTo>
                  <a:pt x="220" y="381"/>
                </a:lnTo>
                <a:lnTo>
                  <a:pt x="221" y="385"/>
                </a:lnTo>
                <a:lnTo>
                  <a:pt x="221" y="395"/>
                </a:lnTo>
                <a:lnTo>
                  <a:pt x="221" y="405"/>
                </a:lnTo>
                <a:lnTo>
                  <a:pt x="221" y="410"/>
                </a:lnTo>
                <a:lnTo>
                  <a:pt x="221" y="414"/>
                </a:lnTo>
                <a:lnTo>
                  <a:pt x="223" y="418"/>
                </a:lnTo>
                <a:lnTo>
                  <a:pt x="225" y="423"/>
                </a:lnTo>
                <a:lnTo>
                  <a:pt x="231" y="431"/>
                </a:lnTo>
                <a:lnTo>
                  <a:pt x="236" y="441"/>
                </a:lnTo>
                <a:lnTo>
                  <a:pt x="240" y="449"/>
                </a:lnTo>
                <a:lnTo>
                  <a:pt x="243" y="458"/>
                </a:lnTo>
                <a:lnTo>
                  <a:pt x="244" y="466"/>
                </a:lnTo>
                <a:lnTo>
                  <a:pt x="246" y="474"/>
                </a:lnTo>
                <a:lnTo>
                  <a:pt x="249" y="477"/>
                </a:lnTo>
                <a:lnTo>
                  <a:pt x="252" y="482"/>
                </a:lnTo>
                <a:lnTo>
                  <a:pt x="258" y="487"/>
                </a:lnTo>
                <a:lnTo>
                  <a:pt x="267" y="492"/>
                </a:lnTo>
                <a:lnTo>
                  <a:pt x="275" y="496"/>
                </a:lnTo>
                <a:lnTo>
                  <a:pt x="284" y="501"/>
                </a:lnTo>
                <a:lnTo>
                  <a:pt x="294" y="505"/>
                </a:lnTo>
                <a:lnTo>
                  <a:pt x="303" y="508"/>
                </a:lnTo>
                <a:lnTo>
                  <a:pt x="313" y="511"/>
                </a:lnTo>
                <a:lnTo>
                  <a:pt x="322" y="512"/>
                </a:lnTo>
                <a:lnTo>
                  <a:pt x="331" y="512"/>
                </a:lnTo>
                <a:lnTo>
                  <a:pt x="339" y="511"/>
                </a:lnTo>
                <a:lnTo>
                  <a:pt x="352" y="507"/>
                </a:lnTo>
                <a:lnTo>
                  <a:pt x="363" y="507"/>
                </a:lnTo>
                <a:lnTo>
                  <a:pt x="366" y="508"/>
                </a:lnTo>
                <a:lnTo>
                  <a:pt x="369" y="510"/>
                </a:lnTo>
                <a:lnTo>
                  <a:pt x="371" y="513"/>
                </a:lnTo>
                <a:lnTo>
                  <a:pt x="374" y="518"/>
                </a:lnTo>
                <a:lnTo>
                  <a:pt x="376" y="521"/>
                </a:lnTo>
                <a:lnTo>
                  <a:pt x="378" y="525"/>
                </a:lnTo>
                <a:lnTo>
                  <a:pt x="382" y="527"/>
                </a:lnTo>
                <a:lnTo>
                  <a:pt x="385" y="529"/>
                </a:lnTo>
                <a:lnTo>
                  <a:pt x="390" y="529"/>
                </a:lnTo>
                <a:lnTo>
                  <a:pt x="395" y="527"/>
                </a:lnTo>
                <a:lnTo>
                  <a:pt x="401" y="526"/>
                </a:lnTo>
                <a:lnTo>
                  <a:pt x="406" y="523"/>
                </a:lnTo>
                <a:lnTo>
                  <a:pt x="412" y="520"/>
                </a:lnTo>
                <a:lnTo>
                  <a:pt x="415" y="518"/>
                </a:lnTo>
                <a:lnTo>
                  <a:pt x="420" y="518"/>
                </a:lnTo>
                <a:lnTo>
                  <a:pt x="423" y="518"/>
                </a:lnTo>
                <a:lnTo>
                  <a:pt x="426" y="519"/>
                </a:lnTo>
                <a:lnTo>
                  <a:pt x="428" y="521"/>
                </a:lnTo>
                <a:lnTo>
                  <a:pt x="431" y="525"/>
                </a:lnTo>
                <a:lnTo>
                  <a:pt x="432" y="530"/>
                </a:lnTo>
                <a:lnTo>
                  <a:pt x="434" y="534"/>
                </a:lnTo>
                <a:lnTo>
                  <a:pt x="437" y="538"/>
                </a:lnTo>
                <a:lnTo>
                  <a:pt x="439" y="540"/>
                </a:lnTo>
                <a:lnTo>
                  <a:pt x="442" y="542"/>
                </a:lnTo>
                <a:lnTo>
                  <a:pt x="450" y="542"/>
                </a:lnTo>
                <a:lnTo>
                  <a:pt x="458" y="539"/>
                </a:lnTo>
                <a:lnTo>
                  <a:pt x="462" y="539"/>
                </a:lnTo>
                <a:lnTo>
                  <a:pt x="466" y="538"/>
                </a:lnTo>
                <a:lnTo>
                  <a:pt x="470" y="538"/>
                </a:lnTo>
                <a:lnTo>
                  <a:pt x="472" y="539"/>
                </a:lnTo>
                <a:lnTo>
                  <a:pt x="475" y="542"/>
                </a:lnTo>
                <a:lnTo>
                  <a:pt x="477" y="544"/>
                </a:lnTo>
                <a:lnTo>
                  <a:pt x="478" y="549"/>
                </a:lnTo>
                <a:lnTo>
                  <a:pt x="479" y="552"/>
                </a:lnTo>
                <a:lnTo>
                  <a:pt x="479" y="562"/>
                </a:lnTo>
                <a:lnTo>
                  <a:pt x="482" y="569"/>
                </a:lnTo>
                <a:lnTo>
                  <a:pt x="484" y="574"/>
                </a:lnTo>
                <a:lnTo>
                  <a:pt x="489" y="580"/>
                </a:lnTo>
                <a:lnTo>
                  <a:pt x="492" y="581"/>
                </a:lnTo>
                <a:lnTo>
                  <a:pt x="497" y="582"/>
                </a:lnTo>
                <a:lnTo>
                  <a:pt x="501" y="582"/>
                </a:lnTo>
                <a:lnTo>
                  <a:pt x="505" y="582"/>
                </a:lnTo>
                <a:lnTo>
                  <a:pt x="509" y="582"/>
                </a:lnTo>
                <a:lnTo>
                  <a:pt x="511" y="583"/>
                </a:lnTo>
                <a:lnTo>
                  <a:pt x="514" y="586"/>
                </a:lnTo>
                <a:lnTo>
                  <a:pt x="514" y="589"/>
                </a:lnTo>
                <a:lnTo>
                  <a:pt x="513" y="599"/>
                </a:lnTo>
                <a:lnTo>
                  <a:pt x="511" y="609"/>
                </a:lnTo>
                <a:lnTo>
                  <a:pt x="510" y="619"/>
                </a:lnTo>
                <a:lnTo>
                  <a:pt x="509" y="630"/>
                </a:lnTo>
                <a:lnTo>
                  <a:pt x="510" y="634"/>
                </a:lnTo>
                <a:lnTo>
                  <a:pt x="510" y="637"/>
                </a:lnTo>
                <a:lnTo>
                  <a:pt x="513" y="639"/>
                </a:lnTo>
                <a:lnTo>
                  <a:pt x="516" y="641"/>
                </a:lnTo>
                <a:lnTo>
                  <a:pt x="525" y="643"/>
                </a:lnTo>
                <a:lnTo>
                  <a:pt x="540" y="643"/>
                </a:lnTo>
                <a:lnTo>
                  <a:pt x="558" y="643"/>
                </a:lnTo>
                <a:lnTo>
                  <a:pt x="573" y="643"/>
                </a:lnTo>
                <a:lnTo>
                  <a:pt x="588" y="640"/>
                </a:lnTo>
                <a:lnTo>
                  <a:pt x="605" y="637"/>
                </a:lnTo>
                <a:lnTo>
                  <a:pt x="616" y="636"/>
                </a:lnTo>
                <a:lnTo>
                  <a:pt x="627" y="633"/>
                </a:lnTo>
                <a:lnTo>
                  <a:pt x="636" y="631"/>
                </a:lnTo>
                <a:lnTo>
                  <a:pt x="645" y="630"/>
                </a:lnTo>
                <a:lnTo>
                  <a:pt x="652" y="630"/>
                </a:lnTo>
                <a:lnTo>
                  <a:pt x="656" y="630"/>
                </a:lnTo>
                <a:lnTo>
                  <a:pt x="660" y="632"/>
                </a:lnTo>
                <a:lnTo>
                  <a:pt x="664" y="636"/>
                </a:lnTo>
                <a:lnTo>
                  <a:pt x="665" y="639"/>
                </a:lnTo>
                <a:lnTo>
                  <a:pt x="666" y="643"/>
                </a:lnTo>
                <a:lnTo>
                  <a:pt x="667" y="649"/>
                </a:lnTo>
                <a:lnTo>
                  <a:pt x="667" y="653"/>
                </a:lnTo>
                <a:lnTo>
                  <a:pt x="667" y="662"/>
                </a:lnTo>
                <a:lnTo>
                  <a:pt x="665" y="670"/>
                </a:lnTo>
                <a:lnTo>
                  <a:pt x="662" y="678"/>
                </a:lnTo>
                <a:lnTo>
                  <a:pt x="660" y="685"/>
                </a:lnTo>
                <a:lnTo>
                  <a:pt x="658" y="693"/>
                </a:lnTo>
                <a:lnTo>
                  <a:pt x="659" y="700"/>
                </a:lnTo>
                <a:lnTo>
                  <a:pt x="660" y="706"/>
                </a:lnTo>
                <a:lnTo>
                  <a:pt x="661" y="713"/>
                </a:lnTo>
                <a:lnTo>
                  <a:pt x="664" y="727"/>
                </a:lnTo>
                <a:lnTo>
                  <a:pt x="664" y="738"/>
                </a:lnTo>
                <a:lnTo>
                  <a:pt x="660" y="739"/>
                </a:lnTo>
                <a:lnTo>
                  <a:pt x="653" y="739"/>
                </a:lnTo>
                <a:lnTo>
                  <a:pt x="645" y="738"/>
                </a:lnTo>
                <a:lnTo>
                  <a:pt x="639" y="737"/>
                </a:lnTo>
                <a:lnTo>
                  <a:pt x="631" y="734"/>
                </a:lnTo>
                <a:lnTo>
                  <a:pt x="627" y="734"/>
                </a:lnTo>
                <a:lnTo>
                  <a:pt x="626" y="738"/>
                </a:lnTo>
                <a:lnTo>
                  <a:pt x="624" y="745"/>
                </a:lnTo>
                <a:lnTo>
                  <a:pt x="623" y="756"/>
                </a:lnTo>
                <a:lnTo>
                  <a:pt x="624" y="767"/>
                </a:lnTo>
                <a:lnTo>
                  <a:pt x="626" y="777"/>
                </a:lnTo>
                <a:lnTo>
                  <a:pt x="627" y="785"/>
                </a:lnTo>
                <a:lnTo>
                  <a:pt x="626" y="789"/>
                </a:lnTo>
                <a:lnTo>
                  <a:pt x="624" y="791"/>
                </a:lnTo>
                <a:lnTo>
                  <a:pt x="623" y="795"/>
                </a:lnTo>
                <a:lnTo>
                  <a:pt x="620" y="798"/>
                </a:lnTo>
                <a:lnTo>
                  <a:pt x="615" y="804"/>
                </a:lnTo>
                <a:lnTo>
                  <a:pt x="611" y="809"/>
                </a:lnTo>
                <a:lnTo>
                  <a:pt x="609" y="816"/>
                </a:lnTo>
                <a:lnTo>
                  <a:pt x="609" y="826"/>
                </a:lnTo>
                <a:lnTo>
                  <a:pt x="608" y="835"/>
                </a:lnTo>
                <a:lnTo>
                  <a:pt x="607" y="844"/>
                </a:lnTo>
                <a:lnTo>
                  <a:pt x="605" y="847"/>
                </a:lnTo>
                <a:lnTo>
                  <a:pt x="607" y="852"/>
                </a:lnTo>
                <a:lnTo>
                  <a:pt x="608" y="855"/>
                </a:lnTo>
                <a:lnTo>
                  <a:pt x="609" y="860"/>
                </a:lnTo>
                <a:lnTo>
                  <a:pt x="614" y="866"/>
                </a:lnTo>
                <a:lnTo>
                  <a:pt x="617" y="871"/>
                </a:lnTo>
                <a:lnTo>
                  <a:pt x="620" y="877"/>
                </a:lnTo>
                <a:lnTo>
                  <a:pt x="622" y="883"/>
                </a:lnTo>
                <a:lnTo>
                  <a:pt x="623" y="888"/>
                </a:lnTo>
                <a:lnTo>
                  <a:pt x="626" y="890"/>
                </a:lnTo>
                <a:lnTo>
                  <a:pt x="628" y="891"/>
                </a:lnTo>
                <a:lnTo>
                  <a:pt x="634" y="891"/>
                </a:lnTo>
                <a:lnTo>
                  <a:pt x="640" y="891"/>
                </a:lnTo>
                <a:lnTo>
                  <a:pt x="647" y="891"/>
                </a:lnTo>
                <a:lnTo>
                  <a:pt x="654" y="889"/>
                </a:lnTo>
                <a:lnTo>
                  <a:pt x="661" y="885"/>
                </a:lnTo>
                <a:lnTo>
                  <a:pt x="665" y="882"/>
                </a:lnTo>
                <a:lnTo>
                  <a:pt x="668" y="876"/>
                </a:lnTo>
                <a:lnTo>
                  <a:pt x="672" y="868"/>
                </a:lnTo>
                <a:lnTo>
                  <a:pt x="674" y="861"/>
                </a:lnTo>
                <a:lnTo>
                  <a:pt x="678" y="853"/>
                </a:lnTo>
                <a:lnTo>
                  <a:pt x="680" y="846"/>
                </a:lnTo>
                <a:lnTo>
                  <a:pt x="684" y="841"/>
                </a:lnTo>
                <a:lnTo>
                  <a:pt x="687" y="839"/>
                </a:lnTo>
                <a:lnTo>
                  <a:pt x="692" y="840"/>
                </a:lnTo>
                <a:lnTo>
                  <a:pt x="696" y="841"/>
                </a:lnTo>
                <a:lnTo>
                  <a:pt x="698" y="844"/>
                </a:lnTo>
                <a:lnTo>
                  <a:pt x="700" y="848"/>
                </a:lnTo>
                <a:lnTo>
                  <a:pt x="703" y="853"/>
                </a:lnTo>
                <a:lnTo>
                  <a:pt x="704" y="858"/>
                </a:lnTo>
                <a:lnTo>
                  <a:pt x="705" y="865"/>
                </a:lnTo>
                <a:lnTo>
                  <a:pt x="706" y="871"/>
                </a:lnTo>
                <a:lnTo>
                  <a:pt x="708" y="892"/>
                </a:lnTo>
                <a:lnTo>
                  <a:pt x="711" y="904"/>
                </a:lnTo>
                <a:lnTo>
                  <a:pt x="714" y="916"/>
                </a:lnTo>
                <a:lnTo>
                  <a:pt x="718" y="929"/>
                </a:lnTo>
                <a:lnTo>
                  <a:pt x="721" y="936"/>
                </a:lnTo>
                <a:lnTo>
                  <a:pt x="725" y="943"/>
                </a:lnTo>
                <a:lnTo>
                  <a:pt x="730" y="952"/>
                </a:lnTo>
                <a:lnTo>
                  <a:pt x="736" y="959"/>
                </a:lnTo>
                <a:lnTo>
                  <a:pt x="738" y="961"/>
                </a:lnTo>
                <a:lnTo>
                  <a:pt x="738" y="964"/>
                </a:lnTo>
                <a:lnTo>
                  <a:pt x="737" y="966"/>
                </a:lnTo>
                <a:lnTo>
                  <a:pt x="735" y="968"/>
                </a:lnTo>
                <a:lnTo>
                  <a:pt x="731" y="971"/>
                </a:lnTo>
                <a:lnTo>
                  <a:pt x="729" y="974"/>
                </a:lnTo>
                <a:lnTo>
                  <a:pt x="727" y="977"/>
                </a:lnTo>
                <a:lnTo>
                  <a:pt x="725" y="980"/>
                </a:lnTo>
                <a:lnTo>
                  <a:pt x="725" y="986"/>
                </a:lnTo>
                <a:lnTo>
                  <a:pt x="725" y="993"/>
                </a:lnTo>
                <a:lnTo>
                  <a:pt x="728" y="1002"/>
                </a:lnTo>
                <a:lnTo>
                  <a:pt x="733" y="1010"/>
                </a:lnTo>
                <a:lnTo>
                  <a:pt x="740" y="1022"/>
                </a:lnTo>
                <a:lnTo>
                  <a:pt x="750" y="1035"/>
                </a:lnTo>
                <a:lnTo>
                  <a:pt x="762" y="1046"/>
                </a:lnTo>
                <a:lnTo>
                  <a:pt x="771" y="1054"/>
                </a:lnTo>
                <a:lnTo>
                  <a:pt x="777" y="1059"/>
                </a:lnTo>
                <a:lnTo>
                  <a:pt x="784" y="1061"/>
                </a:lnTo>
                <a:lnTo>
                  <a:pt x="790" y="1061"/>
                </a:lnTo>
                <a:lnTo>
                  <a:pt x="797" y="1059"/>
                </a:lnTo>
                <a:lnTo>
                  <a:pt x="805" y="1056"/>
                </a:lnTo>
                <a:lnTo>
                  <a:pt x="816" y="1055"/>
                </a:lnTo>
                <a:lnTo>
                  <a:pt x="829" y="1055"/>
                </a:lnTo>
                <a:lnTo>
                  <a:pt x="838" y="1056"/>
                </a:lnTo>
                <a:lnTo>
                  <a:pt x="850" y="1057"/>
                </a:lnTo>
                <a:lnTo>
                  <a:pt x="866" y="1055"/>
                </a:lnTo>
                <a:lnTo>
                  <a:pt x="880" y="1054"/>
                </a:lnTo>
                <a:lnTo>
                  <a:pt x="891" y="1054"/>
                </a:lnTo>
                <a:lnTo>
                  <a:pt x="899" y="1053"/>
                </a:lnTo>
                <a:lnTo>
                  <a:pt x="906" y="1052"/>
                </a:lnTo>
                <a:lnTo>
                  <a:pt x="908" y="1049"/>
                </a:lnTo>
                <a:lnTo>
                  <a:pt x="911" y="1047"/>
                </a:lnTo>
                <a:lnTo>
                  <a:pt x="913" y="1043"/>
                </a:lnTo>
                <a:lnTo>
                  <a:pt x="913" y="1040"/>
                </a:lnTo>
                <a:lnTo>
                  <a:pt x="912" y="1029"/>
                </a:lnTo>
                <a:lnTo>
                  <a:pt x="911" y="1018"/>
                </a:lnTo>
                <a:lnTo>
                  <a:pt x="911" y="1013"/>
                </a:lnTo>
                <a:lnTo>
                  <a:pt x="912" y="1010"/>
                </a:lnTo>
                <a:lnTo>
                  <a:pt x="914" y="1006"/>
                </a:lnTo>
                <a:lnTo>
                  <a:pt x="919" y="1004"/>
                </a:lnTo>
                <a:lnTo>
                  <a:pt x="924" y="1000"/>
                </a:lnTo>
                <a:lnTo>
                  <a:pt x="926" y="997"/>
                </a:lnTo>
                <a:lnTo>
                  <a:pt x="929" y="992"/>
                </a:lnTo>
                <a:lnTo>
                  <a:pt x="929" y="986"/>
                </a:lnTo>
                <a:lnTo>
                  <a:pt x="929" y="980"/>
                </a:lnTo>
                <a:lnTo>
                  <a:pt x="930" y="973"/>
                </a:lnTo>
                <a:lnTo>
                  <a:pt x="931" y="967"/>
                </a:lnTo>
                <a:lnTo>
                  <a:pt x="935" y="961"/>
                </a:lnTo>
                <a:lnTo>
                  <a:pt x="939" y="956"/>
                </a:lnTo>
                <a:lnTo>
                  <a:pt x="945" y="954"/>
                </a:lnTo>
                <a:lnTo>
                  <a:pt x="952" y="952"/>
                </a:lnTo>
                <a:lnTo>
                  <a:pt x="960" y="950"/>
                </a:lnTo>
                <a:lnTo>
                  <a:pt x="974" y="950"/>
                </a:lnTo>
                <a:lnTo>
                  <a:pt x="986" y="950"/>
                </a:lnTo>
                <a:lnTo>
                  <a:pt x="989" y="950"/>
                </a:lnTo>
                <a:lnTo>
                  <a:pt x="993" y="952"/>
                </a:lnTo>
                <a:lnTo>
                  <a:pt x="995" y="953"/>
                </a:lnTo>
                <a:lnTo>
                  <a:pt x="998" y="955"/>
                </a:lnTo>
                <a:lnTo>
                  <a:pt x="1002" y="962"/>
                </a:lnTo>
                <a:lnTo>
                  <a:pt x="1007" y="971"/>
                </a:lnTo>
                <a:lnTo>
                  <a:pt x="1010" y="975"/>
                </a:lnTo>
                <a:lnTo>
                  <a:pt x="1013" y="979"/>
                </a:lnTo>
                <a:lnTo>
                  <a:pt x="1017" y="983"/>
                </a:lnTo>
                <a:lnTo>
                  <a:pt x="1021" y="986"/>
                </a:lnTo>
                <a:lnTo>
                  <a:pt x="1031" y="992"/>
                </a:lnTo>
                <a:lnTo>
                  <a:pt x="1040" y="996"/>
                </a:lnTo>
                <a:lnTo>
                  <a:pt x="1051" y="1000"/>
                </a:lnTo>
                <a:lnTo>
                  <a:pt x="1063" y="1008"/>
                </a:lnTo>
                <a:lnTo>
                  <a:pt x="1068" y="1011"/>
                </a:lnTo>
                <a:lnTo>
                  <a:pt x="1073" y="1017"/>
                </a:lnTo>
                <a:lnTo>
                  <a:pt x="1076" y="1023"/>
                </a:lnTo>
                <a:lnTo>
                  <a:pt x="1077" y="1030"/>
                </a:lnTo>
                <a:lnTo>
                  <a:pt x="1081" y="1046"/>
                </a:lnTo>
                <a:lnTo>
                  <a:pt x="1083" y="1062"/>
                </a:lnTo>
                <a:lnTo>
                  <a:pt x="1084" y="1076"/>
                </a:lnTo>
                <a:lnTo>
                  <a:pt x="1086" y="1090"/>
                </a:lnTo>
                <a:lnTo>
                  <a:pt x="1084" y="1096"/>
                </a:lnTo>
                <a:lnTo>
                  <a:pt x="1083" y="1103"/>
                </a:lnTo>
                <a:lnTo>
                  <a:pt x="1081" y="1109"/>
                </a:lnTo>
                <a:lnTo>
                  <a:pt x="1077" y="1116"/>
                </a:lnTo>
                <a:lnTo>
                  <a:pt x="1071" y="1129"/>
                </a:lnTo>
                <a:lnTo>
                  <a:pt x="1067" y="1141"/>
                </a:lnTo>
                <a:lnTo>
                  <a:pt x="1063" y="1149"/>
                </a:lnTo>
                <a:lnTo>
                  <a:pt x="1061" y="1155"/>
                </a:lnTo>
                <a:lnTo>
                  <a:pt x="1057" y="1160"/>
                </a:lnTo>
                <a:lnTo>
                  <a:pt x="1055" y="1162"/>
                </a:lnTo>
                <a:lnTo>
                  <a:pt x="1054" y="1162"/>
                </a:lnTo>
                <a:lnTo>
                  <a:pt x="1051" y="1162"/>
                </a:lnTo>
                <a:lnTo>
                  <a:pt x="1049" y="1161"/>
                </a:lnTo>
                <a:lnTo>
                  <a:pt x="1045" y="1160"/>
                </a:lnTo>
                <a:lnTo>
                  <a:pt x="1039" y="1155"/>
                </a:lnTo>
                <a:lnTo>
                  <a:pt x="1033" y="1148"/>
                </a:lnTo>
                <a:lnTo>
                  <a:pt x="1024" y="1138"/>
                </a:lnTo>
                <a:lnTo>
                  <a:pt x="1012" y="1128"/>
                </a:lnTo>
                <a:lnTo>
                  <a:pt x="999" y="1119"/>
                </a:lnTo>
                <a:lnTo>
                  <a:pt x="987" y="1112"/>
                </a:lnTo>
                <a:lnTo>
                  <a:pt x="980" y="1111"/>
                </a:lnTo>
                <a:lnTo>
                  <a:pt x="973" y="1109"/>
                </a:lnTo>
                <a:lnTo>
                  <a:pt x="963" y="1107"/>
                </a:lnTo>
                <a:lnTo>
                  <a:pt x="954" y="1106"/>
                </a:lnTo>
                <a:lnTo>
                  <a:pt x="936" y="1106"/>
                </a:lnTo>
                <a:lnTo>
                  <a:pt x="922" y="1107"/>
                </a:lnTo>
                <a:lnTo>
                  <a:pt x="912" y="1109"/>
                </a:lnTo>
                <a:lnTo>
                  <a:pt x="901" y="1111"/>
                </a:lnTo>
                <a:lnTo>
                  <a:pt x="891" y="1113"/>
                </a:lnTo>
                <a:lnTo>
                  <a:pt x="880" y="1113"/>
                </a:lnTo>
                <a:lnTo>
                  <a:pt x="874" y="1113"/>
                </a:lnTo>
                <a:lnTo>
                  <a:pt x="869" y="1113"/>
                </a:lnTo>
                <a:lnTo>
                  <a:pt x="866" y="1115"/>
                </a:lnTo>
                <a:lnTo>
                  <a:pt x="862" y="1116"/>
                </a:lnTo>
                <a:lnTo>
                  <a:pt x="861" y="1118"/>
                </a:lnTo>
                <a:lnTo>
                  <a:pt x="860" y="1122"/>
                </a:lnTo>
                <a:lnTo>
                  <a:pt x="860" y="1125"/>
                </a:lnTo>
                <a:lnTo>
                  <a:pt x="861" y="1130"/>
                </a:lnTo>
                <a:lnTo>
                  <a:pt x="867" y="1143"/>
                </a:lnTo>
                <a:lnTo>
                  <a:pt x="870" y="1154"/>
                </a:lnTo>
                <a:lnTo>
                  <a:pt x="872" y="1157"/>
                </a:lnTo>
                <a:lnTo>
                  <a:pt x="873" y="1161"/>
                </a:lnTo>
                <a:lnTo>
                  <a:pt x="874" y="1163"/>
                </a:lnTo>
                <a:lnTo>
                  <a:pt x="876" y="1164"/>
                </a:lnTo>
                <a:lnTo>
                  <a:pt x="881" y="1167"/>
                </a:lnTo>
                <a:lnTo>
                  <a:pt x="887" y="1168"/>
                </a:lnTo>
                <a:lnTo>
                  <a:pt x="891" y="1169"/>
                </a:lnTo>
                <a:lnTo>
                  <a:pt x="894" y="1170"/>
                </a:lnTo>
                <a:lnTo>
                  <a:pt x="895" y="1174"/>
                </a:lnTo>
                <a:lnTo>
                  <a:pt x="898" y="1178"/>
                </a:lnTo>
                <a:lnTo>
                  <a:pt x="899" y="1186"/>
                </a:lnTo>
                <a:lnTo>
                  <a:pt x="900" y="1198"/>
                </a:lnTo>
                <a:lnTo>
                  <a:pt x="900" y="1211"/>
                </a:lnTo>
                <a:lnTo>
                  <a:pt x="900" y="1223"/>
                </a:lnTo>
                <a:lnTo>
                  <a:pt x="901" y="1235"/>
                </a:lnTo>
                <a:lnTo>
                  <a:pt x="903" y="1244"/>
                </a:lnTo>
                <a:lnTo>
                  <a:pt x="904" y="1248"/>
                </a:lnTo>
                <a:lnTo>
                  <a:pt x="903" y="1252"/>
                </a:lnTo>
                <a:lnTo>
                  <a:pt x="903" y="1257"/>
                </a:lnTo>
                <a:lnTo>
                  <a:pt x="901" y="1261"/>
                </a:lnTo>
                <a:lnTo>
                  <a:pt x="897" y="1269"/>
                </a:lnTo>
                <a:lnTo>
                  <a:pt x="893" y="1277"/>
                </a:lnTo>
                <a:lnTo>
                  <a:pt x="891" y="1280"/>
                </a:lnTo>
                <a:lnTo>
                  <a:pt x="886" y="1281"/>
                </a:lnTo>
                <a:lnTo>
                  <a:pt x="881" y="1280"/>
                </a:lnTo>
                <a:lnTo>
                  <a:pt x="875" y="1280"/>
                </a:lnTo>
                <a:lnTo>
                  <a:pt x="868" y="1279"/>
                </a:lnTo>
                <a:lnTo>
                  <a:pt x="861" y="1279"/>
                </a:lnTo>
                <a:lnTo>
                  <a:pt x="854" y="1279"/>
                </a:lnTo>
                <a:lnTo>
                  <a:pt x="847" y="1281"/>
                </a:lnTo>
                <a:lnTo>
                  <a:pt x="845" y="1287"/>
                </a:lnTo>
                <a:lnTo>
                  <a:pt x="848" y="1301"/>
                </a:lnTo>
                <a:lnTo>
                  <a:pt x="849" y="1314"/>
                </a:lnTo>
                <a:lnTo>
                  <a:pt x="849" y="1321"/>
                </a:lnTo>
                <a:lnTo>
                  <a:pt x="837" y="1330"/>
                </a:lnTo>
                <a:lnTo>
                  <a:pt x="826" y="1338"/>
                </a:lnTo>
                <a:lnTo>
                  <a:pt x="816" y="1345"/>
                </a:lnTo>
                <a:lnTo>
                  <a:pt x="810" y="1350"/>
                </a:lnTo>
                <a:lnTo>
                  <a:pt x="805" y="1352"/>
                </a:lnTo>
                <a:lnTo>
                  <a:pt x="803" y="1355"/>
                </a:lnTo>
                <a:lnTo>
                  <a:pt x="801" y="1357"/>
                </a:lnTo>
                <a:lnTo>
                  <a:pt x="801" y="1358"/>
                </a:lnTo>
                <a:lnTo>
                  <a:pt x="804" y="1362"/>
                </a:lnTo>
                <a:lnTo>
                  <a:pt x="806" y="1369"/>
                </a:lnTo>
                <a:lnTo>
                  <a:pt x="806" y="1377"/>
                </a:lnTo>
                <a:lnTo>
                  <a:pt x="806" y="1387"/>
                </a:lnTo>
                <a:lnTo>
                  <a:pt x="804" y="1395"/>
                </a:lnTo>
                <a:lnTo>
                  <a:pt x="803" y="1403"/>
                </a:lnTo>
                <a:lnTo>
                  <a:pt x="803" y="1407"/>
                </a:lnTo>
                <a:lnTo>
                  <a:pt x="804" y="1412"/>
                </a:lnTo>
                <a:lnTo>
                  <a:pt x="806" y="1415"/>
                </a:lnTo>
                <a:lnTo>
                  <a:pt x="810" y="1420"/>
                </a:lnTo>
                <a:lnTo>
                  <a:pt x="816" y="1425"/>
                </a:lnTo>
                <a:lnTo>
                  <a:pt x="824" y="1429"/>
                </a:lnTo>
                <a:lnTo>
                  <a:pt x="834" y="1433"/>
                </a:lnTo>
                <a:lnTo>
                  <a:pt x="842" y="1437"/>
                </a:lnTo>
                <a:lnTo>
                  <a:pt x="848" y="1439"/>
                </a:lnTo>
                <a:lnTo>
                  <a:pt x="851" y="1443"/>
                </a:lnTo>
                <a:lnTo>
                  <a:pt x="854" y="1446"/>
                </a:lnTo>
                <a:lnTo>
                  <a:pt x="855" y="1451"/>
                </a:lnTo>
                <a:lnTo>
                  <a:pt x="856" y="1458"/>
                </a:lnTo>
                <a:lnTo>
                  <a:pt x="857" y="1465"/>
                </a:lnTo>
                <a:lnTo>
                  <a:pt x="861" y="1470"/>
                </a:lnTo>
                <a:lnTo>
                  <a:pt x="864" y="1473"/>
                </a:lnTo>
                <a:lnTo>
                  <a:pt x="869" y="1477"/>
                </a:lnTo>
                <a:lnTo>
                  <a:pt x="875" y="1479"/>
                </a:lnTo>
                <a:lnTo>
                  <a:pt x="882" y="1481"/>
                </a:lnTo>
                <a:lnTo>
                  <a:pt x="891" y="1481"/>
                </a:lnTo>
                <a:lnTo>
                  <a:pt x="904" y="1481"/>
                </a:lnTo>
                <a:lnTo>
                  <a:pt x="913" y="1483"/>
                </a:lnTo>
                <a:lnTo>
                  <a:pt x="917" y="1484"/>
                </a:lnTo>
                <a:lnTo>
                  <a:pt x="920" y="1487"/>
                </a:lnTo>
                <a:lnTo>
                  <a:pt x="922" y="1490"/>
                </a:lnTo>
                <a:lnTo>
                  <a:pt x="922" y="1494"/>
                </a:lnTo>
                <a:lnTo>
                  <a:pt x="920" y="1502"/>
                </a:lnTo>
                <a:lnTo>
                  <a:pt x="917" y="1510"/>
                </a:lnTo>
                <a:lnTo>
                  <a:pt x="916" y="1515"/>
                </a:lnTo>
                <a:lnTo>
                  <a:pt x="914" y="1519"/>
                </a:lnTo>
                <a:lnTo>
                  <a:pt x="914" y="1522"/>
                </a:lnTo>
                <a:lnTo>
                  <a:pt x="916" y="1527"/>
                </a:lnTo>
                <a:lnTo>
                  <a:pt x="917" y="1531"/>
                </a:lnTo>
                <a:lnTo>
                  <a:pt x="919" y="1533"/>
                </a:lnTo>
                <a:lnTo>
                  <a:pt x="923" y="1534"/>
                </a:lnTo>
                <a:lnTo>
                  <a:pt x="925" y="1534"/>
                </a:lnTo>
                <a:lnTo>
                  <a:pt x="929" y="1533"/>
                </a:lnTo>
                <a:lnTo>
                  <a:pt x="933" y="1532"/>
                </a:lnTo>
                <a:lnTo>
                  <a:pt x="937" y="1529"/>
                </a:lnTo>
                <a:lnTo>
                  <a:pt x="941" y="1525"/>
                </a:lnTo>
                <a:lnTo>
                  <a:pt x="948" y="1516"/>
                </a:lnTo>
                <a:lnTo>
                  <a:pt x="955" y="1509"/>
                </a:lnTo>
                <a:lnTo>
                  <a:pt x="957" y="1507"/>
                </a:lnTo>
                <a:lnTo>
                  <a:pt x="960" y="1506"/>
                </a:lnTo>
                <a:lnTo>
                  <a:pt x="962" y="1507"/>
                </a:lnTo>
                <a:lnTo>
                  <a:pt x="963" y="1509"/>
                </a:lnTo>
                <a:lnTo>
                  <a:pt x="964" y="1517"/>
                </a:lnTo>
                <a:lnTo>
                  <a:pt x="966" y="1525"/>
                </a:lnTo>
                <a:lnTo>
                  <a:pt x="967" y="1528"/>
                </a:lnTo>
                <a:lnTo>
                  <a:pt x="968" y="1531"/>
                </a:lnTo>
                <a:lnTo>
                  <a:pt x="969" y="1533"/>
                </a:lnTo>
                <a:lnTo>
                  <a:pt x="971" y="1534"/>
                </a:lnTo>
                <a:lnTo>
                  <a:pt x="974" y="1533"/>
                </a:lnTo>
                <a:lnTo>
                  <a:pt x="976" y="1532"/>
                </a:lnTo>
                <a:lnTo>
                  <a:pt x="977" y="1528"/>
                </a:lnTo>
                <a:lnTo>
                  <a:pt x="980" y="1526"/>
                </a:lnTo>
                <a:lnTo>
                  <a:pt x="982" y="1522"/>
                </a:lnTo>
                <a:lnTo>
                  <a:pt x="985" y="1520"/>
                </a:lnTo>
                <a:lnTo>
                  <a:pt x="988" y="1519"/>
                </a:lnTo>
                <a:lnTo>
                  <a:pt x="993" y="1519"/>
                </a:lnTo>
                <a:lnTo>
                  <a:pt x="994" y="1520"/>
                </a:lnTo>
                <a:lnTo>
                  <a:pt x="996" y="1521"/>
                </a:lnTo>
                <a:lnTo>
                  <a:pt x="999" y="1523"/>
                </a:lnTo>
                <a:lnTo>
                  <a:pt x="1000" y="1526"/>
                </a:lnTo>
                <a:lnTo>
                  <a:pt x="1002" y="1533"/>
                </a:lnTo>
                <a:lnTo>
                  <a:pt x="1004" y="1541"/>
                </a:lnTo>
                <a:lnTo>
                  <a:pt x="1005" y="1558"/>
                </a:lnTo>
                <a:lnTo>
                  <a:pt x="1005" y="1570"/>
                </a:lnTo>
                <a:lnTo>
                  <a:pt x="1005" y="1580"/>
                </a:lnTo>
                <a:lnTo>
                  <a:pt x="1004" y="1596"/>
                </a:lnTo>
                <a:lnTo>
                  <a:pt x="1001" y="1604"/>
                </a:lnTo>
                <a:lnTo>
                  <a:pt x="1000" y="1613"/>
                </a:lnTo>
                <a:lnTo>
                  <a:pt x="996" y="1620"/>
                </a:lnTo>
                <a:lnTo>
                  <a:pt x="993" y="1627"/>
                </a:lnTo>
                <a:lnTo>
                  <a:pt x="987" y="1638"/>
                </a:lnTo>
                <a:lnTo>
                  <a:pt x="980" y="1643"/>
                </a:lnTo>
                <a:lnTo>
                  <a:pt x="973" y="1648"/>
                </a:lnTo>
                <a:lnTo>
                  <a:pt x="966" y="1651"/>
                </a:lnTo>
                <a:lnTo>
                  <a:pt x="962" y="1652"/>
                </a:lnTo>
                <a:lnTo>
                  <a:pt x="958" y="1654"/>
                </a:lnTo>
                <a:lnTo>
                  <a:pt x="956" y="1658"/>
                </a:lnTo>
                <a:lnTo>
                  <a:pt x="955" y="1660"/>
                </a:lnTo>
                <a:lnTo>
                  <a:pt x="954" y="1664"/>
                </a:lnTo>
                <a:lnTo>
                  <a:pt x="955" y="1667"/>
                </a:lnTo>
                <a:lnTo>
                  <a:pt x="956" y="1670"/>
                </a:lnTo>
                <a:lnTo>
                  <a:pt x="958" y="1673"/>
                </a:lnTo>
                <a:lnTo>
                  <a:pt x="966" y="1678"/>
                </a:lnTo>
                <a:lnTo>
                  <a:pt x="970" y="1683"/>
                </a:lnTo>
                <a:lnTo>
                  <a:pt x="975" y="1689"/>
                </a:lnTo>
                <a:lnTo>
                  <a:pt x="977" y="1695"/>
                </a:lnTo>
                <a:lnTo>
                  <a:pt x="980" y="1697"/>
                </a:lnTo>
                <a:lnTo>
                  <a:pt x="983" y="1698"/>
                </a:lnTo>
                <a:lnTo>
                  <a:pt x="989" y="1699"/>
                </a:lnTo>
                <a:lnTo>
                  <a:pt x="996" y="1699"/>
                </a:lnTo>
                <a:lnTo>
                  <a:pt x="1011" y="1698"/>
                </a:lnTo>
                <a:lnTo>
                  <a:pt x="1024" y="1697"/>
                </a:lnTo>
                <a:lnTo>
                  <a:pt x="1040" y="1695"/>
                </a:lnTo>
                <a:lnTo>
                  <a:pt x="1063" y="1693"/>
                </a:lnTo>
                <a:lnTo>
                  <a:pt x="1075" y="1691"/>
                </a:lnTo>
                <a:lnTo>
                  <a:pt x="1086" y="1690"/>
                </a:lnTo>
                <a:lnTo>
                  <a:pt x="1094" y="1686"/>
                </a:lnTo>
                <a:lnTo>
                  <a:pt x="1101" y="1683"/>
                </a:lnTo>
                <a:lnTo>
                  <a:pt x="1109" y="1676"/>
                </a:lnTo>
                <a:lnTo>
                  <a:pt x="1115" y="1668"/>
                </a:lnTo>
                <a:lnTo>
                  <a:pt x="1118" y="1666"/>
                </a:lnTo>
                <a:lnTo>
                  <a:pt x="1120" y="1665"/>
                </a:lnTo>
                <a:lnTo>
                  <a:pt x="1124" y="1665"/>
                </a:lnTo>
                <a:lnTo>
                  <a:pt x="1128" y="1667"/>
                </a:lnTo>
                <a:lnTo>
                  <a:pt x="1138" y="1672"/>
                </a:lnTo>
                <a:lnTo>
                  <a:pt x="1145" y="1676"/>
                </a:lnTo>
                <a:lnTo>
                  <a:pt x="1150" y="1676"/>
                </a:lnTo>
                <a:lnTo>
                  <a:pt x="1153" y="1677"/>
                </a:lnTo>
                <a:lnTo>
                  <a:pt x="1158" y="1676"/>
                </a:lnTo>
                <a:lnTo>
                  <a:pt x="1163" y="1674"/>
                </a:lnTo>
                <a:lnTo>
                  <a:pt x="1177" y="1665"/>
                </a:lnTo>
                <a:lnTo>
                  <a:pt x="1188" y="1660"/>
                </a:lnTo>
                <a:lnTo>
                  <a:pt x="1189" y="1660"/>
                </a:lnTo>
                <a:lnTo>
                  <a:pt x="1190" y="1661"/>
                </a:lnTo>
                <a:lnTo>
                  <a:pt x="1191" y="1662"/>
                </a:lnTo>
                <a:lnTo>
                  <a:pt x="1193" y="1665"/>
                </a:lnTo>
                <a:lnTo>
                  <a:pt x="1194" y="1672"/>
                </a:lnTo>
                <a:lnTo>
                  <a:pt x="1194" y="1683"/>
                </a:lnTo>
                <a:lnTo>
                  <a:pt x="1194" y="1693"/>
                </a:lnTo>
                <a:lnTo>
                  <a:pt x="1196" y="1703"/>
                </a:lnTo>
                <a:lnTo>
                  <a:pt x="1199" y="1708"/>
                </a:lnTo>
                <a:lnTo>
                  <a:pt x="1201" y="1710"/>
                </a:lnTo>
                <a:lnTo>
                  <a:pt x="1204" y="1712"/>
                </a:lnTo>
                <a:lnTo>
                  <a:pt x="1210" y="1714"/>
                </a:lnTo>
                <a:lnTo>
                  <a:pt x="1223" y="1712"/>
                </a:lnTo>
                <a:lnTo>
                  <a:pt x="1239" y="1710"/>
                </a:lnTo>
                <a:lnTo>
                  <a:pt x="1246" y="1709"/>
                </a:lnTo>
                <a:lnTo>
                  <a:pt x="1253" y="1708"/>
                </a:lnTo>
                <a:lnTo>
                  <a:pt x="1259" y="1709"/>
                </a:lnTo>
                <a:lnTo>
                  <a:pt x="1264" y="1711"/>
                </a:lnTo>
                <a:lnTo>
                  <a:pt x="1271" y="1716"/>
                </a:lnTo>
                <a:lnTo>
                  <a:pt x="1278" y="1720"/>
                </a:lnTo>
                <a:lnTo>
                  <a:pt x="1283" y="1722"/>
                </a:lnTo>
                <a:lnTo>
                  <a:pt x="1286" y="1722"/>
                </a:lnTo>
                <a:lnTo>
                  <a:pt x="1290" y="1721"/>
                </a:lnTo>
                <a:lnTo>
                  <a:pt x="1294" y="1720"/>
                </a:lnTo>
                <a:lnTo>
                  <a:pt x="1300" y="1716"/>
                </a:lnTo>
                <a:lnTo>
                  <a:pt x="1307" y="1710"/>
                </a:lnTo>
                <a:lnTo>
                  <a:pt x="1313" y="1705"/>
                </a:lnTo>
                <a:lnTo>
                  <a:pt x="1322" y="1700"/>
                </a:lnTo>
                <a:lnTo>
                  <a:pt x="1327" y="1699"/>
                </a:lnTo>
                <a:lnTo>
                  <a:pt x="1332" y="1697"/>
                </a:lnTo>
                <a:lnTo>
                  <a:pt x="1338" y="1697"/>
                </a:lnTo>
                <a:lnTo>
                  <a:pt x="1345" y="1696"/>
                </a:lnTo>
                <a:lnTo>
                  <a:pt x="1359" y="1696"/>
                </a:lnTo>
                <a:lnTo>
                  <a:pt x="1372" y="1696"/>
                </a:lnTo>
                <a:lnTo>
                  <a:pt x="1384" y="1695"/>
                </a:lnTo>
                <a:lnTo>
                  <a:pt x="1392" y="1695"/>
                </a:lnTo>
                <a:lnTo>
                  <a:pt x="1396" y="1696"/>
                </a:lnTo>
                <a:lnTo>
                  <a:pt x="1398" y="1697"/>
                </a:lnTo>
                <a:lnTo>
                  <a:pt x="1402" y="1699"/>
                </a:lnTo>
                <a:lnTo>
                  <a:pt x="1405" y="1703"/>
                </a:lnTo>
                <a:lnTo>
                  <a:pt x="1409" y="1708"/>
                </a:lnTo>
                <a:lnTo>
                  <a:pt x="1411" y="1714"/>
                </a:lnTo>
                <a:lnTo>
                  <a:pt x="1414" y="1720"/>
                </a:lnTo>
                <a:lnTo>
                  <a:pt x="1416" y="1725"/>
                </a:lnTo>
                <a:lnTo>
                  <a:pt x="1418" y="1733"/>
                </a:lnTo>
                <a:lnTo>
                  <a:pt x="1422" y="1740"/>
                </a:lnTo>
                <a:lnTo>
                  <a:pt x="1427" y="1748"/>
                </a:lnTo>
                <a:lnTo>
                  <a:pt x="1433" y="1755"/>
                </a:lnTo>
                <a:lnTo>
                  <a:pt x="1439" y="1762"/>
                </a:lnTo>
                <a:lnTo>
                  <a:pt x="1446" y="1769"/>
                </a:lnTo>
                <a:lnTo>
                  <a:pt x="1453" y="1774"/>
                </a:lnTo>
                <a:lnTo>
                  <a:pt x="1460" y="1778"/>
                </a:lnTo>
                <a:lnTo>
                  <a:pt x="1477" y="1783"/>
                </a:lnTo>
                <a:lnTo>
                  <a:pt x="1495" y="1786"/>
                </a:lnTo>
                <a:lnTo>
                  <a:pt x="1504" y="1787"/>
                </a:lnTo>
                <a:lnTo>
                  <a:pt x="1514" y="1787"/>
                </a:lnTo>
                <a:lnTo>
                  <a:pt x="1522" y="1786"/>
                </a:lnTo>
                <a:lnTo>
                  <a:pt x="1530" y="1785"/>
                </a:lnTo>
                <a:lnTo>
                  <a:pt x="1543" y="1784"/>
                </a:lnTo>
                <a:lnTo>
                  <a:pt x="1556" y="1783"/>
                </a:lnTo>
                <a:lnTo>
                  <a:pt x="1562" y="1783"/>
                </a:lnTo>
                <a:lnTo>
                  <a:pt x="1568" y="1783"/>
                </a:lnTo>
                <a:lnTo>
                  <a:pt x="1574" y="1785"/>
                </a:lnTo>
                <a:lnTo>
                  <a:pt x="1580" y="1786"/>
                </a:lnTo>
                <a:lnTo>
                  <a:pt x="1585" y="1791"/>
                </a:lnTo>
                <a:lnTo>
                  <a:pt x="1590" y="1796"/>
                </a:lnTo>
                <a:lnTo>
                  <a:pt x="1593" y="1802"/>
                </a:lnTo>
                <a:lnTo>
                  <a:pt x="1597" y="1809"/>
                </a:lnTo>
                <a:lnTo>
                  <a:pt x="1602" y="1823"/>
                </a:lnTo>
                <a:lnTo>
                  <a:pt x="1606" y="1836"/>
                </a:lnTo>
                <a:lnTo>
                  <a:pt x="1609" y="1840"/>
                </a:lnTo>
                <a:lnTo>
                  <a:pt x="1612" y="1842"/>
                </a:lnTo>
                <a:lnTo>
                  <a:pt x="1616" y="1843"/>
                </a:lnTo>
                <a:lnTo>
                  <a:pt x="1621" y="1843"/>
                </a:lnTo>
                <a:lnTo>
                  <a:pt x="1625" y="1842"/>
                </a:lnTo>
                <a:lnTo>
                  <a:pt x="1630" y="1840"/>
                </a:lnTo>
                <a:lnTo>
                  <a:pt x="1634" y="1835"/>
                </a:lnTo>
                <a:lnTo>
                  <a:pt x="1637" y="1830"/>
                </a:lnTo>
                <a:lnTo>
                  <a:pt x="1643" y="1821"/>
                </a:lnTo>
                <a:lnTo>
                  <a:pt x="1649" y="1813"/>
                </a:lnTo>
                <a:lnTo>
                  <a:pt x="1657" y="1809"/>
                </a:lnTo>
                <a:lnTo>
                  <a:pt x="1669" y="1803"/>
                </a:lnTo>
                <a:lnTo>
                  <a:pt x="1675" y="1799"/>
                </a:lnTo>
                <a:lnTo>
                  <a:pt x="1681" y="1794"/>
                </a:lnTo>
                <a:lnTo>
                  <a:pt x="1687" y="1791"/>
                </a:lnTo>
                <a:lnTo>
                  <a:pt x="1691" y="1786"/>
                </a:lnTo>
                <a:lnTo>
                  <a:pt x="1693" y="1781"/>
                </a:lnTo>
                <a:lnTo>
                  <a:pt x="1695" y="1777"/>
                </a:lnTo>
                <a:lnTo>
                  <a:pt x="1697" y="1772"/>
                </a:lnTo>
                <a:lnTo>
                  <a:pt x="1695" y="1768"/>
                </a:lnTo>
                <a:lnTo>
                  <a:pt x="1694" y="1765"/>
                </a:lnTo>
                <a:lnTo>
                  <a:pt x="1694" y="1760"/>
                </a:lnTo>
                <a:lnTo>
                  <a:pt x="1694" y="1755"/>
                </a:lnTo>
                <a:lnTo>
                  <a:pt x="1695" y="1752"/>
                </a:lnTo>
                <a:lnTo>
                  <a:pt x="1698" y="1747"/>
                </a:lnTo>
                <a:lnTo>
                  <a:pt x="1701" y="1743"/>
                </a:lnTo>
                <a:lnTo>
                  <a:pt x="1705" y="1739"/>
                </a:lnTo>
                <a:lnTo>
                  <a:pt x="1710" y="1736"/>
                </a:lnTo>
                <a:lnTo>
                  <a:pt x="1722" y="1730"/>
                </a:lnTo>
                <a:lnTo>
                  <a:pt x="1737" y="1725"/>
                </a:lnTo>
                <a:lnTo>
                  <a:pt x="1751" y="1722"/>
                </a:lnTo>
                <a:lnTo>
                  <a:pt x="1763" y="1720"/>
                </a:lnTo>
                <a:lnTo>
                  <a:pt x="1766" y="1718"/>
                </a:lnTo>
                <a:lnTo>
                  <a:pt x="1768" y="1718"/>
                </a:lnTo>
                <a:lnTo>
                  <a:pt x="1769" y="1716"/>
                </a:lnTo>
                <a:lnTo>
                  <a:pt x="1770" y="1709"/>
                </a:lnTo>
                <a:lnTo>
                  <a:pt x="1774" y="1699"/>
                </a:lnTo>
                <a:lnTo>
                  <a:pt x="1780" y="1689"/>
                </a:lnTo>
                <a:lnTo>
                  <a:pt x="1794" y="1670"/>
                </a:lnTo>
                <a:lnTo>
                  <a:pt x="1804" y="1655"/>
                </a:lnTo>
                <a:lnTo>
                  <a:pt x="1806" y="1647"/>
                </a:lnTo>
                <a:lnTo>
                  <a:pt x="1810" y="1634"/>
                </a:lnTo>
                <a:lnTo>
                  <a:pt x="1813" y="1620"/>
                </a:lnTo>
                <a:lnTo>
                  <a:pt x="1814" y="1610"/>
                </a:lnTo>
                <a:lnTo>
                  <a:pt x="1815" y="1601"/>
                </a:lnTo>
                <a:lnTo>
                  <a:pt x="1818" y="1588"/>
                </a:lnTo>
                <a:lnTo>
                  <a:pt x="1819" y="1575"/>
                </a:lnTo>
                <a:lnTo>
                  <a:pt x="1819" y="1564"/>
                </a:lnTo>
                <a:lnTo>
                  <a:pt x="1819" y="1555"/>
                </a:lnTo>
                <a:lnTo>
                  <a:pt x="1819" y="1547"/>
                </a:lnTo>
                <a:lnTo>
                  <a:pt x="1819" y="1540"/>
                </a:lnTo>
                <a:lnTo>
                  <a:pt x="1821" y="1534"/>
                </a:lnTo>
                <a:lnTo>
                  <a:pt x="1826" y="1529"/>
                </a:lnTo>
                <a:lnTo>
                  <a:pt x="1835" y="1522"/>
                </a:lnTo>
                <a:lnTo>
                  <a:pt x="1844" y="1516"/>
                </a:lnTo>
                <a:lnTo>
                  <a:pt x="1855" y="1509"/>
                </a:lnTo>
                <a:lnTo>
                  <a:pt x="1869" y="1501"/>
                </a:lnTo>
                <a:lnTo>
                  <a:pt x="1873" y="1497"/>
                </a:lnTo>
                <a:lnTo>
                  <a:pt x="1871" y="1496"/>
                </a:lnTo>
                <a:lnTo>
                  <a:pt x="1869" y="1492"/>
                </a:lnTo>
                <a:lnTo>
                  <a:pt x="1868" y="1489"/>
                </a:lnTo>
                <a:lnTo>
                  <a:pt x="1868" y="1488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1" name="福建"/>
          <p:cNvSpPr/>
          <p:nvPr/>
        </p:nvSpPr>
        <p:spPr bwMode="auto">
          <a:xfrm>
            <a:off x="7190105" y="4806950"/>
            <a:ext cx="698500" cy="847090"/>
          </a:xfrm>
          <a:custGeom>
            <a:avLst/>
            <a:gdLst>
              <a:gd name="T0" fmla="*/ 1565 w 1689"/>
              <a:gd name="T1" fmla="*/ 334 h 2064"/>
              <a:gd name="T2" fmla="*/ 1442 w 1689"/>
              <a:gd name="T3" fmla="*/ 393 h 2064"/>
              <a:gd name="T4" fmla="*/ 1376 w 1689"/>
              <a:gd name="T5" fmla="*/ 269 h 2064"/>
              <a:gd name="T6" fmla="*/ 1307 w 1689"/>
              <a:gd name="T7" fmla="*/ 313 h 2064"/>
              <a:gd name="T8" fmla="*/ 1189 w 1689"/>
              <a:gd name="T9" fmla="*/ 346 h 2064"/>
              <a:gd name="T10" fmla="*/ 1100 w 1689"/>
              <a:gd name="T11" fmla="*/ 306 h 2064"/>
              <a:gd name="T12" fmla="*/ 1033 w 1689"/>
              <a:gd name="T13" fmla="*/ 78 h 2064"/>
              <a:gd name="T14" fmla="*/ 963 w 1689"/>
              <a:gd name="T15" fmla="*/ 22 h 2064"/>
              <a:gd name="T16" fmla="*/ 872 w 1689"/>
              <a:gd name="T17" fmla="*/ 23 h 2064"/>
              <a:gd name="T18" fmla="*/ 792 w 1689"/>
              <a:gd name="T19" fmla="*/ 129 h 2064"/>
              <a:gd name="T20" fmla="*/ 666 w 1689"/>
              <a:gd name="T21" fmla="*/ 211 h 2064"/>
              <a:gd name="T22" fmla="*/ 545 w 1689"/>
              <a:gd name="T23" fmla="*/ 190 h 2064"/>
              <a:gd name="T24" fmla="*/ 413 w 1689"/>
              <a:gd name="T25" fmla="*/ 318 h 2064"/>
              <a:gd name="T26" fmla="*/ 406 w 1689"/>
              <a:gd name="T27" fmla="*/ 378 h 2064"/>
              <a:gd name="T28" fmla="*/ 378 w 1689"/>
              <a:gd name="T29" fmla="*/ 591 h 2064"/>
              <a:gd name="T30" fmla="*/ 213 w 1689"/>
              <a:gd name="T31" fmla="*/ 738 h 2064"/>
              <a:gd name="T32" fmla="*/ 249 w 1689"/>
              <a:gd name="T33" fmla="*/ 886 h 2064"/>
              <a:gd name="T34" fmla="*/ 186 w 1689"/>
              <a:gd name="T35" fmla="*/ 982 h 2064"/>
              <a:gd name="T36" fmla="*/ 97 w 1689"/>
              <a:gd name="T37" fmla="*/ 1114 h 2064"/>
              <a:gd name="T38" fmla="*/ 69 w 1689"/>
              <a:gd name="T39" fmla="*/ 1267 h 2064"/>
              <a:gd name="T40" fmla="*/ 17 w 1689"/>
              <a:gd name="T41" fmla="*/ 1465 h 2064"/>
              <a:gd name="T42" fmla="*/ 98 w 1689"/>
              <a:gd name="T43" fmla="*/ 1568 h 2064"/>
              <a:gd name="T44" fmla="*/ 220 w 1689"/>
              <a:gd name="T45" fmla="*/ 1592 h 2064"/>
              <a:gd name="T46" fmla="*/ 385 w 1689"/>
              <a:gd name="T47" fmla="*/ 1629 h 2064"/>
              <a:gd name="T48" fmla="*/ 428 w 1689"/>
              <a:gd name="T49" fmla="*/ 1753 h 2064"/>
              <a:gd name="T50" fmla="*/ 461 w 1689"/>
              <a:gd name="T51" fmla="*/ 1903 h 2064"/>
              <a:gd name="T52" fmla="*/ 562 w 1689"/>
              <a:gd name="T53" fmla="*/ 2059 h 2064"/>
              <a:gd name="T54" fmla="*/ 604 w 1689"/>
              <a:gd name="T55" fmla="*/ 2032 h 2064"/>
              <a:gd name="T56" fmla="*/ 665 w 1689"/>
              <a:gd name="T57" fmla="*/ 1976 h 2064"/>
              <a:gd name="T58" fmla="*/ 740 w 1689"/>
              <a:gd name="T59" fmla="*/ 1946 h 2064"/>
              <a:gd name="T60" fmla="*/ 753 w 1689"/>
              <a:gd name="T61" fmla="*/ 1919 h 2064"/>
              <a:gd name="T62" fmla="*/ 792 w 1689"/>
              <a:gd name="T63" fmla="*/ 1923 h 2064"/>
              <a:gd name="T64" fmla="*/ 927 w 1689"/>
              <a:gd name="T65" fmla="*/ 1768 h 2064"/>
              <a:gd name="T66" fmla="*/ 820 w 1689"/>
              <a:gd name="T67" fmla="*/ 1683 h 2064"/>
              <a:gd name="T68" fmla="*/ 832 w 1689"/>
              <a:gd name="T69" fmla="*/ 1641 h 2064"/>
              <a:gd name="T70" fmla="*/ 899 w 1689"/>
              <a:gd name="T71" fmla="*/ 1685 h 2064"/>
              <a:gd name="T72" fmla="*/ 924 w 1689"/>
              <a:gd name="T73" fmla="*/ 1584 h 2064"/>
              <a:gd name="T74" fmla="*/ 992 w 1689"/>
              <a:gd name="T75" fmla="*/ 1612 h 2064"/>
              <a:gd name="T76" fmla="*/ 1040 w 1689"/>
              <a:gd name="T77" fmla="*/ 1592 h 2064"/>
              <a:gd name="T78" fmla="*/ 1122 w 1689"/>
              <a:gd name="T79" fmla="*/ 1608 h 2064"/>
              <a:gd name="T80" fmla="*/ 1130 w 1689"/>
              <a:gd name="T81" fmla="*/ 1518 h 2064"/>
              <a:gd name="T82" fmla="*/ 1231 w 1689"/>
              <a:gd name="T83" fmla="*/ 1468 h 2064"/>
              <a:gd name="T84" fmla="*/ 1231 w 1689"/>
              <a:gd name="T85" fmla="*/ 1403 h 2064"/>
              <a:gd name="T86" fmla="*/ 1210 w 1689"/>
              <a:gd name="T87" fmla="*/ 1386 h 2064"/>
              <a:gd name="T88" fmla="*/ 1227 w 1689"/>
              <a:gd name="T89" fmla="*/ 1327 h 2064"/>
              <a:gd name="T90" fmla="*/ 1411 w 1689"/>
              <a:gd name="T91" fmla="*/ 1335 h 2064"/>
              <a:gd name="T92" fmla="*/ 1278 w 1689"/>
              <a:gd name="T93" fmla="*/ 1222 h 2064"/>
              <a:gd name="T94" fmla="*/ 1373 w 1689"/>
              <a:gd name="T95" fmla="*/ 1203 h 2064"/>
              <a:gd name="T96" fmla="*/ 1474 w 1689"/>
              <a:gd name="T97" fmla="*/ 1215 h 2064"/>
              <a:gd name="T98" fmla="*/ 1387 w 1689"/>
              <a:gd name="T99" fmla="*/ 1128 h 2064"/>
              <a:gd name="T100" fmla="*/ 1474 w 1689"/>
              <a:gd name="T101" fmla="*/ 987 h 2064"/>
              <a:gd name="T102" fmla="*/ 1448 w 1689"/>
              <a:gd name="T103" fmla="*/ 862 h 2064"/>
              <a:gd name="T104" fmla="*/ 1524 w 1689"/>
              <a:gd name="T105" fmla="*/ 793 h 2064"/>
              <a:gd name="T106" fmla="*/ 1443 w 1689"/>
              <a:gd name="T107" fmla="*/ 800 h 2064"/>
              <a:gd name="T108" fmla="*/ 1492 w 1689"/>
              <a:gd name="T109" fmla="*/ 743 h 2064"/>
              <a:gd name="T110" fmla="*/ 1397 w 1689"/>
              <a:gd name="T111" fmla="*/ 703 h 2064"/>
              <a:gd name="T112" fmla="*/ 1440 w 1689"/>
              <a:gd name="T113" fmla="*/ 633 h 2064"/>
              <a:gd name="T114" fmla="*/ 1448 w 1689"/>
              <a:gd name="T115" fmla="*/ 623 h 2064"/>
              <a:gd name="T116" fmla="*/ 1474 w 1689"/>
              <a:gd name="T117" fmla="*/ 618 h 2064"/>
              <a:gd name="T118" fmla="*/ 1528 w 1689"/>
              <a:gd name="T119" fmla="*/ 603 h 2064"/>
              <a:gd name="T120" fmla="*/ 1497 w 1689"/>
              <a:gd name="T121" fmla="*/ 705 h 2064"/>
              <a:gd name="T122" fmla="*/ 1598 w 1689"/>
              <a:gd name="T123" fmla="*/ 640 h 2064"/>
              <a:gd name="T124" fmla="*/ 1622 w 1689"/>
              <a:gd name="T125" fmla="*/ 526 h 20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89" h="2064">
                <a:moveTo>
                  <a:pt x="1689" y="435"/>
                </a:moveTo>
                <a:lnTo>
                  <a:pt x="1685" y="429"/>
                </a:lnTo>
                <a:lnTo>
                  <a:pt x="1680" y="425"/>
                </a:lnTo>
                <a:lnTo>
                  <a:pt x="1676" y="419"/>
                </a:lnTo>
                <a:lnTo>
                  <a:pt x="1673" y="414"/>
                </a:lnTo>
                <a:lnTo>
                  <a:pt x="1668" y="401"/>
                </a:lnTo>
                <a:lnTo>
                  <a:pt x="1663" y="385"/>
                </a:lnTo>
                <a:lnTo>
                  <a:pt x="1659" y="371"/>
                </a:lnTo>
                <a:lnTo>
                  <a:pt x="1655" y="360"/>
                </a:lnTo>
                <a:lnTo>
                  <a:pt x="1651" y="353"/>
                </a:lnTo>
                <a:lnTo>
                  <a:pt x="1649" y="346"/>
                </a:lnTo>
                <a:lnTo>
                  <a:pt x="1647" y="344"/>
                </a:lnTo>
                <a:lnTo>
                  <a:pt x="1644" y="341"/>
                </a:lnTo>
                <a:lnTo>
                  <a:pt x="1641" y="339"/>
                </a:lnTo>
                <a:lnTo>
                  <a:pt x="1637" y="338"/>
                </a:lnTo>
                <a:lnTo>
                  <a:pt x="1629" y="338"/>
                </a:lnTo>
                <a:lnTo>
                  <a:pt x="1619" y="335"/>
                </a:lnTo>
                <a:lnTo>
                  <a:pt x="1610" y="334"/>
                </a:lnTo>
                <a:lnTo>
                  <a:pt x="1599" y="330"/>
                </a:lnTo>
                <a:lnTo>
                  <a:pt x="1593" y="328"/>
                </a:lnTo>
                <a:lnTo>
                  <a:pt x="1587" y="327"/>
                </a:lnTo>
                <a:lnTo>
                  <a:pt x="1581" y="327"/>
                </a:lnTo>
                <a:lnTo>
                  <a:pt x="1575" y="328"/>
                </a:lnTo>
                <a:lnTo>
                  <a:pt x="1571" y="331"/>
                </a:lnTo>
                <a:lnTo>
                  <a:pt x="1565" y="334"/>
                </a:lnTo>
                <a:lnTo>
                  <a:pt x="1561" y="338"/>
                </a:lnTo>
                <a:lnTo>
                  <a:pt x="1557" y="343"/>
                </a:lnTo>
                <a:lnTo>
                  <a:pt x="1550" y="351"/>
                </a:lnTo>
                <a:lnTo>
                  <a:pt x="1544" y="357"/>
                </a:lnTo>
                <a:lnTo>
                  <a:pt x="1541" y="359"/>
                </a:lnTo>
                <a:lnTo>
                  <a:pt x="1538" y="360"/>
                </a:lnTo>
                <a:lnTo>
                  <a:pt x="1536" y="360"/>
                </a:lnTo>
                <a:lnTo>
                  <a:pt x="1534" y="359"/>
                </a:lnTo>
                <a:lnTo>
                  <a:pt x="1530" y="356"/>
                </a:lnTo>
                <a:lnTo>
                  <a:pt x="1524" y="352"/>
                </a:lnTo>
                <a:lnTo>
                  <a:pt x="1522" y="351"/>
                </a:lnTo>
                <a:lnTo>
                  <a:pt x="1518" y="350"/>
                </a:lnTo>
                <a:lnTo>
                  <a:pt x="1515" y="351"/>
                </a:lnTo>
                <a:lnTo>
                  <a:pt x="1512" y="353"/>
                </a:lnTo>
                <a:lnTo>
                  <a:pt x="1506" y="360"/>
                </a:lnTo>
                <a:lnTo>
                  <a:pt x="1502" y="368"/>
                </a:lnTo>
                <a:lnTo>
                  <a:pt x="1498" y="375"/>
                </a:lnTo>
                <a:lnTo>
                  <a:pt x="1496" y="379"/>
                </a:lnTo>
                <a:lnTo>
                  <a:pt x="1492" y="382"/>
                </a:lnTo>
                <a:lnTo>
                  <a:pt x="1484" y="383"/>
                </a:lnTo>
                <a:lnTo>
                  <a:pt x="1474" y="384"/>
                </a:lnTo>
                <a:lnTo>
                  <a:pt x="1466" y="384"/>
                </a:lnTo>
                <a:lnTo>
                  <a:pt x="1455" y="387"/>
                </a:lnTo>
                <a:lnTo>
                  <a:pt x="1447" y="390"/>
                </a:lnTo>
                <a:lnTo>
                  <a:pt x="1442" y="393"/>
                </a:lnTo>
                <a:lnTo>
                  <a:pt x="1441" y="393"/>
                </a:lnTo>
                <a:lnTo>
                  <a:pt x="1441" y="389"/>
                </a:lnTo>
                <a:lnTo>
                  <a:pt x="1441" y="383"/>
                </a:lnTo>
                <a:lnTo>
                  <a:pt x="1436" y="377"/>
                </a:lnTo>
                <a:lnTo>
                  <a:pt x="1430" y="370"/>
                </a:lnTo>
                <a:lnTo>
                  <a:pt x="1421" y="363"/>
                </a:lnTo>
                <a:lnTo>
                  <a:pt x="1411" y="357"/>
                </a:lnTo>
                <a:lnTo>
                  <a:pt x="1410" y="353"/>
                </a:lnTo>
                <a:lnTo>
                  <a:pt x="1409" y="350"/>
                </a:lnTo>
                <a:lnTo>
                  <a:pt x="1408" y="346"/>
                </a:lnTo>
                <a:lnTo>
                  <a:pt x="1408" y="341"/>
                </a:lnTo>
                <a:lnTo>
                  <a:pt x="1409" y="330"/>
                </a:lnTo>
                <a:lnTo>
                  <a:pt x="1409" y="319"/>
                </a:lnTo>
                <a:lnTo>
                  <a:pt x="1409" y="314"/>
                </a:lnTo>
                <a:lnTo>
                  <a:pt x="1408" y="311"/>
                </a:lnTo>
                <a:lnTo>
                  <a:pt x="1407" y="307"/>
                </a:lnTo>
                <a:lnTo>
                  <a:pt x="1404" y="303"/>
                </a:lnTo>
                <a:lnTo>
                  <a:pt x="1402" y="301"/>
                </a:lnTo>
                <a:lnTo>
                  <a:pt x="1397" y="301"/>
                </a:lnTo>
                <a:lnTo>
                  <a:pt x="1393" y="300"/>
                </a:lnTo>
                <a:lnTo>
                  <a:pt x="1389" y="300"/>
                </a:lnTo>
                <a:lnTo>
                  <a:pt x="1385" y="288"/>
                </a:lnTo>
                <a:lnTo>
                  <a:pt x="1380" y="275"/>
                </a:lnTo>
                <a:lnTo>
                  <a:pt x="1378" y="272"/>
                </a:lnTo>
                <a:lnTo>
                  <a:pt x="1376" y="269"/>
                </a:lnTo>
                <a:lnTo>
                  <a:pt x="1374" y="265"/>
                </a:lnTo>
                <a:lnTo>
                  <a:pt x="1373" y="262"/>
                </a:lnTo>
                <a:lnTo>
                  <a:pt x="1373" y="253"/>
                </a:lnTo>
                <a:lnTo>
                  <a:pt x="1373" y="245"/>
                </a:lnTo>
                <a:lnTo>
                  <a:pt x="1372" y="243"/>
                </a:lnTo>
                <a:lnTo>
                  <a:pt x="1370" y="240"/>
                </a:lnTo>
                <a:lnTo>
                  <a:pt x="1367" y="239"/>
                </a:lnTo>
                <a:lnTo>
                  <a:pt x="1365" y="238"/>
                </a:lnTo>
                <a:lnTo>
                  <a:pt x="1360" y="238"/>
                </a:lnTo>
                <a:lnTo>
                  <a:pt x="1354" y="238"/>
                </a:lnTo>
                <a:lnTo>
                  <a:pt x="1351" y="239"/>
                </a:lnTo>
                <a:lnTo>
                  <a:pt x="1347" y="242"/>
                </a:lnTo>
                <a:lnTo>
                  <a:pt x="1342" y="244"/>
                </a:lnTo>
                <a:lnTo>
                  <a:pt x="1339" y="246"/>
                </a:lnTo>
                <a:lnTo>
                  <a:pt x="1334" y="252"/>
                </a:lnTo>
                <a:lnTo>
                  <a:pt x="1329" y="259"/>
                </a:lnTo>
                <a:lnTo>
                  <a:pt x="1327" y="267"/>
                </a:lnTo>
                <a:lnTo>
                  <a:pt x="1324" y="275"/>
                </a:lnTo>
                <a:lnTo>
                  <a:pt x="1321" y="290"/>
                </a:lnTo>
                <a:lnTo>
                  <a:pt x="1317" y="302"/>
                </a:lnTo>
                <a:lnTo>
                  <a:pt x="1316" y="307"/>
                </a:lnTo>
                <a:lnTo>
                  <a:pt x="1314" y="311"/>
                </a:lnTo>
                <a:lnTo>
                  <a:pt x="1311" y="312"/>
                </a:lnTo>
                <a:lnTo>
                  <a:pt x="1309" y="313"/>
                </a:lnTo>
                <a:lnTo>
                  <a:pt x="1307" y="313"/>
                </a:lnTo>
                <a:lnTo>
                  <a:pt x="1304" y="312"/>
                </a:lnTo>
                <a:lnTo>
                  <a:pt x="1301" y="311"/>
                </a:lnTo>
                <a:lnTo>
                  <a:pt x="1298" y="308"/>
                </a:lnTo>
                <a:lnTo>
                  <a:pt x="1295" y="307"/>
                </a:lnTo>
                <a:lnTo>
                  <a:pt x="1291" y="308"/>
                </a:lnTo>
                <a:lnTo>
                  <a:pt x="1286" y="311"/>
                </a:lnTo>
                <a:lnTo>
                  <a:pt x="1282" y="314"/>
                </a:lnTo>
                <a:lnTo>
                  <a:pt x="1272" y="325"/>
                </a:lnTo>
                <a:lnTo>
                  <a:pt x="1265" y="335"/>
                </a:lnTo>
                <a:lnTo>
                  <a:pt x="1259" y="346"/>
                </a:lnTo>
                <a:lnTo>
                  <a:pt x="1252" y="356"/>
                </a:lnTo>
                <a:lnTo>
                  <a:pt x="1247" y="359"/>
                </a:lnTo>
                <a:lnTo>
                  <a:pt x="1242" y="363"/>
                </a:lnTo>
                <a:lnTo>
                  <a:pt x="1238" y="365"/>
                </a:lnTo>
                <a:lnTo>
                  <a:pt x="1232" y="368"/>
                </a:lnTo>
                <a:lnTo>
                  <a:pt x="1220" y="369"/>
                </a:lnTo>
                <a:lnTo>
                  <a:pt x="1209" y="370"/>
                </a:lnTo>
                <a:lnTo>
                  <a:pt x="1204" y="369"/>
                </a:lnTo>
                <a:lnTo>
                  <a:pt x="1201" y="368"/>
                </a:lnTo>
                <a:lnTo>
                  <a:pt x="1198" y="365"/>
                </a:lnTo>
                <a:lnTo>
                  <a:pt x="1196" y="363"/>
                </a:lnTo>
                <a:lnTo>
                  <a:pt x="1196" y="357"/>
                </a:lnTo>
                <a:lnTo>
                  <a:pt x="1195" y="353"/>
                </a:lnTo>
                <a:lnTo>
                  <a:pt x="1193" y="350"/>
                </a:lnTo>
                <a:lnTo>
                  <a:pt x="1189" y="346"/>
                </a:lnTo>
                <a:lnTo>
                  <a:pt x="1185" y="344"/>
                </a:lnTo>
                <a:lnTo>
                  <a:pt x="1181" y="343"/>
                </a:lnTo>
                <a:lnTo>
                  <a:pt x="1174" y="341"/>
                </a:lnTo>
                <a:lnTo>
                  <a:pt x="1165" y="341"/>
                </a:lnTo>
                <a:lnTo>
                  <a:pt x="1149" y="341"/>
                </a:lnTo>
                <a:lnTo>
                  <a:pt x="1134" y="344"/>
                </a:lnTo>
                <a:lnTo>
                  <a:pt x="1121" y="346"/>
                </a:lnTo>
                <a:lnTo>
                  <a:pt x="1111" y="349"/>
                </a:lnTo>
                <a:lnTo>
                  <a:pt x="1106" y="349"/>
                </a:lnTo>
                <a:lnTo>
                  <a:pt x="1102" y="349"/>
                </a:lnTo>
                <a:lnTo>
                  <a:pt x="1097" y="347"/>
                </a:lnTo>
                <a:lnTo>
                  <a:pt x="1094" y="344"/>
                </a:lnTo>
                <a:lnTo>
                  <a:pt x="1090" y="340"/>
                </a:lnTo>
                <a:lnTo>
                  <a:pt x="1088" y="337"/>
                </a:lnTo>
                <a:lnTo>
                  <a:pt x="1087" y="333"/>
                </a:lnTo>
                <a:lnTo>
                  <a:pt x="1086" y="330"/>
                </a:lnTo>
                <a:lnTo>
                  <a:pt x="1087" y="327"/>
                </a:lnTo>
                <a:lnTo>
                  <a:pt x="1087" y="324"/>
                </a:lnTo>
                <a:lnTo>
                  <a:pt x="1089" y="321"/>
                </a:lnTo>
                <a:lnTo>
                  <a:pt x="1091" y="319"/>
                </a:lnTo>
                <a:lnTo>
                  <a:pt x="1096" y="315"/>
                </a:lnTo>
                <a:lnTo>
                  <a:pt x="1100" y="312"/>
                </a:lnTo>
                <a:lnTo>
                  <a:pt x="1100" y="311"/>
                </a:lnTo>
                <a:lnTo>
                  <a:pt x="1101" y="308"/>
                </a:lnTo>
                <a:lnTo>
                  <a:pt x="1100" y="306"/>
                </a:lnTo>
                <a:lnTo>
                  <a:pt x="1099" y="302"/>
                </a:lnTo>
                <a:lnTo>
                  <a:pt x="1095" y="294"/>
                </a:lnTo>
                <a:lnTo>
                  <a:pt x="1090" y="283"/>
                </a:lnTo>
                <a:lnTo>
                  <a:pt x="1086" y="271"/>
                </a:lnTo>
                <a:lnTo>
                  <a:pt x="1081" y="257"/>
                </a:lnTo>
                <a:lnTo>
                  <a:pt x="1076" y="242"/>
                </a:lnTo>
                <a:lnTo>
                  <a:pt x="1071" y="225"/>
                </a:lnTo>
                <a:lnTo>
                  <a:pt x="1067" y="208"/>
                </a:lnTo>
                <a:lnTo>
                  <a:pt x="1061" y="194"/>
                </a:lnTo>
                <a:lnTo>
                  <a:pt x="1053" y="180"/>
                </a:lnTo>
                <a:lnTo>
                  <a:pt x="1045" y="169"/>
                </a:lnTo>
                <a:lnTo>
                  <a:pt x="1037" y="160"/>
                </a:lnTo>
                <a:lnTo>
                  <a:pt x="1028" y="151"/>
                </a:lnTo>
                <a:lnTo>
                  <a:pt x="1024" y="148"/>
                </a:lnTo>
                <a:lnTo>
                  <a:pt x="1020" y="143"/>
                </a:lnTo>
                <a:lnTo>
                  <a:pt x="1017" y="137"/>
                </a:lnTo>
                <a:lnTo>
                  <a:pt x="1014" y="132"/>
                </a:lnTo>
                <a:lnTo>
                  <a:pt x="1012" y="119"/>
                </a:lnTo>
                <a:lnTo>
                  <a:pt x="1011" y="108"/>
                </a:lnTo>
                <a:lnTo>
                  <a:pt x="1011" y="104"/>
                </a:lnTo>
                <a:lnTo>
                  <a:pt x="1013" y="99"/>
                </a:lnTo>
                <a:lnTo>
                  <a:pt x="1015" y="94"/>
                </a:lnTo>
                <a:lnTo>
                  <a:pt x="1019" y="91"/>
                </a:lnTo>
                <a:lnTo>
                  <a:pt x="1027" y="85"/>
                </a:lnTo>
                <a:lnTo>
                  <a:pt x="1033" y="78"/>
                </a:lnTo>
                <a:lnTo>
                  <a:pt x="1036" y="74"/>
                </a:lnTo>
                <a:lnTo>
                  <a:pt x="1037" y="69"/>
                </a:lnTo>
                <a:lnTo>
                  <a:pt x="1036" y="66"/>
                </a:lnTo>
                <a:lnTo>
                  <a:pt x="1036" y="62"/>
                </a:lnTo>
                <a:lnTo>
                  <a:pt x="1032" y="54"/>
                </a:lnTo>
                <a:lnTo>
                  <a:pt x="1028" y="48"/>
                </a:lnTo>
                <a:lnTo>
                  <a:pt x="1026" y="41"/>
                </a:lnTo>
                <a:lnTo>
                  <a:pt x="1026" y="32"/>
                </a:lnTo>
                <a:lnTo>
                  <a:pt x="1026" y="29"/>
                </a:lnTo>
                <a:lnTo>
                  <a:pt x="1025" y="24"/>
                </a:lnTo>
                <a:lnTo>
                  <a:pt x="1024" y="19"/>
                </a:lnTo>
                <a:lnTo>
                  <a:pt x="1020" y="13"/>
                </a:lnTo>
                <a:lnTo>
                  <a:pt x="1017" y="9"/>
                </a:lnTo>
                <a:lnTo>
                  <a:pt x="1012" y="5"/>
                </a:lnTo>
                <a:lnTo>
                  <a:pt x="1008" y="3"/>
                </a:lnTo>
                <a:lnTo>
                  <a:pt x="1004" y="0"/>
                </a:lnTo>
                <a:lnTo>
                  <a:pt x="999" y="0"/>
                </a:lnTo>
                <a:lnTo>
                  <a:pt x="994" y="1"/>
                </a:lnTo>
                <a:lnTo>
                  <a:pt x="989" y="4"/>
                </a:lnTo>
                <a:lnTo>
                  <a:pt x="986" y="9"/>
                </a:lnTo>
                <a:lnTo>
                  <a:pt x="977" y="16"/>
                </a:lnTo>
                <a:lnTo>
                  <a:pt x="970" y="21"/>
                </a:lnTo>
                <a:lnTo>
                  <a:pt x="968" y="22"/>
                </a:lnTo>
                <a:lnTo>
                  <a:pt x="965" y="22"/>
                </a:lnTo>
                <a:lnTo>
                  <a:pt x="963" y="22"/>
                </a:lnTo>
                <a:lnTo>
                  <a:pt x="961" y="21"/>
                </a:lnTo>
                <a:lnTo>
                  <a:pt x="958" y="17"/>
                </a:lnTo>
                <a:lnTo>
                  <a:pt x="955" y="13"/>
                </a:lnTo>
                <a:lnTo>
                  <a:pt x="952" y="12"/>
                </a:lnTo>
                <a:lnTo>
                  <a:pt x="949" y="11"/>
                </a:lnTo>
                <a:lnTo>
                  <a:pt x="945" y="11"/>
                </a:lnTo>
                <a:lnTo>
                  <a:pt x="941" y="12"/>
                </a:lnTo>
                <a:lnTo>
                  <a:pt x="936" y="13"/>
                </a:lnTo>
                <a:lnTo>
                  <a:pt x="933" y="16"/>
                </a:lnTo>
                <a:lnTo>
                  <a:pt x="931" y="18"/>
                </a:lnTo>
                <a:lnTo>
                  <a:pt x="930" y="22"/>
                </a:lnTo>
                <a:lnTo>
                  <a:pt x="927" y="24"/>
                </a:lnTo>
                <a:lnTo>
                  <a:pt x="925" y="26"/>
                </a:lnTo>
                <a:lnTo>
                  <a:pt x="920" y="29"/>
                </a:lnTo>
                <a:lnTo>
                  <a:pt x="914" y="30"/>
                </a:lnTo>
                <a:lnTo>
                  <a:pt x="906" y="30"/>
                </a:lnTo>
                <a:lnTo>
                  <a:pt x="900" y="29"/>
                </a:lnTo>
                <a:lnTo>
                  <a:pt x="895" y="26"/>
                </a:lnTo>
                <a:lnTo>
                  <a:pt x="892" y="23"/>
                </a:lnTo>
                <a:lnTo>
                  <a:pt x="889" y="21"/>
                </a:lnTo>
                <a:lnTo>
                  <a:pt x="887" y="19"/>
                </a:lnTo>
                <a:lnTo>
                  <a:pt x="885" y="18"/>
                </a:lnTo>
                <a:lnTo>
                  <a:pt x="882" y="18"/>
                </a:lnTo>
                <a:lnTo>
                  <a:pt x="878" y="21"/>
                </a:lnTo>
                <a:lnTo>
                  <a:pt x="872" y="23"/>
                </a:lnTo>
                <a:lnTo>
                  <a:pt x="868" y="25"/>
                </a:lnTo>
                <a:lnTo>
                  <a:pt x="864" y="28"/>
                </a:lnTo>
                <a:lnTo>
                  <a:pt x="862" y="31"/>
                </a:lnTo>
                <a:lnTo>
                  <a:pt x="860" y="35"/>
                </a:lnTo>
                <a:lnTo>
                  <a:pt x="858" y="40"/>
                </a:lnTo>
                <a:lnTo>
                  <a:pt x="858" y="43"/>
                </a:lnTo>
                <a:lnTo>
                  <a:pt x="860" y="48"/>
                </a:lnTo>
                <a:lnTo>
                  <a:pt x="863" y="54"/>
                </a:lnTo>
                <a:lnTo>
                  <a:pt x="867" y="60"/>
                </a:lnTo>
                <a:lnTo>
                  <a:pt x="869" y="66"/>
                </a:lnTo>
                <a:lnTo>
                  <a:pt x="870" y="73"/>
                </a:lnTo>
                <a:lnTo>
                  <a:pt x="872" y="80"/>
                </a:lnTo>
                <a:lnTo>
                  <a:pt x="872" y="86"/>
                </a:lnTo>
                <a:lnTo>
                  <a:pt x="872" y="92"/>
                </a:lnTo>
                <a:lnTo>
                  <a:pt x="869" y="98"/>
                </a:lnTo>
                <a:lnTo>
                  <a:pt x="867" y="101"/>
                </a:lnTo>
                <a:lnTo>
                  <a:pt x="862" y="105"/>
                </a:lnTo>
                <a:lnTo>
                  <a:pt x="857" y="107"/>
                </a:lnTo>
                <a:lnTo>
                  <a:pt x="850" y="110"/>
                </a:lnTo>
                <a:lnTo>
                  <a:pt x="843" y="112"/>
                </a:lnTo>
                <a:lnTo>
                  <a:pt x="826" y="117"/>
                </a:lnTo>
                <a:lnTo>
                  <a:pt x="811" y="120"/>
                </a:lnTo>
                <a:lnTo>
                  <a:pt x="804" y="123"/>
                </a:lnTo>
                <a:lnTo>
                  <a:pt x="797" y="125"/>
                </a:lnTo>
                <a:lnTo>
                  <a:pt x="792" y="129"/>
                </a:lnTo>
                <a:lnTo>
                  <a:pt x="787" y="132"/>
                </a:lnTo>
                <a:lnTo>
                  <a:pt x="784" y="136"/>
                </a:lnTo>
                <a:lnTo>
                  <a:pt x="780" y="141"/>
                </a:lnTo>
                <a:lnTo>
                  <a:pt x="778" y="147"/>
                </a:lnTo>
                <a:lnTo>
                  <a:pt x="776" y="151"/>
                </a:lnTo>
                <a:lnTo>
                  <a:pt x="775" y="156"/>
                </a:lnTo>
                <a:lnTo>
                  <a:pt x="774" y="158"/>
                </a:lnTo>
                <a:lnTo>
                  <a:pt x="772" y="161"/>
                </a:lnTo>
                <a:lnTo>
                  <a:pt x="768" y="161"/>
                </a:lnTo>
                <a:lnTo>
                  <a:pt x="761" y="161"/>
                </a:lnTo>
                <a:lnTo>
                  <a:pt x="753" y="157"/>
                </a:lnTo>
                <a:lnTo>
                  <a:pt x="747" y="157"/>
                </a:lnTo>
                <a:lnTo>
                  <a:pt x="741" y="157"/>
                </a:lnTo>
                <a:lnTo>
                  <a:pt x="734" y="158"/>
                </a:lnTo>
                <a:lnTo>
                  <a:pt x="727" y="161"/>
                </a:lnTo>
                <a:lnTo>
                  <a:pt x="718" y="163"/>
                </a:lnTo>
                <a:lnTo>
                  <a:pt x="710" y="167"/>
                </a:lnTo>
                <a:lnTo>
                  <a:pt x="703" y="171"/>
                </a:lnTo>
                <a:lnTo>
                  <a:pt x="696" y="176"/>
                </a:lnTo>
                <a:lnTo>
                  <a:pt x="689" y="181"/>
                </a:lnTo>
                <a:lnTo>
                  <a:pt x="683" y="187"/>
                </a:lnTo>
                <a:lnTo>
                  <a:pt x="677" y="193"/>
                </a:lnTo>
                <a:lnTo>
                  <a:pt x="672" y="199"/>
                </a:lnTo>
                <a:lnTo>
                  <a:pt x="668" y="205"/>
                </a:lnTo>
                <a:lnTo>
                  <a:pt x="666" y="211"/>
                </a:lnTo>
                <a:lnTo>
                  <a:pt x="664" y="215"/>
                </a:lnTo>
                <a:lnTo>
                  <a:pt x="664" y="220"/>
                </a:lnTo>
                <a:lnTo>
                  <a:pt x="662" y="224"/>
                </a:lnTo>
                <a:lnTo>
                  <a:pt x="660" y="229"/>
                </a:lnTo>
                <a:lnTo>
                  <a:pt x="656" y="232"/>
                </a:lnTo>
                <a:lnTo>
                  <a:pt x="653" y="236"/>
                </a:lnTo>
                <a:lnTo>
                  <a:pt x="648" y="238"/>
                </a:lnTo>
                <a:lnTo>
                  <a:pt x="642" y="239"/>
                </a:lnTo>
                <a:lnTo>
                  <a:pt x="636" y="240"/>
                </a:lnTo>
                <a:lnTo>
                  <a:pt x="630" y="239"/>
                </a:lnTo>
                <a:lnTo>
                  <a:pt x="623" y="237"/>
                </a:lnTo>
                <a:lnTo>
                  <a:pt x="617" y="232"/>
                </a:lnTo>
                <a:lnTo>
                  <a:pt x="611" y="227"/>
                </a:lnTo>
                <a:lnTo>
                  <a:pt x="606" y="223"/>
                </a:lnTo>
                <a:lnTo>
                  <a:pt x="597" y="209"/>
                </a:lnTo>
                <a:lnTo>
                  <a:pt x="590" y="198"/>
                </a:lnTo>
                <a:lnTo>
                  <a:pt x="585" y="192"/>
                </a:lnTo>
                <a:lnTo>
                  <a:pt x="582" y="187"/>
                </a:lnTo>
                <a:lnTo>
                  <a:pt x="577" y="185"/>
                </a:lnTo>
                <a:lnTo>
                  <a:pt x="572" y="182"/>
                </a:lnTo>
                <a:lnTo>
                  <a:pt x="568" y="181"/>
                </a:lnTo>
                <a:lnTo>
                  <a:pt x="564" y="181"/>
                </a:lnTo>
                <a:lnTo>
                  <a:pt x="559" y="182"/>
                </a:lnTo>
                <a:lnTo>
                  <a:pt x="554" y="183"/>
                </a:lnTo>
                <a:lnTo>
                  <a:pt x="545" y="190"/>
                </a:lnTo>
                <a:lnTo>
                  <a:pt x="534" y="199"/>
                </a:lnTo>
                <a:lnTo>
                  <a:pt x="523" y="208"/>
                </a:lnTo>
                <a:lnTo>
                  <a:pt x="515" y="217"/>
                </a:lnTo>
                <a:lnTo>
                  <a:pt x="511" y="219"/>
                </a:lnTo>
                <a:lnTo>
                  <a:pt x="508" y="221"/>
                </a:lnTo>
                <a:lnTo>
                  <a:pt x="504" y="224"/>
                </a:lnTo>
                <a:lnTo>
                  <a:pt x="501" y="225"/>
                </a:lnTo>
                <a:lnTo>
                  <a:pt x="492" y="226"/>
                </a:lnTo>
                <a:lnTo>
                  <a:pt x="485" y="227"/>
                </a:lnTo>
                <a:lnTo>
                  <a:pt x="482" y="227"/>
                </a:lnTo>
                <a:lnTo>
                  <a:pt x="479" y="231"/>
                </a:lnTo>
                <a:lnTo>
                  <a:pt x="477" y="236"/>
                </a:lnTo>
                <a:lnTo>
                  <a:pt x="476" y="242"/>
                </a:lnTo>
                <a:lnTo>
                  <a:pt x="475" y="256"/>
                </a:lnTo>
                <a:lnTo>
                  <a:pt x="473" y="269"/>
                </a:lnTo>
                <a:lnTo>
                  <a:pt x="471" y="276"/>
                </a:lnTo>
                <a:lnTo>
                  <a:pt x="467" y="282"/>
                </a:lnTo>
                <a:lnTo>
                  <a:pt x="461" y="288"/>
                </a:lnTo>
                <a:lnTo>
                  <a:pt x="456" y="293"/>
                </a:lnTo>
                <a:lnTo>
                  <a:pt x="442" y="301"/>
                </a:lnTo>
                <a:lnTo>
                  <a:pt x="433" y="306"/>
                </a:lnTo>
                <a:lnTo>
                  <a:pt x="425" y="309"/>
                </a:lnTo>
                <a:lnTo>
                  <a:pt x="417" y="312"/>
                </a:lnTo>
                <a:lnTo>
                  <a:pt x="415" y="314"/>
                </a:lnTo>
                <a:lnTo>
                  <a:pt x="413" y="318"/>
                </a:lnTo>
                <a:lnTo>
                  <a:pt x="412" y="320"/>
                </a:lnTo>
                <a:lnTo>
                  <a:pt x="410" y="325"/>
                </a:lnTo>
                <a:lnTo>
                  <a:pt x="410" y="328"/>
                </a:lnTo>
                <a:lnTo>
                  <a:pt x="409" y="331"/>
                </a:lnTo>
                <a:lnTo>
                  <a:pt x="408" y="333"/>
                </a:lnTo>
                <a:lnTo>
                  <a:pt x="406" y="334"/>
                </a:lnTo>
                <a:lnTo>
                  <a:pt x="400" y="334"/>
                </a:lnTo>
                <a:lnTo>
                  <a:pt x="394" y="333"/>
                </a:lnTo>
                <a:lnTo>
                  <a:pt x="387" y="331"/>
                </a:lnTo>
                <a:lnTo>
                  <a:pt x="382" y="330"/>
                </a:lnTo>
                <a:lnTo>
                  <a:pt x="379" y="331"/>
                </a:lnTo>
                <a:lnTo>
                  <a:pt x="378" y="333"/>
                </a:lnTo>
                <a:lnTo>
                  <a:pt x="377" y="337"/>
                </a:lnTo>
                <a:lnTo>
                  <a:pt x="376" y="343"/>
                </a:lnTo>
                <a:lnTo>
                  <a:pt x="376" y="349"/>
                </a:lnTo>
                <a:lnTo>
                  <a:pt x="377" y="355"/>
                </a:lnTo>
                <a:lnTo>
                  <a:pt x="378" y="360"/>
                </a:lnTo>
                <a:lnTo>
                  <a:pt x="381" y="365"/>
                </a:lnTo>
                <a:lnTo>
                  <a:pt x="383" y="370"/>
                </a:lnTo>
                <a:lnTo>
                  <a:pt x="387" y="372"/>
                </a:lnTo>
                <a:lnTo>
                  <a:pt x="390" y="375"/>
                </a:lnTo>
                <a:lnTo>
                  <a:pt x="395" y="375"/>
                </a:lnTo>
                <a:lnTo>
                  <a:pt x="400" y="375"/>
                </a:lnTo>
                <a:lnTo>
                  <a:pt x="403" y="376"/>
                </a:lnTo>
                <a:lnTo>
                  <a:pt x="406" y="378"/>
                </a:lnTo>
                <a:lnTo>
                  <a:pt x="408" y="382"/>
                </a:lnTo>
                <a:lnTo>
                  <a:pt x="410" y="389"/>
                </a:lnTo>
                <a:lnTo>
                  <a:pt x="415" y="397"/>
                </a:lnTo>
                <a:lnTo>
                  <a:pt x="419" y="404"/>
                </a:lnTo>
                <a:lnTo>
                  <a:pt x="421" y="412"/>
                </a:lnTo>
                <a:lnTo>
                  <a:pt x="422" y="421"/>
                </a:lnTo>
                <a:lnTo>
                  <a:pt x="421" y="433"/>
                </a:lnTo>
                <a:lnTo>
                  <a:pt x="422" y="440"/>
                </a:lnTo>
                <a:lnTo>
                  <a:pt x="423" y="447"/>
                </a:lnTo>
                <a:lnTo>
                  <a:pt x="426" y="453"/>
                </a:lnTo>
                <a:lnTo>
                  <a:pt x="429" y="459"/>
                </a:lnTo>
                <a:lnTo>
                  <a:pt x="435" y="470"/>
                </a:lnTo>
                <a:lnTo>
                  <a:pt x="440" y="480"/>
                </a:lnTo>
                <a:lnTo>
                  <a:pt x="441" y="486"/>
                </a:lnTo>
                <a:lnTo>
                  <a:pt x="440" y="491"/>
                </a:lnTo>
                <a:lnTo>
                  <a:pt x="438" y="496"/>
                </a:lnTo>
                <a:lnTo>
                  <a:pt x="435" y="501"/>
                </a:lnTo>
                <a:lnTo>
                  <a:pt x="428" y="511"/>
                </a:lnTo>
                <a:lnTo>
                  <a:pt x="420" y="522"/>
                </a:lnTo>
                <a:lnTo>
                  <a:pt x="413" y="535"/>
                </a:lnTo>
                <a:lnTo>
                  <a:pt x="407" y="551"/>
                </a:lnTo>
                <a:lnTo>
                  <a:pt x="401" y="564"/>
                </a:lnTo>
                <a:lnTo>
                  <a:pt x="395" y="574"/>
                </a:lnTo>
                <a:lnTo>
                  <a:pt x="388" y="583"/>
                </a:lnTo>
                <a:lnTo>
                  <a:pt x="378" y="591"/>
                </a:lnTo>
                <a:lnTo>
                  <a:pt x="373" y="595"/>
                </a:lnTo>
                <a:lnTo>
                  <a:pt x="369" y="598"/>
                </a:lnTo>
                <a:lnTo>
                  <a:pt x="365" y="599"/>
                </a:lnTo>
                <a:lnTo>
                  <a:pt x="360" y="601"/>
                </a:lnTo>
                <a:lnTo>
                  <a:pt x="352" y="601"/>
                </a:lnTo>
                <a:lnTo>
                  <a:pt x="345" y="602"/>
                </a:lnTo>
                <a:lnTo>
                  <a:pt x="337" y="604"/>
                </a:lnTo>
                <a:lnTo>
                  <a:pt x="326" y="608"/>
                </a:lnTo>
                <a:lnTo>
                  <a:pt x="314" y="612"/>
                </a:lnTo>
                <a:lnTo>
                  <a:pt x="302" y="616"/>
                </a:lnTo>
                <a:lnTo>
                  <a:pt x="288" y="621"/>
                </a:lnTo>
                <a:lnTo>
                  <a:pt x="272" y="626"/>
                </a:lnTo>
                <a:lnTo>
                  <a:pt x="264" y="630"/>
                </a:lnTo>
                <a:lnTo>
                  <a:pt x="256" y="636"/>
                </a:lnTo>
                <a:lnTo>
                  <a:pt x="247" y="645"/>
                </a:lnTo>
                <a:lnTo>
                  <a:pt x="240" y="653"/>
                </a:lnTo>
                <a:lnTo>
                  <a:pt x="228" y="671"/>
                </a:lnTo>
                <a:lnTo>
                  <a:pt x="221" y="683"/>
                </a:lnTo>
                <a:lnTo>
                  <a:pt x="220" y="688"/>
                </a:lnTo>
                <a:lnTo>
                  <a:pt x="219" y="694"/>
                </a:lnTo>
                <a:lnTo>
                  <a:pt x="218" y="702"/>
                </a:lnTo>
                <a:lnTo>
                  <a:pt x="218" y="709"/>
                </a:lnTo>
                <a:lnTo>
                  <a:pt x="217" y="723"/>
                </a:lnTo>
                <a:lnTo>
                  <a:pt x="214" y="734"/>
                </a:lnTo>
                <a:lnTo>
                  <a:pt x="213" y="738"/>
                </a:lnTo>
                <a:lnTo>
                  <a:pt x="212" y="743"/>
                </a:lnTo>
                <a:lnTo>
                  <a:pt x="211" y="748"/>
                </a:lnTo>
                <a:lnTo>
                  <a:pt x="212" y="753"/>
                </a:lnTo>
                <a:lnTo>
                  <a:pt x="212" y="759"/>
                </a:lnTo>
                <a:lnTo>
                  <a:pt x="214" y="762"/>
                </a:lnTo>
                <a:lnTo>
                  <a:pt x="215" y="767"/>
                </a:lnTo>
                <a:lnTo>
                  <a:pt x="219" y="769"/>
                </a:lnTo>
                <a:lnTo>
                  <a:pt x="224" y="775"/>
                </a:lnTo>
                <a:lnTo>
                  <a:pt x="226" y="782"/>
                </a:lnTo>
                <a:lnTo>
                  <a:pt x="228" y="792"/>
                </a:lnTo>
                <a:lnTo>
                  <a:pt x="230" y="804"/>
                </a:lnTo>
                <a:lnTo>
                  <a:pt x="231" y="810"/>
                </a:lnTo>
                <a:lnTo>
                  <a:pt x="233" y="816"/>
                </a:lnTo>
                <a:lnTo>
                  <a:pt x="237" y="820"/>
                </a:lnTo>
                <a:lnTo>
                  <a:pt x="240" y="825"/>
                </a:lnTo>
                <a:lnTo>
                  <a:pt x="249" y="835"/>
                </a:lnTo>
                <a:lnTo>
                  <a:pt x="256" y="842"/>
                </a:lnTo>
                <a:lnTo>
                  <a:pt x="258" y="845"/>
                </a:lnTo>
                <a:lnTo>
                  <a:pt x="259" y="850"/>
                </a:lnTo>
                <a:lnTo>
                  <a:pt x="261" y="855"/>
                </a:lnTo>
                <a:lnTo>
                  <a:pt x="259" y="860"/>
                </a:lnTo>
                <a:lnTo>
                  <a:pt x="256" y="869"/>
                </a:lnTo>
                <a:lnTo>
                  <a:pt x="252" y="879"/>
                </a:lnTo>
                <a:lnTo>
                  <a:pt x="251" y="882"/>
                </a:lnTo>
                <a:lnTo>
                  <a:pt x="249" y="886"/>
                </a:lnTo>
                <a:lnTo>
                  <a:pt x="247" y="888"/>
                </a:lnTo>
                <a:lnTo>
                  <a:pt x="245" y="888"/>
                </a:lnTo>
                <a:lnTo>
                  <a:pt x="243" y="888"/>
                </a:lnTo>
                <a:lnTo>
                  <a:pt x="240" y="887"/>
                </a:lnTo>
                <a:lnTo>
                  <a:pt x="238" y="885"/>
                </a:lnTo>
                <a:lnTo>
                  <a:pt x="236" y="881"/>
                </a:lnTo>
                <a:lnTo>
                  <a:pt x="232" y="879"/>
                </a:lnTo>
                <a:lnTo>
                  <a:pt x="228" y="876"/>
                </a:lnTo>
                <a:lnTo>
                  <a:pt x="225" y="876"/>
                </a:lnTo>
                <a:lnTo>
                  <a:pt x="221" y="876"/>
                </a:lnTo>
                <a:lnTo>
                  <a:pt x="218" y="879"/>
                </a:lnTo>
                <a:lnTo>
                  <a:pt x="214" y="882"/>
                </a:lnTo>
                <a:lnTo>
                  <a:pt x="211" y="886"/>
                </a:lnTo>
                <a:lnTo>
                  <a:pt x="208" y="892"/>
                </a:lnTo>
                <a:lnTo>
                  <a:pt x="201" y="906"/>
                </a:lnTo>
                <a:lnTo>
                  <a:pt x="193" y="924"/>
                </a:lnTo>
                <a:lnTo>
                  <a:pt x="189" y="935"/>
                </a:lnTo>
                <a:lnTo>
                  <a:pt x="186" y="944"/>
                </a:lnTo>
                <a:lnTo>
                  <a:pt x="183" y="954"/>
                </a:lnTo>
                <a:lnTo>
                  <a:pt x="182" y="962"/>
                </a:lnTo>
                <a:lnTo>
                  <a:pt x="181" y="969"/>
                </a:lnTo>
                <a:lnTo>
                  <a:pt x="182" y="974"/>
                </a:lnTo>
                <a:lnTo>
                  <a:pt x="182" y="977"/>
                </a:lnTo>
                <a:lnTo>
                  <a:pt x="184" y="980"/>
                </a:lnTo>
                <a:lnTo>
                  <a:pt x="186" y="982"/>
                </a:lnTo>
                <a:lnTo>
                  <a:pt x="189" y="983"/>
                </a:lnTo>
                <a:lnTo>
                  <a:pt x="193" y="983"/>
                </a:lnTo>
                <a:lnTo>
                  <a:pt x="196" y="983"/>
                </a:lnTo>
                <a:lnTo>
                  <a:pt x="205" y="984"/>
                </a:lnTo>
                <a:lnTo>
                  <a:pt x="211" y="987"/>
                </a:lnTo>
                <a:lnTo>
                  <a:pt x="213" y="989"/>
                </a:lnTo>
                <a:lnTo>
                  <a:pt x="214" y="992"/>
                </a:lnTo>
                <a:lnTo>
                  <a:pt x="214" y="995"/>
                </a:lnTo>
                <a:lnTo>
                  <a:pt x="213" y="1000"/>
                </a:lnTo>
                <a:lnTo>
                  <a:pt x="209" y="1009"/>
                </a:lnTo>
                <a:lnTo>
                  <a:pt x="203" y="1017"/>
                </a:lnTo>
                <a:lnTo>
                  <a:pt x="198" y="1025"/>
                </a:lnTo>
                <a:lnTo>
                  <a:pt x="189" y="1033"/>
                </a:lnTo>
                <a:lnTo>
                  <a:pt x="182" y="1045"/>
                </a:lnTo>
                <a:lnTo>
                  <a:pt x="175" y="1058"/>
                </a:lnTo>
                <a:lnTo>
                  <a:pt x="169" y="1072"/>
                </a:lnTo>
                <a:lnTo>
                  <a:pt x="161" y="1083"/>
                </a:lnTo>
                <a:lnTo>
                  <a:pt x="154" y="1090"/>
                </a:lnTo>
                <a:lnTo>
                  <a:pt x="145" y="1095"/>
                </a:lnTo>
                <a:lnTo>
                  <a:pt x="136" y="1099"/>
                </a:lnTo>
                <a:lnTo>
                  <a:pt x="121" y="1102"/>
                </a:lnTo>
                <a:lnTo>
                  <a:pt x="114" y="1105"/>
                </a:lnTo>
                <a:lnTo>
                  <a:pt x="107" y="1108"/>
                </a:lnTo>
                <a:lnTo>
                  <a:pt x="101" y="1110"/>
                </a:lnTo>
                <a:lnTo>
                  <a:pt x="97" y="1114"/>
                </a:lnTo>
                <a:lnTo>
                  <a:pt x="93" y="1118"/>
                </a:lnTo>
                <a:lnTo>
                  <a:pt x="91" y="1121"/>
                </a:lnTo>
                <a:lnTo>
                  <a:pt x="89" y="1125"/>
                </a:lnTo>
                <a:lnTo>
                  <a:pt x="88" y="1128"/>
                </a:lnTo>
                <a:lnTo>
                  <a:pt x="99" y="1143"/>
                </a:lnTo>
                <a:lnTo>
                  <a:pt x="113" y="1162"/>
                </a:lnTo>
                <a:lnTo>
                  <a:pt x="113" y="1164"/>
                </a:lnTo>
                <a:lnTo>
                  <a:pt x="113" y="1166"/>
                </a:lnTo>
                <a:lnTo>
                  <a:pt x="112" y="1167"/>
                </a:lnTo>
                <a:lnTo>
                  <a:pt x="111" y="1170"/>
                </a:lnTo>
                <a:lnTo>
                  <a:pt x="106" y="1172"/>
                </a:lnTo>
                <a:lnTo>
                  <a:pt x="101" y="1175"/>
                </a:lnTo>
                <a:lnTo>
                  <a:pt x="95" y="1177"/>
                </a:lnTo>
                <a:lnTo>
                  <a:pt x="89" y="1179"/>
                </a:lnTo>
                <a:lnTo>
                  <a:pt x="83" y="1183"/>
                </a:lnTo>
                <a:lnTo>
                  <a:pt x="80" y="1189"/>
                </a:lnTo>
                <a:lnTo>
                  <a:pt x="74" y="1203"/>
                </a:lnTo>
                <a:lnTo>
                  <a:pt x="69" y="1221"/>
                </a:lnTo>
                <a:lnTo>
                  <a:pt x="68" y="1229"/>
                </a:lnTo>
                <a:lnTo>
                  <a:pt x="67" y="1238"/>
                </a:lnTo>
                <a:lnTo>
                  <a:pt x="67" y="1246"/>
                </a:lnTo>
                <a:lnTo>
                  <a:pt x="68" y="1252"/>
                </a:lnTo>
                <a:lnTo>
                  <a:pt x="69" y="1258"/>
                </a:lnTo>
                <a:lnTo>
                  <a:pt x="69" y="1263"/>
                </a:lnTo>
                <a:lnTo>
                  <a:pt x="69" y="1267"/>
                </a:lnTo>
                <a:lnTo>
                  <a:pt x="68" y="1271"/>
                </a:lnTo>
                <a:lnTo>
                  <a:pt x="64" y="1278"/>
                </a:lnTo>
                <a:lnTo>
                  <a:pt x="60" y="1285"/>
                </a:lnTo>
                <a:lnTo>
                  <a:pt x="57" y="1296"/>
                </a:lnTo>
                <a:lnTo>
                  <a:pt x="56" y="1308"/>
                </a:lnTo>
                <a:lnTo>
                  <a:pt x="56" y="1320"/>
                </a:lnTo>
                <a:lnTo>
                  <a:pt x="53" y="1330"/>
                </a:lnTo>
                <a:lnTo>
                  <a:pt x="50" y="1341"/>
                </a:lnTo>
                <a:lnTo>
                  <a:pt x="50" y="1353"/>
                </a:lnTo>
                <a:lnTo>
                  <a:pt x="50" y="1359"/>
                </a:lnTo>
                <a:lnTo>
                  <a:pt x="49" y="1365"/>
                </a:lnTo>
                <a:lnTo>
                  <a:pt x="49" y="1371"/>
                </a:lnTo>
                <a:lnTo>
                  <a:pt x="47" y="1376"/>
                </a:lnTo>
                <a:lnTo>
                  <a:pt x="39" y="1385"/>
                </a:lnTo>
                <a:lnTo>
                  <a:pt x="30" y="1395"/>
                </a:lnTo>
                <a:lnTo>
                  <a:pt x="19" y="1404"/>
                </a:lnTo>
                <a:lnTo>
                  <a:pt x="7" y="1414"/>
                </a:lnTo>
                <a:lnTo>
                  <a:pt x="3" y="1419"/>
                </a:lnTo>
                <a:lnTo>
                  <a:pt x="0" y="1425"/>
                </a:lnTo>
                <a:lnTo>
                  <a:pt x="0" y="1433"/>
                </a:lnTo>
                <a:lnTo>
                  <a:pt x="0" y="1440"/>
                </a:lnTo>
                <a:lnTo>
                  <a:pt x="3" y="1447"/>
                </a:lnTo>
                <a:lnTo>
                  <a:pt x="6" y="1454"/>
                </a:lnTo>
                <a:lnTo>
                  <a:pt x="11" y="1460"/>
                </a:lnTo>
                <a:lnTo>
                  <a:pt x="17" y="1465"/>
                </a:lnTo>
                <a:lnTo>
                  <a:pt x="22" y="1469"/>
                </a:lnTo>
                <a:lnTo>
                  <a:pt x="25" y="1473"/>
                </a:lnTo>
                <a:lnTo>
                  <a:pt x="28" y="1478"/>
                </a:lnTo>
                <a:lnTo>
                  <a:pt x="28" y="1481"/>
                </a:lnTo>
                <a:lnTo>
                  <a:pt x="26" y="1485"/>
                </a:lnTo>
                <a:lnTo>
                  <a:pt x="23" y="1488"/>
                </a:lnTo>
                <a:lnTo>
                  <a:pt x="19" y="1493"/>
                </a:lnTo>
                <a:lnTo>
                  <a:pt x="14" y="1498"/>
                </a:lnTo>
                <a:lnTo>
                  <a:pt x="12" y="1500"/>
                </a:lnTo>
                <a:lnTo>
                  <a:pt x="11" y="1504"/>
                </a:lnTo>
                <a:lnTo>
                  <a:pt x="10" y="1507"/>
                </a:lnTo>
                <a:lnTo>
                  <a:pt x="10" y="1510"/>
                </a:lnTo>
                <a:lnTo>
                  <a:pt x="11" y="1517"/>
                </a:lnTo>
                <a:lnTo>
                  <a:pt x="13" y="1524"/>
                </a:lnTo>
                <a:lnTo>
                  <a:pt x="18" y="1530"/>
                </a:lnTo>
                <a:lnTo>
                  <a:pt x="24" y="1536"/>
                </a:lnTo>
                <a:lnTo>
                  <a:pt x="31" y="1540"/>
                </a:lnTo>
                <a:lnTo>
                  <a:pt x="38" y="1542"/>
                </a:lnTo>
                <a:lnTo>
                  <a:pt x="51" y="1544"/>
                </a:lnTo>
                <a:lnTo>
                  <a:pt x="62" y="1549"/>
                </a:lnTo>
                <a:lnTo>
                  <a:pt x="72" y="1554"/>
                </a:lnTo>
                <a:lnTo>
                  <a:pt x="80" y="1561"/>
                </a:lnTo>
                <a:lnTo>
                  <a:pt x="85" y="1564"/>
                </a:lnTo>
                <a:lnTo>
                  <a:pt x="91" y="1566"/>
                </a:lnTo>
                <a:lnTo>
                  <a:pt x="98" y="1568"/>
                </a:lnTo>
                <a:lnTo>
                  <a:pt x="104" y="1568"/>
                </a:lnTo>
                <a:lnTo>
                  <a:pt x="119" y="1569"/>
                </a:lnTo>
                <a:lnTo>
                  <a:pt x="133" y="1568"/>
                </a:lnTo>
                <a:lnTo>
                  <a:pt x="145" y="1569"/>
                </a:lnTo>
                <a:lnTo>
                  <a:pt x="154" y="1572"/>
                </a:lnTo>
                <a:lnTo>
                  <a:pt x="161" y="1575"/>
                </a:lnTo>
                <a:lnTo>
                  <a:pt x="165" y="1581"/>
                </a:lnTo>
                <a:lnTo>
                  <a:pt x="171" y="1586"/>
                </a:lnTo>
                <a:lnTo>
                  <a:pt x="176" y="1588"/>
                </a:lnTo>
                <a:lnTo>
                  <a:pt x="182" y="1589"/>
                </a:lnTo>
                <a:lnTo>
                  <a:pt x="188" y="1588"/>
                </a:lnTo>
                <a:lnTo>
                  <a:pt x="199" y="1578"/>
                </a:lnTo>
                <a:lnTo>
                  <a:pt x="213" y="1562"/>
                </a:lnTo>
                <a:lnTo>
                  <a:pt x="223" y="1557"/>
                </a:lnTo>
                <a:lnTo>
                  <a:pt x="228" y="1555"/>
                </a:lnTo>
                <a:lnTo>
                  <a:pt x="230" y="1556"/>
                </a:lnTo>
                <a:lnTo>
                  <a:pt x="231" y="1557"/>
                </a:lnTo>
                <a:lnTo>
                  <a:pt x="232" y="1560"/>
                </a:lnTo>
                <a:lnTo>
                  <a:pt x="231" y="1562"/>
                </a:lnTo>
                <a:lnTo>
                  <a:pt x="224" y="1572"/>
                </a:lnTo>
                <a:lnTo>
                  <a:pt x="214" y="1581"/>
                </a:lnTo>
                <a:lnTo>
                  <a:pt x="213" y="1584"/>
                </a:lnTo>
                <a:lnTo>
                  <a:pt x="214" y="1586"/>
                </a:lnTo>
                <a:lnTo>
                  <a:pt x="217" y="1588"/>
                </a:lnTo>
                <a:lnTo>
                  <a:pt x="220" y="1592"/>
                </a:lnTo>
                <a:lnTo>
                  <a:pt x="231" y="1598"/>
                </a:lnTo>
                <a:lnTo>
                  <a:pt x="242" y="1605"/>
                </a:lnTo>
                <a:lnTo>
                  <a:pt x="251" y="1612"/>
                </a:lnTo>
                <a:lnTo>
                  <a:pt x="258" y="1620"/>
                </a:lnTo>
                <a:lnTo>
                  <a:pt x="263" y="1629"/>
                </a:lnTo>
                <a:lnTo>
                  <a:pt x="265" y="1638"/>
                </a:lnTo>
                <a:lnTo>
                  <a:pt x="269" y="1648"/>
                </a:lnTo>
                <a:lnTo>
                  <a:pt x="271" y="1655"/>
                </a:lnTo>
                <a:lnTo>
                  <a:pt x="274" y="1658"/>
                </a:lnTo>
                <a:lnTo>
                  <a:pt x="276" y="1661"/>
                </a:lnTo>
                <a:lnTo>
                  <a:pt x="278" y="1662"/>
                </a:lnTo>
                <a:lnTo>
                  <a:pt x="283" y="1662"/>
                </a:lnTo>
                <a:lnTo>
                  <a:pt x="289" y="1661"/>
                </a:lnTo>
                <a:lnTo>
                  <a:pt x="294" y="1660"/>
                </a:lnTo>
                <a:lnTo>
                  <a:pt x="300" y="1656"/>
                </a:lnTo>
                <a:lnTo>
                  <a:pt x="307" y="1651"/>
                </a:lnTo>
                <a:lnTo>
                  <a:pt x="318" y="1645"/>
                </a:lnTo>
                <a:lnTo>
                  <a:pt x="330" y="1641"/>
                </a:lnTo>
                <a:lnTo>
                  <a:pt x="341" y="1637"/>
                </a:lnTo>
                <a:lnTo>
                  <a:pt x="353" y="1633"/>
                </a:lnTo>
                <a:lnTo>
                  <a:pt x="365" y="1631"/>
                </a:lnTo>
                <a:lnTo>
                  <a:pt x="375" y="1629"/>
                </a:lnTo>
                <a:lnTo>
                  <a:pt x="379" y="1627"/>
                </a:lnTo>
                <a:lnTo>
                  <a:pt x="383" y="1627"/>
                </a:lnTo>
                <a:lnTo>
                  <a:pt x="385" y="1629"/>
                </a:lnTo>
                <a:lnTo>
                  <a:pt x="387" y="1630"/>
                </a:lnTo>
                <a:lnTo>
                  <a:pt x="388" y="1636"/>
                </a:lnTo>
                <a:lnTo>
                  <a:pt x="387" y="1643"/>
                </a:lnTo>
                <a:lnTo>
                  <a:pt x="383" y="1652"/>
                </a:lnTo>
                <a:lnTo>
                  <a:pt x="379" y="1664"/>
                </a:lnTo>
                <a:lnTo>
                  <a:pt x="378" y="1670"/>
                </a:lnTo>
                <a:lnTo>
                  <a:pt x="377" y="1676"/>
                </a:lnTo>
                <a:lnTo>
                  <a:pt x="377" y="1682"/>
                </a:lnTo>
                <a:lnTo>
                  <a:pt x="378" y="1687"/>
                </a:lnTo>
                <a:lnTo>
                  <a:pt x="381" y="1692"/>
                </a:lnTo>
                <a:lnTo>
                  <a:pt x="382" y="1695"/>
                </a:lnTo>
                <a:lnTo>
                  <a:pt x="385" y="1698"/>
                </a:lnTo>
                <a:lnTo>
                  <a:pt x="389" y="1699"/>
                </a:lnTo>
                <a:lnTo>
                  <a:pt x="396" y="1701"/>
                </a:lnTo>
                <a:lnTo>
                  <a:pt x="401" y="1704"/>
                </a:lnTo>
                <a:lnTo>
                  <a:pt x="404" y="1708"/>
                </a:lnTo>
                <a:lnTo>
                  <a:pt x="407" y="1715"/>
                </a:lnTo>
                <a:lnTo>
                  <a:pt x="409" y="1725"/>
                </a:lnTo>
                <a:lnTo>
                  <a:pt x="410" y="1733"/>
                </a:lnTo>
                <a:lnTo>
                  <a:pt x="412" y="1738"/>
                </a:lnTo>
                <a:lnTo>
                  <a:pt x="414" y="1742"/>
                </a:lnTo>
                <a:lnTo>
                  <a:pt x="415" y="1744"/>
                </a:lnTo>
                <a:lnTo>
                  <a:pt x="419" y="1746"/>
                </a:lnTo>
                <a:lnTo>
                  <a:pt x="423" y="1750"/>
                </a:lnTo>
                <a:lnTo>
                  <a:pt x="428" y="1753"/>
                </a:lnTo>
                <a:lnTo>
                  <a:pt x="432" y="1761"/>
                </a:lnTo>
                <a:lnTo>
                  <a:pt x="434" y="1774"/>
                </a:lnTo>
                <a:lnTo>
                  <a:pt x="436" y="1782"/>
                </a:lnTo>
                <a:lnTo>
                  <a:pt x="438" y="1788"/>
                </a:lnTo>
                <a:lnTo>
                  <a:pt x="440" y="1794"/>
                </a:lnTo>
                <a:lnTo>
                  <a:pt x="444" y="1800"/>
                </a:lnTo>
                <a:lnTo>
                  <a:pt x="450" y="1808"/>
                </a:lnTo>
                <a:lnTo>
                  <a:pt x="458" y="1816"/>
                </a:lnTo>
                <a:lnTo>
                  <a:pt x="463" y="1821"/>
                </a:lnTo>
                <a:lnTo>
                  <a:pt x="466" y="1825"/>
                </a:lnTo>
                <a:lnTo>
                  <a:pt x="469" y="1830"/>
                </a:lnTo>
                <a:lnTo>
                  <a:pt x="470" y="1833"/>
                </a:lnTo>
                <a:lnTo>
                  <a:pt x="470" y="1838"/>
                </a:lnTo>
                <a:lnTo>
                  <a:pt x="469" y="1843"/>
                </a:lnTo>
                <a:lnTo>
                  <a:pt x="466" y="1846"/>
                </a:lnTo>
                <a:lnTo>
                  <a:pt x="461" y="1851"/>
                </a:lnTo>
                <a:lnTo>
                  <a:pt x="457" y="1856"/>
                </a:lnTo>
                <a:lnTo>
                  <a:pt x="453" y="1862"/>
                </a:lnTo>
                <a:lnTo>
                  <a:pt x="452" y="1868"/>
                </a:lnTo>
                <a:lnTo>
                  <a:pt x="451" y="1874"/>
                </a:lnTo>
                <a:lnTo>
                  <a:pt x="451" y="1879"/>
                </a:lnTo>
                <a:lnTo>
                  <a:pt x="452" y="1884"/>
                </a:lnTo>
                <a:lnTo>
                  <a:pt x="453" y="1890"/>
                </a:lnTo>
                <a:lnTo>
                  <a:pt x="456" y="1895"/>
                </a:lnTo>
                <a:lnTo>
                  <a:pt x="461" y="1903"/>
                </a:lnTo>
                <a:lnTo>
                  <a:pt x="465" y="1912"/>
                </a:lnTo>
                <a:lnTo>
                  <a:pt x="467" y="1922"/>
                </a:lnTo>
                <a:lnTo>
                  <a:pt x="469" y="1933"/>
                </a:lnTo>
                <a:lnTo>
                  <a:pt x="469" y="1939"/>
                </a:lnTo>
                <a:lnTo>
                  <a:pt x="470" y="1945"/>
                </a:lnTo>
                <a:lnTo>
                  <a:pt x="472" y="1951"/>
                </a:lnTo>
                <a:lnTo>
                  <a:pt x="475" y="1958"/>
                </a:lnTo>
                <a:lnTo>
                  <a:pt x="482" y="1971"/>
                </a:lnTo>
                <a:lnTo>
                  <a:pt x="492" y="1985"/>
                </a:lnTo>
                <a:lnTo>
                  <a:pt x="498" y="1992"/>
                </a:lnTo>
                <a:lnTo>
                  <a:pt x="502" y="2001"/>
                </a:lnTo>
                <a:lnTo>
                  <a:pt x="505" y="2009"/>
                </a:lnTo>
                <a:lnTo>
                  <a:pt x="508" y="2017"/>
                </a:lnTo>
                <a:lnTo>
                  <a:pt x="510" y="2024"/>
                </a:lnTo>
                <a:lnTo>
                  <a:pt x="513" y="2032"/>
                </a:lnTo>
                <a:lnTo>
                  <a:pt x="515" y="2039"/>
                </a:lnTo>
                <a:lnTo>
                  <a:pt x="519" y="2045"/>
                </a:lnTo>
                <a:lnTo>
                  <a:pt x="526" y="2051"/>
                </a:lnTo>
                <a:lnTo>
                  <a:pt x="534" y="2057"/>
                </a:lnTo>
                <a:lnTo>
                  <a:pt x="543" y="2060"/>
                </a:lnTo>
                <a:lnTo>
                  <a:pt x="555" y="2064"/>
                </a:lnTo>
                <a:lnTo>
                  <a:pt x="558" y="2063"/>
                </a:lnTo>
                <a:lnTo>
                  <a:pt x="560" y="2061"/>
                </a:lnTo>
                <a:lnTo>
                  <a:pt x="561" y="2060"/>
                </a:lnTo>
                <a:lnTo>
                  <a:pt x="562" y="2059"/>
                </a:lnTo>
                <a:lnTo>
                  <a:pt x="564" y="2057"/>
                </a:lnTo>
                <a:lnTo>
                  <a:pt x="564" y="2053"/>
                </a:lnTo>
                <a:lnTo>
                  <a:pt x="564" y="2047"/>
                </a:lnTo>
                <a:lnTo>
                  <a:pt x="561" y="2042"/>
                </a:lnTo>
                <a:lnTo>
                  <a:pt x="559" y="2040"/>
                </a:lnTo>
                <a:lnTo>
                  <a:pt x="555" y="2038"/>
                </a:lnTo>
                <a:lnTo>
                  <a:pt x="553" y="2034"/>
                </a:lnTo>
                <a:lnTo>
                  <a:pt x="551" y="2030"/>
                </a:lnTo>
                <a:lnTo>
                  <a:pt x="549" y="2026"/>
                </a:lnTo>
                <a:lnTo>
                  <a:pt x="552" y="2021"/>
                </a:lnTo>
                <a:lnTo>
                  <a:pt x="553" y="2020"/>
                </a:lnTo>
                <a:lnTo>
                  <a:pt x="555" y="2019"/>
                </a:lnTo>
                <a:lnTo>
                  <a:pt x="559" y="2017"/>
                </a:lnTo>
                <a:lnTo>
                  <a:pt x="561" y="2017"/>
                </a:lnTo>
                <a:lnTo>
                  <a:pt x="565" y="2019"/>
                </a:lnTo>
                <a:lnTo>
                  <a:pt x="568" y="2020"/>
                </a:lnTo>
                <a:lnTo>
                  <a:pt x="572" y="2021"/>
                </a:lnTo>
                <a:lnTo>
                  <a:pt x="574" y="2023"/>
                </a:lnTo>
                <a:lnTo>
                  <a:pt x="578" y="2027"/>
                </a:lnTo>
                <a:lnTo>
                  <a:pt x="584" y="2030"/>
                </a:lnTo>
                <a:lnTo>
                  <a:pt x="587" y="2033"/>
                </a:lnTo>
                <a:lnTo>
                  <a:pt x="592" y="2034"/>
                </a:lnTo>
                <a:lnTo>
                  <a:pt x="597" y="2034"/>
                </a:lnTo>
                <a:lnTo>
                  <a:pt x="602" y="2033"/>
                </a:lnTo>
                <a:lnTo>
                  <a:pt x="604" y="2032"/>
                </a:lnTo>
                <a:lnTo>
                  <a:pt x="606" y="2030"/>
                </a:lnTo>
                <a:lnTo>
                  <a:pt x="608" y="2028"/>
                </a:lnTo>
                <a:lnTo>
                  <a:pt x="608" y="2026"/>
                </a:lnTo>
                <a:lnTo>
                  <a:pt x="608" y="2021"/>
                </a:lnTo>
                <a:lnTo>
                  <a:pt x="608" y="2015"/>
                </a:lnTo>
                <a:lnTo>
                  <a:pt x="603" y="2004"/>
                </a:lnTo>
                <a:lnTo>
                  <a:pt x="599" y="1996"/>
                </a:lnTo>
                <a:lnTo>
                  <a:pt x="598" y="1994"/>
                </a:lnTo>
                <a:lnTo>
                  <a:pt x="598" y="1991"/>
                </a:lnTo>
                <a:lnTo>
                  <a:pt x="598" y="1988"/>
                </a:lnTo>
                <a:lnTo>
                  <a:pt x="601" y="1985"/>
                </a:lnTo>
                <a:lnTo>
                  <a:pt x="602" y="1983"/>
                </a:lnTo>
                <a:lnTo>
                  <a:pt x="605" y="1982"/>
                </a:lnTo>
                <a:lnTo>
                  <a:pt x="610" y="1982"/>
                </a:lnTo>
                <a:lnTo>
                  <a:pt x="616" y="1983"/>
                </a:lnTo>
                <a:lnTo>
                  <a:pt x="621" y="1985"/>
                </a:lnTo>
                <a:lnTo>
                  <a:pt x="626" y="1985"/>
                </a:lnTo>
                <a:lnTo>
                  <a:pt x="628" y="1984"/>
                </a:lnTo>
                <a:lnTo>
                  <a:pt x="630" y="1983"/>
                </a:lnTo>
                <a:lnTo>
                  <a:pt x="633" y="1980"/>
                </a:lnTo>
                <a:lnTo>
                  <a:pt x="635" y="1979"/>
                </a:lnTo>
                <a:lnTo>
                  <a:pt x="639" y="1978"/>
                </a:lnTo>
                <a:lnTo>
                  <a:pt x="643" y="1977"/>
                </a:lnTo>
                <a:lnTo>
                  <a:pt x="654" y="1977"/>
                </a:lnTo>
                <a:lnTo>
                  <a:pt x="665" y="1976"/>
                </a:lnTo>
                <a:lnTo>
                  <a:pt x="669" y="1975"/>
                </a:lnTo>
                <a:lnTo>
                  <a:pt x="674" y="1972"/>
                </a:lnTo>
                <a:lnTo>
                  <a:pt x="678" y="1970"/>
                </a:lnTo>
                <a:lnTo>
                  <a:pt x="681" y="1965"/>
                </a:lnTo>
                <a:lnTo>
                  <a:pt x="685" y="1957"/>
                </a:lnTo>
                <a:lnTo>
                  <a:pt x="689" y="1951"/>
                </a:lnTo>
                <a:lnTo>
                  <a:pt x="689" y="1947"/>
                </a:lnTo>
                <a:lnTo>
                  <a:pt x="689" y="1945"/>
                </a:lnTo>
                <a:lnTo>
                  <a:pt x="687" y="1942"/>
                </a:lnTo>
                <a:lnTo>
                  <a:pt x="686" y="1941"/>
                </a:lnTo>
                <a:lnTo>
                  <a:pt x="671" y="1933"/>
                </a:lnTo>
                <a:lnTo>
                  <a:pt x="653" y="1922"/>
                </a:lnTo>
                <a:lnTo>
                  <a:pt x="652" y="1920"/>
                </a:lnTo>
                <a:lnTo>
                  <a:pt x="650" y="1919"/>
                </a:lnTo>
                <a:lnTo>
                  <a:pt x="652" y="1916"/>
                </a:lnTo>
                <a:lnTo>
                  <a:pt x="653" y="1915"/>
                </a:lnTo>
                <a:lnTo>
                  <a:pt x="658" y="1914"/>
                </a:lnTo>
                <a:lnTo>
                  <a:pt x="667" y="1914"/>
                </a:lnTo>
                <a:lnTo>
                  <a:pt x="680" y="1916"/>
                </a:lnTo>
                <a:lnTo>
                  <a:pt x="697" y="1919"/>
                </a:lnTo>
                <a:lnTo>
                  <a:pt x="712" y="1922"/>
                </a:lnTo>
                <a:lnTo>
                  <a:pt x="723" y="1926"/>
                </a:lnTo>
                <a:lnTo>
                  <a:pt x="730" y="1931"/>
                </a:lnTo>
                <a:lnTo>
                  <a:pt x="736" y="1938"/>
                </a:lnTo>
                <a:lnTo>
                  <a:pt x="740" y="1946"/>
                </a:lnTo>
                <a:lnTo>
                  <a:pt x="742" y="1956"/>
                </a:lnTo>
                <a:lnTo>
                  <a:pt x="741" y="1964"/>
                </a:lnTo>
                <a:lnTo>
                  <a:pt x="737" y="1975"/>
                </a:lnTo>
                <a:lnTo>
                  <a:pt x="732" y="1985"/>
                </a:lnTo>
                <a:lnTo>
                  <a:pt x="728" y="1995"/>
                </a:lnTo>
                <a:lnTo>
                  <a:pt x="727" y="2000"/>
                </a:lnTo>
                <a:lnTo>
                  <a:pt x="728" y="2004"/>
                </a:lnTo>
                <a:lnTo>
                  <a:pt x="729" y="2008"/>
                </a:lnTo>
                <a:lnTo>
                  <a:pt x="730" y="2009"/>
                </a:lnTo>
                <a:lnTo>
                  <a:pt x="732" y="2010"/>
                </a:lnTo>
                <a:lnTo>
                  <a:pt x="736" y="2009"/>
                </a:lnTo>
                <a:lnTo>
                  <a:pt x="741" y="2007"/>
                </a:lnTo>
                <a:lnTo>
                  <a:pt x="746" y="2003"/>
                </a:lnTo>
                <a:lnTo>
                  <a:pt x="750" y="1998"/>
                </a:lnTo>
                <a:lnTo>
                  <a:pt x="755" y="1994"/>
                </a:lnTo>
                <a:lnTo>
                  <a:pt x="757" y="1988"/>
                </a:lnTo>
                <a:lnTo>
                  <a:pt x="760" y="1980"/>
                </a:lnTo>
                <a:lnTo>
                  <a:pt x="760" y="1973"/>
                </a:lnTo>
                <a:lnTo>
                  <a:pt x="760" y="1965"/>
                </a:lnTo>
                <a:lnTo>
                  <a:pt x="759" y="1957"/>
                </a:lnTo>
                <a:lnTo>
                  <a:pt x="756" y="1948"/>
                </a:lnTo>
                <a:lnTo>
                  <a:pt x="755" y="1940"/>
                </a:lnTo>
                <a:lnTo>
                  <a:pt x="753" y="1932"/>
                </a:lnTo>
                <a:lnTo>
                  <a:pt x="753" y="1925"/>
                </a:lnTo>
                <a:lnTo>
                  <a:pt x="753" y="1919"/>
                </a:lnTo>
                <a:lnTo>
                  <a:pt x="755" y="1908"/>
                </a:lnTo>
                <a:lnTo>
                  <a:pt x="756" y="1896"/>
                </a:lnTo>
                <a:lnTo>
                  <a:pt x="757" y="1884"/>
                </a:lnTo>
                <a:lnTo>
                  <a:pt x="760" y="1877"/>
                </a:lnTo>
                <a:lnTo>
                  <a:pt x="765" y="1875"/>
                </a:lnTo>
                <a:lnTo>
                  <a:pt x="775" y="1872"/>
                </a:lnTo>
                <a:lnTo>
                  <a:pt x="780" y="1871"/>
                </a:lnTo>
                <a:lnTo>
                  <a:pt x="785" y="1871"/>
                </a:lnTo>
                <a:lnTo>
                  <a:pt x="790" y="1872"/>
                </a:lnTo>
                <a:lnTo>
                  <a:pt x="791" y="1874"/>
                </a:lnTo>
                <a:lnTo>
                  <a:pt x="792" y="1876"/>
                </a:lnTo>
                <a:lnTo>
                  <a:pt x="792" y="1879"/>
                </a:lnTo>
                <a:lnTo>
                  <a:pt x="791" y="1884"/>
                </a:lnTo>
                <a:lnTo>
                  <a:pt x="788" y="1889"/>
                </a:lnTo>
                <a:lnTo>
                  <a:pt x="785" y="1896"/>
                </a:lnTo>
                <a:lnTo>
                  <a:pt x="780" y="1903"/>
                </a:lnTo>
                <a:lnTo>
                  <a:pt x="776" y="1912"/>
                </a:lnTo>
                <a:lnTo>
                  <a:pt x="775" y="1921"/>
                </a:lnTo>
                <a:lnTo>
                  <a:pt x="775" y="1923"/>
                </a:lnTo>
                <a:lnTo>
                  <a:pt x="778" y="1926"/>
                </a:lnTo>
                <a:lnTo>
                  <a:pt x="780" y="1928"/>
                </a:lnTo>
                <a:lnTo>
                  <a:pt x="782" y="1928"/>
                </a:lnTo>
                <a:lnTo>
                  <a:pt x="786" y="1928"/>
                </a:lnTo>
                <a:lnTo>
                  <a:pt x="790" y="1927"/>
                </a:lnTo>
                <a:lnTo>
                  <a:pt x="792" y="1923"/>
                </a:lnTo>
                <a:lnTo>
                  <a:pt x="794" y="1919"/>
                </a:lnTo>
                <a:lnTo>
                  <a:pt x="799" y="1908"/>
                </a:lnTo>
                <a:lnTo>
                  <a:pt x="806" y="1898"/>
                </a:lnTo>
                <a:lnTo>
                  <a:pt x="815" y="1890"/>
                </a:lnTo>
                <a:lnTo>
                  <a:pt x="823" y="1883"/>
                </a:lnTo>
                <a:lnTo>
                  <a:pt x="830" y="1877"/>
                </a:lnTo>
                <a:lnTo>
                  <a:pt x="836" y="1872"/>
                </a:lnTo>
                <a:lnTo>
                  <a:pt x="841" y="1868"/>
                </a:lnTo>
                <a:lnTo>
                  <a:pt x="842" y="1865"/>
                </a:lnTo>
                <a:lnTo>
                  <a:pt x="841" y="1849"/>
                </a:lnTo>
                <a:lnTo>
                  <a:pt x="841" y="1834"/>
                </a:lnTo>
                <a:lnTo>
                  <a:pt x="843" y="1822"/>
                </a:lnTo>
                <a:lnTo>
                  <a:pt x="845" y="1812"/>
                </a:lnTo>
                <a:lnTo>
                  <a:pt x="849" y="1805"/>
                </a:lnTo>
                <a:lnTo>
                  <a:pt x="854" y="1799"/>
                </a:lnTo>
                <a:lnTo>
                  <a:pt x="860" y="1794"/>
                </a:lnTo>
                <a:lnTo>
                  <a:pt x="867" y="1790"/>
                </a:lnTo>
                <a:lnTo>
                  <a:pt x="879" y="1789"/>
                </a:lnTo>
                <a:lnTo>
                  <a:pt x="892" y="1788"/>
                </a:lnTo>
                <a:lnTo>
                  <a:pt x="899" y="1787"/>
                </a:lnTo>
                <a:lnTo>
                  <a:pt x="907" y="1784"/>
                </a:lnTo>
                <a:lnTo>
                  <a:pt x="914" y="1781"/>
                </a:lnTo>
                <a:lnTo>
                  <a:pt x="921" y="1775"/>
                </a:lnTo>
                <a:lnTo>
                  <a:pt x="925" y="1771"/>
                </a:lnTo>
                <a:lnTo>
                  <a:pt x="927" y="1768"/>
                </a:lnTo>
                <a:lnTo>
                  <a:pt x="927" y="1763"/>
                </a:lnTo>
                <a:lnTo>
                  <a:pt x="927" y="1758"/>
                </a:lnTo>
                <a:lnTo>
                  <a:pt x="925" y="1748"/>
                </a:lnTo>
                <a:lnTo>
                  <a:pt x="920" y="1737"/>
                </a:lnTo>
                <a:lnTo>
                  <a:pt x="917" y="1734"/>
                </a:lnTo>
                <a:lnTo>
                  <a:pt x="910" y="1730"/>
                </a:lnTo>
                <a:lnTo>
                  <a:pt x="899" y="1725"/>
                </a:lnTo>
                <a:lnTo>
                  <a:pt x="886" y="1721"/>
                </a:lnTo>
                <a:lnTo>
                  <a:pt x="872" y="1718"/>
                </a:lnTo>
                <a:lnTo>
                  <a:pt x="856" y="1715"/>
                </a:lnTo>
                <a:lnTo>
                  <a:pt x="842" y="1714"/>
                </a:lnTo>
                <a:lnTo>
                  <a:pt x="829" y="1715"/>
                </a:lnTo>
                <a:lnTo>
                  <a:pt x="822" y="1717"/>
                </a:lnTo>
                <a:lnTo>
                  <a:pt x="816" y="1717"/>
                </a:lnTo>
                <a:lnTo>
                  <a:pt x="811" y="1715"/>
                </a:lnTo>
                <a:lnTo>
                  <a:pt x="807" y="1714"/>
                </a:lnTo>
                <a:lnTo>
                  <a:pt x="805" y="1712"/>
                </a:lnTo>
                <a:lnTo>
                  <a:pt x="804" y="1709"/>
                </a:lnTo>
                <a:lnTo>
                  <a:pt x="805" y="1706"/>
                </a:lnTo>
                <a:lnTo>
                  <a:pt x="806" y="1702"/>
                </a:lnTo>
                <a:lnTo>
                  <a:pt x="807" y="1698"/>
                </a:lnTo>
                <a:lnTo>
                  <a:pt x="810" y="1693"/>
                </a:lnTo>
                <a:lnTo>
                  <a:pt x="812" y="1689"/>
                </a:lnTo>
                <a:lnTo>
                  <a:pt x="816" y="1686"/>
                </a:lnTo>
                <a:lnTo>
                  <a:pt x="820" y="1683"/>
                </a:lnTo>
                <a:lnTo>
                  <a:pt x="828" y="1681"/>
                </a:lnTo>
                <a:lnTo>
                  <a:pt x="836" y="1680"/>
                </a:lnTo>
                <a:lnTo>
                  <a:pt x="847" y="1679"/>
                </a:lnTo>
                <a:lnTo>
                  <a:pt x="854" y="1679"/>
                </a:lnTo>
                <a:lnTo>
                  <a:pt x="858" y="1679"/>
                </a:lnTo>
                <a:lnTo>
                  <a:pt x="861" y="1680"/>
                </a:lnTo>
                <a:lnTo>
                  <a:pt x="864" y="1682"/>
                </a:lnTo>
                <a:lnTo>
                  <a:pt x="866" y="1682"/>
                </a:lnTo>
                <a:lnTo>
                  <a:pt x="868" y="1682"/>
                </a:lnTo>
                <a:lnTo>
                  <a:pt x="869" y="1681"/>
                </a:lnTo>
                <a:lnTo>
                  <a:pt x="872" y="1679"/>
                </a:lnTo>
                <a:lnTo>
                  <a:pt x="875" y="1674"/>
                </a:lnTo>
                <a:lnTo>
                  <a:pt x="878" y="1668"/>
                </a:lnTo>
                <a:lnTo>
                  <a:pt x="878" y="1661"/>
                </a:lnTo>
                <a:lnTo>
                  <a:pt x="876" y="1655"/>
                </a:lnTo>
                <a:lnTo>
                  <a:pt x="875" y="1652"/>
                </a:lnTo>
                <a:lnTo>
                  <a:pt x="872" y="1650"/>
                </a:lnTo>
                <a:lnTo>
                  <a:pt x="868" y="1649"/>
                </a:lnTo>
                <a:lnTo>
                  <a:pt x="864" y="1649"/>
                </a:lnTo>
                <a:lnTo>
                  <a:pt x="855" y="1648"/>
                </a:lnTo>
                <a:lnTo>
                  <a:pt x="845" y="1647"/>
                </a:lnTo>
                <a:lnTo>
                  <a:pt x="842" y="1647"/>
                </a:lnTo>
                <a:lnTo>
                  <a:pt x="837" y="1644"/>
                </a:lnTo>
                <a:lnTo>
                  <a:pt x="835" y="1643"/>
                </a:lnTo>
                <a:lnTo>
                  <a:pt x="832" y="1641"/>
                </a:lnTo>
                <a:lnTo>
                  <a:pt x="832" y="1637"/>
                </a:lnTo>
                <a:lnTo>
                  <a:pt x="835" y="1633"/>
                </a:lnTo>
                <a:lnTo>
                  <a:pt x="839" y="1630"/>
                </a:lnTo>
                <a:lnTo>
                  <a:pt x="845" y="1626"/>
                </a:lnTo>
                <a:lnTo>
                  <a:pt x="860" y="1620"/>
                </a:lnTo>
                <a:lnTo>
                  <a:pt x="873" y="1618"/>
                </a:lnTo>
                <a:lnTo>
                  <a:pt x="878" y="1618"/>
                </a:lnTo>
                <a:lnTo>
                  <a:pt x="882" y="1619"/>
                </a:lnTo>
                <a:lnTo>
                  <a:pt x="887" y="1620"/>
                </a:lnTo>
                <a:lnTo>
                  <a:pt x="891" y="1623"/>
                </a:lnTo>
                <a:lnTo>
                  <a:pt x="895" y="1625"/>
                </a:lnTo>
                <a:lnTo>
                  <a:pt x="898" y="1627"/>
                </a:lnTo>
                <a:lnTo>
                  <a:pt x="901" y="1631"/>
                </a:lnTo>
                <a:lnTo>
                  <a:pt x="904" y="1635"/>
                </a:lnTo>
                <a:lnTo>
                  <a:pt x="905" y="1638"/>
                </a:lnTo>
                <a:lnTo>
                  <a:pt x="905" y="1642"/>
                </a:lnTo>
                <a:lnTo>
                  <a:pt x="905" y="1647"/>
                </a:lnTo>
                <a:lnTo>
                  <a:pt x="905" y="1650"/>
                </a:lnTo>
                <a:lnTo>
                  <a:pt x="902" y="1657"/>
                </a:lnTo>
                <a:lnTo>
                  <a:pt x="899" y="1666"/>
                </a:lnTo>
                <a:lnTo>
                  <a:pt x="898" y="1669"/>
                </a:lnTo>
                <a:lnTo>
                  <a:pt x="898" y="1673"/>
                </a:lnTo>
                <a:lnTo>
                  <a:pt x="898" y="1676"/>
                </a:lnTo>
                <a:lnTo>
                  <a:pt x="898" y="1681"/>
                </a:lnTo>
                <a:lnTo>
                  <a:pt x="899" y="1685"/>
                </a:lnTo>
                <a:lnTo>
                  <a:pt x="901" y="1688"/>
                </a:lnTo>
                <a:lnTo>
                  <a:pt x="904" y="1692"/>
                </a:lnTo>
                <a:lnTo>
                  <a:pt x="907" y="1694"/>
                </a:lnTo>
                <a:lnTo>
                  <a:pt x="912" y="1695"/>
                </a:lnTo>
                <a:lnTo>
                  <a:pt x="917" y="1694"/>
                </a:lnTo>
                <a:lnTo>
                  <a:pt x="923" y="1692"/>
                </a:lnTo>
                <a:lnTo>
                  <a:pt x="929" y="1688"/>
                </a:lnTo>
                <a:lnTo>
                  <a:pt x="933" y="1683"/>
                </a:lnTo>
                <a:lnTo>
                  <a:pt x="938" y="1679"/>
                </a:lnTo>
                <a:lnTo>
                  <a:pt x="942" y="1675"/>
                </a:lnTo>
                <a:lnTo>
                  <a:pt x="944" y="1670"/>
                </a:lnTo>
                <a:lnTo>
                  <a:pt x="944" y="1664"/>
                </a:lnTo>
                <a:lnTo>
                  <a:pt x="943" y="1658"/>
                </a:lnTo>
                <a:lnTo>
                  <a:pt x="939" y="1654"/>
                </a:lnTo>
                <a:lnTo>
                  <a:pt x="933" y="1649"/>
                </a:lnTo>
                <a:lnTo>
                  <a:pt x="930" y="1647"/>
                </a:lnTo>
                <a:lnTo>
                  <a:pt x="926" y="1642"/>
                </a:lnTo>
                <a:lnTo>
                  <a:pt x="924" y="1637"/>
                </a:lnTo>
                <a:lnTo>
                  <a:pt x="921" y="1631"/>
                </a:lnTo>
                <a:lnTo>
                  <a:pt x="919" y="1625"/>
                </a:lnTo>
                <a:lnTo>
                  <a:pt x="918" y="1617"/>
                </a:lnTo>
                <a:lnTo>
                  <a:pt x="918" y="1608"/>
                </a:lnTo>
                <a:lnTo>
                  <a:pt x="919" y="1599"/>
                </a:lnTo>
                <a:lnTo>
                  <a:pt x="921" y="1591"/>
                </a:lnTo>
                <a:lnTo>
                  <a:pt x="924" y="1584"/>
                </a:lnTo>
                <a:lnTo>
                  <a:pt x="926" y="1580"/>
                </a:lnTo>
                <a:lnTo>
                  <a:pt x="929" y="1578"/>
                </a:lnTo>
                <a:lnTo>
                  <a:pt x="931" y="1578"/>
                </a:lnTo>
                <a:lnTo>
                  <a:pt x="932" y="1579"/>
                </a:lnTo>
                <a:lnTo>
                  <a:pt x="935" y="1581"/>
                </a:lnTo>
                <a:lnTo>
                  <a:pt x="936" y="1584"/>
                </a:lnTo>
                <a:lnTo>
                  <a:pt x="937" y="1594"/>
                </a:lnTo>
                <a:lnTo>
                  <a:pt x="937" y="1608"/>
                </a:lnTo>
                <a:lnTo>
                  <a:pt x="937" y="1623"/>
                </a:lnTo>
                <a:lnTo>
                  <a:pt x="938" y="1631"/>
                </a:lnTo>
                <a:lnTo>
                  <a:pt x="941" y="1635"/>
                </a:lnTo>
                <a:lnTo>
                  <a:pt x="943" y="1637"/>
                </a:lnTo>
                <a:lnTo>
                  <a:pt x="946" y="1638"/>
                </a:lnTo>
                <a:lnTo>
                  <a:pt x="949" y="1638"/>
                </a:lnTo>
                <a:lnTo>
                  <a:pt x="954" y="1639"/>
                </a:lnTo>
                <a:lnTo>
                  <a:pt x="961" y="1638"/>
                </a:lnTo>
                <a:lnTo>
                  <a:pt x="963" y="1638"/>
                </a:lnTo>
                <a:lnTo>
                  <a:pt x="967" y="1636"/>
                </a:lnTo>
                <a:lnTo>
                  <a:pt x="969" y="1633"/>
                </a:lnTo>
                <a:lnTo>
                  <a:pt x="971" y="1631"/>
                </a:lnTo>
                <a:lnTo>
                  <a:pt x="974" y="1626"/>
                </a:lnTo>
                <a:lnTo>
                  <a:pt x="977" y="1623"/>
                </a:lnTo>
                <a:lnTo>
                  <a:pt x="981" y="1619"/>
                </a:lnTo>
                <a:lnTo>
                  <a:pt x="986" y="1616"/>
                </a:lnTo>
                <a:lnTo>
                  <a:pt x="992" y="1612"/>
                </a:lnTo>
                <a:lnTo>
                  <a:pt x="996" y="1610"/>
                </a:lnTo>
                <a:lnTo>
                  <a:pt x="1004" y="1610"/>
                </a:lnTo>
                <a:lnTo>
                  <a:pt x="1009" y="1610"/>
                </a:lnTo>
                <a:lnTo>
                  <a:pt x="1015" y="1610"/>
                </a:lnTo>
                <a:lnTo>
                  <a:pt x="1020" y="1610"/>
                </a:lnTo>
                <a:lnTo>
                  <a:pt x="1024" y="1608"/>
                </a:lnTo>
                <a:lnTo>
                  <a:pt x="1026" y="1607"/>
                </a:lnTo>
                <a:lnTo>
                  <a:pt x="1027" y="1606"/>
                </a:lnTo>
                <a:lnTo>
                  <a:pt x="1028" y="1603"/>
                </a:lnTo>
                <a:lnTo>
                  <a:pt x="1028" y="1599"/>
                </a:lnTo>
                <a:lnTo>
                  <a:pt x="1027" y="1595"/>
                </a:lnTo>
                <a:lnTo>
                  <a:pt x="1027" y="1586"/>
                </a:lnTo>
                <a:lnTo>
                  <a:pt x="1027" y="1578"/>
                </a:lnTo>
                <a:lnTo>
                  <a:pt x="1028" y="1573"/>
                </a:lnTo>
                <a:lnTo>
                  <a:pt x="1028" y="1569"/>
                </a:lnTo>
                <a:lnTo>
                  <a:pt x="1030" y="1567"/>
                </a:lnTo>
                <a:lnTo>
                  <a:pt x="1032" y="1566"/>
                </a:lnTo>
                <a:lnTo>
                  <a:pt x="1033" y="1566"/>
                </a:lnTo>
                <a:lnTo>
                  <a:pt x="1034" y="1566"/>
                </a:lnTo>
                <a:lnTo>
                  <a:pt x="1036" y="1568"/>
                </a:lnTo>
                <a:lnTo>
                  <a:pt x="1037" y="1570"/>
                </a:lnTo>
                <a:lnTo>
                  <a:pt x="1038" y="1576"/>
                </a:lnTo>
                <a:lnTo>
                  <a:pt x="1039" y="1585"/>
                </a:lnTo>
                <a:lnTo>
                  <a:pt x="1039" y="1588"/>
                </a:lnTo>
                <a:lnTo>
                  <a:pt x="1040" y="1592"/>
                </a:lnTo>
                <a:lnTo>
                  <a:pt x="1042" y="1594"/>
                </a:lnTo>
                <a:lnTo>
                  <a:pt x="1044" y="1598"/>
                </a:lnTo>
                <a:lnTo>
                  <a:pt x="1048" y="1600"/>
                </a:lnTo>
                <a:lnTo>
                  <a:pt x="1051" y="1603"/>
                </a:lnTo>
                <a:lnTo>
                  <a:pt x="1056" y="1604"/>
                </a:lnTo>
                <a:lnTo>
                  <a:pt x="1062" y="1604"/>
                </a:lnTo>
                <a:lnTo>
                  <a:pt x="1074" y="1603"/>
                </a:lnTo>
                <a:lnTo>
                  <a:pt x="1083" y="1603"/>
                </a:lnTo>
                <a:lnTo>
                  <a:pt x="1087" y="1604"/>
                </a:lnTo>
                <a:lnTo>
                  <a:pt x="1089" y="1606"/>
                </a:lnTo>
                <a:lnTo>
                  <a:pt x="1090" y="1610"/>
                </a:lnTo>
                <a:lnTo>
                  <a:pt x="1090" y="1616"/>
                </a:lnTo>
                <a:lnTo>
                  <a:pt x="1089" y="1626"/>
                </a:lnTo>
                <a:lnTo>
                  <a:pt x="1090" y="1635"/>
                </a:lnTo>
                <a:lnTo>
                  <a:pt x="1091" y="1638"/>
                </a:lnTo>
                <a:lnTo>
                  <a:pt x="1093" y="1641"/>
                </a:lnTo>
                <a:lnTo>
                  <a:pt x="1095" y="1642"/>
                </a:lnTo>
                <a:lnTo>
                  <a:pt x="1097" y="1643"/>
                </a:lnTo>
                <a:lnTo>
                  <a:pt x="1101" y="1644"/>
                </a:lnTo>
                <a:lnTo>
                  <a:pt x="1103" y="1642"/>
                </a:lnTo>
                <a:lnTo>
                  <a:pt x="1106" y="1638"/>
                </a:lnTo>
                <a:lnTo>
                  <a:pt x="1108" y="1635"/>
                </a:lnTo>
                <a:lnTo>
                  <a:pt x="1113" y="1625"/>
                </a:lnTo>
                <a:lnTo>
                  <a:pt x="1118" y="1617"/>
                </a:lnTo>
                <a:lnTo>
                  <a:pt x="1122" y="1608"/>
                </a:lnTo>
                <a:lnTo>
                  <a:pt x="1126" y="1601"/>
                </a:lnTo>
                <a:lnTo>
                  <a:pt x="1127" y="1597"/>
                </a:lnTo>
                <a:lnTo>
                  <a:pt x="1127" y="1594"/>
                </a:lnTo>
                <a:lnTo>
                  <a:pt x="1126" y="1591"/>
                </a:lnTo>
                <a:lnTo>
                  <a:pt x="1124" y="1588"/>
                </a:lnTo>
                <a:lnTo>
                  <a:pt x="1119" y="1584"/>
                </a:lnTo>
                <a:lnTo>
                  <a:pt x="1114" y="1578"/>
                </a:lnTo>
                <a:lnTo>
                  <a:pt x="1112" y="1575"/>
                </a:lnTo>
                <a:lnTo>
                  <a:pt x="1111" y="1573"/>
                </a:lnTo>
                <a:lnTo>
                  <a:pt x="1111" y="1569"/>
                </a:lnTo>
                <a:lnTo>
                  <a:pt x="1112" y="1568"/>
                </a:lnTo>
                <a:lnTo>
                  <a:pt x="1124" y="1566"/>
                </a:lnTo>
                <a:lnTo>
                  <a:pt x="1137" y="1563"/>
                </a:lnTo>
                <a:lnTo>
                  <a:pt x="1146" y="1553"/>
                </a:lnTo>
                <a:lnTo>
                  <a:pt x="1157" y="1538"/>
                </a:lnTo>
                <a:lnTo>
                  <a:pt x="1159" y="1536"/>
                </a:lnTo>
                <a:lnTo>
                  <a:pt x="1160" y="1532"/>
                </a:lnTo>
                <a:lnTo>
                  <a:pt x="1162" y="1529"/>
                </a:lnTo>
                <a:lnTo>
                  <a:pt x="1162" y="1526"/>
                </a:lnTo>
                <a:lnTo>
                  <a:pt x="1160" y="1524"/>
                </a:lnTo>
                <a:lnTo>
                  <a:pt x="1159" y="1522"/>
                </a:lnTo>
                <a:lnTo>
                  <a:pt x="1156" y="1521"/>
                </a:lnTo>
                <a:lnTo>
                  <a:pt x="1152" y="1521"/>
                </a:lnTo>
                <a:lnTo>
                  <a:pt x="1143" y="1519"/>
                </a:lnTo>
                <a:lnTo>
                  <a:pt x="1130" y="1518"/>
                </a:lnTo>
                <a:lnTo>
                  <a:pt x="1119" y="1516"/>
                </a:lnTo>
                <a:lnTo>
                  <a:pt x="1112" y="1512"/>
                </a:lnTo>
                <a:lnTo>
                  <a:pt x="1108" y="1507"/>
                </a:lnTo>
                <a:lnTo>
                  <a:pt x="1106" y="1501"/>
                </a:lnTo>
                <a:lnTo>
                  <a:pt x="1106" y="1499"/>
                </a:lnTo>
                <a:lnTo>
                  <a:pt x="1107" y="1496"/>
                </a:lnTo>
                <a:lnTo>
                  <a:pt x="1108" y="1493"/>
                </a:lnTo>
                <a:lnTo>
                  <a:pt x="1111" y="1491"/>
                </a:lnTo>
                <a:lnTo>
                  <a:pt x="1115" y="1488"/>
                </a:lnTo>
                <a:lnTo>
                  <a:pt x="1120" y="1486"/>
                </a:lnTo>
                <a:lnTo>
                  <a:pt x="1125" y="1486"/>
                </a:lnTo>
                <a:lnTo>
                  <a:pt x="1130" y="1488"/>
                </a:lnTo>
                <a:lnTo>
                  <a:pt x="1137" y="1490"/>
                </a:lnTo>
                <a:lnTo>
                  <a:pt x="1149" y="1490"/>
                </a:lnTo>
                <a:lnTo>
                  <a:pt x="1162" y="1488"/>
                </a:lnTo>
                <a:lnTo>
                  <a:pt x="1174" y="1486"/>
                </a:lnTo>
                <a:lnTo>
                  <a:pt x="1183" y="1482"/>
                </a:lnTo>
                <a:lnTo>
                  <a:pt x="1191" y="1480"/>
                </a:lnTo>
                <a:lnTo>
                  <a:pt x="1200" y="1478"/>
                </a:lnTo>
                <a:lnTo>
                  <a:pt x="1213" y="1477"/>
                </a:lnTo>
                <a:lnTo>
                  <a:pt x="1225" y="1475"/>
                </a:lnTo>
                <a:lnTo>
                  <a:pt x="1232" y="1474"/>
                </a:lnTo>
                <a:lnTo>
                  <a:pt x="1233" y="1472"/>
                </a:lnTo>
                <a:lnTo>
                  <a:pt x="1232" y="1471"/>
                </a:lnTo>
                <a:lnTo>
                  <a:pt x="1231" y="1468"/>
                </a:lnTo>
                <a:lnTo>
                  <a:pt x="1227" y="1467"/>
                </a:lnTo>
                <a:lnTo>
                  <a:pt x="1219" y="1465"/>
                </a:lnTo>
                <a:lnTo>
                  <a:pt x="1209" y="1462"/>
                </a:lnTo>
                <a:lnTo>
                  <a:pt x="1206" y="1461"/>
                </a:lnTo>
                <a:lnTo>
                  <a:pt x="1201" y="1459"/>
                </a:lnTo>
                <a:lnTo>
                  <a:pt x="1197" y="1456"/>
                </a:lnTo>
                <a:lnTo>
                  <a:pt x="1194" y="1453"/>
                </a:lnTo>
                <a:lnTo>
                  <a:pt x="1193" y="1449"/>
                </a:lnTo>
                <a:lnTo>
                  <a:pt x="1193" y="1447"/>
                </a:lnTo>
                <a:lnTo>
                  <a:pt x="1195" y="1444"/>
                </a:lnTo>
                <a:lnTo>
                  <a:pt x="1198" y="1443"/>
                </a:lnTo>
                <a:lnTo>
                  <a:pt x="1209" y="1443"/>
                </a:lnTo>
                <a:lnTo>
                  <a:pt x="1219" y="1444"/>
                </a:lnTo>
                <a:lnTo>
                  <a:pt x="1228" y="1447"/>
                </a:lnTo>
                <a:lnTo>
                  <a:pt x="1235" y="1447"/>
                </a:lnTo>
                <a:lnTo>
                  <a:pt x="1239" y="1446"/>
                </a:lnTo>
                <a:lnTo>
                  <a:pt x="1240" y="1444"/>
                </a:lnTo>
                <a:lnTo>
                  <a:pt x="1241" y="1443"/>
                </a:lnTo>
                <a:lnTo>
                  <a:pt x="1242" y="1441"/>
                </a:lnTo>
                <a:lnTo>
                  <a:pt x="1239" y="1430"/>
                </a:lnTo>
                <a:lnTo>
                  <a:pt x="1237" y="1414"/>
                </a:lnTo>
                <a:lnTo>
                  <a:pt x="1235" y="1406"/>
                </a:lnTo>
                <a:lnTo>
                  <a:pt x="1234" y="1403"/>
                </a:lnTo>
                <a:lnTo>
                  <a:pt x="1232" y="1402"/>
                </a:lnTo>
                <a:lnTo>
                  <a:pt x="1231" y="1403"/>
                </a:lnTo>
                <a:lnTo>
                  <a:pt x="1228" y="1405"/>
                </a:lnTo>
                <a:lnTo>
                  <a:pt x="1226" y="1408"/>
                </a:lnTo>
                <a:lnTo>
                  <a:pt x="1222" y="1411"/>
                </a:lnTo>
                <a:lnTo>
                  <a:pt x="1219" y="1414"/>
                </a:lnTo>
                <a:lnTo>
                  <a:pt x="1215" y="1416"/>
                </a:lnTo>
                <a:lnTo>
                  <a:pt x="1212" y="1417"/>
                </a:lnTo>
                <a:lnTo>
                  <a:pt x="1208" y="1417"/>
                </a:lnTo>
                <a:lnTo>
                  <a:pt x="1204" y="1417"/>
                </a:lnTo>
                <a:lnTo>
                  <a:pt x="1201" y="1416"/>
                </a:lnTo>
                <a:lnTo>
                  <a:pt x="1200" y="1414"/>
                </a:lnTo>
                <a:lnTo>
                  <a:pt x="1195" y="1408"/>
                </a:lnTo>
                <a:lnTo>
                  <a:pt x="1190" y="1402"/>
                </a:lnTo>
                <a:lnTo>
                  <a:pt x="1185" y="1396"/>
                </a:lnTo>
                <a:lnTo>
                  <a:pt x="1181" y="1392"/>
                </a:lnTo>
                <a:lnTo>
                  <a:pt x="1179" y="1390"/>
                </a:lnTo>
                <a:lnTo>
                  <a:pt x="1178" y="1389"/>
                </a:lnTo>
                <a:lnTo>
                  <a:pt x="1177" y="1387"/>
                </a:lnTo>
                <a:lnTo>
                  <a:pt x="1177" y="1385"/>
                </a:lnTo>
                <a:lnTo>
                  <a:pt x="1178" y="1384"/>
                </a:lnTo>
                <a:lnTo>
                  <a:pt x="1181" y="1384"/>
                </a:lnTo>
                <a:lnTo>
                  <a:pt x="1184" y="1383"/>
                </a:lnTo>
                <a:lnTo>
                  <a:pt x="1188" y="1384"/>
                </a:lnTo>
                <a:lnTo>
                  <a:pt x="1198" y="1386"/>
                </a:lnTo>
                <a:lnTo>
                  <a:pt x="1207" y="1386"/>
                </a:lnTo>
                <a:lnTo>
                  <a:pt x="1210" y="1386"/>
                </a:lnTo>
                <a:lnTo>
                  <a:pt x="1214" y="1385"/>
                </a:lnTo>
                <a:lnTo>
                  <a:pt x="1215" y="1383"/>
                </a:lnTo>
                <a:lnTo>
                  <a:pt x="1216" y="1379"/>
                </a:lnTo>
                <a:lnTo>
                  <a:pt x="1215" y="1374"/>
                </a:lnTo>
                <a:lnTo>
                  <a:pt x="1214" y="1368"/>
                </a:lnTo>
                <a:lnTo>
                  <a:pt x="1213" y="1364"/>
                </a:lnTo>
                <a:lnTo>
                  <a:pt x="1210" y="1359"/>
                </a:lnTo>
                <a:lnTo>
                  <a:pt x="1206" y="1352"/>
                </a:lnTo>
                <a:lnTo>
                  <a:pt x="1200" y="1343"/>
                </a:lnTo>
                <a:lnTo>
                  <a:pt x="1194" y="1337"/>
                </a:lnTo>
                <a:lnTo>
                  <a:pt x="1189" y="1333"/>
                </a:lnTo>
                <a:lnTo>
                  <a:pt x="1185" y="1328"/>
                </a:lnTo>
                <a:lnTo>
                  <a:pt x="1184" y="1323"/>
                </a:lnTo>
                <a:lnTo>
                  <a:pt x="1187" y="1318"/>
                </a:lnTo>
                <a:lnTo>
                  <a:pt x="1189" y="1313"/>
                </a:lnTo>
                <a:lnTo>
                  <a:pt x="1193" y="1309"/>
                </a:lnTo>
                <a:lnTo>
                  <a:pt x="1197" y="1305"/>
                </a:lnTo>
                <a:lnTo>
                  <a:pt x="1202" y="1303"/>
                </a:lnTo>
                <a:lnTo>
                  <a:pt x="1207" y="1302"/>
                </a:lnTo>
                <a:lnTo>
                  <a:pt x="1212" y="1302"/>
                </a:lnTo>
                <a:lnTo>
                  <a:pt x="1215" y="1304"/>
                </a:lnTo>
                <a:lnTo>
                  <a:pt x="1219" y="1308"/>
                </a:lnTo>
                <a:lnTo>
                  <a:pt x="1221" y="1314"/>
                </a:lnTo>
                <a:lnTo>
                  <a:pt x="1225" y="1320"/>
                </a:lnTo>
                <a:lnTo>
                  <a:pt x="1227" y="1327"/>
                </a:lnTo>
                <a:lnTo>
                  <a:pt x="1232" y="1341"/>
                </a:lnTo>
                <a:lnTo>
                  <a:pt x="1237" y="1354"/>
                </a:lnTo>
                <a:lnTo>
                  <a:pt x="1241" y="1362"/>
                </a:lnTo>
                <a:lnTo>
                  <a:pt x="1245" y="1368"/>
                </a:lnTo>
                <a:lnTo>
                  <a:pt x="1250" y="1371"/>
                </a:lnTo>
                <a:lnTo>
                  <a:pt x="1252" y="1372"/>
                </a:lnTo>
                <a:lnTo>
                  <a:pt x="1259" y="1371"/>
                </a:lnTo>
                <a:lnTo>
                  <a:pt x="1265" y="1370"/>
                </a:lnTo>
                <a:lnTo>
                  <a:pt x="1270" y="1367"/>
                </a:lnTo>
                <a:lnTo>
                  <a:pt x="1273" y="1365"/>
                </a:lnTo>
                <a:lnTo>
                  <a:pt x="1281" y="1359"/>
                </a:lnTo>
                <a:lnTo>
                  <a:pt x="1286" y="1352"/>
                </a:lnTo>
                <a:lnTo>
                  <a:pt x="1290" y="1347"/>
                </a:lnTo>
                <a:lnTo>
                  <a:pt x="1295" y="1342"/>
                </a:lnTo>
                <a:lnTo>
                  <a:pt x="1301" y="1339"/>
                </a:lnTo>
                <a:lnTo>
                  <a:pt x="1310" y="1334"/>
                </a:lnTo>
                <a:lnTo>
                  <a:pt x="1323" y="1329"/>
                </a:lnTo>
                <a:lnTo>
                  <a:pt x="1335" y="1327"/>
                </a:lnTo>
                <a:lnTo>
                  <a:pt x="1346" y="1326"/>
                </a:lnTo>
                <a:lnTo>
                  <a:pt x="1357" y="1324"/>
                </a:lnTo>
                <a:lnTo>
                  <a:pt x="1367" y="1326"/>
                </a:lnTo>
                <a:lnTo>
                  <a:pt x="1376" y="1327"/>
                </a:lnTo>
                <a:lnTo>
                  <a:pt x="1385" y="1328"/>
                </a:lnTo>
                <a:lnTo>
                  <a:pt x="1393" y="1330"/>
                </a:lnTo>
                <a:lnTo>
                  <a:pt x="1411" y="1335"/>
                </a:lnTo>
                <a:lnTo>
                  <a:pt x="1427" y="1336"/>
                </a:lnTo>
                <a:lnTo>
                  <a:pt x="1433" y="1336"/>
                </a:lnTo>
                <a:lnTo>
                  <a:pt x="1437" y="1335"/>
                </a:lnTo>
                <a:lnTo>
                  <a:pt x="1441" y="1333"/>
                </a:lnTo>
                <a:lnTo>
                  <a:pt x="1445" y="1330"/>
                </a:lnTo>
                <a:lnTo>
                  <a:pt x="1446" y="1327"/>
                </a:lnTo>
                <a:lnTo>
                  <a:pt x="1446" y="1322"/>
                </a:lnTo>
                <a:lnTo>
                  <a:pt x="1443" y="1318"/>
                </a:lnTo>
                <a:lnTo>
                  <a:pt x="1440" y="1315"/>
                </a:lnTo>
                <a:lnTo>
                  <a:pt x="1435" y="1310"/>
                </a:lnTo>
                <a:lnTo>
                  <a:pt x="1428" y="1307"/>
                </a:lnTo>
                <a:lnTo>
                  <a:pt x="1421" y="1303"/>
                </a:lnTo>
                <a:lnTo>
                  <a:pt x="1411" y="1299"/>
                </a:lnTo>
                <a:lnTo>
                  <a:pt x="1370" y="1285"/>
                </a:lnTo>
                <a:lnTo>
                  <a:pt x="1326" y="1272"/>
                </a:lnTo>
                <a:lnTo>
                  <a:pt x="1305" y="1265"/>
                </a:lnTo>
                <a:lnTo>
                  <a:pt x="1291" y="1259"/>
                </a:lnTo>
                <a:lnTo>
                  <a:pt x="1281" y="1253"/>
                </a:lnTo>
                <a:lnTo>
                  <a:pt x="1272" y="1248"/>
                </a:lnTo>
                <a:lnTo>
                  <a:pt x="1270" y="1242"/>
                </a:lnTo>
                <a:lnTo>
                  <a:pt x="1270" y="1236"/>
                </a:lnTo>
                <a:lnTo>
                  <a:pt x="1270" y="1232"/>
                </a:lnTo>
                <a:lnTo>
                  <a:pt x="1272" y="1228"/>
                </a:lnTo>
                <a:lnTo>
                  <a:pt x="1275" y="1225"/>
                </a:lnTo>
                <a:lnTo>
                  <a:pt x="1278" y="1222"/>
                </a:lnTo>
                <a:lnTo>
                  <a:pt x="1288" y="1219"/>
                </a:lnTo>
                <a:lnTo>
                  <a:pt x="1296" y="1216"/>
                </a:lnTo>
                <a:lnTo>
                  <a:pt x="1303" y="1215"/>
                </a:lnTo>
                <a:lnTo>
                  <a:pt x="1310" y="1210"/>
                </a:lnTo>
                <a:lnTo>
                  <a:pt x="1314" y="1207"/>
                </a:lnTo>
                <a:lnTo>
                  <a:pt x="1317" y="1203"/>
                </a:lnTo>
                <a:lnTo>
                  <a:pt x="1320" y="1198"/>
                </a:lnTo>
                <a:lnTo>
                  <a:pt x="1322" y="1192"/>
                </a:lnTo>
                <a:lnTo>
                  <a:pt x="1322" y="1182"/>
                </a:lnTo>
                <a:lnTo>
                  <a:pt x="1321" y="1170"/>
                </a:lnTo>
                <a:lnTo>
                  <a:pt x="1321" y="1164"/>
                </a:lnTo>
                <a:lnTo>
                  <a:pt x="1322" y="1159"/>
                </a:lnTo>
                <a:lnTo>
                  <a:pt x="1326" y="1154"/>
                </a:lnTo>
                <a:lnTo>
                  <a:pt x="1329" y="1151"/>
                </a:lnTo>
                <a:lnTo>
                  <a:pt x="1334" y="1148"/>
                </a:lnTo>
                <a:lnTo>
                  <a:pt x="1339" y="1148"/>
                </a:lnTo>
                <a:lnTo>
                  <a:pt x="1342" y="1148"/>
                </a:lnTo>
                <a:lnTo>
                  <a:pt x="1347" y="1151"/>
                </a:lnTo>
                <a:lnTo>
                  <a:pt x="1354" y="1156"/>
                </a:lnTo>
                <a:lnTo>
                  <a:pt x="1361" y="1164"/>
                </a:lnTo>
                <a:lnTo>
                  <a:pt x="1366" y="1173"/>
                </a:lnTo>
                <a:lnTo>
                  <a:pt x="1371" y="1183"/>
                </a:lnTo>
                <a:lnTo>
                  <a:pt x="1373" y="1192"/>
                </a:lnTo>
                <a:lnTo>
                  <a:pt x="1373" y="1200"/>
                </a:lnTo>
                <a:lnTo>
                  <a:pt x="1373" y="1203"/>
                </a:lnTo>
                <a:lnTo>
                  <a:pt x="1376" y="1206"/>
                </a:lnTo>
                <a:lnTo>
                  <a:pt x="1378" y="1206"/>
                </a:lnTo>
                <a:lnTo>
                  <a:pt x="1382" y="1206"/>
                </a:lnTo>
                <a:lnTo>
                  <a:pt x="1391" y="1204"/>
                </a:lnTo>
                <a:lnTo>
                  <a:pt x="1403" y="1203"/>
                </a:lnTo>
                <a:lnTo>
                  <a:pt x="1407" y="1203"/>
                </a:lnTo>
                <a:lnTo>
                  <a:pt x="1409" y="1204"/>
                </a:lnTo>
                <a:lnTo>
                  <a:pt x="1410" y="1206"/>
                </a:lnTo>
                <a:lnTo>
                  <a:pt x="1412" y="1208"/>
                </a:lnTo>
                <a:lnTo>
                  <a:pt x="1415" y="1214"/>
                </a:lnTo>
                <a:lnTo>
                  <a:pt x="1416" y="1221"/>
                </a:lnTo>
                <a:lnTo>
                  <a:pt x="1417" y="1229"/>
                </a:lnTo>
                <a:lnTo>
                  <a:pt x="1418" y="1236"/>
                </a:lnTo>
                <a:lnTo>
                  <a:pt x="1421" y="1241"/>
                </a:lnTo>
                <a:lnTo>
                  <a:pt x="1423" y="1246"/>
                </a:lnTo>
                <a:lnTo>
                  <a:pt x="1426" y="1246"/>
                </a:lnTo>
                <a:lnTo>
                  <a:pt x="1428" y="1247"/>
                </a:lnTo>
                <a:lnTo>
                  <a:pt x="1433" y="1246"/>
                </a:lnTo>
                <a:lnTo>
                  <a:pt x="1436" y="1245"/>
                </a:lnTo>
                <a:lnTo>
                  <a:pt x="1447" y="1242"/>
                </a:lnTo>
                <a:lnTo>
                  <a:pt x="1456" y="1236"/>
                </a:lnTo>
                <a:lnTo>
                  <a:pt x="1466" y="1230"/>
                </a:lnTo>
                <a:lnTo>
                  <a:pt x="1472" y="1222"/>
                </a:lnTo>
                <a:lnTo>
                  <a:pt x="1474" y="1219"/>
                </a:lnTo>
                <a:lnTo>
                  <a:pt x="1474" y="1215"/>
                </a:lnTo>
                <a:lnTo>
                  <a:pt x="1474" y="1211"/>
                </a:lnTo>
                <a:lnTo>
                  <a:pt x="1472" y="1208"/>
                </a:lnTo>
                <a:lnTo>
                  <a:pt x="1466" y="1201"/>
                </a:lnTo>
                <a:lnTo>
                  <a:pt x="1459" y="1191"/>
                </a:lnTo>
                <a:lnTo>
                  <a:pt x="1454" y="1188"/>
                </a:lnTo>
                <a:lnTo>
                  <a:pt x="1449" y="1185"/>
                </a:lnTo>
                <a:lnTo>
                  <a:pt x="1446" y="1183"/>
                </a:lnTo>
                <a:lnTo>
                  <a:pt x="1441" y="1182"/>
                </a:lnTo>
                <a:lnTo>
                  <a:pt x="1437" y="1182"/>
                </a:lnTo>
                <a:lnTo>
                  <a:pt x="1435" y="1181"/>
                </a:lnTo>
                <a:lnTo>
                  <a:pt x="1434" y="1177"/>
                </a:lnTo>
                <a:lnTo>
                  <a:pt x="1433" y="1173"/>
                </a:lnTo>
                <a:lnTo>
                  <a:pt x="1433" y="1163"/>
                </a:lnTo>
                <a:lnTo>
                  <a:pt x="1433" y="1152"/>
                </a:lnTo>
                <a:lnTo>
                  <a:pt x="1433" y="1150"/>
                </a:lnTo>
                <a:lnTo>
                  <a:pt x="1431" y="1147"/>
                </a:lnTo>
                <a:lnTo>
                  <a:pt x="1430" y="1145"/>
                </a:lnTo>
                <a:lnTo>
                  <a:pt x="1428" y="1144"/>
                </a:lnTo>
                <a:lnTo>
                  <a:pt x="1423" y="1141"/>
                </a:lnTo>
                <a:lnTo>
                  <a:pt x="1417" y="1140"/>
                </a:lnTo>
                <a:lnTo>
                  <a:pt x="1403" y="1138"/>
                </a:lnTo>
                <a:lnTo>
                  <a:pt x="1393" y="1135"/>
                </a:lnTo>
                <a:lnTo>
                  <a:pt x="1391" y="1134"/>
                </a:lnTo>
                <a:lnTo>
                  <a:pt x="1389" y="1131"/>
                </a:lnTo>
                <a:lnTo>
                  <a:pt x="1387" y="1128"/>
                </a:lnTo>
                <a:lnTo>
                  <a:pt x="1386" y="1125"/>
                </a:lnTo>
                <a:lnTo>
                  <a:pt x="1387" y="1121"/>
                </a:lnTo>
                <a:lnTo>
                  <a:pt x="1389" y="1118"/>
                </a:lnTo>
                <a:lnTo>
                  <a:pt x="1391" y="1114"/>
                </a:lnTo>
                <a:lnTo>
                  <a:pt x="1393" y="1110"/>
                </a:lnTo>
                <a:lnTo>
                  <a:pt x="1398" y="1108"/>
                </a:lnTo>
                <a:lnTo>
                  <a:pt x="1403" y="1106"/>
                </a:lnTo>
                <a:lnTo>
                  <a:pt x="1408" y="1103"/>
                </a:lnTo>
                <a:lnTo>
                  <a:pt x="1414" y="1103"/>
                </a:lnTo>
                <a:lnTo>
                  <a:pt x="1424" y="1102"/>
                </a:lnTo>
                <a:lnTo>
                  <a:pt x="1436" y="1102"/>
                </a:lnTo>
                <a:lnTo>
                  <a:pt x="1441" y="1102"/>
                </a:lnTo>
                <a:lnTo>
                  <a:pt x="1445" y="1100"/>
                </a:lnTo>
                <a:lnTo>
                  <a:pt x="1447" y="1095"/>
                </a:lnTo>
                <a:lnTo>
                  <a:pt x="1448" y="1090"/>
                </a:lnTo>
                <a:lnTo>
                  <a:pt x="1450" y="1078"/>
                </a:lnTo>
                <a:lnTo>
                  <a:pt x="1450" y="1063"/>
                </a:lnTo>
                <a:lnTo>
                  <a:pt x="1448" y="1033"/>
                </a:lnTo>
                <a:lnTo>
                  <a:pt x="1448" y="1012"/>
                </a:lnTo>
                <a:lnTo>
                  <a:pt x="1450" y="1006"/>
                </a:lnTo>
                <a:lnTo>
                  <a:pt x="1454" y="1000"/>
                </a:lnTo>
                <a:lnTo>
                  <a:pt x="1459" y="996"/>
                </a:lnTo>
                <a:lnTo>
                  <a:pt x="1465" y="993"/>
                </a:lnTo>
                <a:lnTo>
                  <a:pt x="1470" y="990"/>
                </a:lnTo>
                <a:lnTo>
                  <a:pt x="1474" y="987"/>
                </a:lnTo>
                <a:lnTo>
                  <a:pt x="1478" y="983"/>
                </a:lnTo>
                <a:lnTo>
                  <a:pt x="1479" y="980"/>
                </a:lnTo>
                <a:lnTo>
                  <a:pt x="1480" y="974"/>
                </a:lnTo>
                <a:lnTo>
                  <a:pt x="1479" y="969"/>
                </a:lnTo>
                <a:lnTo>
                  <a:pt x="1478" y="963"/>
                </a:lnTo>
                <a:lnTo>
                  <a:pt x="1477" y="958"/>
                </a:lnTo>
                <a:lnTo>
                  <a:pt x="1473" y="950"/>
                </a:lnTo>
                <a:lnTo>
                  <a:pt x="1470" y="945"/>
                </a:lnTo>
                <a:lnTo>
                  <a:pt x="1460" y="944"/>
                </a:lnTo>
                <a:lnTo>
                  <a:pt x="1441" y="944"/>
                </a:lnTo>
                <a:lnTo>
                  <a:pt x="1421" y="945"/>
                </a:lnTo>
                <a:lnTo>
                  <a:pt x="1408" y="946"/>
                </a:lnTo>
                <a:lnTo>
                  <a:pt x="1402" y="946"/>
                </a:lnTo>
                <a:lnTo>
                  <a:pt x="1398" y="944"/>
                </a:lnTo>
                <a:lnTo>
                  <a:pt x="1397" y="942"/>
                </a:lnTo>
                <a:lnTo>
                  <a:pt x="1397" y="937"/>
                </a:lnTo>
                <a:lnTo>
                  <a:pt x="1398" y="932"/>
                </a:lnTo>
                <a:lnTo>
                  <a:pt x="1401" y="927"/>
                </a:lnTo>
                <a:lnTo>
                  <a:pt x="1404" y="921"/>
                </a:lnTo>
                <a:lnTo>
                  <a:pt x="1408" y="917"/>
                </a:lnTo>
                <a:lnTo>
                  <a:pt x="1418" y="906"/>
                </a:lnTo>
                <a:lnTo>
                  <a:pt x="1430" y="891"/>
                </a:lnTo>
                <a:lnTo>
                  <a:pt x="1441" y="876"/>
                </a:lnTo>
                <a:lnTo>
                  <a:pt x="1447" y="866"/>
                </a:lnTo>
                <a:lnTo>
                  <a:pt x="1448" y="862"/>
                </a:lnTo>
                <a:lnTo>
                  <a:pt x="1450" y="860"/>
                </a:lnTo>
                <a:lnTo>
                  <a:pt x="1454" y="857"/>
                </a:lnTo>
                <a:lnTo>
                  <a:pt x="1459" y="855"/>
                </a:lnTo>
                <a:lnTo>
                  <a:pt x="1467" y="851"/>
                </a:lnTo>
                <a:lnTo>
                  <a:pt x="1477" y="847"/>
                </a:lnTo>
                <a:lnTo>
                  <a:pt x="1489" y="838"/>
                </a:lnTo>
                <a:lnTo>
                  <a:pt x="1496" y="834"/>
                </a:lnTo>
                <a:lnTo>
                  <a:pt x="1502" y="829"/>
                </a:lnTo>
                <a:lnTo>
                  <a:pt x="1509" y="823"/>
                </a:lnTo>
                <a:lnTo>
                  <a:pt x="1517" y="816"/>
                </a:lnTo>
                <a:lnTo>
                  <a:pt x="1525" y="811"/>
                </a:lnTo>
                <a:lnTo>
                  <a:pt x="1535" y="806"/>
                </a:lnTo>
                <a:lnTo>
                  <a:pt x="1543" y="803"/>
                </a:lnTo>
                <a:lnTo>
                  <a:pt x="1547" y="801"/>
                </a:lnTo>
                <a:lnTo>
                  <a:pt x="1549" y="799"/>
                </a:lnTo>
                <a:lnTo>
                  <a:pt x="1550" y="797"/>
                </a:lnTo>
                <a:lnTo>
                  <a:pt x="1552" y="794"/>
                </a:lnTo>
                <a:lnTo>
                  <a:pt x="1552" y="793"/>
                </a:lnTo>
                <a:lnTo>
                  <a:pt x="1550" y="792"/>
                </a:lnTo>
                <a:lnTo>
                  <a:pt x="1548" y="792"/>
                </a:lnTo>
                <a:lnTo>
                  <a:pt x="1546" y="792"/>
                </a:lnTo>
                <a:lnTo>
                  <a:pt x="1538" y="794"/>
                </a:lnTo>
                <a:lnTo>
                  <a:pt x="1531" y="795"/>
                </a:lnTo>
                <a:lnTo>
                  <a:pt x="1528" y="794"/>
                </a:lnTo>
                <a:lnTo>
                  <a:pt x="1524" y="793"/>
                </a:lnTo>
                <a:lnTo>
                  <a:pt x="1521" y="792"/>
                </a:lnTo>
                <a:lnTo>
                  <a:pt x="1518" y="788"/>
                </a:lnTo>
                <a:lnTo>
                  <a:pt x="1513" y="781"/>
                </a:lnTo>
                <a:lnTo>
                  <a:pt x="1512" y="775"/>
                </a:lnTo>
                <a:lnTo>
                  <a:pt x="1511" y="774"/>
                </a:lnTo>
                <a:lnTo>
                  <a:pt x="1510" y="772"/>
                </a:lnTo>
                <a:lnTo>
                  <a:pt x="1508" y="771"/>
                </a:lnTo>
                <a:lnTo>
                  <a:pt x="1505" y="771"/>
                </a:lnTo>
                <a:lnTo>
                  <a:pt x="1502" y="772"/>
                </a:lnTo>
                <a:lnTo>
                  <a:pt x="1498" y="773"/>
                </a:lnTo>
                <a:lnTo>
                  <a:pt x="1493" y="776"/>
                </a:lnTo>
                <a:lnTo>
                  <a:pt x="1490" y="779"/>
                </a:lnTo>
                <a:lnTo>
                  <a:pt x="1481" y="787"/>
                </a:lnTo>
                <a:lnTo>
                  <a:pt x="1475" y="795"/>
                </a:lnTo>
                <a:lnTo>
                  <a:pt x="1471" y="804"/>
                </a:lnTo>
                <a:lnTo>
                  <a:pt x="1467" y="811"/>
                </a:lnTo>
                <a:lnTo>
                  <a:pt x="1465" y="814"/>
                </a:lnTo>
                <a:lnTo>
                  <a:pt x="1460" y="817"/>
                </a:lnTo>
                <a:lnTo>
                  <a:pt x="1459" y="817"/>
                </a:lnTo>
                <a:lnTo>
                  <a:pt x="1456" y="816"/>
                </a:lnTo>
                <a:lnTo>
                  <a:pt x="1455" y="814"/>
                </a:lnTo>
                <a:lnTo>
                  <a:pt x="1453" y="812"/>
                </a:lnTo>
                <a:lnTo>
                  <a:pt x="1450" y="806"/>
                </a:lnTo>
                <a:lnTo>
                  <a:pt x="1448" y="803"/>
                </a:lnTo>
                <a:lnTo>
                  <a:pt x="1443" y="800"/>
                </a:lnTo>
                <a:lnTo>
                  <a:pt x="1441" y="799"/>
                </a:lnTo>
                <a:lnTo>
                  <a:pt x="1439" y="798"/>
                </a:lnTo>
                <a:lnTo>
                  <a:pt x="1437" y="795"/>
                </a:lnTo>
                <a:lnTo>
                  <a:pt x="1436" y="793"/>
                </a:lnTo>
                <a:lnTo>
                  <a:pt x="1436" y="790"/>
                </a:lnTo>
                <a:lnTo>
                  <a:pt x="1431" y="778"/>
                </a:lnTo>
                <a:lnTo>
                  <a:pt x="1424" y="767"/>
                </a:lnTo>
                <a:lnTo>
                  <a:pt x="1423" y="760"/>
                </a:lnTo>
                <a:lnTo>
                  <a:pt x="1424" y="756"/>
                </a:lnTo>
                <a:lnTo>
                  <a:pt x="1427" y="754"/>
                </a:lnTo>
                <a:lnTo>
                  <a:pt x="1428" y="751"/>
                </a:lnTo>
                <a:lnTo>
                  <a:pt x="1429" y="750"/>
                </a:lnTo>
                <a:lnTo>
                  <a:pt x="1431" y="749"/>
                </a:lnTo>
                <a:lnTo>
                  <a:pt x="1433" y="749"/>
                </a:lnTo>
                <a:lnTo>
                  <a:pt x="1435" y="750"/>
                </a:lnTo>
                <a:lnTo>
                  <a:pt x="1441" y="753"/>
                </a:lnTo>
                <a:lnTo>
                  <a:pt x="1450" y="755"/>
                </a:lnTo>
                <a:lnTo>
                  <a:pt x="1462" y="759"/>
                </a:lnTo>
                <a:lnTo>
                  <a:pt x="1472" y="760"/>
                </a:lnTo>
                <a:lnTo>
                  <a:pt x="1479" y="759"/>
                </a:lnTo>
                <a:lnTo>
                  <a:pt x="1485" y="756"/>
                </a:lnTo>
                <a:lnTo>
                  <a:pt x="1490" y="751"/>
                </a:lnTo>
                <a:lnTo>
                  <a:pt x="1492" y="748"/>
                </a:lnTo>
                <a:lnTo>
                  <a:pt x="1493" y="746"/>
                </a:lnTo>
                <a:lnTo>
                  <a:pt x="1492" y="743"/>
                </a:lnTo>
                <a:lnTo>
                  <a:pt x="1491" y="742"/>
                </a:lnTo>
                <a:lnTo>
                  <a:pt x="1487" y="738"/>
                </a:lnTo>
                <a:lnTo>
                  <a:pt x="1484" y="735"/>
                </a:lnTo>
                <a:lnTo>
                  <a:pt x="1481" y="730"/>
                </a:lnTo>
                <a:lnTo>
                  <a:pt x="1479" y="725"/>
                </a:lnTo>
                <a:lnTo>
                  <a:pt x="1478" y="719"/>
                </a:lnTo>
                <a:lnTo>
                  <a:pt x="1475" y="712"/>
                </a:lnTo>
                <a:lnTo>
                  <a:pt x="1471" y="705"/>
                </a:lnTo>
                <a:lnTo>
                  <a:pt x="1468" y="702"/>
                </a:lnTo>
                <a:lnTo>
                  <a:pt x="1465" y="698"/>
                </a:lnTo>
                <a:lnTo>
                  <a:pt x="1461" y="694"/>
                </a:lnTo>
                <a:lnTo>
                  <a:pt x="1458" y="693"/>
                </a:lnTo>
                <a:lnTo>
                  <a:pt x="1448" y="691"/>
                </a:lnTo>
                <a:lnTo>
                  <a:pt x="1436" y="688"/>
                </a:lnTo>
                <a:lnTo>
                  <a:pt x="1431" y="688"/>
                </a:lnTo>
                <a:lnTo>
                  <a:pt x="1426" y="690"/>
                </a:lnTo>
                <a:lnTo>
                  <a:pt x="1421" y="692"/>
                </a:lnTo>
                <a:lnTo>
                  <a:pt x="1417" y="696"/>
                </a:lnTo>
                <a:lnTo>
                  <a:pt x="1414" y="699"/>
                </a:lnTo>
                <a:lnTo>
                  <a:pt x="1410" y="702"/>
                </a:lnTo>
                <a:lnTo>
                  <a:pt x="1408" y="704"/>
                </a:lnTo>
                <a:lnTo>
                  <a:pt x="1404" y="705"/>
                </a:lnTo>
                <a:lnTo>
                  <a:pt x="1402" y="705"/>
                </a:lnTo>
                <a:lnTo>
                  <a:pt x="1399" y="704"/>
                </a:lnTo>
                <a:lnTo>
                  <a:pt x="1397" y="703"/>
                </a:lnTo>
                <a:lnTo>
                  <a:pt x="1396" y="700"/>
                </a:lnTo>
                <a:lnTo>
                  <a:pt x="1392" y="688"/>
                </a:lnTo>
                <a:lnTo>
                  <a:pt x="1387" y="671"/>
                </a:lnTo>
                <a:lnTo>
                  <a:pt x="1386" y="661"/>
                </a:lnTo>
                <a:lnTo>
                  <a:pt x="1385" y="652"/>
                </a:lnTo>
                <a:lnTo>
                  <a:pt x="1384" y="645"/>
                </a:lnTo>
                <a:lnTo>
                  <a:pt x="1385" y="637"/>
                </a:lnTo>
                <a:lnTo>
                  <a:pt x="1387" y="629"/>
                </a:lnTo>
                <a:lnTo>
                  <a:pt x="1391" y="623"/>
                </a:lnTo>
                <a:lnTo>
                  <a:pt x="1393" y="622"/>
                </a:lnTo>
                <a:lnTo>
                  <a:pt x="1396" y="622"/>
                </a:lnTo>
                <a:lnTo>
                  <a:pt x="1399" y="623"/>
                </a:lnTo>
                <a:lnTo>
                  <a:pt x="1403" y="626"/>
                </a:lnTo>
                <a:lnTo>
                  <a:pt x="1412" y="633"/>
                </a:lnTo>
                <a:lnTo>
                  <a:pt x="1423" y="640"/>
                </a:lnTo>
                <a:lnTo>
                  <a:pt x="1433" y="646"/>
                </a:lnTo>
                <a:lnTo>
                  <a:pt x="1440" y="649"/>
                </a:lnTo>
                <a:lnTo>
                  <a:pt x="1441" y="648"/>
                </a:lnTo>
                <a:lnTo>
                  <a:pt x="1443" y="647"/>
                </a:lnTo>
                <a:lnTo>
                  <a:pt x="1445" y="645"/>
                </a:lnTo>
                <a:lnTo>
                  <a:pt x="1445" y="642"/>
                </a:lnTo>
                <a:lnTo>
                  <a:pt x="1445" y="640"/>
                </a:lnTo>
                <a:lnTo>
                  <a:pt x="1443" y="636"/>
                </a:lnTo>
                <a:lnTo>
                  <a:pt x="1442" y="634"/>
                </a:lnTo>
                <a:lnTo>
                  <a:pt x="1440" y="633"/>
                </a:lnTo>
                <a:lnTo>
                  <a:pt x="1433" y="628"/>
                </a:lnTo>
                <a:lnTo>
                  <a:pt x="1427" y="623"/>
                </a:lnTo>
                <a:lnTo>
                  <a:pt x="1424" y="620"/>
                </a:lnTo>
                <a:lnTo>
                  <a:pt x="1423" y="617"/>
                </a:lnTo>
                <a:lnTo>
                  <a:pt x="1423" y="612"/>
                </a:lnTo>
                <a:lnTo>
                  <a:pt x="1423" y="609"/>
                </a:lnTo>
                <a:lnTo>
                  <a:pt x="1424" y="605"/>
                </a:lnTo>
                <a:lnTo>
                  <a:pt x="1424" y="602"/>
                </a:lnTo>
                <a:lnTo>
                  <a:pt x="1423" y="598"/>
                </a:lnTo>
                <a:lnTo>
                  <a:pt x="1422" y="595"/>
                </a:lnTo>
                <a:lnTo>
                  <a:pt x="1420" y="587"/>
                </a:lnTo>
                <a:lnTo>
                  <a:pt x="1417" y="583"/>
                </a:lnTo>
                <a:lnTo>
                  <a:pt x="1416" y="580"/>
                </a:lnTo>
                <a:lnTo>
                  <a:pt x="1416" y="578"/>
                </a:lnTo>
                <a:lnTo>
                  <a:pt x="1417" y="577"/>
                </a:lnTo>
                <a:lnTo>
                  <a:pt x="1420" y="576"/>
                </a:lnTo>
                <a:lnTo>
                  <a:pt x="1422" y="574"/>
                </a:lnTo>
                <a:lnTo>
                  <a:pt x="1424" y="576"/>
                </a:lnTo>
                <a:lnTo>
                  <a:pt x="1427" y="577"/>
                </a:lnTo>
                <a:lnTo>
                  <a:pt x="1428" y="580"/>
                </a:lnTo>
                <a:lnTo>
                  <a:pt x="1434" y="590"/>
                </a:lnTo>
                <a:lnTo>
                  <a:pt x="1439" y="601"/>
                </a:lnTo>
                <a:lnTo>
                  <a:pt x="1443" y="610"/>
                </a:lnTo>
                <a:lnTo>
                  <a:pt x="1447" y="618"/>
                </a:lnTo>
                <a:lnTo>
                  <a:pt x="1448" y="623"/>
                </a:lnTo>
                <a:lnTo>
                  <a:pt x="1450" y="627"/>
                </a:lnTo>
                <a:lnTo>
                  <a:pt x="1454" y="628"/>
                </a:lnTo>
                <a:lnTo>
                  <a:pt x="1458" y="628"/>
                </a:lnTo>
                <a:lnTo>
                  <a:pt x="1459" y="627"/>
                </a:lnTo>
                <a:lnTo>
                  <a:pt x="1460" y="626"/>
                </a:lnTo>
                <a:lnTo>
                  <a:pt x="1461" y="622"/>
                </a:lnTo>
                <a:lnTo>
                  <a:pt x="1461" y="618"/>
                </a:lnTo>
                <a:lnTo>
                  <a:pt x="1461" y="610"/>
                </a:lnTo>
                <a:lnTo>
                  <a:pt x="1461" y="602"/>
                </a:lnTo>
                <a:lnTo>
                  <a:pt x="1462" y="597"/>
                </a:lnTo>
                <a:lnTo>
                  <a:pt x="1464" y="595"/>
                </a:lnTo>
                <a:lnTo>
                  <a:pt x="1465" y="591"/>
                </a:lnTo>
                <a:lnTo>
                  <a:pt x="1467" y="589"/>
                </a:lnTo>
                <a:lnTo>
                  <a:pt x="1472" y="585"/>
                </a:lnTo>
                <a:lnTo>
                  <a:pt x="1478" y="583"/>
                </a:lnTo>
                <a:lnTo>
                  <a:pt x="1480" y="582"/>
                </a:lnTo>
                <a:lnTo>
                  <a:pt x="1483" y="583"/>
                </a:lnTo>
                <a:lnTo>
                  <a:pt x="1484" y="584"/>
                </a:lnTo>
                <a:lnTo>
                  <a:pt x="1484" y="585"/>
                </a:lnTo>
                <a:lnTo>
                  <a:pt x="1483" y="591"/>
                </a:lnTo>
                <a:lnTo>
                  <a:pt x="1479" y="596"/>
                </a:lnTo>
                <a:lnTo>
                  <a:pt x="1475" y="602"/>
                </a:lnTo>
                <a:lnTo>
                  <a:pt x="1474" y="606"/>
                </a:lnTo>
                <a:lnTo>
                  <a:pt x="1474" y="611"/>
                </a:lnTo>
                <a:lnTo>
                  <a:pt x="1474" y="618"/>
                </a:lnTo>
                <a:lnTo>
                  <a:pt x="1475" y="633"/>
                </a:lnTo>
                <a:lnTo>
                  <a:pt x="1475" y="646"/>
                </a:lnTo>
                <a:lnTo>
                  <a:pt x="1477" y="649"/>
                </a:lnTo>
                <a:lnTo>
                  <a:pt x="1479" y="652"/>
                </a:lnTo>
                <a:lnTo>
                  <a:pt x="1481" y="653"/>
                </a:lnTo>
                <a:lnTo>
                  <a:pt x="1486" y="653"/>
                </a:lnTo>
                <a:lnTo>
                  <a:pt x="1490" y="652"/>
                </a:lnTo>
                <a:lnTo>
                  <a:pt x="1493" y="652"/>
                </a:lnTo>
                <a:lnTo>
                  <a:pt x="1497" y="653"/>
                </a:lnTo>
                <a:lnTo>
                  <a:pt x="1500" y="655"/>
                </a:lnTo>
                <a:lnTo>
                  <a:pt x="1503" y="656"/>
                </a:lnTo>
                <a:lnTo>
                  <a:pt x="1505" y="656"/>
                </a:lnTo>
                <a:lnTo>
                  <a:pt x="1506" y="656"/>
                </a:lnTo>
                <a:lnTo>
                  <a:pt x="1509" y="656"/>
                </a:lnTo>
                <a:lnTo>
                  <a:pt x="1512" y="653"/>
                </a:lnTo>
                <a:lnTo>
                  <a:pt x="1516" y="647"/>
                </a:lnTo>
                <a:lnTo>
                  <a:pt x="1518" y="641"/>
                </a:lnTo>
                <a:lnTo>
                  <a:pt x="1521" y="634"/>
                </a:lnTo>
                <a:lnTo>
                  <a:pt x="1522" y="627"/>
                </a:lnTo>
                <a:lnTo>
                  <a:pt x="1523" y="618"/>
                </a:lnTo>
                <a:lnTo>
                  <a:pt x="1523" y="614"/>
                </a:lnTo>
                <a:lnTo>
                  <a:pt x="1523" y="610"/>
                </a:lnTo>
                <a:lnTo>
                  <a:pt x="1524" y="606"/>
                </a:lnTo>
                <a:lnTo>
                  <a:pt x="1527" y="604"/>
                </a:lnTo>
                <a:lnTo>
                  <a:pt x="1528" y="603"/>
                </a:lnTo>
                <a:lnTo>
                  <a:pt x="1531" y="602"/>
                </a:lnTo>
                <a:lnTo>
                  <a:pt x="1534" y="601"/>
                </a:lnTo>
                <a:lnTo>
                  <a:pt x="1537" y="602"/>
                </a:lnTo>
                <a:lnTo>
                  <a:pt x="1550" y="603"/>
                </a:lnTo>
                <a:lnTo>
                  <a:pt x="1562" y="603"/>
                </a:lnTo>
                <a:lnTo>
                  <a:pt x="1566" y="604"/>
                </a:lnTo>
                <a:lnTo>
                  <a:pt x="1568" y="604"/>
                </a:lnTo>
                <a:lnTo>
                  <a:pt x="1569" y="606"/>
                </a:lnTo>
                <a:lnTo>
                  <a:pt x="1571" y="608"/>
                </a:lnTo>
                <a:lnTo>
                  <a:pt x="1571" y="610"/>
                </a:lnTo>
                <a:lnTo>
                  <a:pt x="1569" y="612"/>
                </a:lnTo>
                <a:lnTo>
                  <a:pt x="1568" y="615"/>
                </a:lnTo>
                <a:lnTo>
                  <a:pt x="1566" y="618"/>
                </a:lnTo>
                <a:lnTo>
                  <a:pt x="1560" y="623"/>
                </a:lnTo>
                <a:lnTo>
                  <a:pt x="1554" y="630"/>
                </a:lnTo>
                <a:lnTo>
                  <a:pt x="1549" y="639"/>
                </a:lnTo>
                <a:lnTo>
                  <a:pt x="1546" y="647"/>
                </a:lnTo>
                <a:lnTo>
                  <a:pt x="1543" y="656"/>
                </a:lnTo>
                <a:lnTo>
                  <a:pt x="1538" y="665"/>
                </a:lnTo>
                <a:lnTo>
                  <a:pt x="1533" y="672"/>
                </a:lnTo>
                <a:lnTo>
                  <a:pt x="1525" y="678"/>
                </a:lnTo>
                <a:lnTo>
                  <a:pt x="1517" y="684"/>
                </a:lnTo>
                <a:lnTo>
                  <a:pt x="1509" y="691"/>
                </a:lnTo>
                <a:lnTo>
                  <a:pt x="1502" y="698"/>
                </a:lnTo>
                <a:lnTo>
                  <a:pt x="1497" y="705"/>
                </a:lnTo>
                <a:lnTo>
                  <a:pt x="1494" y="712"/>
                </a:lnTo>
                <a:lnTo>
                  <a:pt x="1493" y="718"/>
                </a:lnTo>
                <a:lnTo>
                  <a:pt x="1493" y="721"/>
                </a:lnTo>
                <a:lnTo>
                  <a:pt x="1494" y="723"/>
                </a:lnTo>
                <a:lnTo>
                  <a:pt x="1497" y="724"/>
                </a:lnTo>
                <a:lnTo>
                  <a:pt x="1500" y="725"/>
                </a:lnTo>
                <a:lnTo>
                  <a:pt x="1504" y="725"/>
                </a:lnTo>
                <a:lnTo>
                  <a:pt x="1508" y="724"/>
                </a:lnTo>
                <a:lnTo>
                  <a:pt x="1511" y="723"/>
                </a:lnTo>
                <a:lnTo>
                  <a:pt x="1516" y="722"/>
                </a:lnTo>
                <a:lnTo>
                  <a:pt x="1523" y="716"/>
                </a:lnTo>
                <a:lnTo>
                  <a:pt x="1530" y="709"/>
                </a:lnTo>
                <a:lnTo>
                  <a:pt x="1535" y="699"/>
                </a:lnTo>
                <a:lnTo>
                  <a:pt x="1537" y="692"/>
                </a:lnTo>
                <a:lnTo>
                  <a:pt x="1538" y="688"/>
                </a:lnTo>
                <a:lnTo>
                  <a:pt x="1541" y="686"/>
                </a:lnTo>
                <a:lnTo>
                  <a:pt x="1543" y="685"/>
                </a:lnTo>
                <a:lnTo>
                  <a:pt x="1547" y="684"/>
                </a:lnTo>
                <a:lnTo>
                  <a:pt x="1557" y="683"/>
                </a:lnTo>
                <a:lnTo>
                  <a:pt x="1574" y="678"/>
                </a:lnTo>
                <a:lnTo>
                  <a:pt x="1588" y="673"/>
                </a:lnTo>
                <a:lnTo>
                  <a:pt x="1596" y="669"/>
                </a:lnTo>
                <a:lnTo>
                  <a:pt x="1597" y="660"/>
                </a:lnTo>
                <a:lnTo>
                  <a:pt x="1598" y="650"/>
                </a:lnTo>
                <a:lnTo>
                  <a:pt x="1598" y="640"/>
                </a:lnTo>
                <a:lnTo>
                  <a:pt x="1599" y="630"/>
                </a:lnTo>
                <a:lnTo>
                  <a:pt x="1598" y="620"/>
                </a:lnTo>
                <a:lnTo>
                  <a:pt x="1594" y="605"/>
                </a:lnTo>
                <a:lnTo>
                  <a:pt x="1592" y="599"/>
                </a:lnTo>
                <a:lnTo>
                  <a:pt x="1590" y="595"/>
                </a:lnTo>
                <a:lnTo>
                  <a:pt x="1587" y="591"/>
                </a:lnTo>
                <a:lnTo>
                  <a:pt x="1585" y="590"/>
                </a:lnTo>
                <a:lnTo>
                  <a:pt x="1580" y="591"/>
                </a:lnTo>
                <a:lnTo>
                  <a:pt x="1574" y="590"/>
                </a:lnTo>
                <a:lnTo>
                  <a:pt x="1572" y="589"/>
                </a:lnTo>
                <a:lnTo>
                  <a:pt x="1568" y="586"/>
                </a:lnTo>
                <a:lnTo>
                  <a:pt x="1566" y="584"/>
                </a:lnTo>
                <a:lnTo>
                  <a:pt x="1563" y="580"/>
                </a:lnTo>
                <a:lnTo>
                  <a:pt x="1561" y="577"/>
                </a:lnTo>
                <a:lnTo>
                  <a:pt x="1562" y="572"/>
                </a:lnTo>
                <a:lnTo>
                  <a:pt x="1563" y="566"/>
                </a:lnTo>
                <a:lnTo>
                  <a:pt x="1566" y="561"/>
                </a:lnTo>
                <a:lnTo>
                  <a:pt x="1571" y="555"/>
                </a:lnTo>
                <a:lnTo>
                  <a:pt x="1574" y="551"/>
                </a:lnTo>
                <a:lnTo>
                  <a:pt x="1579" y="547"/>
                </a:lnTo>
                <a:lnTo>
                  <a:pt x="1584" y="545"/>
                </a:lnTo>
                <a:lnTo>
                  <a:pt x="1598" y="540"/>
                </a:lnTo>
                <a:lnTo>
                  <a:pt x="1611" y="534"/>
                </a:lnTo>
                <a:lnTo>
                  <a:pt x="1617" y="530"/>
                </a:lnTo>
                <a:lnTo>
                  <a:pt x="1622" y="526"/>
                </a:lnTo>
                <a:lnTo>
                  <a:pt x="1625" y="521"/>
                </a:lnTo>
                <a:lnTo>
                  <a:pt x="1629" y="515"/>
                </a:lnTo>
                <a:lnTo>
                  <a:pt x="1630" y="508"/>
                </a:lnTo>
                <a:lnTo>
                  <a:pt x="1629" y="501"/>
                </a:lnTo>
                <a:lnTo>
                  <a:pt x="1628" y="494"/>
                </a:lnTo>
                <a:lnTo>
                  <a:pt x="1624" y="488"/>
                </a:lnTo>
                <a:lnTo>
                  <a:pt x="1622" y="480"/>
                </a:lnTo>
                <a:lnTo>
                  <a:pt x="1620" y="475"/>
                </a:lnTo>
                <a:lnTo>
                  <a:pt x="1619" y="470"/>
                </a:lnTo>
                <a:lnTo>
                  <a:pt x="1620" y="465"/>
                </a:lnTo>
                <a:lnTo>
                  <a:pt x="1623" y="463"/>
                </a:lnTo>
                <a:lnTo>
                  <a:pt x="1626" y="461"/>
                </a:lnTo>
                <a:lnTo>
                  <a:pt x="1632" y="463"/>
                </a:lnTo>
                <a:lnTo>
                  <a:pt x="1638" y="463"/>
                </a:lnTo>
                <a:lnTo>
                  <a:pt x="1650" y="466"/>
                </a:lnTo>
                <a:lnTo>
                  <a:pt x="1660" y="467"/>
                </a:lnTo>
                <a:lnTo>
                  <a:pt x="1666" y="466"/>
                </a:lnTo>
                <a:lnTo>
                  <a:pt x="1672" y="465"/>
                </a:lnTo>
                <a:lnTo>
                  <a:pt x="1675" y="461"/>
                </a:lnTo>
                <a:lnTo>
                  <a:pt x="1680" y="457"/>
                </a:lnTo>
                <a:lnTo>
                  <a:pt x="1682" y="452"/>
                </a:lnTo>
                <a:lnTo>
                  <a:pt x="1686" y="447"/>
                </a:lnTo>
                <a:lnTo>
                  <a:pt x="1687" y="441"/>
                </a:lnTo>
                <a:lnTo>
                  <a:pt x="1689" y="435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2" name="河南"/>
          <p:cNvSpPr/>
          <p:nvPr/>
        </p:nvSpPr>
        <p:spPr bwMode="auto">
          <a:xfrm>
            <a:off x="6298565" y="3392805"/>
            <a:ext cx="906145" cy="891540"/>
          </a:xfrm>
          <a:custGeom>
            <a:avLst/>
            <a:gdLst>
              <a:gd name="T0" fmla="*/ 591 w 2215"/>
              <a:gd name="T1" fmla="*/ 492 h 2153"/>
              <a:gd name="T2" fmla="*/ 779 w 2215"/>
              <a:gd name="T3" fmla="*/ 510 h 2153"/>
              <a:gd name="T4" fmla="*/ 878 w 2215"/>
              <a:gd name="T5" fmla="*/ 497 h 2153"/>
              <a:gd name="T6" fmla="*/ 957 w 2215"/>
              <a:gd name="T7" fmla="*/ 458 h 2153"/>
              <a:gd name="T8" fmla="*/ 1025 w 2215"/>
              <a:gd name="T9" fmla="*/ 395 h 2153"/>
              <a:gd name="T10" fmla="*/ 1115 w 2215"/>
              <a:gd name="T11" fmla="*/ 278 h 2153"/>
              <a:gd name="T12" fmla="*/ 1124 w 2215"/>
              <a:gd name="T13" fmla="*/ 169 h 2153"/>
              <a:gd name="T14" fmla="*/ 1147 w 2215"/>
              <a:gd name="T15" fmla="*/ 12 h 2153"/>
              <a:gd name="T16" fmla="*/ 1318 w 2215"/>
              <a:gd name="T17" fmla="*/ 31 h 2153"/>
              <a:gd name="T18" fmla="*/ 1549 w 2215"/>
              <a:gd name="T19" fmla="*/ 85 h 2153"/>
              <a:gd name="T20" fmla="*/ 1675 w 2215"/>
              <a:gd name="T21" fmla="*/ 68 h 2153"/>
              <a:gd name="T22" fmla="*/ 1741 w 2215"/>
              <a:gd name="T23" fmla="*/ 117 h 2153"/>
              <a:gd name="T24" fmla="*/ 1730 w 2215"/>
              <a:gd name="T25" fmla="*/ 205 h 2153"/>
              <a:gd name="T26" fmla="*/ 1853 w 2215"/>
              <a:gd name="T27" fmla="*/ 127 h 2153"/>
              <a:gd name="T28" fmla="*/ 1905 w 2215"/>
              <a:gd name="T29" fmla="*/ 136 h 2153"/>
              <a:gd name="T30" fmla="*/ 1822 w 2215"/>
              <a:gd name="T31" fmla="*/ 236 h 2153"/>
              <a:gd name="T32" fmla="*/ 1710 w 2215"/>
              <a:gd name="T33" fmla="*/ 353 h 2153"/>
              <a:gd name="T34" fmla="*/ 1587 w 2215"/>
              <a:gd name="T35" fmla="*/ 477 h 2153"/>
              <a:gd name="T36" fmla="*/ 1600 w 2215"/>
              <a:gd name="T37" fmla="*/ 592 h 2153"/>
              <a:gd name="T38" fmla="*/ 1719 w 2215"/>
              <a:gd name="T39" fmla="*/ 647 h 2153"/>
              <a:gd name="T40" fmla="*/ 1891 w 2215"/>
              <a:gd name="T41" fmla="*/ 749 h 2153"/>
              <a:gd name="T42" fmla="*/ 2033 w 2215"/>
              <a:gd name="T43" fmla="*/ 780 h 2153"/>
              <a:gd name="T44" fmla="*/ 2150 w 2215"/>
              <a:gd name="T45" fmla="*/ 864 h 2153"/>
              <a:gd name="T46" fmla="*/ 2212 w 2215"/>
              <a:gd name="T47" fmla="*/ 994 h 2153"/>
              <a:gd name="T48" fmla="*/ 2111 w 2215"/>
              <a:gd name="T49" fmla="*/ 1089 h 2153"/>
              <a:gd name="T50" fmla="*/ 1991 w 2215"/>
              <a:gd name="T51" fmla="*/ 1044 h 2153"/>
              <a:gd name="T52" fmla="*/ 1869 w 2215"/>
              <a:gd name="T53" fmla="*/ 976 h 2153"/>
              <a:gd name="T54" fmla="*/ 1848 w 2215"/>
              <a:gd name="T55" fmla="*/ 1084 h 2153"/>
              <a:gd name="T56" fmla="*/ 1828 w 2215"/>
              <a:gd name="T57" fmla="*/ 1194 h 2153"/>
              <a:gd name="T58" fmla="*/ 1762 w 2215"/>
              <a:gd name="T59" fmla="*/ 1329 h 2153"/>
              <a:gd name="T60" fmla="*/ 1630 w 2215"/>
              <a:gd name="T61" fmla="*/ 1398 h 2153"/>
              <a:gd name="T62" fmla="*/ 1658 w 2215"/>
              <a:gd name="T63" fmla="*/ 1500 h 2153"/>
              <a:gd name="T64" fmla="*/ 1726 w 2215"/>
              <a:gd name="T65" fmla="*/ 1604 h 2153"/>
              <a:gd name="T66" fmla="*/ 1803 w 2215"/>
              <a:gd name="T67" fmla="*/ 1642 h 2153"/>
              <a:gd name="T68" fmla="*/ 1920 w 2215"/>
              <a:gd name="T69" fmla="*/ 1664 h 2153"/>
              <a:gd name="T70" fmla="*/ 1999 w 2215"/>
              <a:gd name="T71" fmla="*/ 1613 h 2153"/>
              <a:gd name="T72" fmla="*/ 2012 w 2215"/>
              <a:gd name="T73" fmla="*/ 1871 h 2153"/>
              <a:gd name="T74" fmla="*/ 1890 w 2215"/>
              <a:gd name="T75" fmla="*/ 1998 h 2153"/>
              <a:gd name="T76" fmla="*/ 1783 w 2215"/>
              <a:gd name="T77" fmla="*/ 2152 h 2153"/>
              <a:gd name="T78" fmla="*/ 1750 w 2215"/>
              <a:gd name="T79" fmla="*/ 2067 h 2153"/>
              <a:gd name="T80" fmla="*/ 1625 w 2215"/>
              <a:gd name="T81" fmla="*/ 2136 h 2153"/>
              <a:gd name="T82" fmla="*/ 1532 w 2215"/>
              <a:gd name="T83" fmla="*/ 2058 h 2153"/>
              <a:gd name="T84" fmla="*/ 1391 w 2215"/>
              <a:gd name="T85" fmla="*/ 1971 h 2153"/>
              <a:gd name="T86" fmla="*/ 1309 w 2215"/>
              <a:gd name="T87" fmla="*/ 1985 h 2153"/>
              <a:gd name="T88" fmla="*/ 1248 w 2215"/>
              <a:gd name="T89" fmla="*/ 1932 h 2153"/>
              <a:gd name="T90" fmla="*/ 1225 w 2215"/>
              <a:gd name="T91" fmla="*/ 1826 h 2153"/>
              <a:gd name="T92" fmla="*/ 1196 w 2215"/>
              <a:gd name="T93" fmla="*/ 1745 h 2153"/>
              <a:gd name="T94" fmla="*/ 1078 w 2215"/>
              <a:gd name="T95" fmla="*/ 1796 h 2153"/>
              <a:gd name="T96" fmla="*/ 985 w 2215"/>
              <a:gd name="T97" fmla="*/ 1765 h 2153"/>
              <a:gd name="T98" fmla="*/ 781 w 2215"/>
              <a:gd name="T99" fmla="*/ 1780 h 2153"/>
              <a:gd name="T100" fmla="*/ 586 w 2215"/>
              <a:gd name="T101" fmla="*/ 1742 h 2153"/>
              <a:gd name="T102" fmla="*/ 442 w 2215"/>
              <a:gd name="T103" fmla="*/ 1688 h 2153"/>
              <a:gd name="T104" fmla="*/ 343 w 2215"/>
              <a:gd name="T105" fmla="*/ 1563 h 2153"/>
              <a:gd name="T106" fmla="*/ 273 w 2215"/>
              <a:gd name="T107" fmla="*/ 1453 h 2153"/>
              <a:gd name="T108" fmla="*/ 229 w 2215"/>
              <a:gd name="T109" fmla="*/ 1270 h 2153"/>
              <a:gd name="T110" fmla="*/ 84 w 2215"/>
              <a:gd name="T111" fmla="*/ 1124 h 2153"/>
              <a:gd name="T112" fmla="*/ 83 w 2215"/>
              <a:gd name="T113" fmla="*/ 1025 h 2153"/>
              <a:gd name="T114" fmla="*/ 38 w 2215"/>
              <a:gd name="T115" fmla="*/ 914 h 2153"/>
              <a:gd name="T116" fmla="*/ 20 w 2215"/>
              <a:gd name="T117" fmla="*/ 806 h 2153"/>
              <a:gd name="T118" fmla="*/ 229 w 2215"/>
              <a:gd name="T119" fmla="*/ 744 h 2153"/>
              <a:gd name="T120" fmla="*/ 446 w 2215"/>
              <a:gd name="T121" fmla="*/ 649 h 2153"/>
              <a:gd name="T122" fmla="*/ 556 w 2215"/>
              <a:gd name="T123" fmla="*/ 583 h 2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15" h="2153">
                <a:moveTo>
                  <a:pt x="572" y="591"/>
                </a:moveTo>
                <a:lnTo>
                  <a:pt x="575" y="593"/>
                </a:lnTo>
                <a:lnTo>
                  <a:pt x="576" y="593"/>
                </a:lnTo>
                <a:lnTo>
                  <a:pt x="576" y="592"/>
                </a:lnTo>
                <a:lnTo>
                  <a:pt x="578" y="589"/>
                </a:lnTo>
                <a:lnTo>
                  <a:pt x="579" y="583"/>
                </a:lnTo>
                <a:lnTo>
                  <a:pt x="579" y="582"/>
                </a:lnTo>
                <a:lnTo>
                  <a:pt x="580" y="578"/>
                </a:lnTo>
                <a:lnTo>
                  <a:pt x="581" y="571"/>
                </a:lnTo>
                <a:lnTo>
                  <a:pt x="582" y="563"/>
                </a:lnTo>
                <a:lnTo>
                  <a:pt x="584" y="555"/>
                </a:lnTo>
                <a:lnTo>
                  <a:pt x="582" y="549"/>
                </a:lnTo>
                <a:lnTo>
                  <a:pt x="580" y="539"/>
                </a:lnTo>
                <a:lnTo>
                  <a:pt x="578" y="530"/>
                </a:lnTo>
                <a:lnTo>
                  <a:pt x="578" y="526"/>
                </a:lnTo>
                <a:lnTo>
                  <a:pt x="578" y="521"/>
                </a:lnTo>
                <a:lnTo>
                  <a:pt x="578" y="516"/>
                </a:lnTo>
                <a:lnTo>
                  <a:pt x="579" y="513"/>
                </a:lnTo>
                <a:lnTo>
                  <a:pt x="582" y="504"/>
                </a:lnTo>
                <a:lnTo>
                  <a:pt x="587" y="496"/>
                </a:lnTo>
                <a:lnTo>
                  <a:pt x="591" y="492"/>
                </a:lnTo>
                <a:lnTo>
                  <a:pt x="594" y="490"/>
                </a:lnTo>
                <a:lnTo>
                  <a:pt x="600" y="489"/>
                </a:lnTo>
                <a:lnTo>
                  <a:pt x="606" y="489"/>
                </a:lnTo>
                <a:lnTo>
                  <a:pt x="624" y="498"/>
                </a:lnTo>
                <a:lnTo>
                  <a:pt x="638" y="505"/>
                </a:lnTo>
                <a:lnTo>
                  <a:pt x="648" y="507"/>
                </a:lnTo>
                <a:lnTo>
                  <a:pt x="655" y="508"/>
                </a:lnTo>
                <a:lnTo>
                  <a:pt x="662" y="509"/>
                </a:lnTo>
                <a:lnTo>
                  <a:pt x="667" y="513"/>
                </a:lnTo>
                <a:lnTo>
                  <a:pt x="670" y="514"/>
                </a:lnTo>
                <a:lnTo>
                  <a:pt x="675" y="515"/>
                </a:lnTo>
                <a:lnTo>
                  <a:pt x="682" y="515"/>
                </a:lnTo>
                <a:lnTo>
                  <a:pt x="691" y="515"/>
                </a:lnTo>
                <a:lnTo>
                  <a:pt x="707" y="515"/>
                </a:lnTo>
                <a:lnTo>
                  <a:pt x="723" y="514"/>
                </a:lnTo>
                <a:lnTo>
                  <a:pt x="738" y="514"/>
                </a:lnTo>
                <a:lnTo>
                  <a:pt x="756" y="514"/>
                </a:lnTo>
                <a:lnTo>
                  <a:pt x="763" y="514"/>
                </a:lnTo>
                <a:lnTo>
                  <a:pt x="770" y="514"/>
                </a:lnTo>
                <a:lnTo>
                  <a:pt x="776" y="513"/>
                </a:lnTo>
                <a:lnTo>
                  <a:pt x="779" y="510"/>
                </a:lnTo>
                <a:lnTo>
                  <a:pt x="783" y="505"/>
                </a:lnTo>
                <a:lnTo>
                  <a:pt x="789" y="500"/>
                </a:lnTo>
                <a:lnTo>
                  <a:pt x="793" y="497"/>
                </a:lnTo>
                <a:lnTo>
                  <a:pt x="796" y="497"/>
                </a:lnTo>
                <a:lnTo>
                  <a:pt x="800" y="497"/>
                </a:lnTo>
                <a:lnTo>
                  <a:pt x="803" y="501"/>
                </a:lnTo>
                <a:lnTo>
                  <a:pt x="808" y="504"/>
                </a:lnTo>
                <a:lnTo>
                  <a:pt x="813" y="507"/>
                </a:lnTo>
                <a:lnTo>
                  <a:pt x="818" y="509"/>
                </a:lnTo>
                <a:lnTo>
                  <a:pt x="822" y="511"/>
                </a:lnTo>
                <a:lnTo>
                  <a:pt x="827" y="513"/>
                </a:lnTo>
                <a:lnTo>
                  <a:pt x="832" y="513"/>
                </a:lnTo>
                <a:lnTo>
                  <a:pt x="836" y="511"/>
                </a:lnTo>
                <a:lnTo>
                  <a:pt x="839" y="509"/>
                </a:lnTo>
                <a:lnTo>
                  <a:pt x="845" y="504"/>
                </a:lnTo>
                <a:lnTo>
                  <a:pt x="851" y="500"/>
                </a:lnTo>
                <a:lnTo>
                  <a:pt x="855" y="498"/>
                </a:lnTo>
                <a:lnTo>
                  <a:pt x="858" y="497"/>
                </a:lnTo>
                <a:lnTo>
                  <a:pt x="864" y="497"/>
                </a:lnTo>
                <a:lnTo>
                  <a:pt x="871" y="497"/>
                </a:lnTo>
                <a:lnTo>
                  <a:pt x="878" y="497"/>
                </a:lnTo>
                <a:lnTo>
                  <a:pt x="887" y="497"/>
                </a:lnTo>
                <a:lnTo>
                  <a:pt x="894" y="496"/>
                </a:lnTo>
                <a:lnTo>
                  <a:pt x="900" y="494"/>
                </a:lnTo>
                <a:lnTo>
                  <a:pt x="906" y="491"/>
                </a:lnTo>
                <a:lnTo>
                  <a:pt x="910" y="488"/>
                </a:lnTo>
                <a:lnTo>
                  <a:pt x="913" y="485"/>
                </a:lnTo>
                <a:lnTo>
                  <a:pt x="914" y="480"/>
                </a:lnTo>
                <a:lnTo>
                  <a:pt x="914" y="473"/>
                </a:lnTo>
                <a:lnTo>
                  <a:pt x="913" y="466"/>
                </a:lnTo>
                <a:lnTo>
                  <a:pt x="914" y="463"/>
                </a:lnTo>
                <a:lnTo>
                  <a:pt x="915" y="460"/>
                </a:lnTo>
                <a:lnTo>
                  <a:pt x="918" y="459"/>
                </a:lnTo>
                <a:lnTo>
                  <a:pt x="922" y="458"/>
                </a:lnTo>
                <a:lnTo>
                  <a:pt x="931" y="459"/>
                </a:lnTo>
                <a:lnTo>
                  <a:pt x="937" y="461"/>
                </a:lnTo>
                <a:lnTo>
                  <a:pt x="941" y="465"/>
                </a:lnTo>
                <a:lnTo>
                  <a:pt x="946" y="467"/>
                </a:lnTo>
                <a:lnTo>
                  <a:pt x="949" y="467"/>
                </a:lnTo>
                <a:lnTo>
                  <a:pt x="951" y="465"/>
                </a:lnTo>
                <a:lnTo>
                  <a:pt x="953" y="463"/>
                </a:lnTo>
                <a:lnTo>
                  <a:pt x="957" y="458"/>
                </a:lnTo>
                <a:lnTo>
                  <a:pt x="963" y="448"/>
                </a:lnTo>
                <a:lnTo>
                  <a:pt x="968" y="439"/>
                </a:lnTo>
                <a:lnTo>
                  <a:pt x="973" y="429"/>
                </a:lnTo>
                <a:lnTo>
                  <a:pt x="981" y="421"/>
                </a:lnTo>
                <a:lnTo>
                  <a:pt x="983" y="419"/>
                </a:lnTo>
                <a:lnTo>
                  <a:pt x="987" y="416"/>
                </a:lnTo>
                <a:lnTo>
                  <a:pt x="990" y="415"/>
                </a:lnTo>
                <a:lnTo>
                  <a:pt x="994" y="415"/>
                </a:lnTo>
                <a:lnTo>
                  <a:pt x="1002" y="417"/>
                </a:lnTo>
                <a:lnTo>
                  <a:pt x="1010" y="420"/>
                </a:lnTo>
                <a:lnTo>
                  <a:pt x="1013" y="419"/>
                </a:lnTo>
                <a:lnTo>
                  <a:pt x="1015" y="417"/>
                </a:lnTo>
                <a:lnTo>
                  <a:pt x="1016" y="415"/>
                </a:lnTo>
                <a:lnTo>
                  <a:pt x="1015" y="412"/>
                </a:lnTo>
                <a:lnTo>
                  <a:pt x="1014" y="407"/>
                </a:lnTo>
                <a:lnTo>
                  <a:pt x="1014" y="403"/>
                </a:lnTo>
                <a:lnTo>
                  <a:pt x="1014" y="400"/>
                </a:lnTo>
                <a:lnTo>
                  <a:pt x="1016" y="397"/>
                </a:lnTo>
                <a:lnTo>
                  <a:pt x="1019" y="396"/>
                </a:lnTo>
                <a:lnTo>
                  <a:pt x="1021" y="395"/>
                </a:lnTo>
                <a:lnTo>
                  <a:pt x="1025" y="395"/>
                </a:lnTo>
                <a:lnTo>
                  <a:pt x="1029" y="395"/>
                </a:lnTo>
                <a:lnTo>
                  <a:pt x="1034" y="395"/>
                </a:lnTo>
                <a:lnTo>
                  <a:pt x="1041" y="394"/>
                </a:lnTo>
                <a:lnTo>
                  <a:pt x="1048" y="391"/>
                </a:lnTo>
                <a:lnTo>
                  <a:pt x="1055" y="388"/>
                </a:lnTo>
                <a:lnTo>
                  <a:pt x="1064" y="383"/>
                </a:lnTo>
                <a:lnTo>
                  <a:pt x="1072" y="377"/>
                </a:lnTo>
                <a:lnTo>
                  <a:pt x="1079" y="369"/>
                </a:lnTo>
                <a:lnTo>
                  <a:pt x="1085" y="360"/>
                </a:lnTo>
                <a:lnTo>
                  <a:pt x="1094" y="344"/>
                </a:lnTo>
                <a:lnTo>
                  <a:pt x="1098" y="332"/>
                </a:lnTo>
                <a:lnTo>
                  <a:pt x="1101" y="327"/>
                </a:lnTo>
                <a:lnTo>
                  <a:pt x="1103" y="325"/>
                </a:lnTo>
                <a:lnTo>
                  <a:pt x="1105" y="322"/>
                </a:lnTo>
                <a:lnTo>
                  <a:pt x="1109" y="321"/>
                </a:lnTo>
                <a:lnTo>
                  <a:pt x="1115" y="321"/>
                </a:lnTo>
                <a:lnTo>
                  <a:pt x="1118" y="319"/>
                </a:lnTo>
                <a:lnTo>
                  <a:pt x="1121" y="313"/>
                </a:lnTo>
                <a:lnTo>
                  <a:pt x="1121" y="305"/>
                </a:lnTo>
                <a:lnTo>
                  <a:pt x="1118" y="292"/>
                </a:lnTo>
                <a:lnTo>
                  <a:pt x="1115" y="278"/>
                </a:lnTo>
                <a:lnTo>
                  <a:pt x="1111" y="267"/>
                </a:lnTo>
                <a:lnTo>
                  <a:pt x="1108" y="257"/>
                </a:lnTo>
                <a:lnTo>
                  <a:pt x="1107" y="251"/>
                </a:lnTo>
                <a:lnTo>
                  <a:pt x="1107" y="246"/>
                </a:lnTo>
                <a:lnTo>
                  <a:pt x="1108" y="244"/>
                </a:lnTo>
                <a:lnTo>
                  <a:pt x="1109" y="242"/>
                </a:lnTo>
                <a:lnTo>
                  <a:pt x="1113" y="240"/>
                </a:lnTo>
                <a:lnTo>
                  <a:pt x="1116" y="239"/>
                </a:lnTo>
                <a:lnTo>
                  <a:pt x="1124" y="236"/>
                </a:lnTo>
                <a:lnTo>
                  <a:pt x="1129" y="232"/>
                </a:lnTo>
                <a:lnTo>
                  <a:pt x="1130" y="230"/>
                </a:lnTo>
                <a:lnTo>
                  <a:pt x="1132" y="226"/>
                </a:lnTo>
                <a:lnTo>
                  <a:pt x="1130" y="224"/>
                </a:lnTo>
                <a:lnTo>
                  <a:pt x="1129" y="219"/>
                </a:lnTo>
                <a:lnTo>
                  <a:pt x="1127" y="211"/>
                </a:lnTo>
                <a:lnTo>
                  <a:pt x="1123" y="200"/>
                </a:lnTo>
                <a:lnTo>
                  <a:pt x="1121" y="190"/>
                </a:lnTo>
                <a:lnTo>
                  <a:pt x="1120" y="182"/>
                </a:lnTo>
                <a:lnTo>
                  <a:pt x="1121" y="176"/>
                </a:lnTo>
                <a:lnTo>
                  <a:pt x="1123" y="171"/>
                </a:lnTo>
                <a:lnTo>
                  <a:pt x="1124" y="169"/>
                </a:lnTo>
                <a:lnTo>
                  <a:pt x="1127" y="168"/>
                </a:lnTo>
                <a:lnTo>
                  <a:pt x="1130" y="168"/>
                </a:lnTo>
                <a:lnTo>
                  <a:pt x="1133" y="167"/>
                </a:lnTo>
                <a:lnTo>
                  <a:pt x="1136" y="167"/>
                </a:lnTo>
                <a:lnTo>
                  <a:pt x="1139" y="166"/>
                </a:lnTo>
                <a:lnTo>
                  <a:pt x="1140" y="163"/>
                </a:lnTo>
                <a:lnTo>
                  <a:pt x="1141" y="161"/>
                </a:lnTo>
                <a:lnTo>
                  <a:pt x="1140" y="155"/>
                </a:lnTo>
                <a:lnTo>
                  <a:pt x="1136" y="148"/>
                </a:lnTo>
                <a:lnTo>
                  <a:pt x="1135" y="145"/>
                </a:lnTo>
                <a:lnTo>
                  <a:pt x="1134" y="141"/>
                </a:lnTo>
                <a:lnTo>
                  <a:pt x="1133" y="136"/>
                </a:lnTo>
                <a:lnTo>
                  <a:pt x="1133" y="130"/>
                </a:lnTo>
                <a:lnTo>
                  <a:pt x="1133" y="116"/>
                </a:lnTo>
                <a:lnTo>
                  <a:pt x="1135" y="100"/>
                </a:lnTo>
                <a:lnTo>
                  <a:pt x="1136" y="84"/>
                </a:lnTo>
                <a:lnTo>
                  <a:pt x="1139" y="64"/>
                </a:lnTo>
                <a:lnTo>
                  <a:pt x="1141" y="48"/>
                </a:lnTo>
                <a:lnTo>
                  <a:pt x="1143" y="32"/>
                </a:lnTo>
                <a:lnTo>
                  <a:pt x="1146" y="21"/>
                </a:lnTo>
                <a:lnTo>
                  <a:pt x="1147" y="12"/>
                </a:lnTo>
                <a:lnTo>
                  <a:pt x="1149" y="10"/>
                </a:lnTo>
                <a:lnTo>
                  <a:pt x="1152" y="9"/>
                </a:lnTo>
                <a:lnTo>
                  <a:pt x="1157" y="7"/>
                </a:lnTo>
                <a:lnTo>
                  <a:pt x="1164" y="6"/>
                </a:lnTo>
                <a:lnTo>
                  <a:pt x="1174" y="4"/>
                </a:lnTo>
                <a:lnTo>
                  <a:pt x="1185" y="1"/>
                </a:lnTo>
                <a:lnTo>
                  <a:pt x="1195" y="0"/>
                </a:lnTo>
                <a:lnTo>
                  <a:pt x="1204" y="0"/>
                </a:lnTo>
                <a:lnTo>
                  <a:pt x="1214" y="1"/>
                </a:lnTo>
                <a:lnTo>
                  <a:pt x="1221" y="4"/>
                </a:lnTo>
                <a:lnTo>
                  <a:pt x="1229" y="6"/>
                </a:lnTo>
                <a:lnTo>
                  <a:pt x="1240" y="7"/>
                </a:lnTo>
                <a:lnTo>
                  <a:pt x="1253" y="7"/>
                </a:lnTo>
                <a:lnTo>
                  <a:pt x="1266" y="7"/>
                </a:lnTo>
                <a:lnTo>
                  <a:pt x="1273" y="7"/>
                </a:lnTo>
                <a:lnTo>
                  <a:pt x="1279" y="9"/>
                </a:lnTo>
                <a:lnTo>
                  <a:pt x="1286" y="11"/>
                </a:lnTo>
                <a:lnTo>
                  <a:pt x="1292" y="13"/>
                </a:lnTo>
                <a:lnTo>
                  <a:pt x="1304" y="21"/>
                </a:lnTo>
                <a:lnTo>
                  <a:pt x="1313" y="28"/>
                </a:lnTo>
                <a:lnTo>
                  <a:pt x="1318" y="31"/>
                </a:lnTo>
                <a:lnTo>
                  <a:pt x="1324" y="32"/>
                </a:lnTo>
                <a:lnTo>
                  <a:pt x="1330" y="31"/>
                </a:lnTo>
                <a:lnTo>
                  <a:pt x="1336" y="31"/>
                </a:lnTo>
                <a:lnTo>
                  <a:pt x="1342" y="30"/>
                </a:lnTo>
                <a:lnTo>
                  <a:pt x="1348" y="29"/>
                </a:lnTo>
                <a:lnTo>
                  <a:pt x="1354" y="30"/>
                </a:lnTo>
                <a:lnTo>
                  <a:pt x="1357" y="31"/>
                </a:lnTo>
                <a:lnTo>
                  <a:pt x="1367" y="38"/>
                </a:lnTo>
                <a:lnTo>
                  <a:pt x="1379" y="47"/>
                </a:lnTo>
                <a:lnTo>
                  <a:pt x="1393" y="56"/>
                </a:lnTo>
                <a:lnTo>
                  <a:pt x="1407" y="64"/>
                </a:lnTo>
                <a:lnTo>
                  <a:pt x="1417" y="70"/>
                </a:lnTo>
                <a:lnTo>
                  <a:pt x="1425" y="74"/>
                </a:lnTo>
                <a:lnTo>
                  <a:pt x="1434" y="78"/>
                </a:lnTo>
                <a:lnTo>
                  <a:pt x="1441" y="79"/>
                </a:lnTo>
                <a:lnTo>
                  <a:pt x="1457" y="81"/>
                </a:lnTo>
                <a:lnTo>
                  <a:pt x="1479" y="81"/>
                </a:lnTo>
                <a:lnTo>
                  <a:pt x="1504" y="81"/>
                </a:lnTo>
                <a:lnTo>
                  <a:pt x="1529" y="82"/>
                </a:lnTo>
                <a:lnTo>
                  <a:pt x="1539" y="84"/>
                </a:lnTo>
                <a:lnTo>
                  <a:pt x="1549" y="85"/>
                </a:lnTo>
                <a:lnTo>
                  <a:pt x="1556" y="86"/>
                </a:lnTo>
                <a:lnTo>
                  <a:pt x="1563" y="88"/>
                </a:lnTo>
                <a:lnTo>
                  <a:pt x="1569" y="91"/>
                </a:lnTo>
                <a:lnTo>
                  <a:pt x="1574" y="92"/>
                </a:lnTo>
                <a:lnTo>
                  <a:pt x="1580" y="93"/>
                </a:lnTo>
                <a:lnTo>
                  <a:pt x="1584" y="93"/>
                </a:lnTo>
                <a:lnTo>
                  <a:pt x="1589" y="92"/>
                </a:lnTo>
                <a:lnTo>
                  <a:pt x="1594" y="89"/>
                </a:lnTo>
                <a:lnTo>
                  <a:pt x="1598" y="87"/>
                </a:lnTo>
                <a:lnTo>
                  <a:pt x="1600" y="82"/>
                </a:lnTo>
                <a:lnTo>
                  <a:pt x="1606" y="72"/>
                </a:lnTo>
                <a:lnTo>
                  <a:pt x="1613" y="61"/>
                </a:lnTo>
                <a:lnTo>
                  <a:pt x="1619" y="55"/>
                </a:lnTo>
                <a:lnTo>
                  <a:pt x="1625" y="50"/>
                </a:lnTo>
                <a:lnTo>
                  <a:pt x="1631" y="47"/>
                </a:lnTo>
                <a:lnTo>
                  <a:pt x="1639" y="45"/>
                </a:lnTo>
                <a:lnTo>
                  <a:pt x="1647" y="47"/>
                </a:lnTo>
                <a:lnTo>
                  <a:pt x="1655" y="49"/>
                </a:lnTo>
                <a:lnTo>
                  <a:pt x="1661" y="53"/>
                </a:lnTo>
                <a:lnTo>
                  <a:pt x="1667" y="57"/>
                </a:lnTo>
                <a:lnTo>
                  <a:pt x="1675" y="68"/>
                </a:lnTo>
                <a:lnTo>
                  <a:pt x="1682" y="78"/>
                </a:lnTo>
                <a:lnTo>
                  <a:pt x="1686" y="82"/>
                </a:lnTo>
                <a:lnTo>
                  <a:pt x="1689" y="85"/>
                </a:lnTo>
                <a:lnTo>
                  <a:pt x="1694" y="87"/>
                </a:lnTo>
                <a:lnTo>
                  <a:pt x="1699" y="89"/>
                </a:lnTo>
                <a:lnTo>
                  <a:pt x="1703" y="89"/>
                </a:lnTo>
                <a:lnTo>
                  <a:pt x="1708" y="88"/>
                </a:lnTo>
                <a:lnTo>
                  <a:pt x="1712" y="87"/>
                </a:lnTo>
                <a:lnTo>
                  <a:pt x="1716" y="85"/>
                </a:lnTo>
                <a:lnTo>
                  <a:pt x="1724" y="78"/>
                </a:lnTo>
                <a:lnTo>
                  <a:pt x="1733" y="69"/>
                </a:lnTo>
                <a:lnTo>
                  <a:pt x="1738" y="66"/>
                </a:lnTo>
                <a:lnTo>
                  <a:pt x="1743" y="63"/>
                </a:lnTo>
                <a:lnTo>
                  <a:pt x="1747" y="62"/>
                </a:lnTo>
                <a:lnTo>
                  <a:pt x="1751" y="63"/>
                </a:lnTo>
                <a:lnTo>
                  <a:pt x="1751" y="69"/>
                </a:lnTo>
                <a:lnTo>
                  <a:pt x="1750" y="81"/>
                </a:lnTo>
                <a:lnTo>
                  <a:pt x="1747" y="93"/>
                </a:lnTo>
                <a:lnTo>
                  <a:pt x="1746" y="99"/>
                </a:lnTo>
                <a:lnTo>
                  <a:pt x="1744" y="107"/>
                </a:lnTo>
                <a:lnTo>
                  <a:pt x="1741" y="117"/>
                </a:lnTo>
                <a:lnTo>
                  <a:pt x="1738" y="122"/>
                </a:lnTo>
                <a:lnTo>
                  <a:pt x="1734" y="126"/>
                </a:lnTo>
                <a:lnTo>
                  <a:pt x="1731" y="130"/>
                </a:lnTo>
                <a:lnTo>
                  <a:pt x="1728" y="133"/>
                </a:lnTo>
                <a:lnTo>
                  <a:pt x="1719" y="141"/>
                </a:lnTo>
                <a:lnTo>
                  <a:pt x="1710" y="148"/>
                </a:lnTo>
                <a:lnTo>
                  <a:pt x="1708" y="152"/>
                </a:lnTo>
                <a:lnTo>
                  <a:pt x="1706" y="158"/>
                </a:lnTo>
                <a:lnTo>
                  <a:pt x="1705" y="166"/>
                </a:lnTo>
                <a:lnTo>
                  <a:pt x="1703" y="173"/>
                </a:lnTo>
                <a:lnTo>
                  <a:pt x="1703" y="189"/>
                </a:lnTo>
                <a:lnTo>
                  <a:pt x="1702" y="204"/>
                </a:lnTo>
                <a:lnTo>
                  <a:pt x="1702" y="206"/>
                </a:lnTo>
                <a:lnTo>
                  <a:pt x="1703" y="208"/>
                </a:lnTo>
                <a:lnTo>
                  <a:pt x="1705" y="211"/>
                </a:lnTo>
                <a:lnTo>
                  <a:pt x="1706" y="212"/>
                </a:lnTo>
                <a:lnTo>
                  <a:pt x="1710" y="214"/>
                </a:lnTo>
                <a:lnTo>
                  <a:pt x="1715" y="214"/>
                </a:lnTo>
                <a:lnTo>
                  <a:pt x="1721" y="213"/>
                </a:lnTo>
                <a:lnTo>
                  <a:pt x="1726" y="209"/>
                </a:lnTo>
                <a:lnTo>
                  <a:pt x="1730" y="205"/>
                </a:lnTo>
                <a:lnTo>
                  <a:pt x="1733" y="198"/>
                </a:lnTo>
                <a:lnTo>
                  <a:pt x="1734" y="188"/>
                </a:lnTo>
                <a:lnTo>
                  <a:pt x="1733" y="179"/>
                </a:lnTo>
                <a:lnTo>
                  <a:pt x="1732" y="169"/>
                </a:lnTo>
                <a:lnTo>
                  <a:pt x="1732" y="161"/>
                </a:lnTo>
                <a:lnTo>
                  <a:pt x="1733" y="156"/>
                </a:lnTo>
                <a:lnTo>
                  <a:pt x="1737" y="151"/>
                </a:lnTo>
                <a:lnTo>
                  <a:pt x="1739" y="150"/>
                </a:lnTo>
                <a:lnTo>
                  <a:pt x="1741" y="149"/>
                </a:lnTo>
                <a:lnTo>
                  <a:pt x="1744" y="149"/>
                </a:lnTo>
                <a:lnTo>
                  <a:pt x="1746" y="150"/>
                </a:lnTo>
                <a:lnTo>
                  <a:pt x="1758" y="156"/>
                </a:lnTo>
                <a:lnTo>
                  <a:pt x="1772" y="163"/>
                </a:lnTo>
                <a:lnTo>
                  <a:pt x="1778" y="166"/>
                </a:lnTo>
                <a:lnTo>
                  <a:pt x="1784" y="168"/>
                </a:lnTo>
                <a:lnTo>
                  <a:pt x="1789" y="168"/>
                </a:lnTo>
                <a:lnTo>
                  <a:pt x="1794" y="166"/>
                </a:lnTo>
                <a:lnTo>
                  <a:pt x="1802" y="158"/>
                </a:lnTo>
                <a:lnTo>
                  <a:pt x="1815" y="149"/>
                </a:lnTo>
                <a:lnTo>
                  <a:pt x="1832" y="138"/>
                </a:lnTo>
                <a:lnTo>
                  <a:pt x="1853" y="127"/>
                </a:lnTo>
                <a:lnTo>
                  <a:pt x="1873" y="119"/>
                </a:lnTo>
                <a:lnTo>
                  <a:pt x="1889" y="112"/>
                </a:lnTo>
                <a:lnTo>
                  <a:pt x="1903" y="105"/>
                </a:lnTo>
                <a:lnTo>
                  <a:pt x="1917" y="98"/>
                </a:lnTo>
                <a:lnTo>
                  <a:pt x="1932" y="89"/>
                </a:lnTo>
                <a:lnTo>
                  <a:pt x="1942" y="85"/>
                </a:lnTo>
                <a:lnTo>
                  <a:pt x="1951" y="82"/>
                </a:lnTo>
                <a:lnTo>
                  <a:pt x="1955" y="82"/>
                </a:lnTo>
                <a:lnTo>
                  <a:pt x="1958" y="84"/>
                </a:lnTo>
                <a:lnTo>
                  <a:pt x="1959" y="84"/>
                </a:lnTo>
                <a:lnTo>
                  <a:pt x="1959" y="86"/>
                </a:lnTo>
                <a:lnTo>
                  <a:pt x="1959" y="87"/>
                </a:lnTo>
                <a:lnTo>
                  <a:pt x="1958" y="97"/>
                </a:lnTo>
                <a:lnTo>
                  <a:pt x="1953" y="110"/>
                </a:lnTo>
                <a:lnTo>
                  <a:pt x="1951" y="117"/>
                </a:lnTo>
                <a:lnTo>
                  <a:pt x="1946" y="122"/>
                </a:lnTo>
                <a:lnTo>
                  <a:pt x="1941" y="125"/>
                </a:lnTo>
                <a:lnTo>
                  <a:pt x="1935" y="129"/>
                </a:lnTo>
                <a:lnTo>
                  <a:pt x="1922" y="132"/>
                </a:lnTo>
                <a:lnTo>
                  <a:pt x="1910" y="133"/>
                </a:lnTo>
                <a:lnTo>
                  <a:pt x="1905" y="136"/>
                </a:lnTo>
                <a:lnTo>
                  <a:pt x="1902" y="138"/>
                </a:lnTo>
                <a:lnTo>
                  <a:pt x="1898" y="141"/>
                </a:lnTo>
                <a:lnTo>
                  <a:pt x="1895" y="145"/>
                </a:lnTo>
                <a:lnTo>
                  <a:pt x="1891" y="150"/>
                </a:lnTo>
                <a:lnTo>
                  <a:pt x="1890" y="156"/>
                </a:lnTo>
                <a:lnTo>
                  <a:pt x="1888" y="162"/>
                </a:lnTo>
                <a:lnTo>
                  <a:pt x="1886" y="169"/>
                </a:lnTo>
                <a:lnTo>
                  <a:pt x="1885" y="175"/>
                </a:lnTo>
                <a:lnTo>
                  <a:pt x="1882" y="179"/>
                </a:lnTo>
                <a:lnTo>
                  <a:pt x="1879" y="182"/>
                </a:lnTo>
                <a:lnTo>
                  <a:pt x="1875" y="185"/>
                </a:lnTo>
                <a:lnTo>
                  <a:pt x="1865" y="187"/>
                </a:lnTo>
                <a:lnTo>
                  <a:pt x="1856" y="187"/>
                </a:lnTo>
                <a:lnTo>
                  <a:pt x="1851" y="188"/>
                </a:lnTo>
                <a:lnTo>
                  <a:pt x="1846" y="192"/>
                </a:lnTo>
                <a:lnTo>
                  <a:pt x="1842" y="196"/>
                </a:lnTo>
                <a:lnTo>
                  <a:pt x="1839" y="202"/>
                </a:lnTo>
                <a:lnTo>
                  <a:pt x="1832" y="215"/>
                </a:lnTo>
                <a:lnTo>
                  <a:pt x="1827" y="227"/>
                </a:lnTo>
                <a:lnTo>
                  <a:pt x="1825" y="232"/>
                </a:lnTo>
                <a:lnTo>
                  <a:pt x="1822" y="236"/>
                </a:lnTo>
                <a:lnTo>
                  <a:pt x="1820" y="239"/>
                </a:lnTo>
                <a:lnTo>
                  <a:pt x="1816" y="240"/>
                </a:lnTo>
                <a:lnTo>
                  <a:pt x="1808" y="243"/>
                </a:lnTo>
                <a:lnTo>
                  <a:pt x="1798" y="242"/>
                </a:lnTo>
                <a:lnTo>
                  <a:pt x="1794" y="242"/>
                </a:lnTo>
                <a:lnTo>
                  <a:pt x="1788" y="243"/>
                </a:lnTo>
                <a:lnTo>
                  <a:pt x="1783" y="244"/>
                </a:lnTo>
                <a:lnTo>
                  <a:pt x="1778" y="246"/>
                </a:lnTo>
                <a:lnTo>
                  <a:pt x="1769" y="252"/>
                </a:lnTo>
                <a:lnTo>
                  <a:pt x="1762" y="259"/>
                </a:lnTo>
                <a:lnTo>
                  <a:pt x="1746" y="271"/>
                </a:lnTo>
                <a:lnTo>
                  <a:pt x="1733" y="286"/>
                </a:lnTo>
                <a:lnTo>
                  <a:pt x="1727" y="294"/>
                </a:lnTo>
                <a:lnTo>
                  <a:pt x="1722" y="300"/>
                </a:lnTo>
                <a:lnTo>
                  <a:pt x="1718" y="307"/>
                </a:lnTo>
                <a:lnTo>
                  <a:pt x="1713" y="318"/>
                </a:lnTo>
                <a:lnTo>
                  <a:pt x="1709" y="328"/>
                </a:lnTo>
                <a:lnTo>
                  <a:pt x="1708" y="335"/>
                </a:lnTo>
                <a:lnTo>
                  <a:pt x="1709" y="341"/>
                </a:lnTo>
                <a:lnTo>
                  <a:pt x="1710" y="349"/>
                </a:lnTo>
                <a:lnTo>
                  <a:pt x="1710" y="353"/>
                </a:lnTo>
                <a:lnTo>
                  <a:pt x="1709" y="357"/>
                </a:lnTo>
                <a:lnTo>
                  <a:pt x="1706" y="362"/>
                </a:lnTo>
                <a:lnTo>
                  <a:pt x="1701" y="366"/>
                </a:lnTo>
                <a:lnTo>
                  <a:pt x="1690" y="376"/>
                </a:lnTo>
                <a:lnTo>
                  <a:pt x="1682" y="383"/>
                </a:lnTo>
                <a:lnTo>
                  <a:pt x="1675" y="388"/>
                </a:lnTo>
                <a:lnTo>
                  <a:pt x="1670" y="390"/>
                </a:lnTo>
                <a:lnTo>
                  <a:pt x="1665" y="391"/>
                </a:lnTo>
                <a:lnTo>
                  <a:pt x="1659" y="391"/>
                </a:lnTo>
                <a:lnTo>
                  <a:pt x="1655" y="393"/>
                </a:lnTo>
                <a:lnTo>
                  <a:pt x="1646" y="396"/>
                </a:lnTo>
                <a:lnTo>
                  <a:pt x="1638" y="402"/>
                </a:lnTo>
                <a:lnTo>
                  <a:pt x="1626" y="412"/>
                </a:lnTo>
                <a:lnTo>
                  <a:pt x="1621" y="417"/>
                </a:lnTo>
                <a:lnTo>
                  <a:pt x="1618" y="423"/>
                </a:lnTo>
                <a:lnTo>
                  <a:pt x="1615" y="428"/>
                </a:lnTo>
                <a:lnTo>
                  <a:pt x="1614" y="433"/>
                </a:lnTo>
                <a:lnTo>
                  <a:pt x="1612" y="442"/>
                </a:lnTo>
                <a:lnTo>
                  <a:pt x="1608" y="451"/>
                </a:lnTo>
                <a:lnTo>
                  <a:pt x="1600" y="463"/>
                </a:lnTo>
                <a:lnTo>
                  <a:pt x="1587" y="477"/>
                </a:lnTo>
                <a:lnTo>
                  <a:pt x="1573" y="491"/>
                </a:lnTo>
                <a:lnTo>
                  <a:pt x="1563" y="502"/>
                </a:lnTo>
                <a:lnTo>
                  <a:pt x="1560" y="505"/>
                </a:lnTo>
                <a:lnTo>
                  <a:pt x="1557" y="510"/>
                </a:lnTo>
                <a:lnTo>
                  <a:pt x="1556" y="516"/>
                </a:lnTo>
                <a:lnTo>
                  <a:pt x="1556" y="521"/>
                </a:lnTo>
                <a:lnTo>
                  <a:pt x="1556" y="532"/>
                </a:lnTo>
                <a:lnTo>
                  <a:pt x="1556" y="541"/>
                </a:lnTo>
                <a:lnTo>
                  <a:pt x="1555" y="547"/>
                </a:lnTo>
                <a:lnTo>
                  <a:pt x="1554" y="553"/>
                </a:lnTo>
                <a:lnTo>
                  <a:pt x="1551" y="559"/>
                </a:lnTo>
                <a:lnTo>
                  <a:pt x="1549" y="566"/>
                </a:lnTo>
                <a:lnTo>
                  <a:pt x="1548" y="568"/>
                </a:lnTo>
                <a:lnTo>
                  <a:pt x="1546" y="571"/>
                </a:lnTo>
                <a:lnTo>
                  <a:pt x="1546" y="576"/>
                </a:lnTo>
                <a:lnTo>
                  <a:pt x="1550" y="577"/>
                </a:lnTo>
                <a:lnTo>
                  <a:pt x="1557" y="579"/>
                </a:lnTo>
                <a:lnTo>
                  <a:pt x="1568" y="583"/>
                </a:lnTo>
                <a:lnTo>
                  <a:pt x="1580" y="586"/>
                </a:lnTo>
                <a:lnTo>
                  <a:pt x="1590" y="590"/>
                </a:lnTo>
                <a:lnTo>
                  <a:pt x="1600" y="592"/>
                </a:lnTo>
                <a:lnTo>
                  <a:pt x="1606" y="592"/>
                </a:lnTo>
                <a:lnTo>
                  <a:pt x="1611" y="592"/>
                </a:lnTo>
                <a:lnTo>
                  <a:pt x="1614" y="591"/>
                </a:lnTo>
                <a:lnTo>
                  <a:pt x="1619" y="589"/>
                </a:lnTo>
                <a:lnTo>
                  <a:pt x="1626" y="585"/>
                </a:lnTo>
                <a:lnTo>
                  <a:pt x="1633" y="582"/>
                </a:lnTo>
                <a:lnTo>
                  <a:pt x="1638" y="580"/>
                </a:lnTo>
                <a:lnTo>
                  <a:pt x="1643" y="580"/>
                </a:lnTo>
                <a:lnTo>
                  <a:pt x="1646" y="582"/>
                </a:lnTo>
                <a:lnTo>
                  <a:pt x="1651" y="583"/>
                </a:lnTo>
                <a:lnTo>
                  <a:pt x="1656" y="584"/>
                </a:lnTo>
                <a:lnTo>
                  <a:pt x="1659" y="587"/>
                </a:lnTo>
                <a:lnTo>
                  <a:pt x="1663" y="591"/>
                </a:lnTo>
                <a:lnTo>
                  <a:pt x="1668" y="597"/>
                </a:lnTo>
                <a:lnTo>
                  <a:pt x="1675" y="610"/>
                </a:lnTo>
                <a:lnTo>
                  <a:pt x="1683" y="624"/>
                </a:lnTo>
                <a:lnTo>
                  <a:pt x="1688" y="631"/>
                </a:lnTo>
                <a:lnTo>
                  <a:pt x="1693" y="637"/>
                </a:lnTo>
                <a:lnTo>
                  <a:pt x="1699" y="642"/>
                </a:lnTo>
                <a:lnTo>
                  <a:pt x="1705" y="645"/>
                </a:lnTo>
                <a:lnTo>
                  <a:pt x="1719" y="647"/>
                </a:lnTo>
                <a:lnTo>
                  <a:pt x="1734" y="652"/>
                </a:lnTo>
                <a:lnTo>
                  <a:pt x="1741" y="655"/>
                </a:lnTo>
                <a:lnTo>
                  <a:pt x="1747" y="659"/>
                </a:lnTo>
                <a:lnTo>
                  <a:pt x="1752" y="665"/>
                </a:lnTo>
                <a:lnTo>
                  <a:pt x="1756" y="671"/>
                </a:lnTo>
                <a:lnTo>
                  <a:pt x="1759" y="684"/>
                </a:lnTo>
                <a:lnTo>
                  <a:pt x="1763" y="696"/>
                </a:lnTo>
                <a:lnTo>
                  <a:pt x="1768" y="709"/>
                </a:lnTo>
                <a:lnTo>
                  <a:pt x="1772" y="723"/>
                </a:lnTo>
                <a:lnTo>
                  <a:pt x="1777" y="729"/>
                </a:lnTo>
                <a:lnTo>
                  <a:pt x="1781" y="735"/>
                </a:lnTo>
                <a:lnTo>
                  <a:pt x="1785" y="740"/>
                </a:lnTo>
                <a:lnTo>
                  <a:pt x="1791" y="743"/>
                </a:lnTo>
                <a:lnTo>
                  <a:pt x="1797" y="747"/>
                </a:lnTo>
                <a:lnTo>
                  <a:pt x="1803" y="749"/>
                </a:lnTo>
                <a:lnTo>
                  <a:pt x="1809" y="750"/>
                </a:lnTo>
                <a:lnTo>
                  <a:pt x="1815" y="750"/>
                </a:lnTo>
                <a:lnTo>
                  <a:pt x="1832" y="750"/>
                </a:lnTo>
                <a:lnTo>
                  <a:pt x="1853" y="749"/>
                </a:lnTo>
                <a:lnTo>
                  <a:pt x="1875" y="748"/>
                </a:lnTo>
                <a:lnTo>
                  <a:pt x="1891" y="749"/>
                </a:lnTo>
                <a:lnTo>
                  <a:pt x="1903" y="750"/>
                </a:lnTo>
                <a:lnTo>
                  <a:pt x="1913" y="750"/>
                </a:lnTo>
                <a:lnTo>
                  <a:pt x="1921" y="748"/>
                </a:lnTo>
                <a:lnTo>
                  <a:pt x="1930" y="743"/>
                </a:lnTo>
                <a:lnTo>
                  <a:pt x="1942" y="737"/>
                </a:lnTo>
                <a:lnTo>
                  <a:pt x="1958" y="732"/>
                </a:lnTo>
                <a:lnTo>
                  <a:pt x="1965" y="731"/>
                </a:lnTo>
                <a:lnTo>
                  <a:pt x="1973" y="731"/>
                </a:lnTo>
                <a:lnTo>
                  <a:pt x="1980" y="731"/>
                </a:lnTo>
                <a:lnTo>
                  <a:pt x="1986" y="732"/>
                </a:lnTo>
                <a:lnTo>
                  <a:pt x="1998" y="736"/>
                </a:lnTo>
                <a:lnTo>
                  <a:pt x="2011" y="742"/>
                </a:lnTo>
                <a:lnTo>
                  <a:pt x="2023" y="747"/>
                </a:lnTo>
                <a:lnTo>
                  <a:pt x="2033" y="750"/>
                </a:lnTo>
                <a:lnTo>
                  <a:pt x="2036" y="750"/>
                </a:lnTo>
                <a:lnTo>
                  <a:pt x="2039" y="751"/>
                </a:lnTo>
                <a:lnTo>
                  <a:pt x="2041" y="753"/>
                </a:lnTo>
                <a:lnTo>
                  <a:pt x="2041" y="755"/>
                </a:lnTo>
                <a:lnTo>
                  <a:pt x="2040" y="760"/>
                </a:lnTo>
                <a:lnTo>
                  <a:pt x="2036" y="769"/>
                </a:lnTo>
                <a:lnTo>
                  <a:pt x="2033" y="780"/>
                </a:lnTo>
                <a:lnTo>
                  <a:pt x="2031" y="788"/>
                </a:lnTo>
                <a:lnTo>
                  <a:pt x="2033" y="794"/>
                </a:lnTo>
                <a:lnTo>
                  <a:pt x="2035" y="801"/>
                </a:lnTo>
                <a:lnTo>
                  <a:pt x="2037" y="809"/>
                </a:lnTo>
                <a:lnTo>
                  <a:pt x="2042" y="816"/>
                </a:lnTo>
                <a:lnTo>
                  <a:pt x="2047" y="822"/>
                </a:lnTo>
                <a:lnTo>
                  <a:pt x="2052" y="828"/>
                </a:lnTo>
                <a:lnTo>
                  <a:pt x="2056" y="831"/>
                </a:lnTo>
                <a:lnTo>
                  <a:pt x="2061" y="834"/>
                </a:lnTo>
                <a:lnTo>
                  <a:pt x="2066" y="835"/>
                </a:lnTo>
                <a:lnTo>
                  <a:pt x="2072" y="837"/>
                </a:lnTo>
                <a:lnTo>
                  <a:pt x="2077" y="841"/>
                </a:lnTo>
                <a:lnTo>
                  <a:pt x="2081" y="844"/>
                </a:lnTo>
                <a:lnTo>
                  <a:pt x="2091" y="853"/>
                </a:lnTo>
                <a:lnTo>
                  <a:pt x="2099" y="864"/>
                </a:lnTo>
                <a:lnTo>
                  <a:pt x="2104" y="869"/>
                </a:lnTo>
                <a:lnTo>
                  <a:pt x="2110" y="872"/>
                </a:lnTo>
                <a:lnTo>
                  <a:pt x="2116" y="873"/>
                </a:lnTo>
                <a:lnTo>
                  <a:pt x="2123" y="873"/>
                </a:lnTo>
                <a:lnTo>
                  <a:pt x="2137" y="869"/>
                </a:lnTo>
                <a:lnTo>
                  <a:pt x="2150" y="864"/>
                </a:lnTo>
                <a:lnTo>
                  <a:pt x="2155" y="862"/>
                </a:lnTo>
                <a:lnTo>
                  <a:pt x="2159" y="860"/>
                </a:lnTo>
                <a:lnTo>
                  <a:pt x="2162" y="860"/>
                </a:lnTo>
                <a:lnTo>
                  <a:pt x="2165" y="860"/>
                </a:lnTo>
                <a:lnTo>
                  <a:pt x="2167" y="863"/>
                </a:lnTo>
                <a:lnTo>
                  <a:pt x="2168" y="867"/>
                </a:lnTo>
                <a:lnTo>
                  <a:pt x="2168" y="874"/>
                </a:lnTo>
                <a:lnTo>
                  <a:pt x="2167" y="885"/>
                </a:lnTo>
                <a:lnTo>
                  <a:pt x="2167" y="896"/>
                </a:lnTo>
                <a:lnTo>
                  <a:pt x="2167" y="907"/>
                </a:lnTo>
                <a:lnTo>
                  <a:pt x="2169" y="917"/>
                </a:lnTo>
                <a:lnTo>
                  <a:pt x="2172" y="926"/>
                </a:lnTo>
                <a:lnTo>
                  <a:pt x="2174" y="936"/>
                </a:lnTo>
                <a:lnTo>
                  <a:pt x="2179" y="944"/>
                </a:lnTo>
                <a:lnTo>
                  <a:pt x="2185" y="950"/>
                </a:lnTo>
                <a:lnTo>
                  <a:pt x="2191" y="956"/>
                </a:lnTo>
                <a:lnTo>
                  <a:pt x="2198" y="962"/>
                </a:lnTo>
                <a:lnTo>
                  <a:pt x="2203" y="968"/>
                </a:lnTo>
                <a:lnTo>
                  <a:pt x="2206" y="974"/>
                </a:lnTo>
                <a:lnTo>
                  <a:pt x="2209" y="981"/>
                </a:lnTo>
                <a:lnTo>
                  <a:pt x="2212" y="994"/>
                </a:lnTo>
                <a:lnTo>
                  <a:pt x="2213" y="1009"/>
                </a:lnTo>
                <a:lnTo>
                  <a:pt x="2215" y="1017"/>
                </a:lnTo>
                <a:lnTo>
                  <a:pt x="2213" y="1021"/>
                </a:lnTo>
                <a:lnTo>
                  <a:pt x="2211" y="1024"/>
                </a:lnTo>
                <a:lnTo>
                  <a:pt x="2209" y="1026"/>
                </a:lnTo>
                <a:lnTo>
                  <a:pt x="2200" y="1027"/>
                </a:lnTo>
                <a:lnTo>
                  <a:pt x="2190" y="1028"/>
                </a:lnTo>
                <a:lnTo>
                  <a:pt x="2182" y="1031"/>
                </a:lnTo>
                <a:lnTo>
                  <a:pt x="2175" y="1034"/>
                </a:lnTo>
                <a:lnTo>
                  <a:pt x="2167" y="1038"/>
                </a:lnTo>
                <a:lnTo>
                  <a:pt x="2159" y="1044"/>
                </a:lnTo>
                <a:lnTo>
                  <a:pt x="2152" y="1050"/>
                </a:lnTo>
                <a:lnTo>
                  <a:pt x="2144" y="1055"/>
                </a:lnTo>
                <a:lnTo>
                  <a:pt x="2140" y="1061"/>
                </a:lnTo>
                <a:lnTo>
                  <a:pt x="2136" y="1066"/>
                </a:lnTo>
                <a:lnTo>
                  <a:pt x="2132" y="1075"/>
                </a:lnTo>
                <a:lnTo>
                  <a:pt x="2128" y="1081"/>
                </a:lnTo>
                <a:lnTo>
                  <a:pt x="2125" y="1083"/>
                </a:lnTo>
                <a:lnTo>
                  <a:pt x="2122" y="1085"/>
                </a:lnTo>
                <a:lnTo>
                  <a:pt x="2117" y="1087"/>
                </a:lnTo>
                <a:lnTo>
                  <a:pt x="2111" y="1089"/>
                </a:lnTo>
                <a:lnTo>
                  <a:pt x="2099" y="1093"/>
                </a:lnTo>
                <a:lnTo>
                  <a:pt x="2089" y="1099"/>
                </a:lnTo>
                <a:lnTo>
                  <a:pt x="2077" y="1105"/>
                </a:lnTo>
                <a:lnTo>
                  <a:pt x="2064" y="1112"/>
                </a:lnTo>
                <a:lnTo>
                  <a:pt x="2056" y="1114"/>
                </a:lnTo>
                <a:lnTo>
                  <a:pt x="2049" y="1115"/>
                </a:lnTo>
                <a:lnTo>
                  <a:pt x="2043" y="1114"/>
                </a:lnTo>
                <a:lnTo>
                  <a:pt x="2037" y="1110"/>
                </a:lnTo>
                <a:lnTo>
                  <a:pt x="2033" y="1107"/>
                </a:lnTo>
                <a:lnTo>
                  <a:pt x="2027" y="1102"/>
                </a:lnTo>
                <a:lnTo>
                  <a:pt x="2023" y="1096"/>
                </a:lnTo>
                <a:lnTo>
                  <a:pt x="2018" y="1091"/>
                </a:lnTo>
                <a:lnTo>
                  <a:pt x="2016" y="1085"/>
                </a:lnTo>
                <a:lnTo>
                  <a:pt x="2014" y="1080"/>
                </a:lnTo>
                <a:lnTo>
                  <a:pt x="2012" y="1075"/>
                </a:lnTo>
                <a:lnTo>
                  <a:pt x="2011" y="1069"/>
                </a:lnTo>
                <a:lnTo>
                  <a:pt x="2009" y="1063"/>
                </a:lnTo>
                <a:lnTo>
                  <a:pt x="2008" y="1058"/>
                </a:lnTo>
                <a:lnTo>
                  <a:pt x="2004" y="1053"/>
                </a:lnTo>
                <a:lnTo>
                  <a:pt x="1999" y="1050"/>
                </a:lnTo>
                <a:lnTo>
                  <a:pt x="1991" y="1044"/>
                </a:lnTo>
                <a:lnTo>
                  <a:pt x="1985" y="1038"/>
                </a:lnTo>
                <a:lnTo>
                  <a:pt x="1980" y="1030"/>
                </a:lnTo>
                <a:lnTo>
                  <a:pt x="1977" y="1018"/>
                </a:lnTo>
                <a:lnTo>
                  <a:pt x="1974" y="1012"/>
                </a:lnTo>
                <a:lnTo>
                  <a:pt x="1972" y="1007"/>
                </a:lnTo>
                <a:lnTo>
                  <a:pt x="1968" y="1002"/>
                </a:lnTo>
                <a:lnTo>
                  <a:pt x="1964" y="1000"/>
                </a:lnTo>
                <a:lnTo>
                  <a:pt x="1955" y="998"/>
                </a:lnTo>
                <a:lnTo>
                  <a:pt x="1948" y="996"/>
                </a:lnTo>
                <a:lnTo>
                  <a:pt x="1941" y="996"/>
                </a:lnTo>
                <a:lnTo>
                  <a:pt x="1934" y="995"/>
                </a:lnTo>
                <a:lnTo>
                  <a:pt x="1927" y="994"/>
                </a:lnTo>
                <a:lnTo>
                  <a:pt x="1921" y="990"/>
                </a:lnTo>
                <a:lnTo>
                  <a:pt x="1916" y="984"/>
                </a:lnTo>
                <a:lnTo>
                  <a:pt x="1910" y="979"/>
                </a:lnTo>
                <a:lnTo>
                  <a:pt x="1905" y="976"/>
                </a:lnTo>
                <a:lnTo>
                  <a:pt x="1901" y="974"/>
                </a:lnTo>
                <a:lnTo>
                  <a:pt x="1895" y="973"/>
                </a:lnTo>
                <a:lnTo>
                  <a:pt x="1886" y="973"/>
                </a:lnTo>
                <a:lnTo>
                  <a:pt x="1877" y="974"/>
                </a:lnTo>
                <a:lnTo>
                  <a:pt x="1869" y="976"/>
                </a:lnTo>
                <a:lnTo>
                  <a:pt x="1860" y="980"/>
                </a:lnTo>
                <a:lnTo>
                  <a:pt x="1853" y="986"/>
                </a:lnTo>
                <a:lnTo>
                  <a:pt x="1847" y="992"/>
                </a:lnTo>
                <a:lnTo>
                  <a:pt x="1841" y="998"/>
                </a:lnTo>
                <a:lnTo>
                  <a:pt x="1837" y="1006"/>
                </a:lnTo>
                <a:lnTo>
                  <a:pt x="1834" y="1014"/>
                </a:lnTo>
                <a:lnTo>
                  <a:pt x="1832" y="1021"/>
                </a:lnTo>
                <a:lnTo>
                  <a:pt x="1831" y="1030"/>
                </a:lnTo>
                <a:lnTo>
                  <a:pt x="1831" y="1037"/>
                </a:lnTo>
                <a:lnTo>
                  <a:pt x="1832" y="1043"/>
                </a:lnTo>
                <a:lnTo>
                  <a:pt x="1834" y="1047"/>
                </a:lnTo>
                <a:lnTo>
                  <a:pt x="1837" y="1052"/>
                </a:lnTo>
                <a:lnTo>
                  <a:pt x="1840" y="1056"/>
                </a:lnTo>
                <a:lnTo>
                  <a:pt x="1844" y="1058"/>
                </a:lnTo>
                <a:lnTo>
                  <a:pt x="1846" y="1061"/>
                </a:lnTo>
                <a:lnTo>
                  <a:pt x="1850" y="1064"/>
                </a:lnTo>
                <a:lnTo>
                  <a:pt x="1851" y="1068"/>
                </a:lnTo>
                <a:lnTo>
                  <a:pt x="1851" y="1071"/>
                </a:lnTo>
                <a:lnTo>
                  <a:pt x="1851" y="1076"/>
                </a:lnTo>
                <a:lnTo>
                  <a:pt x="1850" y="1080"/>
                </a:lnTo>
                <a:lnTo>
                  <a:pt x="1848" y="1084"/>
                </a:lnTo>
                <a:lnTo>
                  <a:pt x="1847" y="1088"/>
                </a:lnTo>
                <a:lnTo>
                  <a:pt x="1842" y="1096"/>
                </a:lnTo>
                <a:lnTo>
                  <a:pt x="1840" y="1103"/>
                </a:lnTo>
                <a:lnTo>
                  <a:pt x="1839" y="1112"/>
                </a:lnTo>
                <a:lnTo>
                  <a:pt x="1840" y="1120"/>
                </a:lnTo>
                <a:lnTo>
                  <a:pt x="1841" y="1132"/>
                </a:lnTo>
                <a:lnTo>
                  <a:pt x="1839" y="1144"/>
                </a:lnTo>
                <a:lnTo>
                  <a:pt x="1839" y="1150"/>
                </a:lnTo>
                <a:lnTo>
                  <a:pt x="1840" y="1154"/>
                </a:lnTo>
                <a:lnTo>
                  <a:pt x="1844" y="1160"/>
                </a:lnTo>
                <a:lnTo>
                  <a:pt x="1847" y="1166"/>
                </a:lnTo>
                <a:lnTo>
                  <a:pt x="1853" y="1175"/>
                </a:lnTo>
                <a:lnTo>
                  <a:pt x="1858" y="1183"/>
                </a:lnTo>
                <a:lnTo>
                  <a:pt x="1860" y="1187"/>
                </a:lnTo>
                <a:lnTo>
                  <a:pt x="1860" y="1189"/>
                </a:lnTo>
                <a:lnTo>
                  <a:pt x="1860" y="1191"/>
                </a:lnTo>
                <a:lnTo>
                  <a:pt x="1860" y="1192"/>
                </a:lnTo>
                <a:lnTo>
                  <a:pt x="1856" y="1192"/>
                </a:lnTo>
                <a:lnTo>
                  <a:pt x="1850" y="1192"/>
                </a:lnTo>
                <a:lnTo>
                  <a:pt x="1839" y="1192"/>
                </a:lnTo>
                <a:lnTo>
                  <a:pt x="1828" y="1194"/>
                </a:lnTo>
                <a:lnTo>
                  <a:pt x="1817" y="1196"/>
                </a:lnTo>
                <a:lnTo>
                  <a:pt x="1807" y="1198"/>
                </a:lnTo>
                <a:lnTo>
                  <a:pt x="1802" y="1201"/>
                </a:lnTo>
                <a:lnTo>
                  <a:pt x="1797" y="1203"/>
                </a:lnTo>
                <a:lnTo>
                  <a:pt x="1793" y="1207"/>
                </a:lnTo>
                <a:lnTo>
                  <a:pt x="1788" y="1211"/>
                </a:lnTo>
                <a:lnTo>
                  <a:pt x="1772" y="1222"/>
                </a:lnTo>
                <a:lnTo>
                  <a:pt x="1763" y="1228"/>
                </a:lnTo>
                <a:lnTo>
                  <a:pt x="1760" y="1232"/>
                </a:lnTo>
                <a:lnTo>
                  <a:pt x="1759" y="1238"/>
                </a:lnTo>
                <a:lnTo>
                  <a:pt x="1759" y="1246"/>
                </a:lnTo>
                <a:lnTo>
                  <a:pt x="1759" y="1254"/>
                </a:lnTo>
                <a:lnTo>
                  <a:pt x="1762" y="1272"/>
                </a:lnTo>
                <a:lnTo>
                  <a:pt x="1765" y="1286"/>
                </a:lnTo>
                <a:lnTo>
                  <a:pt x="1769" y="1298"/>
                </a:lnTo>
                <a:lnTo>
                  <a:pt x="1770" y="1309"/>
                </a:lnTo>
                <a:lnTo>
                  <a:pt x="1769" y="1314"/>
                </a:lnTo>
                <a:lnTo>
                  <a:pt x="1769" y="1317"/>
                </a:lnTo>
                <a:lnTo>
                  <a:pt x="1768" y="1321"/>
                </a:lnTo>
                <a:lnTo>
                  <a:pt x="1765" y="1324"/>
                </a:lnTo>
                <a:lnTo>
                  <a:pt x="1762" y="1329"/>
                </a:lnTo>
                <a:lnTo>
                  <a:pt x="1759" y="1335"/>
                </a:lnTo>
                <a:lnTo>
                  <a:pt x="1758" y="1343"/>
                </a:lnTo>
                <a:lnTo>
                  <a:pt x="1758" y="1352"/>
                </a:lnTo>
                <a:lnTo>
                  <a:pt x="1758" y="1360"/>
                </a:lnTo>
                <a:lnTo>
                  <a:pt x="1758" y="1370"/>
                </a:lnTo>
                <a:lnTo>
                  <a:pt x="1757" y="1374"/>
                </a:lnTo>
                <a:lnTo>
                  <a:pt x="1754" y="1379"/>
                </a:lnTo>
                <a:lnTo>
                  <a:pt x="1751" y="1384"/>
                </a:lnTo>
                <a:lnTo>
                  <a:pt x="1746" y="1387"/>
                </a:lnTo>
                <a:lnTo>
                  <a:pt x="1734" y="1396"/>
                </a:lnTo>
                <a:lnTo>
                  <a:pt x="1721" y="1403"/>
                </a:lnTo>
                <a:lnTo>
                  <a:pt x="1707" y="1409"/>
                </a:lnTo>
                <a:lnTo>
                  <a:pt x="1691" y="1412"/>
                </a:lnTo>
                <a:lnTo>
                  <a:pt x="1683" y="1414"/>
                </a:lnTo>
                <a:lnTo>
                  <a:pt x="1676" y="1414"/>
                </a:lnTo>
                <a:lnTo>
                  <a:pt x="1669" y="1412"/>
                </a:lnTo>
                <a:lnTo>
                  <a:pt x="1662" y="1410"/>
                </a:lnTo>
                <a:lnTo>
                  <a:pt x="1649" y="1405"/>
                </a:lnTo>
                <a:lnTo>
                  <a:pt x="1638" y="1399"/>
                </a:lnTo>
                <a:lnTo>
                  <a:pt x="1633" y="1398"/>
                </a:lnTo>
                <a:lnTo>
                  <a:pt x="1630" y="1398"/>
                </a:lnTo>
                <a:lnTo>
                  <a:pt x="1626" y="1400"/>
                </a:lnTo>
                <a:lnTo>
                  <a:pt x="1625" y="1404"/>
                </a:lnTo>
                <a:lnTo>
                  <a:pt x="1624" y="1409"/>
                </a:lnTo>
                <a:lnTo>
                  <a:pt x="1624" y="1414"/>
                </a:lnTo>
                <a:lnTo>
                  <a:pt x="1624" y="1419"/>
                </a:lnTo>
                <a:lnTo>
                  <a:pt x="1625" y="1425"/>
                </a:lnTo>
                <a:lnTo>
                  <a:pt x="1626" y="1437"/>
                </a:lnTo>
                <a:lnTo>
                  <a:pt x="1626" y="1448"/>
                </a:lnTo>
                <a:lnTo>
                  <a:pt x="1625" y="1460"/>
                </a:lnTo>
                <a:lnTo>
                  <a:pt x="1623" y="1469"/>
                </a:lnTo>
                <a:lnTo>
                  <a:pt x="1621" y="1474"/>
                </a:lnTo>
                <a:lnTo>
                  <a:pt x="1621" y="1479"/>
                </a:lnTo>
                <a:lnTo>
                  <a:pt x="1623" y="1485"/>
                </a:lnTo>
                <a:lnTo>
                  <a:pt x="1624" y="1490"/>
                </a:lnTo>
                <a:lnTo>
                  <a:pt x="1626" y="1494"/>
                </a:lnTo>
                <a:lnTo>
                  <a:pt x="1631" y="1498"/>
                </a:lnTo>
                <a:lnTo>
                  <a:pt x="1636" y="1500"/>
                </a:lnTo>
                <a:lnTo>
                  <a:pt x="1642" y="1503"/>
                </a:lnTo>
                <a:lnTo>
                  <a:pt x="1649" y="1503"/>
                </a:lnTo>
                <a:lnTo>
                  <a:pt x="1653" y="1501"/>
                </a:lnTo>
                <a:lnTo>
                  <a:pt x="1658" y="1500"/>
                </a:lnTo>
                <a:lnTo>
                  <a:pt x="1663" y="1498"/>
                </a:lnTo>
                <a:lnTo>
                  <a:pt x="1670" y="1494"/>
                </a:lnTo>
                <a:lnTo>
                  <a:pt x="1678" y="1491"/>
                </a:lnTo>
                <a:lnTo>
                  <a:pt x="1683" y="1491"/>
                </a:lnTo>
                <a:lnTo>
                  <a:pt x="1688" y="1492"/>
                </a:lnTo>
                <a:lnTo>
                  <a:pt x="1693" y="1494"/>
                </a:lnTo>
                <a:lnTo>
                  <a:pt x="1697" y="1497"/>
                </a:lnTo>
                <a:lnTo>
                  <a:pt x="1707" y="1503"/>
                </a:lnTo>
                <a:lnTo>
                  <a:pt x="1714" y="1510"/>
                </a:lnTo>
                <a:lnTo>
                  <a:pt x="1718" y="1516"/>
                </a:lnTo>
                <a:lnTo>
                  <a:pt x="1721" y="1524"/>
                </a:lnTo>
                <a:lnTo>
                  <a:pt x="1722" y="1535"/>
                </a:lnTo>
                <a:lnTo>
                  <a:pt x="1721" y="1547"/>
                </a:lnTo>
                <a:lnTo>
                  <a:pt x="1719" y="1563"/>
                </a:lnTo>
                <a:lnTo>
                  <a:pt x="1715" y="1581"/>
                </a:lnTo>
                <a:lnTo>
                  <a:pt x="1712" y="1592"/>
                </a:lnTo>
                <a:lnTo>
                  <a:pt x="1712" y="1597"/>
                </a:lnTo>
                <a:lnTo>
                  <a:pt x="1715" y="1598"/>
                </a:lnTo>
                <a:lnTo>
                  <a:pt x="1721" y="1599"/>
                </a:lnTo>
                <a:lnTo>
                  <a:pt x="1724" y="1601"/>
                </a:lnTo>
                <a:lnTo>
                  <a:pt x="1726" y="1604"/>
                </a:lnTo>
                <a:lnTo>
                  <a:pt x="1727" y="1606"/>
                </a:lnTo>
                <a:lnTo>
                  <a:pt x="1727" y="1611"/>
                </a:lnTo>
                <a:lnTo>
                  <a:pt x="1727" y="1618"/>
                </a:lnTo>
                <a:lnTo>
                  <a:pt x="1730" y="1624"/>
                </a:lnTo>
                <a:lnTo>
                  <a:pt x="1731" y="1626"/>
                </a:lnTo>
                <a:lnTo>
                  <a:pt x="1733" y="1629"/>
                </a:lnTo>
                <a:lnTo>
                  <a:pt x="1737" y="1629"/>
                </a:lnTo>
                <a:lnTo>
                  <a:pt x="1740" y="1630"/>
                </a:lnTo>
                <a:lnTo>
                  <a:pt x="1749" y="1630"/>
                </a:lnTo>
                <a:lnTo>
                  <a:pt x="1753" y="1631"/>
                </a:lnTo>
                <a:lnTo>
                  <a:pt x="1756" y="1632"/>
                </a:lnTo>
                <a:lnTo>
                  <a:pt x="1758" y="1636"/>
                </a:lnTo>
                <a:lnTo>
                  <a:pt x="1760" y="1639"/>
                </a:lnTo>
                <a:lnTo>
                  <a:pt x="1764" y="1643"/>
                </a:lnTo>
                <a:lnTo>
                  <a:pt x="1766" y="1644"/>
                </a:lnTo>
                <a:lnTo>
                  <a:pt x="1770" y="1645"/>
                </a:lnTo>
                <a:lnTo>
                  <a:pt x="1773" y="1645"/>
                </a:lnTo>
                <a:lnTo>
                  <a:pt x="1778" y="1644"/>
                </a:lnTo>
                <a:lnTo>
                  <a:pt x="1788" y="1642"/>
                </a:lnTo>
                <a:lnTo>
                  <a:pt x="1798" y="1641"/>
                </a:lnTo>
                <a:lnTo>
                  <a:pt x="1803" y="1642"/>
                </a:lnTo>
                <a:lnTo>
                  <a:pt x="1809" y="1643"/>
                </a:lnTo>
                <a:lnTo>
                  <a:pt x="1814" y="1645"/>
                </a:lnTo>
                <a:lnTo>
                  <a:pt x="1820" y="1649"/>
                </a:lnTo>
                <a:lnTo>
                  <a:pt x="1829" y="1661"/>
                </a:lnTo>
                <a:lnTo>
                  <a:pt x="1839" y="1673"/>
                </a:lnTo>
                <a:lnTo>
                  <a:pt x="1848" y="1683"/>
                </a:lnTo>
                <a:lnTo>
                  <a:pt x="1854" y="1692"/>
                </a:lnTo>
                <a:lnTo>
                  <a:pt x="1859" y="1695"/>
                </a:lnTo>
                <a:lnTo>
                  <a:pt x="1864" y="1696"/>
                </a:lnTo>
                <a:lnTo>
                  <a:pt x="1871" y="1699"/>
                </a:lnTo>
                <a:lnTo>
                  <a:pt x="1877" y="1700"/>
                </a:lnTo>
                <a:lnTo>
                  <a:pt x="1884" y="1699"/>
                </a:lnTo>
                <a:lnTo>
                  <a:pt x="1891" y="1698"/>
                </a:lnTo>
                <a:lnTo>
                  <a:pt x="1896" y="1695"/>
                </a:lnTo>
                <a:lnTo>
                  <a:pt x="1901" y="1692"/>
                </a:lnTo>
                <a:lnTo>
                  <a:pt x="1905" y="1683"/>
                </a:lnTo>
                <a:lnTo>
                  <a:pt x="1909" y="1675"/>
                </a:lnTo>
                <a:lnTo>
                  <a:pt x="1910" y="1671"/>
                </a:lnTo>
                <a:lnTo>
                  <a:pt x="1913" y="1669"/>
                </a:lnTo>
                <a:lnTo>
                  <a:pt x="1916" y="1667"/>
                </a:lnTo>
                <a:lnTo>
                  <a:pt x="1920" y="1664"/>
                </a:lnTo>
                <a:lnTo>
                  <a:pt x="1924" y="1663"/>
                </a:lnTo>
                <a:lnTo>
                  <a:pt x="1928" y="1662"/>
                </a:lnTo>
                <a:lnTo>
                  <a:pt x="1932" y="1663"/>
                </a:lnTo>
                <a:lnTo>
                  <a:pt x="1934" y="1664"/>
                </a:lnTo>
                <a:lnTo>
                  <a:pt x="1940" y="1667"/>
                </a:lnTo>
                <a:lnTo>
                  <a:pt x="1947" y="1668"/>
                </a:lnTo>
                <a:lnTo>
                  <a:pt x="1951" y="1667"/>
                </a:lnTo>
                <a:lnTo>
                  <a:pt x="1954" y="1666"/>
                </a:lnTo>
                <a:lnTo>
                  <a:pt x="1957" y="1664"/>
                </a:lnTo>
                <a:lnTo>
                  <a:pt x="1958" y="1662"/>
                </a:lnTo>
                <a:lnTo>
                  <a:pt x="1961" y="1656"/>
                </a:lnTo>
                <a:lnTo>
                  <a:pt x="1966" y="1649"/>
                </a:lnTo>
                <a:lnTo>
                  <a:pt x="1970" y="1641"/>
                </a:lnTo>
                <a:lnTo>
                  <a:pt x="1976" y="1632"/>
                </a:lnTo>
                <a:lnTo>
                  <a:pt x="1982" y="1624"/>
                </a:lnTo>
                <a:lnTo>
                  <a:pt x="1989" y="1617"/>
                </a:lnTo>
                <a:lnTo>
                  <a:pt x="1993" y="1612"/>
                </a:lnTo>
                <a:lnTo>
                  <a:pt x="1999" y="1611"/>
                </a:lnTo>
                <a:lnTo>
                  <a:pt x="2001" y="1611"/>
                </a:lnTo>
                <a:lnTo>
                  <a:pt x="2001" y="1612"/>
                </a:lnTo>
                <a:lnTo>
                  <a:pt x="1999" y="1613"/>
                </a:lnTo>
                <a:lnTo>
                  <a:pt x="1999" y="1617"/>
                </a:lnTo>
                <a:lnTo>
                  <a:pt x="1996" y="1623"/>
                </a:lnTo>
                <a:lnTo>
                  <a:pt x="1993" y="1630"/>
                </a:lnTo>
                <a:lnTo>
                  <a:pt x="1987" y="1648"/>
                </a:lnTo>
                <a:lnTo>
                  <a:pt x="1983" y="1662"/>
                </a:lnTo>
                <a:lnTo>
                  <a:pt x="1982" y="1667"/>
                </a:lnTo>
                <a:lnTo>
                  <a:pt x="1982" y="1670"/>
                </a:lnTo>
                <a:lnTo>
                  <a:pt x="1983" y="1675"/>
                </a:lnTo>
                <a:lnTo>
                  <a:pt x="1984" y="1680"/>
                </a:lnTo>
                <a:lnTo>
                  <a:pt x="1986" y="1690"/>
                </a:lnTo>
                <a:lnTo>
                  <a:pt x="1989" y="1702"/>
                </a:lnTo>
                <a:lnTo>
                  <a:pt x="1991" y="1714"/>
                </a:lnTo>
                <a:lnTo>
                  <a:pt x="1993" y="1727"/>
                </a:lnTo>
                <a:lnTo>
                  <a:pt x="1996" y="1745"/>
                </a:lnTo>
                <a:lnTo>
                  <a:pt x="1997" y="1761"/>
                </a:lnTo>
                <a:lnTo>
                  <a:pt x="1999" y="1774"/>
                </a:lnTo>
                <a:lnTo>
                  <a:pt x="2002" y="1788"/>
                </a:lnTo>
                <a:lnTo>
                  <a:pt x="2004" y="1806"/>
                </a:lnTo>
                <a:lnTo>
                  <a:pt x="2006" y="1830"/>
                </a:lnTo>
                <a:lnTo>
                  <a:pt x="2010" y="1853"/>
                </a:lnTo>
                <a:lnTo>
                  <a:pt x="2012" y="1871"/>
                </a:lnTo>
                <a:lnTo>
                  <a:pt x="2014" y="1883"/>
                </a:lnTo>
                <a:lnTo>
                  <a:pt x="2012" y="1894"/>
                </a:lnTo>
                <a:lnTo>
                  <a:pt x="2009" y="1903"/>
                </a:lnTo>
                <a:lnTo>
                  <a:pt x="2005" y="1912"/>
                </a:lnTo>
                <a:lnTo>
                  <a:pt x="2004" y="1915"/>
                </a:lnTo>
                <a:lnTo>
                  <a:pt x="2004" y="1920"/>
                </a:lnTo>
                <a:lnTo>
                  <a:pt x="2004" y="1925"/>
                </a:lnTo>
                <a:lnTo>
                  <a:pt x="2005" y="1931"/>
                </a:lnTo>
                <a:lnTo>
                  <a:pt x="2006" y="1942"/>
                </a:lnTo>
                <a:lnTo>
                  <a:pt x="2008" y="1952"/>
                </a:lnTo>
                <a:lnTo>
                  <a:pt x="2006" y="1956"/>
                </a:lnTo>
                <a:lnTo>
                  <a:pt x="2003" y="1959"/>
                </a:lnTo>
                <a:lnTo>
                  <a:pt x="1999" y="1961"/>
                </a:lnTo>
                <a:lnTo>
                  <a:pt x="1993" y="1963"/>
                </a:lnTo>
                <a:lnTo>
                  <a:pt x="1979" y="1966"/>
                </a:lnTo>
                <a:lnTo>
                  <a:pt x="1963" y="1970"/>
                </a:lnTo>
                <a:lnTo>
                  <a:pt x="1945" y="1976"/>
                </a:lnTo>
                <a:lnTo>
                  <a:pt x="1928" y="1982"/>
                </a:lnTo>
                <a:lnTo>
                  <a:pt x="1913" y="1989"/>
                </a:lnTo>
                <a:lnTo>
                  <a:pt x="1897" y="1995"/>
                </a:lnTo>
                <a:lnTo>
                  <a:pt x="1890" y="1998"/>
                </a:lnTo>
                <a:lnTo>
                  <a:pt x="1883" y="2002"/>
                </a:lnTo>
                <a:lnTo>
                  <a:pt x="1877" y="2008"/>
                </a:lnTo>
                <a:lnTo>
                  <a:pt x="1870" y="2014"/>
                </a:lnTo>
                <a:lnTo>
                  <a:pt x="1864" y="2020"/>
                </a:lnTo>
                <a:lnTo>
                  <a:pt x="1858" y="2027"/>
                </a:lnTo>
                <a:lnTo>
                  <a:pt x="1853" y="2033"/>
                </a:lnTo>
                <a:lnTo>
                  <a:pt x="1850" y="2040"/>
                </a:lnTo>
                <a:lnTo>
                  <a:pt x="1842" y="2055"/>
                </a:lnTo>
                <a:lnTo>
                  <a:pt x="1838" y="2076"/>
                </a:lnTo>
                <a:lnTo>
                  <a:pt x="1833" y="2095"/>
                </a:lnTo>
                <a:lnTo>
                  <a:pt x="1832" y="2110"/>
                </a:lnTo>
                <a:lnTo>
                  <a:pt x="1829" y="2128"/>
                </a:lnTo>
                <a:lnTo>
                  <a:pt x="1827" y="2145"/>
                </a:lnTo>
                <a:lnTo>
                  <a:pt x="1825" y="2145"/>
                </a:lnTo>
                <a:lnTo>
                  <a:pt x="1820" y="2145"/>
                </a:lnTo>
                <a:lnTo>
                  <a:pt x="1814" y="2147"/>
                </a:lnTo>
                <a:lnTo>
                  <a:pt x="1807" y="2149"/>
                </a:lnTo>
                <a:lnTo>
                  <a:pt x="1797" y="2152"/>
                </a:lnTo>
                <a:lnTo>
                  <a:pt x="1789" y="2153"/>
                </a:lnTo>
                <a:lnTo>
                  <a:pt x="1785" y="2153"/>
                </a:lnTo>
                <a:lnTo>
                  <a:pt x="1783" y="2152"/>
                </a:lnTo>
                <a:lnTo>
                  <a:pt x="1782" y="2150"/>
                </a:lnTo>
                <a:lnTo>
                  <a:pt x="1781" y="2148"/>
                </a:lnTo>
                <a:lnTo>
                  <a:pt x="1781" y="2143"/>
                </a:lnTo>
                <a:lnTo>
                  <a:pt x="1779" y="2141"/>
                </a:lnTo>
                <a:lnTo>
                  <a:pt x="1777" y="2140"/>
                </a:lnTo>
                <a:lnTo>
                  <a:pt x="1773" y="2140"/>
                </a:lnTo>
                <a:lnTo>
                  <a:pt x="1769" y="2140"/>
                </a:lnTo>
                <a:lnTo>
                  <a:pt x="1765" y="2139"/>
                </a:lnTo>
                <a:lnTo>
                  <a:pt x="1762" y="2135"/>
                </a:lnTo>
                <a:lnTo>
                  <a:pt x="1759" y="2128"/>
                </a:lnTo>
                <a:lnTo>
                  <a:pt x="1759" y="2123"/>
                </a:lnTo>
                <a:lnTo>
                  <a:pt x="1759" y="2118"/>
                </a:lnTo>
                <a:lnTo>
                  <a:pt x="1760" y="2112"/>
                </a:lnTo>
                <a:lnTo>
                  <a:pt x="1762" y="2108"/>
                </a:lnTo>
                <a:lnTo>
                  <a:pt x="1764" y="2097"/>
                </a:lnTo>
                <a:lnTo>
                  <a:pt x="1765" y="2086"/>
                </a:lnTo>
                <a:lnTo>
                  <a:pt x="1764" y="2082"/>
                </a:lnTo>
                <a:lnTo>
                  <a:pt x="1763" y="2077"/>
                </a:lnTo>
                <a:lnTo>
                  <a:pt x="1759" y="2073"/>
                </a:lnTo>
                <a:lnTo>
                  <a:pt x="1754" y="2070"/>
                </a:lnTo>
                <a:lnTo>
                  <a:pt x="1750" y="2067"/>
                </a:lnTo>
                <a:lnTo>
                  <a:pt x="1745" y="2065"/>
                </a:lnTo>
                <a:lnTo>
                  <a:pt x="1739" y="2065"/>
                </a:lnTo>
                <a:lnTo>
                  <a:pt x="1734" y="2065"/>
                </a:lnTo>
                <a:lnTo>
                  <a:pt x="1730" y="2068"/>
                </a:lnTo>
                <a:lnTo>
                  <a:pt x="1726" y="2073"/>
                </a:lnTo>
                <a:lnTo>
                  <a:pt x="1724" y="2079"/>
                </a:lnTo>
                <a:lnTo>
                  <a:pt x="1722" y="2086"/>
                </a:lnTo>
                <a:lnTo>
                  <a:pt x="1719" y="2102"/>
                </a:lnTo>
                <a:lnTo>
                  <a:pt x="1716" y="2116"/>
                </a:lnTo>
                <a:lnTo>
                  <a:pt x="1714" y="2121"/>
                </a:lnTo>
                <a:lnTo>
                  <a:pt x="1710" y="2124"/>
                </a:lnTo>
                <a:lnTo>
                  <a:pt x="1707" y="2127"/>
                </a:lnTo>
                <a:lnTo>
                  <a:pt x="1702" y="2128"/>
                </a:lnTo>
                <a:lnTo>
                  <a:pt x="1691" y="2130"/>
                </a:lnTo>
                <a:lnTo>
                  <a:pt x="1681" y="2131"/>
                </a:lnTo>
                <a:lnTo>
                  <a:pt x="1667" y="2134"/>
                </a:lnTo>
                <a:lnTo>
                  <a:pt x="1652" y="2137"/>
                </a:lnTo>
                <a:lnTo>
                  <a:pt x="1645" y="2139"/>
                </a:lnTo>
                <a:lnTo>
                  <a:pt x="1638" y="2139"/>
                </a:lnTo>
                <a:lnTo>
                  <a:pt x="1632" y="2139"/>
                </a:lnTo>
                <a:lnTo>
                  <a:pt x="1625" y="2136"/>
                </a:lnTo>
                <a:lnTo>
                  <a:pt x="1619" y="2134"/>
                </a:lnTo>
                <a:lnTo>
                  <a:pt x="1611" y="2129"/>
                </a:lnTo>
                <a:lnTo>
                  <a:pt x="1602" y="2124"/>
                </a:lnTo>
                <a:lnTo>
                  <a:pt x="1594" y="2117"/>
                </a:lnTo>
                <a:lnTo>
                  <a:pt x="1579" y="2105"/>
                </a:lnTo>
                <a:lnTo>
                  <a:pt x="1568" y="2095"/>
                </a:lnTo>
                <a:lnTo>
                  <a:pt x="1564" y="2090"/>
                </a:lnTo>
                <a:lnTo>
                  <a:pt x="1561" y="2087"/>
                </a:lnTo>
                <a:lnTo>
                  <a:pt x="1558" y="2085"/>
                </a:lnTo>
                <a:lnTo>
                  <a:pt x="1556" y="2085"/>
                </a:lnTo>
                <a:lnTo>
                  <a:pt x="1550" y="2086"/>
                </a:lnTo>
                <a:lnTo>
                  <a:pt x="1543" y="2091"/>
                </a:lnTo>
                <a:lnTo>
                  <a:pt x="1538" y="2093"/>
                </a:lnTo>
                <a:lnTo>
                  <a:pt x="1535" y="2093"/>
                </a:lnTo>
                <a:lnTo>
                  <a:pt x="1532" y="2092"/>
                </a:lnTo>
                <a:lnTo>
                  <a:pt x="1529" y="2090"/>
                </a:lnTo>
                <a:lnTo>
                  <a:pt x="1527" y="2086"/>
                </a:lnTo>
                <a:lnTo>
                  <a:pt x="1526" y="2082"/>
                </a:lnTo>
                <a:lnTo>
                  <a:pt x="1526" y="2077"/>
                </a:lnTo>
                <a:lnTo>
                  <a:pt x="1526" y="2073"/>
                </a:lnTo>
                <a:lnTo>
                  <a:pt x="1532" y="2058"/>
                </a:lnTo>
                <a:lnTo>
                  <a:pt x="1539" y="2042"/>
                </a:lnTo>
                <a:lnTo>
                  <a:pt x="1539" y="2032"/>
                </a:lnTo>
                <a:lnTo>
                  <a:pt x="1539" y="2020"/>
                </a:lnTo>
                <a:lnTo>
                  <a:pt x="1538" y="2015"/>
                </a:lnTo>
                <a:lnTo>
                  <a:pt x="1536" y="2010"/>
                </a:lnTo>
                <a:lnTo>
                  <a:pt x="1532" y="2008"/>
                </a:lnTo>
                <a:lnTo>
                  <a:pt x="1529" y="2007"/>
                </a:lnTo>
                <a:lnTo>
                  <a:pt x="1513" y="2015"/>
                </a:lnTo>
                <a:lnTo>
                  <a:pt x="1497" y="2022"/>
                </a:lnTo>
                <a:lnTo>
                  <a:pt x="1483" y="2023"/>
                </a:lnTo>
                <a:lnTo>
                  <a:pt x="1468" y="2022"/>
                </a:lnTo>
                <a:lnTo>
                  <a:pt x="1454" y="2021"/>
                </a:lnTo>
                <a:lnTo>
                  <a:pt x="1444" y="2019"/>
                </a:lnTo>
                <a:lnTo>
                  <a:pt x="1436" y="2013"/>
                </a:lnTo>
                <a:lnTo>
                  <a:pt x="1424" y="2002"/>
                </a:lnTo>
                <a:lnTo>
                  <a:pt x="1413" y="1991"/>
                </a:lnTo>
                <a:lnTo>
                  <a:pt x="1405" y="1982"/>
                </a:lnTo>
                <a:lnTo>
                  <a:pt x="1401" y="1978"/>
                </a:lnTo>
                <a:lnTo>
                  <a:pt x="1398" y="1975"/>
                </a:lnTo>
                <a:lnTo>
                  <a:pt x="1394" y="1972"/>
                </a:lnTo>
                <a:lnTo>
                  <a:pt x="1391" y="1971"/>
                </a:lnTo>
                <a:lnTo>
                  <a:pt x="1387" y="1971"/>
                </a:lnTo>
                <a:lnTo>
                  <a:pt x="1384" y="1972"/>
                </a:lnTo>
                <a:lnTo>
                  <a:pt x="1380" y="1976"/>
                </a:lnTo>
                <a:lnTo>
                  <a:pt x="1375" y="1980"/>
                </a:lnTo>
                <a:lnTo>
                  <a:pt x="1367" y="1995"/>
                </a:lnTo>
                <a:lnTo>
                  <a:pt x="1359" y="2008"/>
                </a:lnTo>
                <a:lnTo>
                  <a:pt x="1354" y="2014"/>
                </a:lnTo>
                <a:lnTo>
                  <a:pt x="1349" y="2020"/>
                </a:lnTo>
                <a:lnTo>
                  <a:pt x="1343" y="2024"/>
                </a:lnTo>
                <a:lnTo>
                  <a:pt x="1338" y="2028"/>
                </a:lnTo>
                <a:lnTo>
                  <a:pt x="1328" y="2034"/>
                </a:lnTo>
                <a:lnTo>
                  <a:pt x="1318" y="2036"/>
                </a:lnTo>
                <a:lnTo>
                  <a:pt x="1315" y="2036"/>
                </a:lnTo>
                <a:lnTo>
                  <a:pt x="1312" y="2035"/>
                </a:lnTo>
                <a:lnTo>
                  <a:pt x="1310" y="2034"/>
                </a:lnTo>
                <a:lnTo>
                  <a:pt x="1309" y="2032"/>
                </a:lnTo>
                <a:lnTo>
                  <a:pt x="1308" y="2023"/>
                </a:lnTo>
                <a:lnTo>
                  <a:pt x="1308" y="2014"/>
                </a:lnTo>
                <a:lnTo>
                  <a:pt x="1309" y="2003"/>
                </a:lnTo>
                <a:lnTo>
                  <a:pt x="1310" y="1990"/>
                </a:lnTo>
                <a:lnTo>
                  <a:pt x="1309" y="1985"/>
                </a:lnTo>
                <a:lnTo>
                  <a:pt x="1308" y="1982"/>
                </a:lnTo>
                <a:lnTo>
                  <a:pt x="1305" y="1978"/>
                </a:lnTo>
                <a:lnTo>
                  <a:pt x="1303" y="1977"/>
                </a:lnTo>
                <a:lnTo>
                  <a:pt x="1299" y="1977"/>
                </a:lnTo>
                <a:lnTo>
                  <a:pt x="1297" y="1978"/>
                </a:lnTo>
                <a:lnTo>
                  <a:pt x="1293" y="1979"/>
                </a:lnTo>
                <a:lnTo>
                  <a:pt x="1291" y="1982"/>
                </a:lnTo>
                <a:lnTo>
                  <a:pt x="1287" y="1986"/>
                </a:lnTo>
                <a:lnTo>
                  <a:pt x="1283" y="1990"/>
                </a:lnTo>
                <a:lnTo>
                  <a:pt x="1280" y="1991"/>
                </a:lnTo>
                <a:lnTo>
                  <a:pt x="1278" y="1991"/>
                </a:lnTo>
                <a:lnTo>
                  <a:pt x="1275" y="1990"/>
                </a:lnTo>
                <a:lnTo>
                  <a:pt x="1273" y="1989"/>
                </a:lnTo>
                <a:lnTo>
                  <a:pt x="1269" y="1983"/>
                </a:lnTo>
                <a:lnTo>
                  <a:pt x="1267" y="1976"/>
                </a:lnTo>
                <a:lnTo>
                  <a:pt x="1265" y="1966"/>
                </a:lnTo>
                <a:lnTo>
                  <a:pt x="1262" y="1957"/>
                </a:lnTo>
                <a:lnTo>
                  <a:pt x="1259" y="1946"/>
                </a:lnTo>
                <a:lnTo>
                  <a:pt x="1255" y="1939"/>
                </a:lnTo>
                <a:lnTo>
                  <a:pt x="1252" y="1934"/>
                </a:lnTo>
                <a:lnTo>
                  <a:pt x="1248" y="1932"/>
                </a:lnTo>
                <a:lnTo>
                  <a:pt x="1243" y="1929"/>
                </a:lnTo>
                <a:lnTo>
                  <a:pt x="1240" y="1928"/>
                </a:lnTo>
                <a:lnTo>
                  <a:pt x="1237" y="1926"/>
                </a:lnTo>
                <a:lnTo>
                  <a:pt x="1236" y="1921"/>
                </a:lnTo>
                <a:lnTo>
                  <a:pt x="1236" y="1915"/>
                </a:lnTo>
                <a:lnTo>
                  <a:pt x="1236" y="1909"/>
                </a:lnTo>
                <a:lnTo>
                  <a:pt x="1235" y="1903"/>
                </a:lnTo>
                <a:lnTo>
                  <a:pt x="1231" y="1896"/>
                </a:lnTo>
                <a:lnTo>
                  <a:pt x="1229" y="1893"/>
                </a:lnTo>
                <a:lnTo>
                  <a:pt x="1228" y="1889"/>
                </a:lnTo>
                <a:lnTo>
                  <a:pt x="1227" y="1885"/>
                </a:lnTo>
                <a:lnTo>
                  <a:pt x="1228" y="1881"/>
                </a:lnTo>
                <a:lnTo>
                  <a:pt x="1229" y="1871"/>
                </a:lnTo>
                <a:lnTo>
                  <a:pt x="1234" y="1860"/>
                </a:lnTo>
                <a:lnTo>
                  <a:pt x="1236" y="1856"/>
                </a:lnTo>
                <a:lnTo>
                  <a:pt x="1237" y="1851"/>
                </a:lnTo>
                <a:lnTo>
                  <a:pt x="1237" y="1846"/>
                </a:lnTo>
                <a:lnTo>
                  <a:pt x="1237" y="1843"/>
                </a:lnTo>
                <a:lnTo>
                  <a:pt x="1235" y="1838"/>
                </a:lnTo>
                <a:lnTo>
                  <a:pt x="1230" y="1832"/>
                </a:lnTo>
                <a:lnTo>
                  <a:pt x="1225" y="1826"/>
                </a:lnTo>
                <a:lnTo>
                  <a:pt x="1223" y="1819"/>
                </a:lnTo>
                <a:lnTo>
                  <a:pt x="1222" y="1814"/>
                </a:lnTo>
                <a:lnTo>
                  <a:pt x="1222" y="1811"/>
                </a:lnTo>
                <a:lnTo>
                  <a:pt x="1223" y="1808"/>
                </a:lnTo>
                <a:lnTo>
                  <a:pt x="1224" y="1806"/>
                </a:lnTo>
                <a:lnTo>
                  <a:pt x="1229" y="1800"/>
                </a:lnTo>
                <a:lnTo>
                  <a:pt x="1233" y="1793"/>
                </a:lnTo>
                <a:lnTo>
                  <a:pt x="1235" y="1789"/>
                </a:lnTo>
                <a:lnTo>
                  <a:pt x="1235" y="1784"/>
                </a:lnTo>
                <a:lnTo>
                  <a:pt x="1236" y="1780"/>
                </a:lnTo>
                <a:lnTo>
                  <a:pt x="1235" y="1776"/>
                </a:lnTo>
                <a:lnTo>
                  <a:pt x="1231" y="1764"/>
                </a:lnTo>
                <a:lnTo>
                  <a:pt x="1228" y="1750"/>
                </a:lnTo>
                <a:lnTo>
                  <a:pt x="1225" y="1744"/>
                </a:lnTo>
                <a:lnTo>
                  <a:pt x="1224" y="1739"/>
                </a:lnTo>
                <a:lnTo>
                  <a:pt x="1222" y="1738"/>
                </a:lnTo>
                <a:lnTo>
                  <a:pt x="1221" y="1737"/>
                </a:lnTo>
                <a:lnTo>
                  <a:pt x="1217" y="1737"/>
                </a:lnTo>
                <a:lnTo>
                  <a:pt x="1214" y="1738"/>
                </a:lnTo>
                <a:lnTo>
                  <a:pt x="1204" y="1740"/>
                </a:lnTo>
                <a:lnTo>
                  <a:pt x="1196" y="1745"/>
                </a:lnTo>
                <a:lnTo>
                  <a:pt x="1180" y="1759"/>
                </a:lnTo>
                <a:lnTo>
                  <a:pt x="1162" y="1776"/>
                </a:lnTo>
                <a:lnTo>
                  <a:pt x="1159" y="1778"/>
                </a:lnTo>
                <a:lnTo>
                  <a:pt x="1154" y="1781"/>
                </a:lnTo>
                <a:lnTo>
                  <a:pt x="1149" y="1783"/>
                </a:lnTo>
                <a:lnTo>
                  <a:pt x="1146" y="1783"/>
                </a:lnTo>
                <a:lnTo>
                  <a:pt x="1138" y="1784"/>
                </a:lnTo>
                <a:lnTo>
                  <a:pt x="1130" y="1784"/>
                </a:lnTo>
                <a:lnTo>
                  <a:pt x="1126" y="1784"/>
                </a:lnTo>
                <a:lnTo>
                  <a:pt x="1123" y="1786"/>
                </a:lnTo>
                <a:lnTo>
                  <a:pt x="1120" y="1789"/>
                </a:lnTo>
                <a:lnTo>
                  <a:pt x="1114" y="1794"/>
                </a:lnTo>
                <a:lnTo>
                  <a:pt x="1111" y="1796"/>
                </a:lnTo>
                <a:lnTo>
                  <a:pt x="1108" y="1799"/>
                </a:lnTo>
                <a:lnTo>
                  <a:pt x="1103" y="1800"/>
                </a:lnTo>
                <a:lnTo>
                  <a:pt x="1099" y="1801"/>
                </a:lnTo>
                <a:lnTo>
                  <a:pt x="1096" y="1802"/>
                </a:lnTo>
                <a:lnTo>
                  <a:pt x="1091" y="1801"/>
                </a:lnTo>
                <a:lnTo>
                  <a:pt x="1088" y="1800"/>
                </a:lnTo>
                <a:lnTo>
                  <a:pt x="1083" y="1799"/>
                </a:lnTo>
                <a:lnTo>
                  <a:pt x="1078" y="1796"/>
                </a:lnTo>
                <a:lnTo>
                  <a:pt x="1073" y="1793"/>
                </a:lnTo>
                <a:lnTo>
                  <a:pt x="1069" y="1789"/>
                </a:lnTo>
                <a:lnTo>
                  <a:pt x="1065" y="1786"/>
                </a:lnTo>
                <a:lnTo>
                  <a:pt x="1059" y="1776"/>
                </a:lnTo>
                <a:lnTo>
                  <a:pt x="1054" y="1768"/>
                </a:lnTo>
                <a:lnTo>
                  <a:pt x="1050" y="1759"/>
                </a:lnTo>
                <a:lnTo>
                  <a:pt x="1045" y="1755"/>
                </a:lnTo>
                <a:lnTo>
                  <a:pt x="1038" y="1751"/>
                </a:lnTo>
                <a:lnTo>
                  <a:pt x="1029" y="1750"/>
                </a:lnTo>
                <a:lnTo>
                  <a:pt x="1023" y="1750"/>
                </a:lnTo>
                <a:lnTo>
                  <a:pt x="1020" y="1751"/>
                </a:lnTo>
                <a:lnTo>
                  <a:pt x="1016" y="1752"/>
                </a:lnTo>
                <a:lnTo>
                  <a:pt x="1014" y="1753"/>
                </a:lnTo>
                <a:lnTo>
                  <a:pt x="1009" y="1758"/>
                </a:lnTo>
                <a:lnTo>
                  <a:pt x="1006" y="1763"/>
                </a:lnTo>
                <a:lnTo>
                  <a:pt x="1003" y="1767"/>
                </a:lnTo>
                <a:lnTo>
                  <a:pt x="1001" y="1768"/>
                </a:lnTo>
                <a:lnTo>
                  <a:pt x="998" y="1769"/>
                </a:lnTo>
                <a:lnTo>
                  <a:pt x="996" y="1770"/>
                </a:lnTo>
                <a:lnTo>
                  <a:pt x="990" y="1769"/>
                </a:lnTo>
                <a:lnTo>
                  <a:pt x="985" y="1765"/>
                </a:lnTo>
                <a:lnTo>
                  <a:pt x="982" y="1762"/>
                </a:lnTo>
                <a:lnTo>
                  <a:pt x="979" y="1759"/>
                </a:lnTo>
                <a:lnTo>
                  <a:pt x="973" y="1756"/>
                </a:lnTo>
                <a:lnTo>
                  <a:pt x="964" y="1753"/>
                </a:lnTo>
                <a:lnTo>
                  <a:pt x="958" y="1752"/>
                </a:lnTo>
                <a:lnTo>
                  <a:pt x="952" y="1753"/>
                </a:lnTo>
                <a:lnTo>
                  <a:pt x="946" y="1755"/>
                </a:lnTo>
                <a:lnTo>
                  <a:pt x="940" y="1757"/>
                </a:lnTo>
                <a:lnTo>
                  <a:pt x="927" y="1763"/>
                </a:lnTo>
                <a:lnTo>
                  <a:pt x="913" y="1767"/>
                </a:lnTo>
                <a:lnTo>
                  <a:pt x="899" y="1771"/>
                </a:lnTo>
                <a:lnTo>
                  <a:pt x="884" y="1777"/>
                </a:lnTo>
                <a:lnTo>
                  <a:pt x="878" y="1780"/>
                </a:lnTo>
                <a:lnTo>
                  <a:pt x="871" y="1782"/>
                </a:lnTo>
                <a:lnTo>
                  <a:pt x="865" y="1783"/>
                </a:lnTo>
                <a:lnTo>
                  <a:pt x="861" y="1784"/>
                </a:lnTo>
                <a:lnTo>
                  <a:pt x="849" y="1783"/>
                </a:lnTo>
                <a:lnTo>
                  <a:pt x="837" y="1781"/>
                </a:lnTo>
                <a:lnTo>
                  <a:pt x="821" y="1780"/>
                </a:lnTo>
                <a:lnTo>
                  <a:pt x="802" y="1778"/>
                </a:lnTo>
                <a:lnTo>
                  <a:pt x="781" y="1780"/>
                </a:lnTo>
                <a:lnTo>
                  <a:pt x="761" y="1782"/>
                </a:lnTo>
                <a:lnTo>
                  <a:pt x="744" y="1786"/>
                </a:lnTo>
                <a:lnTo>
                  <a:pt x="731" y="1789"/>
                </a:lnTo>
                <a:lnTo>
                  <a:pt x="721" y="1790"/>
                </a:lnTo>
                <a:lnTo>
                  <a:pt x="710" y="1792"/>
                </a:lnTo>
                <a:lnTo>
                  <a:pt x="704" y="1790"/>
                </a:lnTo>
                <a:lnTo>
                  <a:pt x="699" y="1789"/>
                </a:lnTo>
                <a:lnTo>
                  <a:pt x="693" y="1788"/>
                </a:lnTo>
                <a:lnTo>
                  <a:pt x="688" y="1786"/>
                </a:lnTo>
                <a:lnTo>
                  <a:pt x="676" y="1778"/>
                </a:lnTo>
                <a:lnTo>
                  <a:pt x="662" y="1771"/>
                </a:lnTo>
                <a:lnTo>
                  <a:pt x="649" y="1765"/>
                </a:lnTo>
                <a:lnTo>
                  <a:pt x="641" y="1759"/>
                </a:lnTo>
                <a:lnTo>
                  <a:pt x="635" y="1755"/>
                </a:lnTo>
                <a:lnTo>
                  <a:pt x="629" y="1750"/>
                </a:lnTo>
                <a:lnTo>
                  <a:pt x="619" y="1748"/>
                </a:lnTo>
                <a:lnTo>
                  <a:pt x="606" y="1746"/>
                </a:lnTo>
                <a:lnTo>
                  <a:pt x="599" y="1746"/>
                </a:lnTo>
                <a:lnTo>
                  <a:pt x="594" y="1745"/>
                </a:lnTo>
                <a:lnTo>
                  <a:pt x="590" y="1744"/>
                </a:lnTo>
                <a:lnTo>
                  <a:pt x="586" y="1742"/>
                </a:lnTo>
                <a:lnTo>
                  <a:pt x="580" y="1736"/>
                </a:lnTo>
                <a:lnTo>
                  <a:pt x="573" y="1730"/>
                </a:lnTo>
                <a:lnTo>
                  <a:pt x="563" y="1724"/>
                </a:lnTo>
                <a:lnTo>
                  <a:pt x="553" y="1720"/>
                </a:lnTo>
                <a:lnTo>
                  <a:pt x="541" y="1718"/>
                </a:lnTo>
                <a:lnTo>
                  <a:pt x="530" y="1717"/>
                </a:lnTo>
                <a:lnTo>
                  <a:pt x="525" y="1715"/>
                </a:lnTo>
                <a:lnTo>
                  <a:pt x="521" y="1714"/>
                </a:lnTo>
                <a:lnTo>
                  <a:pt x="516" y="1712"/>
                </a:lnTo>
                <a:lnTo>
                  <a:pt x="512" y="1709"/>
                </a:lnTo>
                <a:lnTo>
                  <a:pt x="506" y="1701"/>
                </a:lnTo>
                <a:lnTo>
                  <a:pt x="500" y="1692"/>
                </a:lnTo>
                <a:lnTo>
                  <a:pt x="498" y="1688"/>
                </a:lnTo>
                <a:lnTo>
                  <a:pt x="494" y="1686"/>
                </a:lnTo>
                <a:lnTo>
                  <a:pt x="491" y="1685"/>
                </a:lnTo>
                <a:lnTo>
                  <a:pt x="485" y="1685"/>
                </a:lnTo>
                <a:lnTo>
                  <a:pt x="473" y="1686"/>
                </a:lnTo>
                <a:lnTo>
                  <a:pt x="459" y="1689"/>
                </a:lnTo>
                <a:lnTo>
                  <a:pt x="452" y="1689"/>
                </a:lnTo>
                <a:lnTo>
                  <a:pt x="446" y="1689"/>
                </a:lnTo>
                <a:lnTo>
                  <a:pt x="442" y="1688"/>
                </a:lnTo>
                <a:lnTo>
                  <a:pt x="439" y="1686"/>
                </a:lnTo>
                <a:lnTo>
                  <a:pt x="431" y="1679"/>
                </a:lnTo>
                <a:lnTo>
                  <a:pt x="423" y="1671"/>
                </a:lnTo>
                <a:lnTo>
                  <a:pt x="414" y="1662"/>
                </a:lnTo>
                <a:lnTo>
                  <a:pt x="404" y="1651"/>
                </a:lnTo>
                <a:lnTo>
                  <a:pt x="397" y="1641"/>
                </a:lnTo>
                <a:lnTo>
                  <a:pt x="391" y="1632"/>
                </a:lnTo>
                <a:lnTo>
                  <a:pt x="386" y="1624"/>
                </a:lnTo>
                <a:lnTo>
                  <a:pt x="380" y="1613"/>
                </a:lnTo>
                <a:lnTo>
                  <a:pt x="378" y="1607"/>
                </a:lnTo>
                <a:lnTo>
                  <a:pt x="377" y="1603"/>
                </a:lnTo>
                <a:lnTo>
                  <a:pt x="377" y="1598"/>
                </a:lnTo>
                <a:lnTo>
                  <a:pt x="378" y="1594"/>
                </a:lnTo>
                <a:lnTo>
                  <a:pt x="380" y="1587"/>
                </a:lnTo>
                <a:lnTo>
                  <a:pt x="379" y="1581"/>
                </a:lnTo>
                <a:lnTo>
                  <a:pt x="378" y="1578"/>
                </a:lnTo>
                <a:lnTo>
                  <a:pt x="377" y="1575"/>
                </a:lnTo>
                <a:lnTo>
                  <a:pt x="373" y="1574"/>
                </a:lnTo>
                <a:lnTo>
                  <a:pt x="368" y="1573"/>
                </a:lnTo>
                <a:lnTo>
                  <a:pt x="357" y="1569"/>
                </a:lnTo>
                <a:lnTo>
                  <a:pt x="343" y="1563"/>
                </a:lnTo>
                <a:lnTo>
                  <a:pt x="330" y="1556"/>
                </a:lnTo>
                <a:lnTo>
                  <a:pt x="321" y="1549"/>
                </a:lnTo>
                <a:lnTo>
                  <a:pt x="317" y="1545"/>
                </a:lnTo>
                <a:lnTo>
                  <a:pt x="315" y="1541"/>
                </a:lnTo>
                <a:lnTo>
                  <a:pt x="314" y="1535"/>
                </a:lnTo>
                <a:lnTo>
                  <a:pt x="313" y="1528"/>
                </a:lnTo>
                <a:lnTo>
                  <a:pt x="311" y="1516"/>
                </a:lnTo>
                <a:lnTo>
                  <a:pt x="313" y="1504"/>
                </a:lnTo>
                <a:lnTo>
                  <a:pt x="313" y="1499"/>
                </a:lnTo>
                <a:lnTo>
                  <a:pt x="311" y="1496"/>
                </a:lnTo>
                <a:lnTo>
                  <a:pt x="310" y="1492"/>
                </a:lnTo>
                <a:lnTo>
                  <a:pt x="309" y="1488"/>
                </a:lnTo>
                <a:lnTo>
                  <a:pt x="307" y="1486"/>
                </a:lnTo>
                <a:lnTo>
                  <a:pt x="304" y="1482"/>
                </a:lnTo>
                <a:lnTo>
                  <a:pt x="301" y="1481"/>
                </a:lnTo>
                <a:lnTo>
                  <a:pt x="297" y="1479"/>
                </a:lnTo>
                <a:lnTo>
                  <a:pt x="289" y="1475"/>
                </a:lnTo>
                <a:lnTo>
                  <a:pt x="283" y="1471"/>
                </a:lnTo>
                <a:lnTo>
                  <a:pt x="278" y="1466"/>
                </a:lnTo>
                <a:lnTo>
                  <a:pt x="276" y="1460"/>
                </a:lnTo>
                <a:lnTo>
                  <a:pt x="273" y="1453"/>
                </a:lnTo>
                <a:lnTo>
                  <a:pt x="271" y="1447"/>
                </a:lnTo>
                <a:lnTo>
                  <a:pt x="267" y="1441"/>
                </a:lnTo>
                <a:lnTo>
                  <a:pt x="261" y="1435"/>
                </a:lnTo>
                <a:lnTo>
                  <a:pt x="245" y="1423"/>
                </a:lnTo>
                <a:lnTo>
                  <a:pt x="227" y="1408"/>
                </a:lnTo>
                <a:lnTo>
                  <a:pt x="222" y="1404"/>
                </a:lnTo>
                <a:lnTo>
                  <a:pt x="219" y="1400"/>
                </a:lnTo>
                <a:lnTo>
                  <a:pt x="216" y="1398"/>
                </a:lnTo>
                <a:lnTo>
                  <a:pt x="216" y="1397"/>
                </a:lnTo>
                <a:lnTo>
                  <a:pt x="217" y="1392"/>
                </a:lnTo>
                <a:lnTo>
                  <a:pt x="222" y="1386"/>
                </a:lnTo>
                <a:lnTo>
                  <a:pt x="227" y="1377"/>
                </a:lnTo>
                <a:lnTo>
                  <a:pt x="230" y="1370"/>
                </a:lnTo>
                <a:lnTo>
                  <a:pt x="233" y="1358"/>
                </a:lnTo>
                <a:lnTo>
                  <a:pt x="235" y="1343"/>
                </a:lnTo>
                <a:lnTo>
                  <a:pt x="235" y="1327"/>
                </a:lnTo>
                <a:lnTo>
                  <a:pt x="236" y="1310"/>
                </a:lnTo>
                <a:lnTo>
                  <a:pt x="236" y="1296"/>
                </a:lnTo>
                <a:lnTo>
                  <a:pt x="234" y="1283"/>
                </a:lnTo>
                <a:lnTo>
                  <a:pt x="232" y="1276"/>
                </a:lnTo>
                <a:lnTo>
                  <a:pt x="229" y="1270"/>
                </a:lnTo>
                <a:lnTo>
                  <a:pt x="226" y="1264"/>
                </a:lnTo>
                <a:lnTo>
                  <a:pt x="220" y="1258"/>
                </a:lnTo>
                <a:lnTo>
                  <a:pt x="208" y="1246"/>
                </a:lnTo>
                <a:lnTo>
                  <a:pt x="194" y="1234"/>
                </a:lnTo>
                <a:lnTo>
                  <a:pt x="179" y="1223"/>
                </a:lnTo>
                <a:lnTo>
                  <a:pt x="165" y="1210"/>
                </a:lnTo>
                <a:lnTo>
                  <a:pt x="160" y="1204"/>
                </a:lnTo>
                <a:lnTo>
                  <a:pt x="157" y="1198"/>
                </a:lnTo>
                <a:lnTo>
                  <a:pt x="154" y="1191"/>
                </a:lnTo>
                <a:lnTo>
                  <a:pt x="152" y="1184"/>
                </a:lnTo>
                <a:lnTo>
                  <a:pt x="150" y="1171"/>
                </a:lnTo>
                <a:lnTo>
                  <a:pt x="145" y="1157"/>
                </a:lnTo>
                <a:lnTo>
                  <a:pt x="140" y="1150"/>
                </a:lnTo>
                <a:lnTo>
                  <a:pt x="135" y="1145"/>
                </a:lnTo>
                <a:lnTo>
                  <a:pt x="129" y="1141"/>
                </a:lnTo>
                <a:lnTo>
                  <a:pt x="122" y="1139"/>
                </a:lnTo>
                <a:lnTo>
                  <a:pt x="109" y="1134"/>
                </a:lnTo>
                <a:lnTo>
                  <a:pt x="95" y="1132"/>
                </a:lnTo>
                <a:lnTo>
                  <a:pt x="90" y="1129"/>
                </a:lnTo>
                <a:lnTo>
                  <a:pt x="87" y="1127"/>
                </a:lnTo>
                <a:lnTo>
                  <a:pt x="84" y="1124"/>
                </a:lnTo>
                <a:lnTo>
                  <a:pt x="84" y="1120"/>
                </a:lnTo>
                <a:lnTo>
                  <a:pt x="84" y="1116"/>
                </a:lnTo>
                <a:lnTo>
                  <a:pt x="85" y="1112"/>
                </a:lnTo>
                <a:lnTo>
                  <a:pt x="88" y="1108"/>
                </a:lnTo>
                <a:lnTo>
                  <a:pt x="90" y="1105"/>
                </a:lnTo>
                <a:lnTo>
                  <a:pt x="95" y="1097"/>
                </a:lnTo>
                <a:lnTo>
                  <a:pt x="99" y="1091"/>
                </a:lnTo>
                <a:lnTo>
                  <a:pt x="100" y="1088"/>
                </a:lnTo>
                <a:lnTo>
                  <a:pt x="100" y="1085"/>
                </a:lnTo>
                <a:lnTo>
                  <a:pt x="100" y="1082"/>
                </a:lnTo>
                <a:lnTo>
                  <a:pt x="99" y="1080"/>
                </a:lnTo>
                <a:lnTo>
                  <a:pt x="94" y="1074"/>
                </a:lnTo>
                <a:lnTo>
                  <a:pt x="88" y="1066"/>
                </a:lnTo>
                <a:lnTo>
                  <a:pt x="84" y="1062"/>
                </a:lnTo>
                <a:lnTo>
                  <a:pt x="82" y="1057"/>
                </a:lnTo>
                <a:lnTo>
                  <a:pt x="80" y="1051"/>
                </a:lnTo>
                <a:lnTo>
                  <a:pt x="78" y="1045"/>
                </a:lnTo>
                <a:lnTo>
                  <a:pt x="78" y="1039"/>
                </a:lnTo>
                <a:lnTo>
                  <a:pt x="80" y="1033"/>
                </a:lnTo>
                <a:lnTo>
                  <a:pt x="81" y="1028"/>
                </a:lnTo>
                <a:lnTo>
                  <a:pt x="83" y="1025"/>
                </a:lnTo>
                <a:lnTo>
                  <a:pt x="89" y="1018"/>
                </a:lnTo>
                <a:lnTo>
                  <a:pt x="94" y="1012"/>
                </a:lnTo>
                <a:lnTo>
                  <a:pt x="96" y="1007"/>
                </a:lnTo>
                <a:lnTo>
                  <a:pt x="97" y="1001"/>
                </a:lnTo>
                <a:lnTo>
                  <a:pt x="96" y="999"/>
                </a:lnTo>
                <a:lnTo>
                  <a:pt x="95" y="995"/>
                </a:lnTo>
                <a:lnTo>
                  <a:pt x="91" y="993"/>
                </a:lnTo>
                <a:lnTo>
                  <a:pt x="88" y="989"/>
                </a:lnTo>
                <a:lnTo>
                  <a:pt x="75" y="982"/>
                </a:lnTo>
                <a:lnTo>
                  <a:pt x="57" y="975"/>
                </a:lnTo>
                <a:lnTo>
                  <a:pt x="40" y="967"/>
                </a:lnTo>
                <a:lnTo>
                  <a:pt x="26" y="959"/>
                </a:lnTo>
                <a:lnTo>
                  <a:pt x="21" y="956"/>
                </a:lnTo>
                <a:lnTo>
                  <a:pt x="20" y="951"/>
                </a:lnTo>
                <a:lnTo>
                  <a:pt x="19" y="948"/>
                </a:lnTo>
                <a:lnTo>
                  <a:pt x="20" y="943"/>
                </a:lnTo>
                <a:lnTo>
                  <a:pt x="25" y="933"/>
                </a:lnTo>
                <a:lnTo>
                  <a:pt x="32" y="925"/>
                </a:lnTo>
                <a:lnTo>
                  <a:pt x="34" y="921"/>
                </a:lnTo>
                <a:lnTo>
                  <a:pt x="37" y="918"/>
                </a:lnTo>
                <a:lnTo>
                  <a:pt x="38" y="914"/>
                </a:lnTo>
                <a:lnTo>
                  <a:pt x="39" y="911"/>
                </a:lnTo>
                <a:lnTo>
                  <a:pt x="38" y="907"/>
                </a:lnTo>
                <a:lnTo>
                  <a:pt x="37" y="904"/>
                </a:lnTo>
                <a:lnTo>
                  <a:pt x="34" y="899"/>
                </a:lnTo>
                <a:lnTo>
                  <a:pt x="32" y="895"/>
                </a:lnTo>
                <a:lnTo>
                  <a:pt x="24" y="888"/>
                </a:lnTo>
                <a:lnTo>
                  <a:pt x="14" y="880"/>
                </a:lnTo>
                <a:lnTo>
                  <a:pt x="9" y="875"/>
                </a:lnTo>
                <a:lnTo>
                  <a:pt x="6" y="869"/>
                </a:lnTo>
                <a:lnTo>
                  <a:pt x="2" y="862"/>
                </a:lnTo>
                <a:lnTo>
                  <a:pt x="1" y="853"/>
                </a:lnTo>
                <a:lnTo>
                  <a:pt x="0" y="843"/>
                </a:lnTo>
                <a:lnTo>
                  <a:pt x="1" y="834"/>
                </a:lnTo>
                <a:lnTo>
                  <a:pt x="3" y="825"/>
                </a:lnTo>
                <a:lnTo>
                  <a:pt x="6" y="818"/>
                </a:lnTo>
                <a:lnTo>
                  <a:pt x="7" y="814"/>
                </a:lnTo>
                <a:lnTo>
                  <a:pt x="8" y="812"/>
                </a:lnTo>
                <a:lnTo>
                  <a:pt x="11" y="809"/>
                </a:lnTo>
                <a:lnTo>
                  <a:pt x="12" y="807"/>
                </a:lnTo>
                <a:lnTo>
                  <a:pt x="14" y="806"/>
                </a:lnTo>
                <a:lnTo>
                  <a:pt x="20" y="806"/>
                </a:lnTo>
                <a:lnTo>
                  <a:pt x="37" y="805"/>
                </a:lnTo>
                <a:lnTo>
                  <a:pt x="55" y="805"/>
                </a:lnTo>
                <a:lnTo>
                  <a:pt x="74" y="804"/>
                </a:lnTo>
                <a:lnTo>
                  <a:pt x="94" y="803"/>
                </a:lnTo>
                <a:lnTo>
                  <a:pt x="102" y="801"/>
                </a:lnTo>
                <a:lnTo>
                  <a:pt x="110" y="799"/>
                </a:lnTo>
                <a:lnTo>
                  <a:pt x="116" y="797"/>
                </a:lnTo>
                <a:lnTo>
                  <a:pt x="121" y="793"/>
                </a:lnTo>
                <a:lnTo>
                  <a:pt x="129" y="787"/>
                </a:lnTo>
                <a:lnTo>
                  <a:pt x="138" y="782"/>
                </a:lnTo>
                <a:lnTo>
                  <a:pt x="147" y="778"/>
                </a:lnTo>
                <a:lnTo>
                  <a:pt x="159" y="775"/>
                </a:lnTo>
                <a:lnTo>
                  <a:pt x="170" y="772"/>
                </a:lnTo>
                <a:lnTo>
                  <a:pt x="179" y="767"/>
                </a:lnTo>
                <a:lnTo>
                  <a:pt x="185" y="762"/>
                </a:lnTo>
                <a:lnTo>
                  <a:pt x="190" y="757"/>
                </a:lnTo>
                <a:lnTo>
                  <a:pt x="196" y="754"/>
                </a:lnTo>
                <a:lnTo>
                  <a:pt x="203" y="750"/>
                </a:lnTo>
                <a:lnTo>
                  <a:pt x="211" y="748"/>
                </a:lnTo>
                <a:lnTo>
                  <a:pt x="220" y="747"/>
                </a:lnTo>
                <a:lnTo>
                  <a:pt x="229" y="744"/>
                </a:lnTo>
                <a:lnTo>
                  <a:pt x="240" y="741"/>
                </a:lnTo>
                <a:lnTo>
                  <a:pt x="251" y="735"/>
                </a:lnTo>
                <a:lnTo>
                  <a:pt x="259" y="729"/>
                </a:lnTo>
                <a:lnTo>
                  <a:pt x="265" y="722"/>
                </a:lnTo>
                <a:lnTo>
                  <a:pt x="272" y="717"/>
                </a:lnTo>
                <a:lnTo>
                  <a:pt x="276" y="715"/>
                </a:lnTo>
                <a:lnTo>
                  <a:pt x="280" y="712"/>
                </a:lnTo>
                <a:lnTo>
                  <a:pt x="285" y="711"/>
                </a:lnTo>
                <a:lnTo>
                  <a:pt x="291" y="710"/>
                </a:lnTo>
                <a:lnTo>
                  <a:pt x="303" y="708"/>
                </a:lnTo>
                <a:lnTo>
                  <a:pt x="317" y="705"/>
                </a:lnTo>
                <a:lnTo>
                  <a:pt x="333" y="703"/>
                </a:lnTo>
                <a:lnTo>
                  <a:pt x="349" y="700"/>
                </a:lnTo>
                <a:lnTo>
                  <a:pt x="370" y="698"/>
                </a:lnTo>
                <a:lnTo>
                  <a:pt x="391" y="693"/>
                </a:lnTo>
                <a:lnTo>
                  <a:pt x="400" y="691"/>
                </a:lnTo>
                <a:lnTo>
                  <a:pt x="409" y="688"/>
                </a:lnTo>
                <a:lnTo>
                  <a:pt x="416" y="685"/>
                </a:lnTo>
                <a:lnTo>
                  <a:pt x="421" y="681"/>
                </a:lnTo>
                <a:lnTo>
                  <a:pt x="435" y="665"/>
                </a:lnTo>
                <a:lnTo>
                  <a:pt x="446" y="649"/>
                </a:lnTo>
                <a:lnTo>
                  <a:pt x="450" y="645"/>
                </a:lnTo>
                <a:lnTo>
                  <a:pt x="454" y="641"/>
                </a:lnTo>
                <a:lnTo>
                  <a:pt x="456" y="637"/>
                </a:lnTo>
                <a:lnTo>
                  <a:pt x="458" y="633"/>
                </a:lnTo>
                <a:lnTo>
                  <a:pt x="459" y="628"/>
                </a:lnTo>
                <a:lnTo>
                  <a:pt x="461" y="623"/>
                </a:lnTo>
                <a:lnTo>
                  <a:pt x="465" y="620"/>
                </a:lnTo>
                <a:lnTo>
                  <a:pt x="468" y="617"/>
                </a:lnTo>
                <a:lnTo>
                  <a:pt x="475" y="615"/>
                </a:lnTo>
                <a:lnTo>
                  <a:pt x="483" y="611"/>
                </a:lnTo>
                <a:lnTo>
                  <a:pt x="491" y="606"/>
                </a:lnTo>
                <a:lnTo>
                  <a:pt x="498" y="599"/>
                </a:lnTo>
                <a:lnTo>
                  <a:pt x="504" y="593"/>
                </a:lnTo>
                <a:lnTo>
                  <a:pt x="510" y="587"/>
                </a:lnTo>
                <a:lnTo>
                  <a:pt x="513" y="586"/>
                </a:lnTo>
                <a:lnTo>
                  <a:pt x="519" y="584"/>
                </a:lnTo>
                <a:lnTo>
                  <a:pt x="525" y="583"/>
                </a:lnTo>
                <a:lnTo>
                  <a:pt x="532" y="582"/>
                </a:lnTo>
                <a:lnTo>
                  <a:pt x="541" y="582"/>
                </a:lnTo>
                <a:lnTo>
                  <a:pt x="549" y="582"/>
                </a:lnTo>
                <a:lnTo>
                  <a:pt x="556" y="583"/>
                </a:lnTo>
                <a:lnTo>
                  <a:pt x="562" y="584"/>
                </a:lnTo>
                <a:lnTo>
                  <a:pt x="568" y="586"/>
                </a:lnTo>
                <a:lnTo>
                  <a:pt x="572" y="591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3" name="辽宁"/>
          <p:cNvSpPr>
            <a:spLocks noEditPoints="1"/>
          </p:cNvSpPr>
          <p:nvPr/>
        </p:nvSpPr>
        <p:spPr bwMode="auto">
          <a:xfrm>
            <a:off x="7412990" y="1910080"/>
            <a:ext cx="921385" cy="906145"/>
          </a:xfrm>
          <a:custGeom>
            <a:avLst/>
            <a:gdLst>
              <a:gd name="T0" fmla="*/ 259 w 2212"/>
              <a:gd name="T1" fmla="*/ 1537 h 2187"/>
              <a:gd name="T2" fmla="*/ 137 w 2212"/>
              <a:gd name="T3" fmla="*/ 1452 h 2187"/>
              <a:gd name="T4" fmla="*/ 8 w 2212"/>
              <a:gd name="T5" fmla="*/ 1353 h 2187"/>
              <a:gd name="T6" fmla="*/ 26 w 2212"/>
              <a:gd name="T7" fmla="*/ 1249 h 2187"/>
              <a:gd name="T8" fmla="*/ 103 w 2212"/>
              <a:gd name="T9" fmla="*/ 1131 h 2187"/>
              <a:gd name="T10" fmla="*/ 154 w 2212"/>
              <a:gd name="T11" fmla="*/ 1037 h 2187"/>
              <a:gd name="T12" fmla="*/ 115 w 2212"/>
              <a:gd name="T13" fmla="*/ 918 h 2187"/>
              <a:gd name="T14" fmla="*/ 84 w 2212"/>
              <a:gd name="T15" fmla="*/ 727 h 2187"/>
              <a:gd name="T16" fmla="*/ 219 w 2212"/>
              <a:gd name="T17" fmla="*/ 704 h 2187"/>
              <a:gd name="T18" fmla="*/ 340 w 2212"/>
              <a:gd name="T19" fmla="*/ 910 h 2187"/>
              <a:gd name="T20" fmla="*/ 449 w 2212"/>
              <a:gd name="T21" fmla="*/ 787 h 2187"/>
              <a:gd name="T22" fmla="*/ 623 w 2212"/>
              <a:gd name="T23" fmla="*/ 652 h 2187"/>
              <a:gd name="T24" fmla="*/ 820 w 2212"/>
              <a:gd name="T25" fmla="*/ 538 h 2187"/>
              <a:gd name="T26" fmla="*/ 931 w 2212"/>
              <a:gd name="T27" fmla="*/ 415 h 2187"/>
              <a:gd name="T28" fmla="*/ 1051 w 2212"/>
              <a:gd name="T29" fmla="*/ 392 h 2187"/>
              <a:gd name="T30" fmla="*/ 1120 w 2212"/>
              <a:gd name="T31" fmla="*/ 362 h 2187"/>
              <a:gd name="T32" fmla="*/ 1258 w 2212"/>
              <a:gd name="T33" fmla="*/ 331 h 2187"/>
              <a:gd name="T34" fmla="*/ 1343 w 2212"/>
              <a:gd name="T35" fmla="*/ 211 h 2187"/>
              <a:gd name="T36" fmla="*/ 1422 w 2212"/>
              <a:gd name="T37" fmla="*/ 0 h 2187"/>
              <a:gd name="T38" fmla="*/ 1601 w 2212"/>
              <a:gd name="T39" fmla="*/ 94 h 2187"/>
              <a:gd name="T40" fmla="*/ 1638 w 2212"/>
              <a:gd name="T41" fmla="*/ 197 h 2187"/>
              <a:gd name="T42" fmla="*/ 1695 w 2212"/>
              <a:gd name="T43" fmla="*/ 236 h 2187"/>
              <a:gd name="T44" fmla="*/ 1797 w 2212"/>
              <a:gd name="T45" fmla="*/ 181 h 2187"/>
              <a:gd name="T46" fmla="*/ 1854 w 2212"/>
              <a:gd name="T47" fmla="*/ 319 h 2187"/>
              <a:gd name="T48" fmla="*/ 1930 w 2212"/>
              <a:gd name="T49" fmla="*/ 415 h 2187"/>
              <a:gd name="T50" fmla="*/ 2003 w 2212"/>
              <a:gd name="T51" fmla="*/ 508 h 2187"/>
              <a:gd name="T52" fmla="*/ 2001 w 2212"/>
              <a:gd name="T53" fmla="*/ 622 h 2187"/>
              <a:gd name="T54" fmla="*/ 2075 w 2212"/>
              <a:gd name="T55" fmla="*/ 758 h 2187"/>
              <a:gd name="T56" fmla="*/ 2191 w 2212"/>
              <a:gd name="T57" fmla="*/ 907 h 2187"/>
              <a:gd name="T58" fmla="*/ 2156 w 2212"/>
              <a:gd name="T59" fmla="*/ 1031 h 2187"/>
              <a:gd name="T60" fmla="*/ 2188 w 2212"/>
              <a:gd name="T61" fmla="*/ 1096 h 2187"/>
              <a:gd name="T62" fmla="*/ 2033 w 2212"/>
              <a:gd name="T63" fmla="*/ 1210 h 2187"/>
              <a:gd name="T64" fmla="*/ 1844 w 2212"/>
              <a:gd name="T65" fmla="*/ 1409 h 2187"/>
              <a:gd name="T66" fmla="*/ 1732 w 2212"/>
              <a:gd name="T67" fmla="*/ 1586 h 2187"/>
              <a:gd name="T68" fmla="*/ 1548 w 2212"/>
              <a:gd name="T69" fmla="*/ 1630 h 2187"/>
              <a:gd name="T70" fmla="*/ 1334 w 2212"/>
              <a:gd name="T71" fmla="*/ 1752 h 2187"/>
              <a:gd name="T72" fmla="*/ 1129 w 2212"/>
              <a:gd name="T73" fmla="*/ 1956 h 2187"/>
              <a:gd name="T74" fmla="*/ 1116 w 2212"/>
              <a:gd name="T75" fmla="*/ 1997 h 2187"/>
              <a:gd name="T76" fmla="*/ 1078 w 2212"/>
              <a:gd name="T77" fmla="*/ 2064 h 2187"/>
              <a:gd name="T78" fmla="*/ 995 w 2212"/>
              <a:gd name="T79" fmla="*/ 2048 h 2187"/>
              <a:gd name="T80" fmla="*/ 975 w 2212"/>
              <a:gd name="T81" fmla="*/ 2107 h 2187"/>
              <a:gd name="T82" fmla="*/ 853 w 2212"/>
              <a:gd name="T83" fmla="*/ 2185 h 2187"/>
              <a:gd name="T84" fmla="*/ 857 w 2212"/>
              <a:gd name="T85" fmla="*/ 2091 h 2187"/>
              <a:gd name="T86" fmla="*/ 966 w 2212"/>
              <a:gd name="T87" fmla="*/ 2027 h 2187"/>
              <a:gd name="T88" fmla="*/ 975 w 2212"/>
              <a:gd name="T89" fmla="*/ 1946 h 2187"/>
              <a:gd name="T90" fmla="*/ 1042 w 2212"/>
              <a:gd name="T91" fmla="*/ 1886 h 2187"/>
              <a:gd name="T92" fmla="*/ 940 w 2212"/>
              <a:gd name="T93" fmla="*/ 1897 h 2187"/>
              <a:gd name="T94" fmla="*/ 903 w 2212"/>
              <a:gd name="T95" fmla="*/ 1739 h 2187"/>
              <a:gd name="T96" fmla="*/ 1002 w 2212"/>
              <a:gd name="T97" fmla="*/ 1599 h 2187"/>
              <a:gd name="T98" fmla="*/ 1070 w 2212"/>
              <a:gd name="T99" fmla="*/ 1496 h 2187"/>
              <a:gd name="T100" fmla="*/ 1059 w 2212"/>
              <a:gd name="T101" fmla="*/ 1302 h 2187"/>
              <a:gd name="T102" fmla="*/ 952 w 2212"/>
              <a:gd name="T103" fmla="*/ 1152 h 2187"/>
              <a:gd name="T104" fmla="*/ 905 w 2212"/>
              <a:gd name="T105" fmla="*/ 1225 h 2187"/>
              <a:gd name="T106" fmla="*/ 786 w 2212"/>
              <a:gd name="T107" fmla="*/ 1207 h 2187"/>
              <a:gd name="T108" fmla="*/ 655 w 2212"/>
              <a:gd name="T109" fmla="*/ 1301 h 2187"/>
              <a:gd name="T110" fmla="*/ 618 w 2212"/>
              <a:gd name="T111" fmla="*/ 1401 h 2187"/>
              <a:gd name="T112" fmla="*/ 534 w 2212"/>
              <a:gd name="T113" fmla="*/ 1566 h 2187"/>
              <a:gd name="T114" fmla="*/ 878 w 2212"/>
              <a:gd name="T115" fmla="*/ 1788 h 2187"/>
              <a:gd name="T116" fmla="*/ 850 w 2212"/>
              <a:gd name="T117" fmla="*/ 1838 h 2187"/>
              <a:gd name="T118" fmla="*/ 899 w 2212"/>
              <a:gd name="T119" fmla="*/ 1886 h 2187"/>
              <a:gd name="T120" fmla="*/ 845 w 2212"/>
              <a:gd name="T121" fmla="*/ 1899 h 2187"/>
              <a:gd name="T122" fmla="*/ 1229 w 2212"/>
              <a:gd name="T123" fmla="*/ 1939 h 2187"/>
              <a:gd name="T124" fmla="*/ 1350 w 2212"/>
              <a:gd name="T125" fmla="*/ 1990 h 2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12" h="2187">
                <a:moveTo>
                  <a:pt x="372" y="1668"/>
                </a:moveTo>
                <a:lnTo>
                  <a:pt x="368" y="1659"/>
                </a:lnTo>
                <a:lnTo>
                  <a:pt x="365" y="1648"/>
                </a:lnTo>
                <a:lnTo>
                  <a:pt x="364" y="1642"/>
                </a:lnTo>
                <a:lnTo>
                  <a:pt x="362" y="1638"/>
                </a:lnTo>
                <a:lnTo>
                  <a:pt x="360" y="1635"/>
                </a:lnTo>
                <a:lnTo>
                  <a:pt x="358" y="1635"/>
                </a:lnTo>
                <a:lnTo>
                  <a:pt x="348" y="1635"/>
                </a:lnTo>
                <a:lnTo>
                  <a:pt x="340" y="1635"/>
                </a:lnTo>
                <a:lnTo>
                  <a:pt x="336" y="1634"/>
                </a:lnTo>
                <a:lnTo>
                  <a:pt x="334" y="1632"/>
                </a:lnTo>
                <a:lnTo>
                  <a:pt x="332" y="1629"/>
                </a:lnTo>
                <a:lnTo>
                  <a:pt x="330" y="1624"/>
                </a:lnTo>
                <a:lnTo>
                  <a:pt x="327" y="1612"/>
                </a:lnTo>
                <a:lnTo>
                  <a:pt x="322" y="1602"/>
                </a:lnTo>
                <a:lnTo>
                  <a:pt x="319" y="1597"/>
                </a:lnTo>
                <a:lnTo>
                  <a:pt x="315" y="1592"/>
                </a:lnTo>
                <a:lnTo>
                  <a:pt x="311" y="1587"/>
                </a:lnTo>
                <a:lnTo>
                  <a:pt x="307" y="1584"/>
                </a:lnTo>
                <a:lnTo>
                  <a:pt x="289" y="1572"/>
                </a:lnTo>
                <a:lnTo>
                  <a:pt x="275" y="1560"/>
                </a:lnTo>
                <a:lnTo>
                  <a:pt x="269" y="1554"/>
                </a:lnTo>
                <a:lnTo>
                  <a:pt x="264" y="1546"/>
                </a:lnTo>
                <a:lnTo>
                  <a:pt x="259" y="1537"/>
                </a:lnTo>
                <a:lnTo>
                  <a:pt x="258" y="1528"/>
                </a:lnTo>
                <a:lnTo>
                  <a:pt x="258" y="1514"/>
                </a:lnTo>
                <a:lnTo>
                  <a:pt x="260" y="1497"/>
                </a:lnTo>
                <a:lnTo>
                  <a:pt x="260" y="1490"/>
                </a:lnTo>
                <a:lnTo>
                  <a:pt x="259" y="1481"/>
                </a:lnTo>
                <a:lnTo>
                  <a:pt x="257" y="1473"/>
                </a:lnTo>
                <a:lnTo>
                  <a:pt x="253" y="1464"/>
                </a:lnTo>
                <a:lnTo>
                  <a:pt x="251" y="1460"/>
                </a:lnTo>
                <a:lnTo>
                  <a:pt x="247" y="1457"/>
                </a:lnTo>
                <a:lnTo>
                  <a:pt x="244" y="1454"/>
                </a:lnTo>
                <a:lnTo>
                  <a:pt x="240" y="1452"/>
                </a:lnTo>
                <a:lnTo>
                  <a:pt x="232" y="1448"/>
                </a:lnTo>
                <a:lnTo>
                  <a:pt x="222" y="1447"/>
                </a:lnTo>
                <a:lnTo>
                  <a:pt x="213" y="1447"/>
                </a:lnTo>
                <a:lnTo>
                  <a:pt x="204" y="1448"/>
                </a:lnTo>
                <a:lnTo>
                  <a:pt x="196" y="1451"/>
                </a:lnTo>
                <a:lnTo>
                  <a:pt x="189" y="1453"/>
                </a:lnTo>
                <a:lnTo>
                  <a:pt x="177" y="1459"/>
                </a:lnTo>
                <a:lnTo>
                  <a:pt x="166" y="1461"/>
                </a:lnTo>
                <a:lnTo>
                  <a:pt x="162" y="1461"/>
                </a:lnTo>
                <a:lnTo>
                  <a:pt x="156" y="1461"/>
                </a:lnTo>
                <a:lnTo>
                  <a:pt x="150" y="1459"/>
                </a:lnTo>
                <a:lnTo>
                  <a:pt x="144" y="1457"/>
                </a:lnTo>
                <a:lnTo>
                  <a:pt x="137" y="1452"/>
                </a:lnTo>
                <a:lnTo>
                  <a:pt x="131" y="1448"/>
                </a:lnTo>
                <a:lnTo>
                  <a:pt x="124" y="1442"/>
                </a:lnTo>
                <a:lnTo>
                  <a:pt x="118" y="1437"/>
                </a:lnTo>
                <a:lnTo>
                  <a:pt x="113" y="1432"/>
                </a:lnTo>
                <a:lnTo>
                  <a:pt x="109" y="1426"/>
                </a:lnTo>
                <a:lnTo>
                  <a:pt x="107" y="1420"/>
                </a:lnTo>
                <a:lnTo>
                  <a:pt x="106" y="1414"/>
                </a:lnTo>
                <a:lnTo>
                  <a:pt x="106" y="1405"/>
                </a:lnTo>
                <a:lnTo>
                  <a:pt x="105" y="1401"/>
                </a:lnTo>
                <a:lnTo>
                  <a:pt x="103" y="1399"/>
                </a:lnTo>
                <a:lnTo>
                  <a:pt x="101" y="1399"/>
                </a:lnTo>
                <a:lnTo>
                  <a:pt x="97" y="1401"/>
                </a:lnTo>
                <a:lnTo>
                  <a:pt x="94" y="1402"/>
                </a:lnTo>
                <a:lnTo>
                  <a:pt x="86" y="1407"/>
                </a:lnTo>
                <a:lnTo>
                  <a:pt x="78" y="1408"/>
                </a:lnTo>
                <a:lnTo>
                  <a:pt x="74" y="1408"/>
                </a:lnTo>
                <a:lnTo>
                  <a:pt x="69" y="1407"/>
                </a:lnTo>
                <a:lnTo>
                  <a:pt x="63" y="1404"/>
                </a:lnTo>
                <a:lnTo>
                  <a:pt x="56" y="1399"/>
                </a:lnTo>
                <a:lnTo>
                  <a:pt x="42" y="1389"/>
                </a:lnTo>
                <a:lnTo>
                  <a:pt x="26" y="1374"/>
                </a:lnTo>
                <a:lnTo>
                  <a:pt x="19" y="1367"/>
                </a:lnTo>
                <a:lnTo>
                  <a:pt x="13" y="1360"/>
                </a:lnTo>
                <a:lnTo>
                  <a:pt x="8" y="1353"/>
                </a:lnTo>
                <a:lnTo>
                  <a:pt x="6" y="1347"/>
                </a:lnTo>
                <a:lnTo>
                  <a:pt x="2" y="1335"/>
                </a:lnTo>
                <a:lnTo>
                  <a:pt x="0" y="1323"/>
                </a:lnTo>
                <a:lnTo>
                  <a:pt x="0" y="1317"/>
                </a:lnTo>
                <a:lnTo>
                  <a:pt x="2" y="1311"/>
                </a:lnTo>
                <a:lnTo>
                  <a:pt x="6" y="1306"/>
                </a:lnTo>
                <a:lnTo>
                  <a:pt x="11" y="1300"/>
                </a:lnTo>
                <a:lnTo>
                  <a:pt x="15" y="1296"/>
                </a:lnTo>
                <a:lnTo>
                  <a:pt x="23" y="1292"/>
                </a:lnTo>
                <a:lnTo>
                  <a:pt x="30" y="1291"/>
                </a:lnTo>
                <a:lnTo>
                  <a:pt x="38" y="1290"/>
                </a:lnTo>
                <a:lnTo>
                  <a:pt x="44" y="1288"/>
                </a:lnTo>
                <a:lnTo>
                  <a:pt x="50" y="1287"/>
                </a:lnTo>
                <a:lnTo>
                  <a:pt x="52" y="1285"/>
                </a:lnTo>
                <a:lnTo>
                  <a:pt x="53" y="1284"/>
                </a:lnTo>
                <a:lnTo>
                  <a:pt x="55" y="1282"/>
                </a:lnTo>
                <a:lnTo>
                  <a:pt x="56" y="1281"/>
                </a:lnTo>
                <a:lnTo>
                  <a:pt x="55" y="1276"/>
                </a:lnTo>
                <a:lnTo>
                  <a:pt x="53" y="1272"/>
                </a:lnTo>
                <a:lnTo>
                  <a:pt x="51" y="1269"/>
                </a:lnTo>
                <a:lnTo>
                  <a:pt x="49" y="1265"/>
                </a:lnTo>
                <a:lnTo>
                  <a:pt x="42" y="1259"/>
                </a:lnTo>
                <a:lnTo>
                  <a:pt x="34" y="1254"/>
                </a:lnTo>
                <a:lnTo>
                  <a:pt x="26" y="1249"/>
                </a:lnTo>
                <a:lnTo>
                  <a:pt x="19" y="1243"/>
                </a:lnTo>
                <a:lnTo>
                  <a:pt x="17" y="1239"/>
                </a:lnTo>
                <a:lnTo>
                  <a:pt x="14" y="1237"/>
                </a:lnTo>
                <a:lnTo>
                  <a:pt x="13" y="1233"/>
                </a:lnTo>
                <a:lnTo>
                  <a:pt x="13" y="1229"/>
                </a:lnTo>
                <a:lnTo>
                  <a:pt x="13" y="1226"/>
                </a:lnTo>
                <a:lnTo>
                  <a:pt x="15" y="1225"/>
                </a:lnTo>
                <a:lnTo>
                  <a:pt x="18" y="1222"/>
                </a:lnTo>
                <a:lnTo>
                  <a:pt x="20" y="1221"/>
                </a:lnTo>
                <a:lnTo>
                  <a:pt x="27" y="1220"/>
                </a:lnTo>
                <a:lnTo>
                  <a:pt x="37" y="1219"/>
                </a:lnTo>
                <a:lnTo>
                  <a:pt x="46" y="1219"/>
                </a:lnTo>
                <a:lnTo>
                  <a:pt x="55" y="1219"/>
                </a:lnTo>
                <a:lnTo>
                  <a:pt x="63" y="1218"/>
                </a:lnTo>
                <a:lnTo>
                  <a:pt x="68" y="1215"/>
                </a:lnTo>
                <a:lnTo>
                  <a:pt x="72" y="1212"/>
                </a:lnTo>
                <a:lnTo>
                  <a:pt x="76" y="1206"/>
                </a:lnTo>
                <a:lnTo>
                  <a:pt x="80" y="1197"/>
                </a:lnTo>
                <a:lnTo>
                  <a:pt x="83" y="1189"/>
                </a:lnTo>
                <a:lnTo>
                  <a:pt x="90" y="1171"/>
                </a:lnTo>
                <a:lnTo>
                  <a:pt x="95" y="1157"/>
                </a:lnTo>
                <a:lnTo>
                  <a:pt x="99" y="1146"/>
                </a:lnTo>
                <a:lnTo>
                  <a:pt x="101" y="1138"/>
                </a:lnTo>
                <a:lnTo>
                  <a:pt x="103" y="1131"/>
                </a:lnTo>
                <a:lnTo>
                  <a:pt x="105" y="1125"/>
                </a:lnTo>
                <a:lnTo>
                  <a:pt x="107" y="1123"/>
                </a:lnTo>
                <a:lnTo>
                  <a:pt x="109" y="1120"/>
                </a:lnTo>
                <a:lnTo>
                  <a:pt x="115" y="1117"/>
                </a:lnTo>
                <a:lnTo>
                  <a:pt x="127" y="1111"/>
                </a:lnTo>
                <a:lnTo>
                  <a:pt x="132" y="1107"/>
                </a:lnTo>
                <a:lnTo>
                  <a:pt x="135" y="1103"/>
                </a:lnTo>
                <a:lnTo>
                  <a:pt x="138" y="1100"/>
                </a:lnTo>
                <a:lnTo>
                  <a:pt x="139" y="1096"/>
                </a:lnTo>
                <a:lnTo>
                  <a:pt x="140" y="1093"/>
                </a:lnTo>
                <a:lnTo>
                  <a:pt x="139" y="1089"/>
                </a:lnTo>
                <a:lnTo>
                  <a:pt x="138" y="1086"/>
                </a:lnTo>
                <a:lnTo>
                  <a:pt x="135" y="1082"/>
                </a:lnTo>
                <a:lnTo>
                  <a:pt x="134" y="1079"/>
                </a:lnTo>
                <a:lnTo>
                  <a:pt x="133" y="1076"/>
                </a:lnTo>
                <a:lnTo>
                  <a:pt x="133" y="1073"/>
                </a:lnTo>
                <a:lnTo>
                  <a:pt x="134" y="1070"/>
                </a:lnTo>
                <a:lnTo>
                  <a:pt x="139" y="1065"/>
                </a:lnTo>
                <a:lnTo>
                  <a:pt x="145" y="1060"/>
                </a:lnTo>
                <a:lnTo>
                  <a:pt x="149" y="1056"/>
                </a:lnTo>
                <a:lnTo>
                  <a:pt x="152" y="1051"/>
                </a:lnTo>
                <a:lnTo>
                  <a:pt x="154" y="1046"/>
                </a:lnTo>
                <a:lnTo>
                  <a:pt x="154" y="1042"/>
                </a:lnTo>
                <a:lnTo>
                  <a:pt x="154" y="1037"/>
                </a:lnTo>
                <a:lnTo>
                  <a:pt x="152" y="1032"/>
                </a:lnTo>
                <a:lnTo>
                  <a:pt x="147" y="1027"/>
                </a:lnTo>
                <a:lnTo>
                  <a:pt x="141" y="1023"/>
                </a:lnTo>
                <a:lnTo>
                  <a:pt x="134" y="1019"/>
                </a:lnTo>
                <a:lnTo>
                  <a:pt x="132" y="1016"/>
                </a:lnTo>
                <a:lnTo>
                  <a:pt x="131" y="1011"/>
                </a:lnTo>
                <a:lnTo>
                  <a:pt x="132" y="1007"/>
                </a:lnTo>
                <a:lnTo>
                  <a:pt x="139" y="1000"/>
                </a:lnTo>
                <a:lnTo>
                  <a:pt x="149" y="993"/>
                </a:lnTo>
                <a:lnTo>
                  <a:pt x="152" y="991"/>
                </a:lnTo>
                <a:lnTo>
                  <a:pt x="153" y="986"/>
                </a:lnTo>
                <a:lnTo>
                  <a:pt x="152" y="981"/>
                </a:lnTo>
                <a:lnTo>
                  <a:pt x="151" y="976"/>
                </a:lnTo>
                <a:lnTo>
                  <a:pt x="147" y="972"/>
                </a:lnTo>
                <a:lnTo>
                  <a:pt x="143" y="966"/>
                </a:lnTo>
                <a:lnTo>
                  <a:pt x="138" y="961"/>
                </a:lnTo>
                <a:lnTo>
                  <a:pt x="131" y="957"/>
                </a:lnTo>
                <a:lnTo>
                  <a:pt x="120" y="953"/>
                </a:lnTo>
                <a:lnTo>
                  <a:pt x="115" y="951"/>
                </a:lnTo>
                <a:lnTo>
                  <a:pt x="114" y="949"/>
                </a:lnTo>
                <a:lnTo>
                  <a:pt x="114" y="947"/>
                </a:lnTo>
                <a:lnTo>
                  <a:pt x="114" y="942"/>
                </a:lnTo>
                <a:lnTo>
                  <a:pt x="114" y="934"/>
                </a:lnTo>
                <a:lnTo>
                  <a:pt x="115" y="918"/>
                </a:lnTo>
                <a:lnTo>
                  <a:pt x="114" y="907"/>
                </a:lnTo>
                <a:lnTo>
                  <a:pt x="115" y="897"/>
                </a:lnTo>
                <a:lnTo>
                  <a:pt x="119" y="886"/>
                </a:lnTo>
                <a:lnTo>
                  <a:pt x="120" y="881"/>
                </a:lnTo>
                <a:lnTo>
                  <a:pt x="120" y="875"/>
                </a:lnTo>
                <a:lnTo>
                  <a:pt x="120" y="869"/>
                </a:lnTo>
                <a:lnTo>
                  <a:pt x="119" y="863"/>
                </a:lnTo>
                <a:lnTo>
                  <a:pt x="118" y="852"/>
                </a:lnTo>
                <a:lnTo>
                  <a:pt x="118" y="838"/>
                </a:lnTo>
                <a:lnTo>
                  <a:pt x="119" y="825"/>
                </a:lnTo>
                <a:lnTo>
                  <a:pt x="121" y="811"/>
                </a:lnTo>
                <a:lnTo>
                  <a:pt x="122" y="805"/>
                </a:lnTo>
                <a:lnTo>
                  <a:pt x="124" y="798"/>
                </a:lnTo>
                <a:lnTo>
                  <a:pt x="124" y="792"/>
                </a:lnTo>
                <a:lnTo>
                  <a:pt x="122" y="786"/>
                </a:lnTo>
                <a:lnTo>
                  <a:pt x="119" y="775"/>
                </a:lnTo>
                <a:lnTo>
                  <a:pt x="114" y="765"/>
                </a:lnTo>
                <a:lnTo>
                  <a:pt x="108" y="755"/>
                </a:lnTo>
                <a:lnTo>
                  <a:pt x="101" y="748"/>
                </a:lnTo>
                <a:lnTo>
                  <a:pt x="94" y="741"/>
                </a:lnTo>
                <a:lnTo>
                  <a:pt x="89" y="735"/>
                </a:lnTo>
                <a:lnTo>
                  <a:pt x="87" y="733"/>
                </a:lnTo>
                <a:lnTo>
                  <a:pt x="86" y="730"/>
                </a:lnTo>
                <a:lnTo>
                  <a:pt x="84" y="727"/>
                </a:lnTo>
                <a:lnTo>
                  <a:pt x="84" y="722"/>
                </a:lnTo>
                <a:lnTo>
                  <a:pt x="86" y="718"/>
                </a:lnTo>
                <a:lnTo>
                  <a:pt x="88" y="714"/>
                </a:lnTo>
                <a:lnTo>
                  <a:pt x="93" y="709"/>
                </a:lnTo>
                <a:lnTo>
                  <a:pt x="97" y="703"/>
                </a:lnTo>
                <a:lnTo>
                  <a:pt x="108" y="693"/>
                </a:lnTo>
                <a:lnTo>
                  <a:pt x="121" y="682"/>
                </a:lnTo>
                <a:lnTo>
                  <a:pt x="134" y="670"/>
                </a:lnTo>
                <a:lnTo>
                  <a:pt x="146" y="657"/>
                </a:lnTo>
                <a:lnTo>
                  <a:pt x="153" y="646"/>
                </a:lnTo>
                <a:lnTo>
                  <a:pt x="157" y="639"/>
                </a:lnTo>
                <a:lnTo>
                  <a:pt x="159" y="639"/>
                </a:lnTo>
                <a:lnTo>
                  <a:pt x="160" y="640"/>
                </a:lnTo>
                <a:lnTo>
                  <a:pt x="163" y="645"/>
                </a:lnTo>
                <a:lnTo>
                  <a:pt x="166" y="652"/>
                </a:lnTo>
                <a:lnTo>
                  <a:pt x="172" y="667"/>
                </a:lnTo>
                <a:lnTo>
                  <a:pt x="179" y="682"/>
                </a:lnTo>
                <a:lnTo>
                  <a:pt x="183" y="687"/>
                </a:lnTo>
                <a:lnTo>
                  <a:pt x="188" y="693"/>
                </a:lnTo>
                <a:lnTo>
                  <a:pt x="194" y="697"/>
                </a:lnTo>
                <a:lnTo>
                  <a:pt x="200" y="699"/>
                </a:lnTo>
                <a:lnTo>
                  <a:pt x="206" y="702"/>
                </a:lnTo>
                <a:lnTo>
                  <a:pt x="212" y="703"/>
                </a:lnTo>
                <a:lnTo>
                  <a:pt x="219" y="704"/>
                </a:lnTo>
                <a:lnTo>
                  <a:pt x="226" y="704"/>
                </a:lnTo>
                <a:lnTo>
                  <a:pt x="239" y="704"/>
                </a:lnTo>
                <a:lnTo>
                  <a:pt x="251" y="705"/>
                </a:lnTo>
                <a:lnTo>
                  <a:pt x="256" y="708"/>
                </a:lnTo>
                <a:lnTo>
                  <a:pt x="260" y="710"/>
                </a:lnTo>
                <a:lnTo>
                  <a:pt x="263" y="714"/>
                </a:lnTo>
                <a:lnTo>
                  <a:pt x="265" y="718"/>
                </a:lnTo>
                <a:lnTo>
                  <a:pt x="267" y="730"/>
                </a:lnTo>
                <a:lnTo>
                  <a:pt x="270" y="742"/>
                </a:lnTo>
                <a:lnTo>
                  <a:pt x="272" y="754"/>
                </a:lnTo>
                <a:lnTo>
                  <a:pt x="278" y="766"/>
                </a:lnTo>
                <a:lnTo>
                  <a:pt x="286" y="780"/>
                </a:lnTo>
                <a:lnTo>
                  <a:pt x="296" y="794"/>
                </a:lnTo>
                <a:lnTo>
                  <a:pt x="305" y="811"/>
                </a:lnTo>
                <a:lnTo>
                  <a:pt x="315" y="828"/>
                </a:lnTo>
                <a:lnTo>
                  <a:pt x="324" y="843"/>
                </a:lnTo>
                <a:lnTo>
                  <a:pt x="332" y="856"/>
                </a:lnTo>
                <a:lnTo>
                  <a:pt x="334" y="862"/>
                </a:lnTo>
                <a:lnTo>
                  <a:pt x="336" y="869"/>
                </a:lnTo>
                <a:lnTo>
                  <a:pt x="338" y="875"/>
                </a:lnTo>
                <a:lnTo>
                  <a:pt x="339" y="882"/>
                </a:lnTo>
                <a:lnTo>
                  <a:pt x="339" y="895"/>
                </a:lnTo>
                <a:lnTo>
                  <a:pt x="339" y="905"/>
                </a:lnTo>
                <a:lnTo>
                  <a:pt x="340" y="910"/>
                </a:lnTo>
                <a:lnTo>
                  <a:pt x="341" y="912"/>
                </a:lnTo>
                <a:lnTo>
                  <a:pt x="343" y="915"/>
                </a:lnTo>
                <a:lnTo>
                  <a:pt x="347" y="917"/>
                </a:lnTo>
                <a:lnTo>
                  <a:pt x="355" y="919"/>
                </a:lnTo>
                <a:lnTo>
                  <a:pt x="365" y="920"/>
                </a:lnTo>
                <a:lnTo>
                  <a:pt x="368" y="919"/>
                </a:lnTo>
                <a:lnTo>
                  <a:pt x="372" y="918"/>
                </a:lnTo>
                <a:lnTo>
                  <a:pt x="374" y="915"/>
                </a:lnTo>
                <a:lnTo>
                  <a:pt x="376" y="911"/>
                </a:lnTo>
                <a:lnTo>
                  <a:pt x="374" y="899"/>
                </a:lnTo>
                <a:lnTo>
                  <a:pt x="374" y="887"/>
                </a:lnTo>
                <a:lnTo>
                  <a:pt x="376" y="880"/>
                </a:lnTo>
                <a:lnTo>
                  <a:pt x="378" y="873"/>
                </a:lnTo>
                <a:lnTo>
                  <a:pt x="382" y="866"/>
                </a:lnTo>
                <a:lnTo>
                  <a:pt x="386" y="859"/>
                </a:lnTo>
                <a:lnTo>
                  <a:pt x="397" y="846"/>
                </a:lnTo>
                <a:lnTo>
                  <a:pt x="404" y="832"/>
                </a:lnTo>
                <a:lnTo>
                  <a:pt x="410" y="821"/>
                </a:lnTo>
                <a:lnTo>
                  <a:pt x="415" y="811"/>
                </a:lnTo>
                <a:lnTo>
                  <a:pt x="420" y="803"/>
                </a:lnTo>
                <a:lnTo>
                  <a:pt x="426" y="797"/>
                </a:lnTo>
                <a:lnTo>
                  <a:pt x="433" y="793"/>
                </a:lnTo>
                <a:lnTo>
                  <a:pt x="440" y="791"/>
                </a:lnTo>
                <a:lnTo>
                  <a:pt x="449" y="787"/>
                </a:lnTo>
                <a:lnTo>
                  <a:pt x="459" y="781"/>
                </a:lnTo>
                <a:lnTo>
                  <a:pt x="464" y="777"/>
                </a:lnTo>
                <a:lnTo>
                  <a:pt x="468" y="773"/>
                </a:lnTo>
                <a:lnTo>
                  <a:pt x="471" y="768"/>
                </a:lnTo>
                <a:lnTo>
                  <a:pt x="472" y="764"/>
                </a:lnTo>
                <a:lnTo>
                  <a:pt x="471" y="753"/>
                </a:lnTo>
                <a:lnTo>
                  <a:pt x="469" y="741"/>
                </a:lnTo>
                <a:lnTo>
                  <a:pt x="469" y="735"/>
                </a:lnTo>
                <a:lnTo>
                  <a:pt x="471" y="730"/>
                </a:lnTo>
                <a:lnTo>
                  <a:pt x="472" y="724"/>
                </a:lnTo>
                <a:lnTo>
                  <a:pt x="477" y="721"/>
                </a:lnTo>
                <a:lnTo>
                  <a:pt x="492" y="711"/>
                </a:lnTo>
                <a:lnTo>
                  <a:pt x="513" y="699"/>
                </a:lnTo>
                <a:lnTo>
                  <a:pt x="536" y="689"/>
                </a:lnTo>
                <a:lnTo>
                  <a:pt x="552" y="680"/>
                </a:lnTo>
                <a:lnTo>
                  <a:pt x="560" y="676"/>
                </a:lnTo>
                <a:lnTo>
                  <a:pt x="571" y="668"/>
                </a:lnTo>
                <a:lnTo>
                  <a:pt x="582" y="659"/>
                </a:lnTo>
                <a:lnTo>
                  <a:pt x="593" y="649"/>
                </a:lnTo>
                <a:lnTo>
                  <a:pt x="603" y="642"/>
                </a:lnTo>
                <a:lnTo>
                  <a:pt x="609" y="640"/>
                </a:lnTo>
                <a:lnTo>
                  <a:pt x="613" y="642"/>
                </a:lnTo>
                <a:lnTo>
                  <a:pt x="619" y="647"/>
                </a:lnTo>
                <a:lnTo>
                  <a:pt x="623" y="652"/>
                </a:lnTo>
                <a:lnTo>
                  <a:pt x="626" y="654"/>
                </a:lnTo>
                <a:lnTo>
                  <a:pt x="630" y="655"/>
                </a:lnTo>
                <a:lnTo>
                  <a:pt x="632" y="655"/>
                </a:lnTo>
                <a:lnTo>
                  <a:pt x="639" y="651"/>
                </a:lnTo>
                <a:lnTo>
                  <a:pt x="648" y="642"/>
                </a:lnTo>
                <a:lnTo>
                  <a:pt x="663" y="628"/>
                </a:lnTo>
                <a:lnTo>
                  <a:pt x="678" y="613"/>
                </a:lnTo>
                <a:lnTo>
                  <a:pt x="689" y="600"/>
                </a:lnTo>
                <a:lnTo>
                  <a:pt x="705" y="581"/>
                </a:lnTo>
                <a:lnTo>
                  <a:pt x="720" y="561"/>
                </a:lnTo>
                <a:lnTo>
                  <a:pt x="735" y="545"/>
                </a:lnTo>
                <a:lnTo>
                  <a:pt x="742" y="539"/>
                </a:lnTo>
                <a:lnTo>
                  <a:pt x="748" y="535"/>
                </a:lnTo>
                <a:lnTo>
                  <a:pt x="754" y="533"/>
                </a:lnTo>
                <a:lnTo>
                  <a:pt x="758" y="532"/>
                </a:lnTo>
                <a:lnTo>
                  <a:pt x="769" y="531"/>
                </a:lnTo>
                <a:lnTo>
                  <a:pt x="779" y="528"/>
                </a:lnTo>
                <a:lnTo>
                  <a:pt x="787" y="526"/>
                </a:lnTo>
                <a:lnTo>
                  <a:pt x="795" y="523"/>
                </a:lnTo>
                <a:lnTo>
                  <a:pt x="800" y="522"/>
                </a:lnTo>
                <a:lnTo>
                  <a:pt x="805" y="522"/>
                </a:lnTo>
                <a:lnTo>
                  <a:pt x="807" y="525"/>
                </a:lnTo>
                <a:lnTo>
                  <a:pt x="811" y="528"/>
                </a:lnTo>
                <a:lnTo>
                  <a:pt x="820" y="538"/>
                </a:lnTo>
                <a:lnTo>
                  <a:pt x="831" y="548"/>
                </a:lnTo>
                <a:lnTo>
                  <a:pt x="833" y="551"/>
                </a:lnTo>
                <a:lnTo>
                  <a:pt x="837" y="552"/>
                </a:lnTo>
                <a:lnTo>
                  <a:pt x="839" y="553"/>
                </a:lnTo>
                <a:lnTo>
                  <a:pt x="842" y="552"/>
                </a:lnTo>
                <a:lnTo>
                  <a:pt x="845" y="548"/>
                </a:lnTo>
                <a:lnTo>
                  <a:pt x="848" y="542"/>
                </a:lnTo>
                <a:lnTo>
                  <a:pt x="855" y="531"/>
                </a:lnTo>
                <a:lnTo>
                  <a:pt x="862" y="516"/>
                </a:lnTo>
                <a:lnTo>
                  <a:pt x="869" y="508"/>
                </a:lnTo>
                <a:lnTo>
                  <a:pt x="880" y="497"/>
                </a:lnTo>
                <a:lnTo>
                  <a:pt x="884" y="490"/>
                </a:lnTo>
                <a:lnTo>
                  <a:pt x="889" y="484"/>
                </a:lnTo>
                <a:lnTo>
                  <a:pt x="894" y="478"/>
                </a:lnTo>
                <a:lnTo>
                  <a:pt x="896" y="474"/>
                </a:lnTo>
                <a:lnTo>
                  <a:pt x="900" y="462"/>
                </a:lnTo>
                <a:lnTo>
                  <a:pt x="903" y="449"/>
                </a:lnTo>
                <a:lnTo>
                  <a:pt x="907" y="436"/>
                </a:lnTo>
                <a:lnTo>
                  <a:pt x="912" y="426"/>
                </a:lnTo>
                <a:lnTo>
                  <a:pt x="913" y="424"/>
                </a:lnTo>
                <a:lnTo>
                  <a:pt x="915" y="421"/>
                </a:lnTo>
                <a:lnTo>
                  <a:pt x="919" y="419"/>
                </a:lnTo>
                <a:lnTo>
                  <a:pt x="922" y="418"/>
                </a:lnTo>
                <a:lnTo>
                  <a:pt x="931" y="415"/>
                </a:lnTo>
                <a:lnTo>
                  <a:pt x="941" y="415"/>
                </a:lnTo>
                <a:lnTo>
                  <a:pt x="951" y="416"/>
                </a:lnTo>
                <a:lnTo>
                  <a:pt x="959" y="418"/>
                </a:lnTo>
                <a:lnTo>
                  <a:pt x="966" y="416"/>
                </a:lnTo>
                <a:lnTo>
                  <a:pt x="970" y="415"/>
                </a:lnTo>
                <a:lnTo>
                  <a:pt x="974" y="412"/>
                </a:lnTo>
                <a:lnTo>
                  <a:pt x="976" y="409"/>
                </a:lnTo>
                <a:lnTo>
                  <a:pt x="978" y="407"/>
                </a:lnTo>
                <a:lnTo>
                  <a:pt x="981" y="405"/>
                </a:lnTo>
                <a:lnTo>
                  <a:pt x="984" y="406"/>
                </a:lnTo>
                <a:lnTo>
                  <a:pt x="989" y="408"/>
                </a:lnTo>
                <a:lnTo>
                  <a:pt x="994" y="412"/>
                </a:lnTo>
                <a:lnTo>
                  <a:pt x="1000" y="415"/>
                </a:lnTo>
                <a:lnTo>
                  <a:pt x="1004" y="416"/>
                </a:lnTo>
                <a:lnTo>
                  <a:pt x="1010" y="418"/>
                </a:lnTo>
                <a:lnTo>
                  <a:pt x="1016" y="419"/>
                </a:lnTo>
                <a:lnTo>
                  <a:pt x="1022" y="419"/>
                </a:lnTo>
                <a:lnTo>
                  <a:pt x="1028" y="418"/>
                </a:lnTo>
                <a:lnTo>
                  <a:pt x="1033" y="415"/>
                </a:lnTo>
                <a:lnTo>
                  <a:pt x="1039" y="413"/>
                </a:lnTo>
                <a:lnTo>
                  <a:pt x="1044" y="408"/>
                </a:lnTo>
                <a:lnTo>
                  <a:pt x="1047" y="403"/>
                </a:lnTo>
                <a:lnTo>
                  <a:pt x="1050" y="397"/>
                </a:lnTo>
                <a:lnTo>
                  <a:pt x="1051" y="392"/>
                </a:lnTo>
                <a:lnTo>
                  <a:pt x="1052" y="386"/>
                </a:lnTo>
                <a:lnTo>
                  <a:pt x="1051" y="381"/>
                </a:lnTo>
                <a:lnTo>
                  <a:pt x="1047" y="377"/>
                </a:lnTo>
                <a:lnTo>
                  <a:pt x="1038" y="374"/>
                </a:lnTo>
                <a:lnTo>
                  <a:pt x="1028" y="369"/>
                </a:lnTo>
                <a:lnTo>
                  <a:pt x="1025" y="368"/>
                </a:lnTo>
                <a:lnTo>
                  <a:pt x="1021" y="364"/>
                </a:lnTo>
                <a:lnTo>
                  <a:pt x="1019" y="362"/>
                </a:lnTo>
                <a:lnTo>
                  <a:pt x="1018" y="358"/>
                </a:lnTo>
                <a:lnTo>
                  <a:pt x="1018" y="355"/>
                </a:lnTo>
                <a:lnTo>
                  <a:pt x="1020" y="351"/>
                </a:lnTo>
                <a:lnTo>
                  <a:pt x="1022" y="348"/>
                </a:lnTo>
                <a:lnTo>
                  <a:pt x="1027" y="345"/>
                </a:lnTo>
                <a:lnTo>
                  <a:pt x="1033" y="343"/>
                </a:lnTo>
                <a:lnTo>
                  <a:pt x="1039" y="340"/>
                </a:lnTo>
                <a:lnTo>
                  <a:pt x="1047" y="340"/>
                </a:lnTo>
                <a:lnTo>
                  <a:pt x="1056" y="340"/>
                </a:lnTo>
                <a:lnTo>
                  <a:pt x="1069" y="344"/>
                </a:lnTo>
                <a:lnTo>
                  <a:pt x="1078" y="348"/>
                </a:lnTo>
                <a:lnTo>
                  <a:pt x="1084" y="351"/>
                </a:lnTo>
                <a:lnTo>
                  <a:pt x="1092" y="356"/>
                </a:lnTo>
                <a:lnTo>
                  <a:pt x="1101" y="359"/>
                </a:lnTo>
                <a:lnTo>
                  <a:pt x="1110" y="362"/>
                </a:lnTo>
                <a:lnTo>
                  <a:pt x="1120" y="362"/>
                </a:lnTo>
                <a:lnTo>
                  <a:pt x="1127" y="362"/>
                </a:lnTo>
                <a:lnTo>
                  <a:pt x="1133" y="362"/>
                </a:lnTo>
                <a:lnTo>
                  <a:pt x="1141" y="363"/>
                </a:lnTo>
                <a:lnTo>
                  <a:pt x="1149" y="365"/>
                </a:lnTo>
                <a:lnTo>
                  <a:pt x="1159" y="370"/>
                </a:lnTo>
                <a:lnTo>
                  <a:pt x="1163" y="373"/>
                </a:lnTo>
                <a:lnTo>
                  <a:pt x="1166" y="374"/>
                </a:lnTo>
                <a:lnTo>
                  <a:pt x="1170" y="375"/>
                </a:lnTo>
                <a:lnTo>
                  <a:pt x="1173" y="375"/>
                </a:lnTo>
                <a:lnTo>
                  <a:pt x="1176" y="375"/>
                </a:lnTo>
                <a:lnTo>
                  <a:pt x="1177" y="373"/>
                </a:lnTo>
                <a:lnTo>
                  <a:pt x="1178" y="371"/>
                </a:lnTo>
                <a:lnTo>
                  <a:pt x="1179" y="369"/>
                </a:lnTo>
                <a:lnTo>
                  <a:pt x="1183" y="362"/>
                </a:lnTo>
                <a:lnTo>
                  <a:pt x="1190" y="350"/>
                </a:lnTo>
                <a:lnTo>
                  <a:pt x="1193" y="345"/>
                </a:lnTo>
                <a:lnTo>
                  <a:pt x="1197" y="340"/>
                </a:lnTo>
                <a:lnTo>
                  <a:pt x="1202" y="338"/>
                </a:lnTo>
                <a:lnTo>
                  <a:pt x="1204" y="337"/>
                </a:lnTo>
                <a:lnTo>
                  <a:pt x="1217" y="340"/>
                </a:lnTo>
                <a:lnTo>
                  <a:pt x="1227" y="342"/>
                </a:lnTo>
                <a:lnTo>
                  <a:pt x="1235" y="342"/>
                </a:lnTo>
                <a:lnTo>
                  <a:pt x="1242" y="339"/>
                </a:lnTo>
                <a:lnTo>
                  <a:pt x="1258" y="331"/>
                </a:lnTo>
                <a:lnTo>
                  <a:pt x="1274" y="324"/>
                </a:lnTo>
                <a:lnTo>
                  <a:pt x="1286" y="319"/>
                </a:lnTo>
                <a:lnTo>
                  <a:pt x="1293" y="313"/>
                </a:lnTo>
                <a:lnTo>
                  <a:pt x="1294" y="311"/>
                </a:lnTo>
                <a:lnTo>
                  <a:pt x="1296" y="308"/>
                </a:lnTo>
                <a:lnTo>
                  <a:pt x="1294" y="307"/>
                </a:lnTo>
                <a:lnTo>
                  <a:pt x="1292" y="305"/>
                </a:lnTo>
                <a:lnTo>
                  <a:pt x="1284" y="300"/>
                </a:lnTo>
                <a:lnTo>
                  <a:pt x="1277" y="293"/>
                </a:lnTo>
                <a:lnTo>
                  <a:pt x="1273" y="288"/>
                </a:lnTo>
                <a:lnTo>
                  <a:pt x="1272" y="283"/>
                </a:lnTo>
                <a:lnTo>
                  <a:pt x="1271" y="277"/>
                </a:lnTo>
                <a:lnTo>
                  <a:pt x="1273" y="271"/>
                </a:lnTo>
                <a:lnTo>
                  <a:pt x="1275" y="266"/>
                </a:lnTo>
                <a:lnTo>
                  <a:pt x="1279" y="260"/>
                </a:lnTo>
                <a:lnTo>
                  <a:pt x="1284" y="252"/>
                </a:lnTo>
                <a:lnTo>
                  <a:pt x="1289" y="247"/>
                </a:lnTo>
                <a:lnTo>
                  <a:pt x="1294" y="241"/>
                </a:lnTo>
                <a:lnTo>
                  <a:pt x="1300" y="236"/>
                </a:lnTo>
                <a:lnTo>
                  <a:pt x="1306" y="231"/>
                </a:lnTo>
                <a:lnTo>
                  <a:pt x="1312" y="228"/>
                </a:lnTo>
                <a:lnTo>
                  <a:pt x="1324" y="222"/>
                </a:lnTo>
                <a:lnTo>
                  <a:pt x="1336" y="214"/>
                </a:lnTo>
                <a:lnTo>
                  <a:pt x="1343" y="211"/>
                </a:lnTo>
                <a:lnTo>
                  <a:pt x="1350" y="208"/>
                </a:lnTo>
                <a:lnTo>
                  <a:pt x="1359" y="207"/>
                </a:lnTo>
                <a:lnTo>
                  <a:pt x="1366" y="207"/>
                </a:lnTo>
                <a:lnTo>
                  <a:pt x="1369" y="210"/>
                </a:lnTo>
                <a:lnTo>
                  <a:pt x="1375" y="214"/>
                </a:lnTo>
                <a:lnTo>
                  <a:pt x="1379" y="216"/>
                </a:lnTo>
                <a:lnTo>
                  <a:pt x="1381" y="216"/>
                </a:lnTo>
                <a:lnTo>
                  <a:pt x="1385" y="216"/>
                </a:lnTo>
                <a:lnTo>
                  <a:pt x="1387" y="213"/>
                </a:lnTo>
                <a:lnTo>
                  <a:pt x="1392" y="207"/>
                </a:lnTo>
                <a:lnTo>
                  <a:pt x="1396" y="199"/>
                </a:lnTo>
                <a:lnTo>
                  <a:pt x="1398" y="191"/>
                </a:lnTo>
                <a:lnTo>
                  <a:pt x="1400" y="180"/>
                </a:lnTo>
                <a:lnTo>
                  <a:pt x="1400" y="168"/>
                </a:lnTo>
                <a:lnTo>
                  <a:pt x="1401" y="155"/>
                </a:lnTo>
                <a:lnTo>
                  <a:pt x="1403" y="130"/>
                </a:lnTo>
                <a:lnTo>
                  <a:pt x="1404" y="109"/>
                </a:lnTo>
                <a:lnTo>
                  <a:pt x="1407" y="87"/>
                </a:lnTo>
                <a:lnTo>
                  <a:pt x="1407" y="66"/>
                </a:lnTo>
                <a:lnTo>
                  <a:pt x="1410" y="44"/>
                </a:lnTo>
                <a:lnTo>
                  <a:pt x="1413" y="22"/>
                </a:lnTo>
                <a:lnTo>
                  <a:pt x="1416" y="10"/>
                </a:lnTo>
                <a:lnTo>
                  <a:pt x="1419" y="2"/>
                </a:lnTo>
                <a:lnTo>
                  <a:pt x="1422" y="0"/>
                </a:lnTo>
                <a:lnTo>
                  <a:pt x="1425" y="0"/>
                </a:lnTo>
                <a:lnTo>
                  <a:pt x="1429" y="2"/>
                </a:lnTo>
                <a:lnTo>
                  <a:pt x="1432" y="3"/>
                </a:lnTo>
                <a:lnTo>
                  <a:pt x="1438" y="4"/>
                </a:lnTo>
                <a:lnTo>
                  <a:pt x="1443" y="6"/>
                </a:lnTo>
                <a:lnTo>
                  <a:pt x="1449" y="10"/>
                </a:lnTo>
                <a:lnTo>
                  <a:pt x="1451" y="15"/>
                </a:lnTo>
                <a:lnTo>
                  <a:pt x="1456" y="25"/>
                </a:lnTo>
                <a:lnTo>
                  <a:pt x="1462" y="36"/>
                </a:lnTo>
                <a:lnTo>
                  <a:pt x="1466" y="42"/>
                </a:lnTo>
                <a:lnTo>
                  <a:pt x="1469" y="47"/>
                </a:lnTo>
                <a:lnTo>
                  <a:pt x="1474" y="50"/>
                </a:lnTo>
                <a:lnTo>
                  <a:pt x="1479" y="54"/>
                </a:lnTo>
                <a:lnTo>
                  <a:pt x="1491" y="62"/>
                </a:lnTo>
                <a:lnTo>
                  <a:pt x="1507" y="69"/>
                </a:lnTo>
                <a:lnTo>
                  <a:pt x="1525" y="78"/>
                </a:lnTo>
                <a:lnTo>
                  <a:pt x="1539" y="82"/>
                </a:lnTo>
                <a:lnTo>
                  <a:pt x="1550" y="86"/>
                </a:lnTo>
                <a:lnTo>
                  <a:pt x="1561" y="87"/>
                </a:lnTo>
                <a:lnTo>
                  <a:pt x="1571" y="90"/>
                </a:lnTo>
                <a:lnTo>
                  <a:pt x="1582" y="90"/>
                </a:lnTo>
                <a:lnTo>
                  <a:pt x="1592" y="91"/>
                </a:lnTo>
                <a:lnTo>
                  <a:pt x="1599" y="93"/>
                </a:lnTo>
                <a:lnTo>
                  <a:pt x="1601" y="94"/>
                </a:lnTo>
                <a:lnTo>
                  <a:pt x="1604" y="97"/>
                </a:lnTo>
                <a:lnTo>
                  <a:pt x="1605" y="100"/>
                </a:lnTo>
                <a:lnTo>
                  <a:pt x="1606" y="104"/>
                </a:lnTo>
                <a:lnTo>
                  <a:pt x="1608" y="113"/>
                </a:lnTo>
                <a:lnTo>
                  <a:pt x="1614" y="123"/>
                </a:lnTo>
                <a:lnTo>
                  <a:pt x="1618" y="129"/>
                </a:lnTo>
                <a:lnTo>
                  <a:pt x="1623" y="134"/>
                </a:lnTo>
                <a:lnTo>
                  <a:pt x="1627" y="137"/>
                </a:lnTo>
                <a:lnTo>
                  <a:pt x="1633" y="142"/>
                </a:lnTo>
                <a:lnTo>
                  <a:pt x="1638" y="145"/>
                </a:lnTo>
                <a:lnTo>
                  <a:pt x="1642" y="148"/>
                </a:lnTo>
                <a:lnTo>
                  <a:pt x="1644" y="151"/>
                </a:lnTo>
                <a:lnTo>
                  <a:pt x="1646" y="154"/>
                </a:lnTo>
                <a:lnTo>
                  <a:pt x="1646" y="157"/>
                </a:lnTo>
                <a:lnTo>
                  <a:pt x="1646" y="160"/>
                </a:lnTo>
                <a:lnTo>
                  <a:pt x="1646" y="162"/>
                </a:lnTo>
                <a:lnTo>
                  <a:pt x="1645" y="166"/>
                </a:lnTo>
                <a:lnTo>
                  <a:pt x="1642" y="173"/>
                </a:lnTo>
                <a:lnTo>
                  <a:pt x="1638" y="179"/>
                </a:lnTo>
                <a:lnTo>
                  <a:pt x="1637" y="186"/>
                </a:lnTo>
                <a:lnTo>
                  <a:pt x="1636" y="191"/>
                </a:lnTo>
                <a:lnTo>
                  <a:pt x="1636" y="193"/>
                </a:lnTo>
                <a:lnTo>
                  <a:pt x="1637" y="195"/>
                </a:lnTo>
                <a:lnTo>
                  <a:pt x="1638" y="197"/>
                </a:lnTo>
                <a:lnTo>
                  <a:pt x="1639" y="198"/>
                </a:lnTo>
                <a:lnTo>
                  <a:pt x="1645" y="200"/>
                </a:lnTo>
                <a:lnTo>
                  <a:pt x="1651" y="200"/>
                </a:lnTo>
                <a:lnTo>
                  <a:pt x="1655" y="201"/>
                </a:lnTo>
                <a:lnTo>
                  <a:pt x="1656" y="203"/>
                </a:lnTo>
                <a:lnTo>
                  <a:pt x="1657" y="204"/>
                </a:lnTo>
                <a:lnTo>
                  <a:pt x="1658" y="206"/>
                </a:lnTo>
                <a:lnTo>
                  <a:pt x="1656" y="210"/>
                </a:lnTo>
                <a:lnTo>
                  <a:pt x="1653" y="214"/>
                </a:lnTo>
                <a:lnTo>
                  <a:pt x="1650" y="219"/>
                </a:lnTo>
                <a:lnTo>
                  <a:pt x="1648" y="228"/>
                </a:lnTo>
                <a:lnTo>
                  <a:pt x="1648" y="231"/>
                </a:lnTo>
                <a:lnTo>
                  <a:pt x="1649" y="235"/>
                </a:lnTo>
                <a:lnTo>
                  <a:pt x="1650" y="239"/>
                </a:lnTo>
                <a:lnTo>
                  <a:pt x="1653" y="243"/>
                </a:lnTo>
                <a:lnTo>
                  <a:pt x="1658" y="245"/>
                </a:lnTo>
                <a:lnTo>
                  <a:pt x="1662" y="248"/>
                </a:lnTo>
                <a:lnTo>
                  <a:pt x="1665" y="250"/>
                </a:lnTo>
                <a:lnTo>
                  <a:pt x="1670" y="251"/>
                </a:lnTo>
                <a:lnTo>
                  <a:pt x="1674" y="251"/>
                </a:lnTo>
                <a:lnTo>
                  <a:pt x="1678" y="250"/>
                </a:lnTo>
                <a:lnTo>
                  <a:pt x="1682" y="248"/>
                </a:lnTo>
                <a:lnTo>
                  <a:pt x="1687" y="245"/>
                </a:lnTo>
                <a:lnTo>
                  <a:pt x="1695" y="236"/>
                </a:lnTo>
                <a:lnTo>
                  <a:pt x="1703" y="226"/>
                </a:lnTo>
                <a:lnTo>
                  <a:pt x="1711" y="216"/>
                </a:lnTo>
                <a:lnTo>
                  <a:pt x="1718" y="204"/>
                </a:lnTo>
                <a:lnTo>
                  <a:pt x="1725" y="188"/>
                </a:lnTo>
                <a:lnTo>
                  <a:pt x="1733" y="169"/>
                </a:lnTo>
                <a:lnTo>
                  <a:pt x="1743" y="150"/>
                </a:lnTo>
                <a:lnTo>
                  <a:pt x="1750" y="136"/>
                </a:lnTo>
                <a:lnTo>
                  <a:pt x="1755" y="130"/>
                </a:lnTo>
                <a:lnTo>
                  <a:pt x="1759" y="125"/>
                </a:lnTo>
                <a:lnTo>
                  <a:pt x="1764" y="122"/>
                </a:lnTo>
                <a:lnTo>
                  <a:pt x="1770" y="119"/>
                </a:lnTo>
                <a:lnTo>
                  <a:pt x="1776" y="118"/>
                </a:lnTo>
                <a:lnTo>
                  <a:pt x="1782" y="119"/>
                </a:lnTo>
                <a:lnTo>
                  <a:pt x="1784" y="121"/>
                </a:lnTo>
                <a:lnTo>
                  <a:pt x="1787" y="123"/>
                </a:lnTo>
                <a:lnTo>
                  <a:pt x="1789" y="126"/>
                </a:lnTo>
                <a:lnTo>
                  <a:pt x="1789" y="130"/>
                </a:lnTo>
                <a:lnTo>
                  <a:pt x="1787" y="147"/>
                </a:lnTo>
                <a:lnTo>
                  <a:pt x="1785" y="163"/>
                </a:lnTo>
                <a:lnTo>
                  <a:pt x="1787" y="167"/>
                </a:lnTo>
                <a:lnTo>
                  <a:pt x="1788" y="170"/>
                </a:lnTo>
                <a:lnTo>
                  <a:pt x="1789" y="173"/>
                </a:lnTo>
                <a:lnTo>
                  <a:pt x="1793" y="176"/>
                </a:lnTo>
                <a:lnTo>
                  <a:pt x="1797" y="181"/>
                </a:lnTo>
                <a:lnTo>
                  <a:pt x="1802" y="187"/>
                </a:lnTo>
                <a:lnTo>
                  <a:pt x="1803" y="189"/>
                </a:lnTo>
                <a:lnTo>
                  <a:pt x="1804" y="193"/>
                </a:lnTo>
                <a:lnTo>
                  <a:pt x="1806" y="198"/>
                </a:lnTo>
                <a:lnTo>
                  <a:pt x="1806" y="203"/>
                </a:lnTo>
                <a:lnTo>
                  <a:pt x="1803" y="211"/>
                </a:lnTo>
                <a:lnTo>
                  <a:pt x="1801" y="218"/>
                </a:lnTo>
                <a:lnTo>
                  <a:pt x="1800" y="222"/>
                </a:lnTo>
                <a:lnTo>
                  <a:pt x="1800" y="225"/>
                </a:lnTo>
                <a:lnTo>
                  <a:pt x="1801" y="229"/>
                </a:lnTo>
                <a:lnTo>
                  <a:pt x="1803" y="233"/>
                </a:lnTo>
                <a:lnTo>
                  <a:pt x="1810" y="242"/>
                </a:lnTo>
                <a:lnTo>
                  <a:pt x="1820" y="251"/>
                </a:lnTo>
                <a:lnTo>
                  <a:pt x="1825" y="256"/>
                </a:lnTo>
                <a:lnTo>
                  <a:pt x="1829" y="262"/>
                </a:lnTo>
                <a:lnTo>
                  <a:pt x="1834" y="268"/>
                </a:lnTo>
                <a:lnTo>
                  <a:pt x="1837" y="276"/>
                </a:lnTo>
                <a:lnTo>
                  <a:pt x="1840" y="291"/>
                </a:lnTo>
                <a:lnTo>
                  <a:pt x="1842" y="302"/>
                </a:lnTo>
                <a:lnTo>
                  <a:pt x="1844" y="307"/>
                </a:lnTo>
                <a:lnTo>
                  <a:pt x="1846" y="311"/>
                </a:lnTo>
                <a:lnTo>
                  <a:pt x="1847" y="314"/>
                </a:lnTo>
                <a:lnTo>
                  <a:pt x="1851" y="317"/>
                </a:lnTo>
                <a:lnTo>
                  <a:pt x="1854" y="319"/>
                </a:lnTo>
                <a:lnTo>
                  <a:pt x="1858" y="320"/>
                </a:lnTo>
                <a:lnTo>
                  <a:pt x="1862" y="320"/>
                </a:lnTo>
                <a:lnTo>
                  <a:pt x="1864" y="320"/>
                </a:lnTo>
                <a:lnTo>
                  <a:pt x="1871" y="319"/>
                </a:lnTo>
                <a:lnTo>
                  <a:pt x="1878" y="319"/>
                </a:lnTo>
                <a:lnTo>
                  <a:pt x="1882" y="319"/>
                </a:lnTo>
                <a:lnTo>
                  <a:pt x="1885" y="320"/>
                </a:lnTo>
                <a:lnTo>
                  <a:pt x="1888" y="321"/>
                </a:lnTo>
                <a:lnTo>
                  <a:pt x="1890" y="325"/>
                </a:lnTo>
                <a:lnTo>
                  <a:pt x="1892" y="329"/>
                </a:lnTo>
                <a:lnTo>
                  <a:pt x="1894" y="332"/>
                </a:lnTo>
                <a:lnTo>
                  <a:pt x="1895" y="337"/>
                </a:lnTo>
                <a:lnTo>
                  <a:pt x="1896" y="342"/>
                </a:lnTo>
                <a:lnTo>
                  <a:pt x="1896" y="352"/>
                </a:lnTo>
                <a:lnTo>
                  <a:pt x="1898" y="363"/>
                </a:lnTo>
                <a:lnTo>
                  <a:pt x="1900" y="368"/>
                </a:lnTo>
                <a:lnTo>
                  <a:pt x="1901" y="373"/>
                </a:lnTo>
                <a:lnTo>
                  <a:pt x="1904" y="377"/>
                </a:lnTo>
                <a:lnTo>
                  <a:pt x="1908" y="382"/>
                </a:lnTo>
                <a:lnTo>
                  <a:pt x="1916" y="392"/>
                </a:lnTo>
                <a:lnTo>
                  <a:pt x="1925" y="401"/>
                </a:lnTo>
                <a:lnTo>
                  <a:pt x="1927" y="406"/>
                </a:lnTo>
                <a:lnTo>
                  <a:pt x="1929" y="411"/>
                </a:lnTo>
                <a:lnTo>
                  <a:pt x="1930" y="415"/>
                </a:lnTo>
                <a:lnTo>
                  <a:pt x="1932" y="420"/>
                </a:lnTo>
                <a:lnTo>
                  <a:pt x="1932" y="431"/>
                </a:lnTo>
                <a:lnTo>
                  <a:pt x="1932" y="439"/>
                </a:lnTo>
                <a:lnTo>
                  <a:pt x="1933" y="441"/>
                </a:lnTo>
                <a:lnTo>
                  <a:pt x="1935" y="445"/>
                </a:lnTo>
                <a:lnTo>
                  <a:pt x="1938" y="446"/>
                </a:lnTo>
                <a:lnTo>
                  <a:pt x="1942" y="446"/>
                </a:lnTo>
                <a:lnTo>
                  <a:pt x="1952" y="447"/>
                </a:lnTo>
                <a:lnTo>
                  <a:pt x="1961" y="450"/>
                </a:lnTo>
                <a:lnTo>
                  <a:pt x="1965" y="452"/>
                </a:lnTo>
                <a:lnTo>
                  <a:pt x="1969" y="457"/>
                </a:lnTo>
                <a:lnTo>
                  <a:pt x="1972" y="462"/>
                </a:lnTo>
                <a:lnTo>
                  <a:pt x="1974" y="469"/>
                </a:lnTo>
                <a:lnTo>
                  <a:pt x="1980" y="482"/>
                </a:lnTo>
                <a:lnTo>
                  <a:pt x="1985" y="493"/>
                </a:lnTo>
                <a:lnTo>
                  <a:pt x="1989" y="501"/>
                </a:lnTo>
                <a:lnTo>
                  <a:pt x="1991" y="509"/>
                </a:lnTo>
                <a:lnTo>
                  <a:pt x="1992" y="516"/>
                </a:lnTo>
                <a:lnTo>
                  <a:pt x="1995" y="521"/>
                </a:lnTo>
                <a:lnTo>
                  <a:pt x="1996" y="521"/>
                </a:lnTo>
                <a:lnTo>
                  <a:pt x="1997" y="520"/>
                </a:lnTo>
                <a:lnTo>
                  <a:pt x="1999" y="516"/>
                </a:lnTo>
                <a:lnTo>
                  <a:pt x="2001" y="513"/>
                </a:lnTo>
                <a:lnTo>
                  <a:pt x="2003" y="508"/>
                </a:lnTo>
                <a:lnTo>
                  <a:pt x="2005" y="504"/>
                </a:lnTo>
                <a:lnTo>
                  <a:pt x="2008" y="502"/>
                </a:lnTo>
                <a:lnTo>
                  <a:pt x="2011" y="501"/>
                </a:lnTo>
                <a:lnTo>
                  <a:pt x="2018" y="501"/>
                </a:lnTo>
                <a:lnTo>
                  <a:pt x="2028" y="503"/>
                </a:lnTo>
                <a:lnTo>
                  <a:pt x="2033" y="504"/>
                </a:lnTo>
                <a:lnTo>
                  <a:pt x="2036" y="507"/>
                </a:lnTo>
                <a:lnTo>
                  <a:pt x="2040" y="509"/>
                </a:lnTo>
                <a:lnTo>
                  <a:pt x="2042" y="512"/>
                </a:lnTo>
                <a:lnTo>
                  <a:pt x="2043" y="514"/>
                </a:lnTo>
                <a:lnTo>
                  <a:pt x="2043" y="518"/>
                </a:lnTo>
                <a:lnTo>
                  <a:pt x="2042" y="521"/>
                </a:lnTo>
                <a:lnTo>
                  <a:pt x="2040" y="525"/>
                </a:lnTo>
                <a:lnTo>
                  <a:pt x="2033" y="537"/>
                </a:lnTo>
                <a:lnTo>
                  <a:pt x="2023" y="551"/>
                </a:lnTo>
                <a:lnTo>
                  <a:pt x="2014" y="564"/>
                </a:lnTo>
                <a:lnTo>
                  <a:pt x="2008" y="575"/>
                </a:lnTo>
                <a:lnTo>
                  <a:pt x="2004" y="582"/>
                </a:lnTo>
                <a:lnTo>
                  <a:pt x="1999" y="590"/>
                </a:lnTo>
                <a:lnTo>
                  <a:pt x="1998" y="594"/>
                </a:lnTo>
                <a:lnTo>
                  <a:pt x="1998" y="598"/>
                </a:lnTo>
                <a:lnTo>
                  <a:pt x="1998" y="603"/>
                </a:lnTo>
                <a:lnTo>
                  <a:pt x="1998" y="609"/>
                </a:lnTo>
                <a:lnTo>
                  <a:pt x="2001" y="622"/>
                </a:lnTo>
                <a:lnTo>
                  <a:pt x="2002" y="635"/>
                </a:lnTo>
                <a:lnTo>
                  <a:pt x="2003" y="647"/>
                </a:lnTo>
                <a:lnTo>
                  <a:pt x="2004" y="657"/>
                </a:lnTo>
                <a:lnTo>
                  <a:pt x="2012" y="668"/>
                </a:lnTo>
                <a:lnTo>
                  <a:pt x="2022" y="686"/>
                </a:lnTo>
                <a:lnTo>
                  <a:pt x="2023" y="698"/>
                </a:lnTo>
                <a:lnTo>
                  <a:pt x="2024" y="710"/>
                </a:lnTo>
                <a:lnTo>
                  <a:pt x="2027" y="714"/>
                </a:lnTo>
                <a:lnTo>
                  <a:pt x="2029" y="715"/>
                </a:lnTo>
                <a:lnTo>
                  <a:pt x="2033" y="714"/>
                </a:lnTo>
                <a:lnTo>
                  <a:pt x="2039" y="709"/>
                </a:lnTo>
                <a:lnTo>
                  <a:pt x="2046" y="704"/>
                </a:lnTo>
                <a:lnTo>
                  <a:pt x="2052" y="701"/>
                </a:lnTo>
                <a:lnTo>
                  <a:pt x="2056" y="698"/>
                </a:lnTo>
                <a:lnTo>
                  <a:pt x="2061" y="699"/>
                </a:lnTo>
                <a:lnTo>
                  <a:pt x="2065" y="701"/>
                </a:lnTo>
                <a:lnTo>
                  <a:pt x="2068" y="703"/>
                </a:lnTo>
                <a:lnTo>
                  <a:pt x="2070" y="708"/>
                </a:lnTo>
                <a:lnTo>
                  <a:pt x="2070" y="712"/>
                </a:lnTo>
                <a:lnTo>
                  <a:pt x="2070" y="726"/>
                </a:lnTo>
                <a:lnTo>
                  <a:pt x="2070" y="740"/>
                </a:lnTo>
                <a:lnTo>
                  <a:pt x="2071" y="746"/>
                </a:lnTo>
                <a:lnTo>
                  <a:pt x="2073" y="753"/>
                </a:lnTo>
                <a:lnTo>
                  <a:pt x="2075" y="758"/>
                </a:lnTo>
                <a:lnTo>
                  <a:pt x="2078" y="764"/>
                </a:lnTo>
                <a:lnTo>
                  <a:pt x="2084" y="773"/>
                </a:lnTo>
                <a:lnTo>
                  <a:pt x="2092" y="785"/>
                </a:lnTo>
                <a:lnTo>
                  <a:pt x="2099" y="798"/>
                </a:lnTo>
                <a:lnTo>
                  <a:pt x="2108" y="813"/>
                </a:lnTo>
                <a:lnTo>
                  <a:pt x="2116" y="830"/>
                </a:lnTo>
                <a:lnTo>
                  <a:pt x="2125" y="848"/>
                </a:lnTo>
                <a:lnTo>
                  <a:pt x="2135" y="866"/>
                </a:lnTo>
                <a:lnTo>
                  <a:pt x="2143" y="879"/>
                </a:lnTo>
                <a:lnTo>
                  <a:pt x="2153" y="876"/>
                </a:lnTo>
                <a:lnTo>
                  <a:pt x="2161" y="874"/>
                </a:lnTo>
                <a:lnTo>
                  <a:pt x="2165" y="881"/>
                </a:lnTo>
                <a:lnTo>
                  <a:pt x="2166" y="887"/>
                </a:lnTo>
                <a:lnTo>
                  <a:pt x="2167" y="890"/>
                </a:lnTo>
                <a:lnTo>
                  <a:pt x="2168" y="891"/>
                </a:lnTo>
                <a:lnTo>
                  <a:pt x="2171" y="891"/>
                </a:lnTo>
                <a:lnTo>
                  <a:pt x="2175" y="890"/>
                </a:lnTo>
                <a:lnTo>
                  <a:pt x="2181" y="888"/>
                </a:lnTo>
                <a:lnTo>
                  <a:pt x="2186" y="887"/>
                </a:lnTo>
                <a:lnTo>
                  <a:pt x="2188" y="887"/>
                </a:lnTo>
                <a:lnTo>
                  <a:pt x="2190" y="887"/>
                </a:lnTo>
                <a:lnTo>
                  <a:pt x="2191" y="888"/>
                </a:lnTo>
                <a:lnTo>
                  <a:pt x="2192" y="890"/>
                </a:lnTo>
                <a:lnTo>
                  <a:pt x="2191" y="907"/>
                </a:lnTo>
                <a:lnTo>
                  <a:pt x="2190" y="920"/>
                </a:lnTo>
                <a:lnTo>
                  <a:pt x="2200" y="923"/>
                </a:lnTo>
                <a:lnTo>
                  <a:pt x="2211" y="926"/>
                </a:lnTo>
                <a:lnTo>
                  <a:pt x="2212" y="928"/>
                </a:lnTo>
                <a:lnTo>
                  <a:pt x="2211" y="929"/>
                </a:lnTo>
                <a:lnTo>
                  <a:pt x="2210" y="930"/>
                </a:lnTo>
                <a:lnTo>
                  <a:pt x="2209" y="932"/>
                </a:lnTo>
                <a:lnTo>
                  <a:pt x="2203" y="936"/>
                </a:lnTo>
                <a:lnTo>
                  <a:pt x="2198" y="939"/>
                </a:lnTo>
                <a:lnTo>
                  <a:pt x="2194" y="942"/>
                </a:lnTo>
                <a:lnTo>
                  <a:pt x="2192" y="945"/>
                </a:lnTo>
                <a:lnTo>
                  <a:pt x="2190" y="949"/>
                </a:lnTo>
                <a:lnTo>
                  <a:pt x="2188" y="954"/>
                </a:lnTo>
                <a:lnTo>
                  <a:pt x="2190" y="962"/>
                </a:lnTo>
                <a:lnTo>
                  <a:pt x="2191" y="970"/>
                </a:lnTo>
                <a:lnTo>
                  <a:pt x="2192" y="979"/>
                </a:lnTo>
                <a:lnTo>
                  <a:pt x="2193" y="985"/>
                </a:lnTo>
                <a:lnTo>
                  <a:pt x="2193" y="988"/>
                </a:lnTo>
                <a:lnTo>
                  <a:pt x="2192" y="992"/>
                </a:lnTo>
                <a:lnTo>
                  <a:pt x="2190" y="995"/>
                </a:lnTo>
                <a:lnTo>
                  <a:pt x="2187" y="999"/>
                </a:lnTo>
                <a:lnTo>
                  <a:pt x="2177" y="1011"/>
                </a:lnTo>
                <a:lnTo>
                  <a:pt x="2163" y="1025"/>
                </a:lnTo>
                <a:lnTo>
                  <a:pt x="2156" y="1031"/>
                </a:lnTo>
                <a:lnTo>
                  <a:pt x="2152" y="1036"/>
                </a:lnTo>
                <a:lnTo>
                  <a:pt x="2150" y="1038"/>
                </a:lnTo>
                <a:lnTo>
                  <a:pt x="2149" y="1041"/>
                </a:lnTo>
                <a:lnTo>
                  <a:pt x="2149" y="1042"/>
                </a:lnTo>
                <a:lnTo>
                  <a:pt x="2150" y="1044"/>
                </a:lnTo>
                <a:lnTo>
                  <a:pt x="2153" y="1045"/>
                </a:lnTo>
                <a:lnTo>
                  <a:pt x="2155" y="1046"/>
                </a:lnTo>
                <a:lnTo>
                  <a:pt x="2158" y="1046"/>
                </a:lnTo>
                <a:lnTo>
                  <a:pt x="2161" y="1046"/>
                </a:lnTo>
                <a:lnTo>
                  <a:pt x="2167" y="1045"/>
                </a:lnTo>
                <a:lnTo>
                  <a:pt x="2174" y="1043"/>
                </a:lnTo>
                <a:lnTo>
                  <a:pt x="2181" y="1041"/>
                </a:lnTo>
                <a:lnTo>
                  <a:pt x="2192" y="1041"/>
                </a:lnTo>
                <a:lnTo>
                  <a:pt x="2199" y="1043"/>
                </a:lnTo>
                <a:lnTo>
                  <a:pt x="2204" y="1044"/>
                </a:lnTo>
                <a:lnTo>
                  <a:pt x="2205" y="1046"/>
                </a:lnTo>
                <a:lnTo>
                  <a:pt x="2205" y="1049"/>
                </a:lnTo>
                <a:lnTo>
                  <a:pt x="2201" y="1055"/>
                </a:lnTo>
                <a:lnTo>
                  <a:pt x="2197" y="1062"/>
                </a:lnTo>
                <a:lnTo>
                  <a:pt x="2193" y="1069"/>
                </a:lnTo>
                <a:lnTo>
                  <a:pt x="2191" y="1077"/>
                </a:lnTo>
                <a:lnTo>
                  <a:pt x="2190" y="1084"/>
                </a:lnTo>
                <a:lnTo>
                  <a:pt x="2188" y="1092"/>
                </a:lnTo>
                <a:lnTo>
                  <a:pt x="2188" y="1096"/>
                </a:lnTo>
                <a:lnTo>
                  <a:pt x="2187" y="1100"/>
                </a:lnTo>
                <a:lnTo>
                  <a:pt x="2184" y="1102"/>
                </a:lnTo>
                <a:lnTo>
                  <a:pt x="2181" y="1105"/>
                </a:lnTo>
                <a:lnTo>
                  <a:pt x="2173" y="1107"/>
                </a:lnTo>
                <a:lnTo>
                  <a:pt x="2165" y="1107"/>
                </a:lnTo>
                <a:lnTo>
                  <a:pt x="2160" y="1108"/>
                </a:lnTo>
                <a:lnTo>
                  <a:pt x="2158" y="1109"/>
                </a:lnTo>
                <a:lnTo>
                  <a:pt x="2155" y="1115"/>
                </a:lnTo>
                <a:lnTo>
                  <a:pt x="2149" y="1127"/>
                </a:lnTo>
                <a:lnTo>
                  <a:pt x="2136" y="1142"/>
                </a:lnTo>
                <a:lnTo>
                  <a:pt x="2124" y="1155"/>
                </a:lnTo>
                <a:lnTo>
                  <a:pt x="2119" y="1161"/>
                </a:lnTo>
                <a:lnTo>
                  <a:pt x="2115" y="1165"/>
                </a:lnTo>
                <a:lnTo>
                  <a:pt x="2106" y="1168"/>
                </a:lnTo>
                <a:lnTo>
                  <a:pt x="2095" y="1170"/>
                </a:lnTo>
                <a:lnTo>
                  <a:pt x="2087" y="1172"/>
                </a:lnTo>
                <a:lnTo>
                  <a:pt x="2081" y="1175"/>
                </a:lnTo>
                <a:lnTo>
                  <a:pt x="2075" y="1177"/>
                </a:lnTo>
                <a:lnTo>
                  <a:pt x="2071" y="1181"/>
                </a:lnTo>
                <a:lnTo>
                  <a:pt x="2062" y="1188"/>
                </a:lnTo>
                <a:lnTo>
                  <a:pt x="2054" y="1194"/>
                </a:lnTo>
                <a:lnTo>
                  <a:pt x="2047" y="1200"/>
                </a:lnTo>
                <a:lnTo>
                  <a:pt x="2040" y="1206"/>
                </a:lnTo>
                <a:lnTo>
                  <a:pt x="2033" y="1210"/>
                </a:lnTo>
                <a:lnTo>
                  <a:pt x="2022" y="1214"/>
                </a:lnTo>
                <a:lnTo>
                  <a:pt x="2012" y="1220"/>
                </a:lnTo>
                <a:lnTo>
                  <a:pt x="2005" y="1226"/>
                </a:lnTo>
                <a:lnTo>
                  <a:pt x="2003" y="1228"/>
                </a:lnTo>
                <a:lnTo>
                  <a:pt x="2001" y="1232"/>
                </a:lnTo>
                <a:lnTo>
                  <a:pt x="1999" y="1235"/>
                </a:lnTo>
                <a:lnTo>
                  <a:pt x="1998" y="1238"/>
                </a:lnTo>
                <a:lnTo>
                  <a:pt x="1997" y="1244"/>
                </a:lnTo>
                <a:lnTo>
                  <a:pt x="1995" y="1250"/>
                </a:lnTo>
                <a:lnTo>
                  <a:pt x="1992" y="1254"/>
                </a:lnTo>
                <a:lnTo>
                  <a:pt x="1989" y="1258"/>
                </a:lnTo>
                <a:lnTo>
                  <a:pt x="1979" y="1265"/>
                </a:lnTo>
                <a:lnTo>
                  <a:pt x="1970" y="1272"/>
                </a:lnTo>
                <a:lnTo>
                  <a:pt x="1958" y="1281"/>
                </a:lnTo>
                <a:lnTo>
                  <a:pt x="1945" y="1290"/>
                </a:lnTo>
                <a:lnTo>
                  <a:pt x="1933" y="1298"/>
                </a:lnTo>
                <a:lnTo>
                  <a:pt x="1923" y="1308"/>
                </a:lnTo>
                <a:lnTo>
                  <a:pt x="1916" y="1317"/>
                </a:lnTo>
                <a:lnTo>
                  <a:pt x="1910" y="1329"/>
                </a:lnTo>
                <a:lnTo>
                  <a:pt x="1902" y="1341"/>
                </a:lnTo>
                <a:lnTo>
                  <a:pt x="1892" y="1353"/>
                </a:lnTo>
                <a:lnTo>
                  <a:pt x="1878" y="1369"/>
                </a:lnTo>
                <a:lnTo>
                  <a:pt x="1862" y="1389"/>
                </a:lnTo>
                <a:lnTo>
                  <a:pt x="1844" y="1409"/>
                </a:lnTo>
                <a:lnTo>
                  <a:pt x="1827" y="1426"/>
                </a:lnTo>
                <a:lnTo>
                  <a:pt x="1821" y="1430"/>
                </a:lnTo>
                <a:lnTo>
                  <a:pt x="1818" y="1436"/>
                </a:lnTo>
                <a:lnTo>
                  <a:pt x="1815" y="1441"/>
                </a:lnTo>
                <a:lnTo>
                  <a:pt x="1814" y="1445"/>
                </a:lnTo>
                <a:lnTo>
                  <a:pt x="1813" y="1446"/>
                </a:lnTo>
                <a:lnTo>
                  <a:pt x="1812" y="1448"/>
                </a:lnTo>
                <a:lnTo>
                  <a:pt x="1809" y="1457"/>
                </a:lnTo>
                <a:lnTo>
                  <a:pt x="1808" y="1466"/>
                </a:lnTo>
                <a:lnTo>
                  <a:pt x="1807" y="1477"/>
                </a:lnTo>
                <a:lnTo>
                  <a:pt x="1807" y="1485"/>
                </a:lnTo>
                <a:lnTo>
                  <a:pt x="1800" y="1500"/>
                </a:lnTo>
                <a:lnTo>
                  <a:pt x="1790" y="1520"/>
                </a:lnTo>
                <a:lnTo>
                  <a:pt x="1785" y="1529"/>
                </a:lnTo>
                <a:lnTo>
                  <a:pt x="1782" y="1537"/>
                </a:lnTo>
                <a:lnTo>
                  <a:pt x="1776" y="1544"/>
                </a:lnTo>
                <a:lnTo>
                  <a:pt x="1769" y="1554"/>
                </a:lnTo>
                <a:lnTo>
                  <a:pt x="1763" y="1563"/>
                </a:lnTo>
                <a:lnTo>
                  <a:pt x="1757" y="1571"/>
                </a:lnTo>
                <a:lnTo>
                  <a:pt x="1751" y="1575"/>
                </a:lnTo>
                <a:lnTo>
                  <a:pt x="1745" y="1580"/>
                </a:lnTo>
                <a:lnTo>
                  <a:pt x="1740" y="1582"/>
                </a:lnTo>
                <a:lnTo>
                  <a:pt x="1736" y="1585"/>
                </a:lnTo>
                <a:lnTo>
                  <a:pt x="1732" y="1586"/>
                </a:lnTo>
                <a:lnTo>
                  <a:pt x="1727" y="1586"/>
                </a:lnTo>
                <a:lnTo>
                  <a:pt x="1708" y="1582"/>
                </a:lnTo>
                <a:lnTo>
                  <a:pt x="1682" y="1578"/>
                </a:lnTo>
                <a:lnTo>
                  <a:pt x="1676" y="1579"/>
                </a:lnTo>
                <a:lnTo>
                  <a:pt x="1671" y="1580"/>
                </a:lnTo>
                <a:lnTo>
                  <a:pt x="1667" y="1582"/>
                </a:lnTo>
                <a:lnTo>
                  <a:pt x="1662" y="1586"/>
                </a:lnTo>
                <a:lnTo>
                  <a:pt x="1657" y="1588"/>
                </a:lnTo>
                <a:lnTo>
                  <a:pt x="1651" y="1592"/>
                </a:lnTo>
                <a:lnTo>
                  <a:pt x="1645" y="1594"/>
                </a:lnTo>
                <a:lnTo>
                  <a:pt x="1639" y="1596"/>
                </a:lnTo>
                <a:lnTo>
                  <a:pt x="1633" y="1596"/>
                </a:lnTo>
                <a:lnTo>
                  <a:pt x="1627" y="1594"/>
                </a:lnTo>
                <a:lnTo>
                  <a:pt x="1620" y="1593"/>
                </a:lnTo>
                <a:lnTo>
                  <a:pt x="1615" y="1592"/>
                </a:lnTo>
                <a:lnTo>
                  <a:pt x="1609" y="1590"/>
                </a:lnTo>
                <a:lnTo>
                  <a:pt x="1604" y="1590"/>
                </a:lnTo>
                <a:lnTo>
                  <a:pt x="1598" y="1590"/>
                </a:lnTo>
                <a:lnTo>
                  <a:pt x="1592" y="1591"/>
                </a:lnTo>
                <a:lnTo>
                  <a:pt x="1585" y="1594"/>
                </a:lnTo>
                <a:lnTo>
                  <a:pt x="1577" y="1600"/>
                </a:lnTo>
                <a:lnTo>
                  <a:pt x="1570" y="1607"/>
                </a:lnTo>
                <a:lnTo>
                  <a:pt x="1562" y="1615"/>
                </a:lnTo>
                <a:lnTo>
                  <a:pt x="1548" y="1630"/>
                </a:lnTo>
                <a:lnTo>
                  <a:pt x="1536" y="1641"/>
                </a:lnTo>
                <a:lnTo>
                  <a:pt x="1479" y="1678"/>
                </a:lnTo>
                <a:lnTo>
                  <a:pt x="1466" y="1687"/>
                </a:lnTo>
                <a:lnTo>
                  <a:pt x="1456" y="1694"/>
                </a:lnTo>
                <a:lnTo>
                  <a:pt x="1450" y="1697"/>
                </a:lnTo>
                <a:lnTo>
                  <a:pt x="1442" y="1698"/>
                </a:lnTo>
                <a:lnTo>
                  <a:pt x="1431" y="1697"/>
                </a:lnTo>
                <a:lnTo>
                  <a:pt x="1417" y="1695"/>
                </a:lnTo>
                <a:lnTo>
                  <a:pt x="1410" y="1694"/>
                </a:lnTo>
                <a:lnTo>
                  <a:pt x="1405" y="1695"/>
                </a:lnTo>
                <a:lnTo>
                  <a:pt x="1401" y="1697"/>
                </a:lnTo>
                <a:lnTo>
                  <a:pt x="1398" y="1699"/>
                </a:lnTo>
                <a:lnTo>
                  <a:pt x="1394" y="1706"/>
                </a:lnTo>
                <a:lnTo>
                  <a:pt x="1391" y="1717"/>
                </a:lnTo>
                <a:lnTo>
                  <a:pt x="1390" y="1720"/>
                </a:lnTo>
                <a:lnTo>
                  <a:pt x="1387" y="1723"/>
                </a:lnTo>
                <a:lnTo>
                  <a:pt x="1385" y="1725"/>
                </a:lnTo>
                <a:lnTo>
                  <a:pt x="1381" y="1728"/>
                </a:lnTo>
                <a:lnTo>
                  <a:pt x="1374" y="1731"/>
                </a:lnTo>
                <a:lnTo>
                  <a:pt x="1365" y="1736"/>
                </a:lnTo>
                <a:lnTo>
                  <a:pt x="1355" y="1739"/>
                </a:lnTo>
                <a:lnTo>
                  <a:pt x="1347" y="1743"/>
                </a:lnTo>
                <a:lnTo>
                  <a:pt x="1340" y="1748"/>
                </a:lnTo>
                <a:lnTo>
                  <a:pt x="1334" y="1752"/>
                </a:lnTo>
                <a:lnTo>
                  <a:pt x="1322" y="1767"/>
                </a:lnTo>
                <a:lnTo>
                  <a:pt x="1304" y="1786"/>
                </a:lnTo>
                <a:lnTo>
                  <a:pt x="1286" y="1804"/>
                </a:lnTo>
                <a:lnTo>
                  <a:pt x="1272" y="1817"/>
                </a:lnTo>
                <a:lnTo>
                  <a:pt x="1259" y="1824"/>
                </a:lnTo>
                <a:lnTo>
                  <a:pt x="1247" y="1829"/>
                </a:lnTo>
                <a:lnTo>
                  <a:pt x="1234" y="1833"/>
                </a:lnTo>
                <a:lnTo>
                  <a:pt x="1222" y="1838"/>
                </a:lnTo>
                <a:lnTo>
                  <a:pt x="1216" y="1843"/>
                </a:lnTo>
                <a:lnTo>
                  <a:pt x="1210" y="1850"/>
                </a:lnTo>
                <a:lnTo>
                  <a:pt x="1204" y="1858"/>
                </a:lnTo>
                <a:lnTo>
                  <a:pt x="1198" y="1868"/>
                </a:lnTo>
                <a:lnTo>
                  <a:pt x="1189" y="1886"/>
                </a:lnTo>
                <a:lnTo>
                  <a:pt x="1180" y="1897"/>
                </a:lnTo>
                <a:lnTo>
                  <a:pt x="1174" y="1905"/>
                </a:lnTo>
                <a:lnTo>
                  <a:pt x="1168" y="1911"/>
                </a:lnTo>
                <a:lnTo>
                  <a:pt x="1163" y="1914"/>
                </a:lnTo>
                <a:lnTo>
                  <a:pt x="1158" y="1918"/>
                </a:lnTo>
                <a:lnTo>
                  <a:pt x="1154" y="1920"/>
                </a:lnTo>
                <a:lnTo>
                  <a:pt x="1148" y="1924"/>
                </a:lnTo>
                <a:lnTo>
                  <a:pt x="1141" y="1931"/>
                </a:lnTo>
                <a:lnTo>
                  <a:pt x="1135" y="1939"/>
                </a:lnTo>
                <a:lnTo>
                  <a:pt x="1130" y="1949"/>
                </a:lnTo>
                <a:lnTo>
                  <a:pt x="1129" y="1956"/>
                </a:lnTo>
                <a:lnTo>
                  <a:pt x="1129" y="1957"/>
                </a:lnTo>
                <a:lnTo>
                  <a:pt x="1130" y="1959"/>
                </a:lnTo>
                <a:lnTo>
                  <a:pt x="1132" y="1959"/>
                </a:lnTo>
                <a:lnTo>
                  <a:pt x="1134" y="1959"/>
                </a:lnTo>
                <a:lnTo>
                  <a:pt x="1140" y="1959"/>
                </a:lnTo>
                <a:lnTo>
                  <a:pt x="1145" y="1960"/>
                </a:lnTo>
                <a:lnTo>
                  <a:pt x="1147" y="1962"/>
                </a:lnTo>
                <a:lnTo>
                  <a:pt x="1148" y="1964"/>
                </a:lnTo>
                <a:lnTo>
                  <a:pt x="1148" y="1965"/>
                </a:lnTo>
                <a:lnTo>
                  <a:pt x="1147" y="1968"/>
                </a:lnTo>
                <a:lnTo>
                  <a:pt x="1144" y="1972"/>
                </a:lnTo>
                <a:lnTo>
                  <a:pt x="1138" y="1977"/>
                </a:lnTo>
                <a:lnTo>
                  <a:pt x="1134" y="1978"/>
                </a:lnTo>
                <a:lnTo>
                  <a:pt x="1130" y="1978"/>
                </a:lnTo>
                <a:lnTo>
                  <a:pt x="1127" y="1979"/>
                </a:lnTo>
                <a:lnTo>
                  <a:pt x="1122" y="1978"/>
                </a:lnTo>
                <a:lnTo>
                  <a:pt x="1117" y="1978"/>
                </a:lnTo>
                <a:lnTo>
                  <a:pt x="1115" y="1978"/>
                </a:lnTo>
                <a:lnTo>
                  <a:pt x="1113" y="1979"/>
                </a:lnTo>
                <a:lnTo>
                  <a:pt x="1113" y="1981"/>
                </a:lnTo>
                <a:lnTo>
                  <a:pt x="1113" y="1985"/>
                </a:lnTo>
                <a:lnTo>
                  <a:pt x="1114" y="1990"/>
                </a:lnTo>
                <a:lnTo>
                  <a:pt x="1115" y="1994"/>
                </a:lnTo>
                <a:lnTo>
                  <a:pt x="1116" y="1997"/>
                </a:lnTo>
                <a:lnTo>
                  <a:pt x="1115" y="2002"/>
                </a:lnTo>
                <a:lnTo>
                  <a:pt x="1114" y="2006"/>
                </a:lnTo>
                <a:lnTo>
                  <a:pt x="1110" y="2013"/>
                </a:lnTo>
                <a:lnTo>
                  <a:pt x="1105" y="2020"/>
                </a:lnTo>
                <a:lnTo>
                  <a:pt x="1098" y="2025"/>
                </a:lnTo>
                <a:lnTo>
                  <a:pt x="1091" y="2028"/>
                </a:lnTo>
                <a:lnTo>
                  <a:pt x="1088" y="2029"/>
                </a:lnTo>
                <a:lnTo>
                  <a:pt x="1083" y="2031"/>
                </a:lnTo>
                <a:lnTo>
                  <a:pt x="1079" y="2031"/>
                </a:lnTo>
                <a:lnTo>
                  <a:pt x="1077" y="2029"/>
                </a:lnTo>
                <a:lnTo>
                  <a:pt x="1073" y="2029"/>
                </a:lnTo>
                <a:lnTo>
                  <a:pt x="1070" y="2028"/>
                </a:lnTo>
                <a:lnTo>
                  <a:pt x="1067" y="2029"/>
                </a:lnTo>
                <a:lnTo>
                  <a:pt x="1066" y="2031"/>
                </a:lnTo>
                <a:lnTo>
                  <a:pt x="1065" y="2032"/>
                </a:lnTo>
                <a:lnTo>
                  <a:pt x="1066" y="2034"/>
                </a:lnTo>
                <a:lnTo>
                  <a:pt x="1069" y="2037"/>
                </a:lnTo>
                <a:lnTo>
                  <a:pt x="1072" y="2039"/>
                </a:lnTo>
                <a:lnTo>
                  <a:pt x="1076" y="2042"/>
                </a:lnTo>
                <a:lnTo>
                  <a:pt x="1079" y="2047"/>
                </a:lnTo>
                <a:lnTo>
                  <a:pt x="1081" y="2052"/>
                </a:lnTo>
                <a:lnTo>
                  <a:pt x="1081" y="2057"/>
                </a:lnTo>
                <a:lnTo>
                  <a:pt x="1081" y="2060"/>
                </a:lnTo>
                <a:lnTo>
                  <a:pt x="1078" y="2064"/>
                </a:lnTo>
                <a:lnTo>
                  <a:pt x="1076" y="2065"/>
                </a:lnTo>
                <a:lnTo>
                  <a:pt x="1071" y="2066"/>
                </a:lnTo>
                <a:lnTo>
                  <a:pt x="1066" y="2064"/>
                </a:lnTo>
                <a:lnTo>
                  <a:pt x="1061" y="2061"/>
                </a:lnTo>
                <a:lnTo>
                  <a:pt x="1057" y="2059"/>
                </a:lnTo>
                <a:lnTo>
                  <a:pt x="1052" y="2054"/>
                </a:lnTo>
                <a:lnTo>
                  <a:pt x="1044" y="2045"/>
                </a:lnTo>
                <a:lnTo>
                  <a:pt x="1037" y="2035"/>
                </a:lnTo>
                <a:lnTo>
                  <a:pt x="1033" y="2031"/>
                </a:lnTo>
                <a:lnTo>
                  <a:pt x="1029" y="2027"/>
                </a:lnTo>
                <a:lnTo>
                  <a:pt x="1027" y="2026"/>
                </a:lnTo>
                <a:lnTo>
                  <a:pt x="1023" y="2025"/>
                </a:lnTo>
                <a:lnTo>
                  <a:pt x="1021" y="2025"/>
                </a:lnTo>
                <a:lnTo>
                  <a:pt x="1020" y="2026"/>
                </a:lnTo>
                <a:lnTo>
                  <a:pt x="1019" y="2027"/>
                </a:lnTo>
                <a:lnTo>
                  <a:pt x="1018" y="2029"/>
                </a:lnTo>
                <a:lnTo>
                  <a:pt x="1018" y="2035"/>
                </a:lnTo>
                <a:lnTo>
                  <a:pt x="1016" y="2040"/>
                </a:lnTo>
                <a:lnTo>
                  <a:pt x="1015" y="2042"/>
                </a:lnTo>
                <a:lnTo>
                  <a:pt x="1014" y="2044"/>
                </a:lnTo>
                <a:lnTo>
                  <a:pt x="1012" y="2045"/>
                </a:lnTo>
                <a:lnTo>
                  <a:pt x="1008" y="2045"/>
                </a:lnTo>
                <a:lnTo>
                  <a:pt x="1002" y="2046"/>
                </a:lnTo>
                <a:lnTo>
                  <a:pt x="995" y="2048"/>
                </a:lnTo>
                <a:lnTo>
                  <a:pt x="993" y="2050"/>
                </a:lnTo>
                <a:lnTo>
                  <a:pt x="989" y="2052"/>
                </a:lnTo>
                <a:lnTo>
                  <a:pt x="988" y="2056"/>
                </a:lnTo>
                <a:lnTo>
                  <a:pt x="987" y="2059"/>
                </a:lnTo>
                <a:lnTo>
                  <a:pt x="987" y="2063"/>
                </a:lnTo>
                <a:lnTo>
                  <a:pt x="988" y="2066"/>
                </a:lnTo>
                <a:lnTo>
                  <a:pt x="990" y="2069"/>
                </a:lnTo>
                <a:lnTo>
                  <a:pt x="993" y="2072"/>
                </a:lnTo>
                <a:lnTo>
                  <a:pt x="1000" y="2076"/>
                </a:lnTo>
                <a:lnTo>
                  <a:pt x="1008" y="2079"/>
                </a:lnTo>
                <a:lnTo>
                  <a:pt x="1014" y="2084"/>
                </a:lnTo>
                <a:lnTo>
                  <a:pt x="1020" y="2090"/>
                </a:lnTo>
                <a:lnTo>
                  <a:pt x="1022" y="2094"/>
                </a:lnTo>
                <a:lnTo>
                  <a:pt x="1023" y="2097"/>
                </a:lnTo>
                <a:lnTo>
                  <a:pt x="1023" y="2100"/>
                </a:lnTo>
                <a:lnTo>
                  <a:pt x="1023" y="2102"/>
                </a:lnTo>
                <a:lnTo>
                  <a:pt x="1021" y="2103"/>
                </a:lnTo>
                <a:lnTo>
                  <a:pt x="1018" y="2104"/>
                </a:lnTo>
                <a:lnTo>
                  <a:pt x="1014" y="2105"/>
                </a:lnTo>
                <a:lnTo>
                  <a:pt x="1008" y="2105"/>
                </a:lnTo>
                <a:lnTo>
                  <a:pt x="997" y="2105"/>
                </a:lnTo>
                <a:lnTo>
                  <a:pt x="985" y="2105"/>
                </a:lnTo>
                <a:lnTo>
                  <a:pt x="979" y="2105"/>
                </a:lnTo>
                <a:lnTo>
                  <a:pt x="975" y="2107"/>
                </a:lnTo>
                <a:lnTo>
                  <a:pt x="971" y="2108"/>
                </a:lnTo>
                <a:lnTo>
                  <a:pt x="969" y="2110"/>
                </a:lnTo>
                <a:lnTo>
                  <a:pt x="964" y="2116"/>
                </a:lnTo>
                <a:lnTo>
                  <a:pt x="960" y="2123"/>
                </a:lnTo>
                <a:lnTo>
                  <a:pt x="957" y="2128"/>
                </a:lnTo>
                <a:lnTo>
                  <a:pt x="952" y="2133"/>
                </a:lnTo>
                <a:lnTo>
                  <a:pt x="945" y="2134"/>
                </a:lnTo>
                <a:lnTo>
                  <a:pt x="934" y="2135"/>
                </a:lnTo>
                <a:lnTo>
                  <a:pt x="924" y="2135"/>
                </a:lnTo>
                <a:lnTo>
                  <a:pt x="915" y="2136"/>
                </a:lnTo>
                <a:lnTo>
                  <a:pt x="908" y="2139"/>
                </a:lnTo>
                <a:lnTo>
                  <a:pt x="903" y="2142"/>
                </a:lnTo>
                <a:lnTo>
                  <a:pt x="897" y="2147"/>
                </a:lnTo>
                <a:lnTo>
                  <a:pt x="891" y="2151"/>
                </a:lnTo>
                <a:lnTo>
                  <a:pt x="884" y="2153"/>
                </a:lnTo>
                <a:lnTo>
                  <a:pt x="877" y="2153"/>
                </a:lnTo>
                <a:lnTo>
                  <a:pt x="872" y="2153"/>
                </a:lnTo>
                <a:lnTo>
                  <a:pt x="870" y="2154"/>
                </a:lnTo>
                <a:lnTo>
                  <a:pt x="867" y="2157"/>
                </a:lnTo>
                <a:lnTo>
                  <a:pt x="864" y="2160"/>
                </a:lnTo>
                <a:lnTo>
                  <a:pt x="861" y="2167"/>
                </a:lnTo>
                <a:lnTo>
                  <a:pt x="859" y="2174"/>
                </a:lnTo>
                <a:lnTo>
                  <a:pt x="857" y="2182"/>
                </a:lnTo>
                <a:lnTo>
                  <a:pt x="853" y="2185"/>
                </a:lnTo>
                <a:lnTo>
                  <a:pt x="852" y="2186"/>
                </a:lnTo>
                <a:lnTo>
                  <a:pt x="850" y="2187"/>
                </a:lnTo>
                <a:lnTo>
                  <a:pt x="846" y="2187"/>
                </a:lnTo>
                <a:lnTo>
                  <a:pt x="844" y="2186"/>
                </a:lnTo>
                <a:lnTo>
                  <a:pt x="840" y="2185"/>
                </a:lnTo>
                <a:lnTo>
                  <a:pt x="838" y="2183"/>
                </a:lnTo>
                <a:lnTo>
                  <a:pt x="837" y="2179"/>
                </a:lnTo>
                <a:lnTo>
                  <a:pt x="834" y="2176"/>
                </a:lnTo>
                <a:lnTo>
                  <a:pt x="833" y="2165"/>
                </a:lnTo>
                <a:lnTo>
                  <a:pt x="832" y="2153"/>
                </a:lnTo>
                <a:lnTo>
                  <a:pt x="832" y="2146"/>
                </a:lnTo>
                <a:lnTo>
                  <a:pt x="830" y="2140"/>
                </a:lnTo>
                <a:lnTo>
                  <a:pt x="827" y="2134"/>
                </a:lnTo>
                <a:lnTo>
                  <a:pt x="825" y="2129"/>
                </a:lnTo>
                <a:lnTo>
                  <a:pt x="819" y="2120"/>
                </a:lnTo>
                <a:lnTo>
                  <a:pt x="817" y="2114"/>
                </a:lnTo>
                <a:lnTo>
                  <a:pt x="817" y="2109"/>
                </a:lnTo>
                <a:lnTo>
                  <a:pt x="818" y="2103"/>
                </a:lnTo>
                <a:lnTo>
                  <a:pt x="819" y="2100"/>
                </a:lnTo>
                <a:lnTo>
                  <a:pt x="821" y="2097"/>
                </a:lnTo>
                <a:lnTo>
                  <a:pt x="825" y="2096"/>
                </a:lnTo>
                <a:lnTo>
                  <a:pt x="830" y="2095"/>
                </a:lnTo>
                <a:lnTo>
                  <a:pt x="843" y="2094"/>
                </a:lnTo>
                <a:lnTo>
                  <a:pt x="857" y="2091"/>
                </a:lnTo>
                <a:lnTo>
                  <a:pt x="871" y="2088"/>
                </a:lnTo>
                <a:lnTo>
                  <a:pt x="883" y="2083"/>
                </a:lnTo>
                <a:lnTo>
                  <a:pt x="887" y="2079"/>
                </a:lnTo>
                <a:lnTo>
                  <a:pt x="889" y="2076"/>
                </a:lnTo>
                <a:lnTo>
                  <a:pt x="890" y="2072"/>
                </a:lnTo>
                <a:lnTo>
                  <a:pt x="891" y="2069"/>
                </a:lnTo>
                <a:lnTo>
                  <a:pt x="890" y="2059"/>
                </a:lnTo>
                <a:lnTo>
                  <a:pt x="889" y="2050"/>
                </a:lnTo>
                <a:lnTo>
                  <a:pt x="890" y="2046"/>
                </a:lnTo>
                <a:lnTo>
                  <a:pt x="891" y="2042"/>
                </a:lnTo>
                <a:lnTo>
                  <a:pt x="894" y="2040"/>
                </a:lnTo>
                <a:lnTo>
                  <a:pt x="896" y="2038"/>
                </a:lnTo>
                <a:lnTo>
                  <a:pt x="900" y="2037"/>
                </a:lnTo>
                <a:lnTo>
                  <a:pt x="903" y="2037"/>
                </a:lnTo>
                <a:lnTo>
                  <a:pt x="907" y="2038"/>
                </a:lnTo>
                <a:lnTo>
                  <a:pt x="909" y="2039"/>
                </a:lnTo>
                <a:lnTo>
                  <a:pt x="915" y="2042"/>
                </a:lnTo>
                <a:lnTo>
                  <a:pt x="921" y="2045"/>
                </a:lnTo>
                <a:lnTo>
                  <a:pt x="928" y="2046"/>
                </a:lnTo>
                <a:lnTo>
                  <a:pt x="938" y="2044"/>
                </a:lnTo>
                <a:lnTo>
                  <a:pt x="944" y="2041"/>
                </a:lnTo>
                <a:lnTo>
                  <a:pt x="951" y="2038"/>
                </a:lnTo>
                <a:lnTo>
                  <a:pt x="958" y="2033"/>
                </a:lnTo>
                <a:lnTo>
                  <a:pt x="966" y="2027"/>
                </a:lnTo>
                <a:lnTo>
                  <a:pt x="975" y="2020"/>
                </a:lnTo>
                <a:lnTo>
                  <a:pt x="981" y="2013"/>
                </a:lnTo>
                <a:lnTo>
                  <a:pt x="987" y="2006"/>
                </a:lnTo>
                <a:lnTo>
                  <a:pt x="990" y="2000"/>
                </a:lnTo>
                <a:lnTo>
                  <a:pt x="993" y="1993"/>
                </a:lnTo>
                <a:lnTo>
                  <a:pt x="993" y="1988"/>
                </a:lnTo>
                <a:lnTo>
                  <a:pt x="993" y="1983"/>
                </a:lnTo>
                <a:lnTo>
                  <a:pt x="990" y="1979"/>
                </a:lnTo>
                <a:lnTo>
                  <a:pt x="988" y="1977"/>
                </a:lnTo>
                <a:lnTo>
                  <a:pt x="984" y="1975"/>
                </a:lnTo>
                <a:lnTo>
                  <a:pt x="979" y="1974"/>
                </a:lnTo>
                <a:lnTo>
                  <a:pt x="976" y="1974"/>
                </a:lnTo>
                <a:lnTo>
                  <a:pt x="968" y="1974"/>
                </a:lnTo>
                <a:lnTo>
                  <a:pt x="960" y="1972"/>
                </a:lnTo>
                <a:lnTo>
                  <a:pt x="958" y="1971"/>
                </a:lnTo>
                <a:lnTo>
                  <a:pt x="957" y="1970"/>
                </a:lnTo>
                <a:lnTo>
                  <a:pt x="956" y="1968"/>
                </a:lnTo>
                <a:lnTo>
                  <a:pt x="956" y="1965"/>
                </a:lnTo>
                <a:lnTo>
                  <a:pt x="958" y="1962"/>
                </a:lnTo>
                <a:lnTo>
                  <a:pt x="963" y="1957"/>
                </a:lnTo>
                <a:lnTo>
                  <a:pt x="966" y="1955"/>
                </a:lnTo>
                <a:lnTo>
                  <a:pt x="971" y="1952"/>
                </a:lnTo>
                <a:lnTo>
                  <a:pt x="974" y="1950"/>
                </a:lnTo>
                <a:lnTo>
                  <a:pt x="975" y="1946"/>
                </a:lnTo>
                <a:lnTo>
                  <a:pt x="974" y="1945"/>
                </a:lnTo>
                <a:lnTo>
                  <a:pt x="972" y="1944"/>
                </a:lnTo>
                <a:lnTo>
                  <a:pt x="969" y="1941"/>
                </a:lnTo>
                <a:lnTo>
                  <a:pt x="965" y="1940"/>
                </a:lnTo>
                <a:lnTo>
                  <a:pt x="960" y="1939"/>
                </a:lnTo>
                <a:lnTo>
                  <a:pt x="959" y="1938"/>
                </a:lnTo>
                <a:lnTo>
                  <a:pt x="959" y="1936"/>
                </a:lnTo>
                <a:lnTo>
                  <a:pt x="960" y="1933"/>
                </a:lnTo>
                <a:lnTo>
                  <a:pt x="964" y="1932"/>
                </a:lnTo>
                <a:lnTo>
                  <a:pt x="968" y="1930"/>
                </a:lnTo>
                <a:lnTo>
                  <a:pt x="972" y="1928"/>
                </a:lnTo>
                <a:lnTo>
                  <a:pt x="978" y="1928"/>
                </a:lnTo>
                <a:lnTo>
                  <a:pt x="983" y="1927"/>
                </a:lnTo>
                <a:lnTo>
                  <a:pt x="988" y="1926"/>
                </a:lnTo>
                <a:lnTo>
                  <a:pt x="991" y="1925"/>
                </a:lnTo>
                <a:lnTo>
                  <a:pt x="995" y="1922"/>
                </a:lnTo>
                <a:lnTo>
                  <a:pt x="998" y="1918"/>
                </a:lnTo>
                <a:lnTo>
                  <a:pt x="1001" y="1912"/>
                </a:lnTo>
                <a:lnTo>
                  <a:pt x="1001" y="1907"/>
                </a:lnTo>
                <a:lnTo>
                  <a:pt x="1003" y="1902"/>
                </a:lnTo>
                <a:lnTo>
                  <a:pt x="1009" y="1899"/>
                </a:lnTo>
                <a:lnTo>
                  <a:pt x="1019" y="1894"/>
                </a:lnTo>
                <a:lnTo>
                  <a:pt x="1031" y="1890"/>
                </a:lnTo>
                <a:lnTo>
                  <a:pt x="1042" y="1886"/>
                </a:lnTo>
                <a:lnTo>
                  <a:pt x="1054" y="1882"/>
                </a:lnTo>
                <a:lnTo>
                  <a:pt x="1064" y="1880"/>
                </a:lnTo>
                <a:lnTo>
                  <a:pt x="1069" y="1878"/>
                </a:lnTo>
                <a:lnTo>
                  <a:pt x="1072" y="1876"/>
                </a:lnTo>
                <a:lnTo>
                  <a:pt x="1075" y="1873"/>
                </a:lnTo>
                <a:lnTo>
                  <a:pt x="1077" y="1870"/>
                </a:lnTo>
                <a:lnTo>
                  <a:pt x="1078" y="1867"/>
                </a:lnTo>
                <a:lnTo>
                  <a:pt x="1077" y="1864"/>
                </a:lnTo>
                <a:lnTo>
                  <a:pt x="1076" y="1862"/>
                </a:lnTo>
                <a:lnTo>
                  <a:pt x="1073" y="1859"/>
                </a:lnTo>
                <a:lnTo>
                  <a:pt x="1065" y="1858"/>
                </a:lnTo>
                <a:lnTo>
                  <a:pt x="1052" y="1858"/>
                </a:lnTo>
                <a:lnTo>
                  <a:pt x="1037" y="1859"/>
                </a:lnTo>
                <a:lnTo>
                  <a:pt x="1023" y="1862"/>
                </a:lnTo>
                <a:lnTo>
                  <a:pt x="1012" y="1867"/>
                </a:lnTo>
                <a:lnTo>
                  <a:pt x="998" y="1875"/>
                </a:lnTo>
                <a:lnTo>
                  <a:pt x="985" y="1882"/>
                </a:lnTo>
                <a:lnTo>
                  <a:pt x="975" y="1890"/>
                </a:lnTo>
                <a:lnTo>
                  <a:pt x="970" y="1893"/>
                </a:lnTo>
                <a:lnTo>
                  <a:pt x="964" y="1895"/>
                </a:lnTo>
                <a:lnTo>
                  <a:pt x="958" y="1897"/>
                </a:lnTo>
                <a:lnTo>
                  <a:pt x="952" y="1899"/>
                </a:lnTo>
                <a:lnTo>
                  <a:pt x="945" y="1899"/>
                </a:lnTo>
                <a:lnTo>
                  <a:pt x="940" y="1897"/>
                </a:lnTo>
                <a:lnTo>
                  <a:pt x="935" y="1897"/>
                </a:lnTo>
                <a:lnTo>
                  <a:pt x="932" y="1895"/>
                </a:lnTo>
                <a:lnTo>
                  <a:pt x="926" y="1889"/>
                </a:lnTo>
                <a:lnTo>
                  <a:pt x="919" y="1880"/>
                </a:lnTo>
                <a:lnTo>
                  <a:pt x="913" y="1867"/>
                </a:lnTo>
                <a:lnTo>
                  <a:pt x="909" y="1853"/>
                </a:lnTo>
                <a:lnTo>
                  <a:pt x="908" y="1848"/>
                </a:lnTo>
                <a:lnTo>
                  <a:pt x="909" y="1843"/>
                </a:lnTo>
                <a:lnTo>
                  <a:pt x="911" y="1839"/>
                </a:lnTo>
                <a:lnTo>
                  <a:pt x="914" y="1837"/>
                </a:lnTo>
                <a:lnTo>
                  <a:pt x="920" y="1833"/>
                </a:lnTo>
                <a:lnTo>
                  <a:pt x="925" y="1830"/>
                </a:lnTo>
                <a:lnTo>
                  <a:pt x="926" y="1826"/>
                </a:lnTo>
                <a:lnTo>
                  <a:pt x="927" y="1821"/>
                </a:lnTo>
                <a:lnTo>
                  <a:pt x="927" y="1814"/>
                </a:lnTo>
                <a:lnTo>
                  <a:pt x="927" y="1806"/>
                </a:lnTo>
                <a:lnTo>
                  <a:pt x="926" y="1788"/>
                </a:lnTo>
                <a:lnTo>
                  <a:pt x="925" y="1773"/>
                </a:lnTo>
                <a:lnTo>
                  <a:pt x="924" y="1766"/>
                </a:lnTo>
                <a:lnTo>
                  <a:pt x="922" y="1760"/>
                </a:lnTo>
                <a:lnTo>
                  <a:pt x="920" y="1756"/>
                </a:lnTo>
                <a:lnTo>
                  <a:pt x="916" y="1751"/>
                </a:lnTo>
                <a:lnTo>
                  <a:pt x="911" y="1745"/>
                </a:lnTo>
                <a:lnTo>
                  <a:pt x="903" y="1739"/>
                </a:lnTo>
                <a:lnTo>
                  <a:pt x="901" y="1735"/>
                </a:lnTo>
                <a:lnTo>
                  <a:pt x="899" y="1730"/>
                </a:lnTo>
                <a:lnTo>
                  <a:pt x="897" y="1723"/>
                </a:lnTo>
                <a:lnTo>
                  <a:pt x="897" y="1716"/>
                </a:lnTo>
                <a:lnTo>
                  <a:pt x="899" y="1708"/>
                </a:lnTo>
                <a:lnTo>
                  <a:pt x="900" y="1701"/>
                </a:lnTo>
                <a:lnTo>
                  <a:pt x="902" y="1694"/>
                </a:lnTo>
                <a:lnTo>
                  <a:pt x="905" y="1687"/>
                </a:lnTo>
                <a:lnTo>
                  <a:pt x="907" y="1682"/>
                </a:lnTo>
                <a:lnTo>
                  <a:pt x="911" y="1679"/>
                </a:lnTo>
                <a:lnTo>
                  <a:pt x="915" y="1675"/>
                </a:lnTo>
                <a:lnTo>
                  <a:pt x="921" y="1672"/>
                </a:lnTo>
                <a:lnTo>
                  <a:pt x="932" y="1666"/>
                </a:lnTo>
                <a:lnTo>
                  <a:pt x="943" y="1661"/>
                </a:lnTo>
                <a:lnTo>
                  <a:pt x="960" y="1648"/>
                </a:lnTo>
                <a:lnTo>
                  <a:pt x="977" y="1637"/>
                </a:lnTo>
                <a:lnTo>
                  <a:pt x="982" y="1635"/>
                </a:lnTo>
                <a:lnTo>
                  <a:pt x="987" y="1630"/>
                </a:lnTo>
                <a:lnTo>
                  <a:pt x="993" y="1625"/>
                </a:lnTo>
                <a:lnTo>
                  <a:pt x="996" y="1619"/>
                </a:lnTo>
                <a:lnTo>
                  <a:pt x="1001" y="1613"/>
                </a:lnTo>
                <a:lnTo>
                  <a:pt x="1003" y="1609"/>
                </a:lnTo>
                <a:lnTo>
                  <a:pt x="1003" y="1603"/>
                </a:lnTo>
                <a:lnTo>
                  <a:pt x="1002" y="1599"/>
                </a:lnTo>
                <a:lnTo>
                  <a:pt x="1001" y="1596"/>
                </a:lnTo>
                <a:lnTo>
                  <a:pt x="1000" y="1592"/>
                </a:lnTo>
                <a:lnTo>
                  <a:pt x="1000" y="1590"/>
                </a:lnTo>
                <a:lnTo>
                  <a:pt x="1001" y="1588"/>
                </a:lnTo>
                <a:lnTo>
                  <a:pt x="1004" y="1585"/>
                </a:lnTo>
                <a:lnTo>
                  <a:pt x="1010" y="1582"/>
                </a:lnTo>
                <a:lnTo>
                  <a:pt x="1015" y="1578"/>
                </a:lnTo>
                <a:lnTo>
                  <a:pt x="1021" y="1571"/>
                </a:lnTo>
                <a:lnTo>
                  <a:pt x="1025" y="1562"/>
                </a:lnTo>
                <a:lnTo>
                  <a:pt x="1029" y="1554"/>
                </a:lnTo>
                <a:lnTo>
                  <a:pt x="1034" y="1548"/>
                </a:lnTo>
                <a:lnTo>
                  <a:pt x="1039" y="1542"/>
                </a:lnTo>
                <a:lnTo>
                  <a:pt x="1041" y="1539"/>
                </a:lnTo>
                <a:lnTo>
                  <a:pt x="1042" y="1535"/>
                </a:lnTo>
                <a:lnTo>
                  <a:pt x="1044" y="1531"/>
                </a:lnTo>
                <a:lnTo>
                  <a:pt x="1044" y="1527"/>
                </a:lnTo>
                <a:lnTo>
                  <a:pt x="1044" y="1523"/>
                </a:lnTo>
                <a:lnTo>
                  <a:pt x="1045" y="1518"/>
                </a:lnTo>
                <a:lnTo>
                  <a:pt x="1047" y="1516"/>
                </a:lnTo>
                <a:lnTo>
                  <a:pt x="1048" y="1512"/>
                </a:lnTo>
                <a:lnTo>
                  <a:pt x="1056" y="1508"/>
                </a:lnTo>
                <a:lnTo>
                  <a:pt x="1063" y="1503"/>
                </a:lnTo>
                <a:lnTo>
                  <a:pt x="1066" y="1499"/>
                </a:lnTo>
                <a:lnTo>
                  <a:pt x="1070" y="1496"/>
                </a:lnTo>
                <a:lnTo>
                  <a:pt x="1072" y="1491"/>
                </a:lnTo>
                <a:lnTo>
                  <a:pt x="1073" y="1486"/>
                </a:lnTo>
                <a:lnTo>
                  <a:pt x="1075" y="1476"/>
                </a:lnTo>
                <a:lnTo>
                  <a:pt x="1073" y="1466"/>
                </a:lnTo>
                <a:lnTo>
                  <a:pt x="1073" y="1461"/>
                </a:lnTo>
                <a:lnTo>
                  <a:pt x="1073" y="1458"/>
                </a:lnTo>
                <a:lnTo>
                  <a:pt x="1073" y="1454"/>
                </a:lnTo>
                <a:lnTo>
                  <a:pt x="1076" y="1449"/>
                </a:lnTo>
                <a:lnTo>
                  <a:pt x="1082" y="1440"/>
                </a:lnTo>
                <a:lnTo>
                  <a:pt x="1091" y="1427"/>
                </a:lnTo>
                <a:lnTo>
                  <a:pt x="1103" y="1413"/>
                </a:lnTo>
                <a:lnTo>
                  <a:pt x="1110" y="1398"/>
                </a:lnTo>
                <a:lnTo>
                  <a:pt x="1113" y="1392"/>
                </a:lnTo>
                <a:lnTo>
                  <a:pt x="1114" y="1386"/>
                </a:lnTo>
                <a:lnTo>
                  <a:pt x="1115" y="1380"/>
                </a:lnTo>
                <a:lnTo>
                  <a:pt x="1115" y="1374"/>
                </a:lnTo>
                <a:lnTo>
                  <a:pt x="1113" y="1367"/>
                </a:lnTo>
                <a:lnTo>
                  <a:pt x="1110" y="1361"/>
                </a:lnTo>
                <a:lnTo>
                  <a:pt x="1105" y="1354"/>
                </a:lnTo>
                <a:lnTo>
                  <a:pt x="1101" y="1348"/>
                </a:lnTo>
                <a:lnTo>
                  <a:pt x="1089" y="1335"/>
                </a:lnTo>
                <a:lnTo>
                  <a:pt x="1079" y="1325"/>
                </a:lnTo>
                <a:lnTo>
                  <a:pt x="1070" y="1314"/>
                </a:lnTo>
                <a:lnTo>
                  <a:pt x="1059" y="1302"/>
                </a:lnTo>
                <a:lnTo>
                  <a:pt x="1050" y="1291"/>
                </a:lnTo>
                <a:lnTo>
                  <a:pt x="1042" y="1283"/>
                </a:lnTo>
                <a:lnTo>
                  <a:pt x="1028" y="1272"/>
                </a:lnTo>
                <a:lnTo>
                  <a:pt x="1009" y="1259"/>
                </a:lnTo>
                <a:lnTo>
                  <a:pt x="1006" y="1257"/>
                </a:lnTo>
                <a:lnTo>
                  <a:pt x="1003" y="1253"/>
                </a:lnTo>
                <a:lnTo>
                  <a:pt x="1002" y="1250"/>
                </a:lnTo>
                <a:lnTo>
                  <a:pt x="1001" y="1247"/>
                </a:lnTo>
                <a:lnTo>
                  <a:pt x="1001" y="1239"/>
                </a:lnTo>
                <a:lnTo>
                  <a:pt x="1002" y="1231"/>
                </a:lnTo>
                <a:lnTo>
                  <a:pt x="1002" y="1222"/>
                </a:lnTo>
                <a:lnTo>
                  <a:pt x="1001" y="1214"/>
                </a:lnTo>
                <a:lnTo>
                  <a:pt x="998" y="1207"/>
                </a:lnTo>
                <a:lnTo>
                  <a:pt x="994" y="1199"/>
                </a:lnTo>
                <a:lnTo>
                  <a:pt x="987" y="1188"/>
                </a:lnTo>
                <a:lnTo>
                  <a:pt x="978" y="1174"/>
                </a:lnTo>
                <a:lnTo>
                  <a:pt x="969" y="1159"/>
                </a:lnTo>
                <a:lnTo>
                  <a:pt x="963" y="1149"/>
                </a:lnTo>
                <a:lnTo>
                  <a:pt x="960" y="1146"/>
                </a:lnTo>
                <a:lnTo>
                  <a:pt x="959" y="1145"/>
                </a:lnTo>
                <a:lnTo>
                  <a:pt x="957" y="1145"/>
                </a:lnTo>
                <a:lnTo>
                  <a:pt x="954" y="1146"/>
                </a:lnTo>
                <a:lnTo>
                  <a:pt x="953" y="1150"/>
                </a:lnTo>
                <a:lnTo>
                  <a:pt x="952" y="1152"/>
                </a:lnTo>
                <a:lnTo>
                  <a:pt x="951" y="1157"/>
                </a:lnTo>
                <a:lnTo>
                  <a:pt x="951" y="1162"/>
                </a:lnTo>
                <a:lnTo>
                  <a:pt x="950" y="1165"/>
                </a:lnTo>
                <a:lnTo>
                  <a:pt x="950" y="1168"/>
                </a:lnTo>
                <a:lnTo>
                  <a:pt x="949" y="1168"/>
                </a:lnTo>
                <a:lnTo>
                  <a:pt x="947" y="1168"/>
                </a:lnTo>
                <a:lnTo>
                  <a:pt x="945" y="1163"/>
                </a:lnTo>
                <a:lnTo>
                  <a:pt x="940" y="1157"/>
                </a:lnTo>
                <a:lnTo>
                  <a:pt x="938" y="1153"/>
                </a:lnTo>
                <a:lnTo>
                  <a:pt x="935" y="1151"/>
                </a:lnTo>
                <a:lnTo>
                  <a:pt x="932" y="1151"/>
                </a:lnTo>
                <a:lnTo>
                  <a:pt x="930" y="1151"/>
                </a:lnTo>
                <a:lnTo>
                  <a:pt x="927" y="1151"/>
                </a:lnTo>
                <a:lnTo>
                  <a:pt x="925" y="1153"/>
                </a:lnTo>
                <a:lnTo>
                  <a:pt x="922" y="1156"/>
                </a:lnTo>
                <a:lnTo>
                  <a:pt x="921" y="1159"/>
                </a:lnTo>
                <a:lnTo>
                  <a:pt x="924" y="1177"/>
                </a:lnTo>
                <a:lnTo>
                  <a:pt x="928" y="1194"/>
                </a:lnTo>
                <a:lnTo>
                  <a:pt x="927" y="1201"/>
                </a:lnTo>
                <a:lnTo>
                  <a:pt x="924" y="1207"/>
                </a:lnTo>
                <a:lnTo>
                  <a:pt x="918" y="1214"/>
                </a:lnTo>
                <a:lnTo>
                  <a:pt x="911" y="1220"/>
                </a:lnTo>
                <a:lnTo>
                  <a:pt x="907" y="1222"/>
                </a:lnTo>
                <a:lnTo>
                  <a:pt x="905" y="1225"/>
                </a:lnTo>
                <a:lnTo>
                  <a:pt x="901" y="1225"/>
                </a:lnTo>
                <a:lnTo>
                  <a:pt x="900" y="1224"/>
                </a:lnTo>
                <a:lnTo>
                  <a:pt x="896" y="1221"/>
                </a:lnTo>
                <a:lnTo>
                  <a:pt x="891" y="1216"/>
                </a:lnTo>
                <a:lnTo>
                  <a:pt x="889" y="1214"/>
                </a:lnTo>
                <a:lnTo>
                  <a:pt x="887" y="1214"/>
                </a:lnTo>
                <a:lnTo>
                  <a:pt x="886" y="1215"/>
                </a:lnTo>
                <a:lnTo>
                  <a:pt x="883" y="1216"/>
                </a:lnTo>
                <a:lnTo>
                  <a:pt x="881" y="1219"/>
                </a:lnTo>
                <a:lnTo>
                  <a:pt x="878" y="1220"/>
                </a:lnTo>
                <a:lnTo>
                  <a:pt x="876" y="1221"/>
                </a:lnTo>
                <a:lnTo>
                  <a:pt x="872" y="1221"/>
                </a:lnTo>
                <a:lnTo>
                  <a:pt x="867" y="1219"/>
                </a:lnTo>
                <a:lnTo>
                  <a:pt x="861" y="1220"/>
                </a:lnTo>
                <a:lnTo>
                  <a:pt x="855" y="1224"/>
                </a:lnTo>
                <a:lnTo>
                  <a:pt x="849" y="1228"/>
                </a:lnTo>
                <a:lnTo>
                  <a:pt x="844" y="1229"/>
                </a:lnTo>
                <a:lnTo>
                  <a:pt x="838" y="1231"/>
                </a:lnTo>
                <a:lnTo>
                  <a:pt x="832" y="1229"/>
                </a:lnTo>
                <a:lnTo>
                  <a:pt x="825" y="1227"/>
                </a:lnTo>
                <a:lnTo>
                  <a:pt x="811" y="1222"/>
                </a:lnTo>
                <a:lnTo>
                  <a:pt x="800" y="1215"/>
                </a:lnTo>
                <a:lnTo>
                  <a:pt x="792" y="1210"/>
                </a:lnTo>
                <a:lnTo>
                  <a:pt x="786" y="1207"/>
                </a:lnTo>
                <a:lnTo>
                  <a:pt x="783" y="1207"/>
                </a:lnTo>
                <a:lnTo>
                  <a:pt x="782" y="1207"/>
                </a:lnTo>
                <a:lnTo>
                  <a:pt x="781" y="1209"/>
                </a:lnTo>
                <a:lnTo>
                  <a:pt x="781" y="1213"/>
                </a:lnTo>
                <a:lnTo>
                  <a:pt x="780" y="1218"/>
                </a:lnTo>
                <a:lnTo>
                  <a:pt x="777" y="1220"/>
                </a:lnTo>
                <a:lnTo>
                  <a:pt x="775" y="1222"/>
                </a:lnTo>
                <a:lnTo>
                  <a:pt x="773" y="1224"/>
                </a:lnTo>
                <a:lnTo>
                  <a:pt x="765" y="1224"/>
                </a:lnTo>
                <a:lnTo>
                  <a:pt x="761" y="1221"/>
                </a:lnTo>
                <a:lnTo>
                  <a:pt x="756" y="1219"/>
                </a:lnTo>
                <a:lnTo>
                  <a:pt x="751" y="1216"/>
                </a:lnTo>
                <a:lnTo>
                  <a:pt x="749" y="1216"/>
                </a:lnTo>
                <a:lnTo>
                  <a:pt x="746" y="1219"/>
                </a:lnTo>
                <a:lnTo>
                  <a:pt x="744" y="1221"/>
                </a:lnTo>
                <a:lnTo>
                  <a:pt x="741" y="1225"/>
                </a:lnTo>
                <a:lnTo>
                  <a:pt x="729" y="1239"/>
                </a:lnTo>
                <a:lnTo>
                  <a:pt x="710" y="1259"/>
                </a:lnTo>
                <a:lnTo>
                  <a:pt x="688" y="1278"/>
                </a:lnTo>
                <a:lnTo>
                  <a:pt x="674" y="1289"/>
                </a:lnTo>
                <a:lnTo>
                  <a:pt x="666" y="1294"/>
                </a:lnTo>
                <a:lnTo>
                  <a:pt x="658" y="1297"/>
                </a:lnTo>
                <a:lnTo>
                  <a:pt x="656" y="1300"/>
                </a:lnTo>
                <a:lnTo>
                  <a:pt x="655" y="1301"/>
                </a:lnTo>
                <a:lnTo>
                  <a:pt x="654" y="1303"/>
                </a:lnTo>
                <a:lnTo>
                  <a:pt x="655" y="1306"/>
                </a:lnTo>
                <a:lnTo>
                  <a:pt x="672" y="1315"/>
                </a:lnTo>
                <a:lnTo>
                  <a:pt x="686" y="1326"/>
                </a:lnTo>
                <a:lnTo>
                  <a:pt x="686" y="1329"/>
                </a:lnTo>
                <a:lnTo>
                  <a:pt x="685" y="1332"/>
                </a:lnTo>
                <a:lnTo>
                  <a:pt x="683" y="1334"/>
                </a:lnTo>
                <a:lnTo>
                  <a:pt x="681" y="1335"/>
                </a:lnTo>
                <a:lnTo>
                  <a:pt x="679" y="1336"/>
                </a:lnTo>
                <a:lnTo>
                  <a:pt x="674" y="1338"/>
                </a:lnTo>
                <a:lnTo>
                  <a:pt x="669" y="1338"/>
                </a:lnTo>
                <a:lnTo>
                  <a:pt x="664" y="1336"/>
                </a:lnTo>
                <a:lnTo>
                  <a:pt x="653" y="1336"/>
                </a:lnTo>
                <a:lnTo>
                  <a:pt x="644" y="1338"/>
                </a:lnTo>
                <a:lnTo>
                  <a:pt x="641" y="1339"/>
                </a:lnTo>
                <a:lnTo>
                  <a:pt x="638" y="1341"/>
                </a:lnTo>
                <a:lnTo>
                  <a:pt x="636" y="1344"/>
                </a:lnTo>
                <a:lnTo>
                  <a:pt x="635" y="1347"/>
                </a:lnTo>
                <a:lnTo>
                  <a:pt x="632" y="1359"/>
                </a:lnTo>
                <a:lnTo>
                  <a:pt x="629" y="1374"/>
                </a:lnTo>
                <a:lnTo>
                  <a:pt x="626" y="1383"/>
                </a:lnTo>
                <a:lnTo>
                  <a:pt x="624" y="1390"/>
                </a:lnTo>
                <a:lnTo>
                  <a:pt x="622" y="1397"/>
                </a:lnTo>
                <a:lnTo>
                  <a:pt x="618" y="1401"/>
                </a:lnTo>
                <a:lnTo>
                  <a:pt x="612" y="1409"/>
                </a:lnTo>
                <a:lnTo>
                  <a:pt x="605" y="1421"/>
                </a:lnTo>
                <a:lnTo>
                  <a:pt x="600" y="1426"/>
                </a:lnTo>
                <a:lnTo>
                  <a:pt x="597" y="1432"/>
                </a:lnTo>
                <a:lnTo>
                  <a:pt x="592" y="1435"/>
                </a:lnTo>
                <a:lnTo>
                  <a:pt x="588" y="1437"/>
                </a:lnTo>
                <a:lnTo>
                  <a:pt x="585" y="1441"/>
                </a:lnTo>
                <a:lnTo>
                  <a:pt x="581" y="1445"/>
                </a:lnTo>
                <a:lnTo>
                  <a:pt x="579" y="1448"/>
                </a:lnTo>
                <a:lnTo>
                  <a:pt x="576" y="1453"/>
                </a:lnTo>
                <a:lnTo>
                  <a:pt x="572" y="1464"/>
                </a:lnTo>
                <a:lnTo>
                  <a:pt x="566" y="1472"/>
                </a:lnTo>
                <a:lnTo>
                  <a:pt x="563" y="1477"/>
                </a:lnTo>
                <a:lnTo>
                  <a:pt x="562" y="1487"/>
                </a:lnTo>
                <a:lnTo>
                  <a:pt x="562" y="1499"/>
                </a:lnTo>
                <a:lnTo>
                  <a:pt x="561" y="1512"/>
                </a:lnTo>
                <a:lnTo>
                  <a:pt x="557" y="1525"/>
                </a:lnTo>
                <a:lnTo>
                  <a:pt x="554" y="1536"/>
                </a:lnTo>
                <a:lnTo>
                  <a:pt x="550" y="1544"/>
                </a:lnTo>
                <a:lnTo>
                  <a:pt x="549" y="1548"/>
                </a:lnTo>
                <a:lnTo>
                  <a:pt x="547" y="1554"/>
                </a:lnTo>
                <a:lnTo>
                  <a:pt x="543" y="1559"/>
                </a:lnTo>
                <a:lnTo>
                  <a:pt x="540" y="1562"/>
                </a:lnTo>
                <a:lnTo>
                  <a:pt x="534" y="1566"/>
                </a:lnTo>
                <a:lnTo>
                  <a:pt x="521" y="1571"/>
                </a:lnTo>
                <a:lnTo>
                  <a:pt x="505" y="1575"/>
                </a:lnTo>
                <a:lnTo>
                  <a:pt x="496" y="1579"/>
                </a:lnTo>
                <a:lnTo>
                  <a:pt x="487" y="1584"/>
                </a:lnTo>
                <a:lnTo>
                  <a:pt x="479" y="1588"/>
                </a:lnTo>
                <a:lnTo>
                  <a:pt x="471" y="1594"/>
                </a:lnTo>
                <a:lnTo>
                  <a:pt x="455" y="1609"/>
                </a:lnTo>
                <a:lnTo>
                  <a:pt x="441" y="1622"/>
                </a:lnTo>
                <a:lnTo>
                  <a:pt x="435" y="1629"/>
                </a:lnTo>
                <a:lnTo>
                  <a:pt x="429" y="1634"/>
                </a:lnTo>
                <a:lnTo>
                  <a:pt x="424" y="1637"/>
                </a:lnTo>
                <a:lnTo>
                  <a:pt x="420" y="1641"/>
                </a:lnTo>
                <a:lnTo>
                  <a:pt x="408" y="1644"/>
                </a:lnTo>
                <a:lnTo>
                  <a:pt x="395" y="1647"/>
                </a:lnTo>
                <a:lnTo>
                  <a:pt x="390" y="1648"/>
                </a:lnTo>
                <a:lnTo>
                  <a:pt x="386" y="1649"/>
                </a:lnTo>
                <a:lnTo>
                  <a:pt x="384" y="1650"/>
                </a:lnTo>
                <a:lnTo>
                  <a:pt x="383" y="1653"/>
                </a:lnTo>
                <a:lnTo>
                  <a:pt x="380" y="1659"/>
                </a:lnTo>
                <a:lnTo>
                  <a:pt x="372" y="1668"/>
                </a:lnTo>
                <a:close/>
                <a:moveTo>
                  <a:pt x="858" y="1792"/>
                </a:moveTo>
                <a:lnTo>
                  <a:pt x="865" y="1792"/>
                </a:lnTo>
                <a:lnTo>
                  <a:pt x="871" y="1791"/>
                </a:lnTo>
                <a:lnTo>
                  <a:pt x="878" y="1788"/>
                </a:lnTo>
                <a:lnTo>
                  <a:pt x="886" y="1783"/>
                </a:lnTo>
                <a:lnTo>
                  <a:pt x="893" y="1777"/>
                </a:lnTo>
                <a:lnTo>
                  <a:pt x="899" y="1774"/>
                </a:lnTo>
                <a:lnTo>
                  <a:pt x="905" y="1773"/>
                </a:lnTo>
                <a:lnTo>
                  <a:pt x="908" y="1773"/>
                </a:lnTo>
                <a:lnTo>
                  <a:pt x="909" y="1774"/>
                </a:lnTo>
                <a:lnTo>
                  <a:pt x="911" y="1775"/>
                </a:lnTo>
                <a:lnTo>
                  <a:pt x="911" y="1779"/>
                </a:lnTo>
                <a:lnTo>
                  <a:pt x="911" y="1781"/>
                </a:lnTo>
                <a:lnTo>
                  <a:pt x="911" y="1788"/>
                </a:lnTo>
                <a:lnTo>
                  <a:pt x="909" y="1796"/>
                </a:lnTo>
                <a:lnTo>
                  <a:pt x="909" y="1804"/>
                </a:lnTo>
                <a:lnTo>
                  <a:pt x="909" y="1812"/>
                </a:lnTo>
                <a:lnTo>
                  <a:pt x="908" y="1819"/>
                </a:lnTo>
                <a:lnTo>
                  <a:pt x="906" y="1825"/>
                </a:lnTo>
                <a:lnTo>
                  <a:pt x="902" y="1830"/>
                </a:lnTo>
                <a:lnTo>
                  <a:pt x="896" y="1832"/>
                </a:lnTo>
                <a:lnTo>
                  <a:pt x="889" y="1833"/>
                </a:lnTo>
                <a:lnTo>
                  <a:pt x="881" y="1832"/>
                </a:lnTo>
                <a:lnTo>
                  <a:pt x="874" y="1832"/>
                </a:lnTo>
                <a:lnTo>
                  <a:pt x="868" y="1832"/>
                </a:lnTo>
                <a:lnTo>
                  <a:pt x="861" y="1833"/>
                </a:lnTo>
                <a:lnTo>
                  <a:pt x="853" y="1837"/>
                </a:lnTo>
                <a:lnTo>
                  <a:pt x="850" y="1838"/>
                </a:lnTo>
                <a:lnTo>
                  <a:pt x="846" y="1839"/>
                </a:lnTo>
                <a:lnTo>
                  <a:pt x="844" y="1839"/>
                </a:lnTo>
                <a:lnTo>
                  <a:pt x="840" y="1838"/>
                </a:lnTo>
                <a:lnTo>
                  <a:pt x="839" y="1837"/>
                </a:lnTo>
                <a:lnTo>
                  <a:pt x="837" y="1836"/>
                </a:lnTo>
                <a:lnTo>
                  <a:pt x="836" y="1833"/>
                </a:lnTo>
                <a:lnTo>
                  <a:pt x="834" y="1831"/>
                </a:lnTo>
                <a:lnTo>
                  <a:pt x="834" y="1826"/>
                </a:lnTo>
                <a:lnTo>
                  <a:pt x="836" y="1820"/>
                </a:lnTo>
                <a:lnTo>
                  <a:pt x="838" y="1813"/>
                </a:lnTo>
                <a:lnTo>
                  <a:pt x="842" y="1807"/>
                </a:lnTo>
                <a:lnTo>
                  <a:pt x="845" y="1801"/>
                </a:lnTo>
                <a:lnTo>
                  <a:pt x="850" y="1796"/>
                </a:lnTo>
                <a:lnTo>
                  <a:pt x="855" y="1793"/>
                </a:lnTo>
                <a:lnTo>
                  <a:pt x="858" y="1792"/>
                </a:lnTo>
                <a:close/>
                <a:moveTo>
                  <a:pt x="877" y="1851"/>
                </a:moveTo>
                <a:lnTo>
                  <a:pt x="882" y="1851"/>
                </a:lnTo>
                <a:lnTo>
                  <a:pt x="886" y="1852"/>
                </a:lnTo>
                <a:lnTo>
                  <a:pt x="888" y="1855"/>
                </a:lnTo>
                <a:lnTo>
                  <a:pt x="890" y="1857"/>
                </a:lnTo>
                <a:lnTo>
                  <a:pt x="894" y="1863"/>
                </a:lnTo>
                <a:lnTo>
                  <a:pt x="896" y="1870"/>
                </a:lnTo>
                <a:lnTo>
                  <a:pt x="897" y="1878"/>
                </a:lnTo>
                <a:lnTo>
                  <a:pt x="899" y="1886"/>
                </a:lnTo>
                <a:lnTo>
                  <a:pt x="897" y="1889"/>
                </a:lnTo>
                <a:lnTo>
                  <a:pt x="896" y="1892"/>
                </a:lnTo>
                <a:lnTo>
                  <a:pt x="894" y="1894"/>
                </a:lnTo>
                <a:lnTo>
                  <a:pt x="890" y="1895"/>
                </a:lnTo>
                <a:lnTo>
                  <a:pt x="883" y="1896"/>
                </a:lnTo>
                <a:lnTo>
                  <a:pt x="876" y="1894"/>
                </a:lnTo>
                <a:lnTo>
                  <a:pt x="874" y="1893"/>
                </a:lnTo>
                <a:lnTo>
                  <a:pt x="871" y="1890"/>
                </a:lnTo>
                <a:lnTo>
                  <a:pt x="870" y="1888"/>
                </a:lnTo>
                <a:lnTo>
                  <a:pt x="870" y="1886"/>
                </a:lnTo>
                <a:lnTo>
                  <a:pt x="872" y="1878"/>
                </a:lnTo>
                <a:lnTo>
                  <a:pt x="875" y="1873"/>
                </a:lnTo>
                <a:lnTo>
                  <a:pt x="876" y="1870"/>
                </a:lnTo>
                <a:lnTo>
                  <a:pt x="876" y="1868"/>
                </a:lnTo>
                <a:lnTo>
                  <a:pt x="876" y="1867"/>
                </a:lnTo>
                <a:lnTo>
                  <a:pt x="875" y="1865"/>
                </a:lnTo>
                <a:lnTo>
                  <a:pt x="870" y="1867"/>
                </a:lnTo>
                <a:lnTo>
                  <a:pt x="865" y="1871"/>
                </a:lnTo>
                <a:lnTo>
                  <a:pt x="861" y="1876"/>
                </a:lnTo>
                <a:lnTo>
                  <a:pt x="857" y="1882"/>
                </a:lnTo>
                <a:lnTo>
                  <a:pt x="855" y="1888"/>
                </a:lnTo>
                <a:lnTo>
                  <a:pt x="852" y="1893"/>
                </a:lnTo>
                <a:lnTo>
                  <a:pt x="850" y="1896"/>
                </a:lnTo>
                <a:lnTo>
                  <a:pt x="845" y="1899"/>
                </a:lnTo>
                <a:lnTo>
                  <a:pt x="844" y="1899"/>
                </a:lnTo>
                <a:lnTo>
                  <a:pt x="843" y="1896"/>
                </a:lnTo>
                <a:lnTo>
                  <a:pt x="842" y="1894"/>
                </a:lnTo>
                <a:lnTo>
                  <a:pt x="842" y="1889"/>
                </a:lnTo>
                <a:lnTo>
                  <a:pt x="842" y="1881"/>
                </a:lnTo>
                <a:lnTo>
                  <a:pt x="844" y="1871"/>
                </a:lnTo>
                <a:lnTo>
                  <a:pt x="846" y="1868"/>
                </a:lnTo>
                <a:lnTo>
                  <a:pt x="850" y="1863"/>
                </a:lnTo>
                <a:lnTo>
                  <a:pt x="853" y="1859"/>
                </a:lnTo>
                <a:lnTo>
                  <a:pt x="858" y="1857"/>
                </a:lnTo>
                <a:lnTo>
                  <a:pt x="863" y="1853"/>
                </a:lnTo>
                <a:lnTo>
                  <a:pt x="868" y="1852"/>
                </a:lnTo>
                <a:lnTo>
                  <a:pt x="872" y="1851"/>
                </a:lnTo>
                <a:lnTo>
                  <a:pt x="877" y="1851"/>
                </a:lnTo>
                <a:close/>
                <a:moveTo>
                  <a:pt x="1209" y="1939"/>
                </a:moveTo>
                <a:lnTo>
                  <a:pt x="1211" y="1937"/>
                </a:lnTo>
                <a:lnTo>
                  <a:pt x="1215" y="1934"/>
                </a:lnTo>
                <a:lnTo>
                  <a:pt x="1218" y="1932"/>
                </a:lnTo>
                <a:lnTo>
                  <a:pt x="1222" y="1931"/>
                </a:lnTo>
                <a:lnTo>
                  <a:pt x="1224" y="1932"/>
                </a:lnTo>
                <a:lnTo>
                  <a:pt x="1226" y="1933"/>
                </a:lnTo>
                <a:lnTo>
                  <a:pt x="1228" y="1934"/>
                </a:lnTo>
                <a:lnTo>
                  <a:pt x="1229" y="1937"/>
                </a:lnTo>
                <a:lnTo>
                  <a:pt x="1229" y="1939"/>
                </a:lnTo>
                <a:lnTo>
                  <a:pt x="1229" y="1943"/>
                </a:lnTo>
                <a:lnTo>
                  <a:pt x="1229" y="1945"/>
                </a:lnTo>
                <a:lnTo>
                  <a:pt x="1228" y="1947"/>
                </a:lnTo>
                <a:lnTo>
                  <a:pt x="1223" y="1952"/>
                </a:lnTo>
                <a:lnTo>
                  <a:pt x="1218" y="1956"/>
                </a:lnTo>
                <a:lnTo>
                  <a:pt x="1212" y="1957"/>
                </a:lnTo>
                <a:lnTo>
                  <a:pt x="1205" y="1958"/>
                </a:lnTo>
                <a:lnTo>
                  <a:pt x="1203" y="1958"/>
                </a:lnTo>
                <a:lnTo>
                  <a:pt x="1201" y="1957"/>
                </a:lnTo>
                <a:lnTo>
                  <a:pt x="1198" y="1956"/>
                </a:lnTo>
                <a:lnTo>
                  <a:pt x="1197" y="1953"/>
                </a:lnTo>
                <a:lnTo>
                  <a:pt x="1196" y="1951"/>
                </a:lnTo>
                <a:lnTo>
                  <a:pt x="1196" y="1949"/>
                </a:lnTo>
                <a:lnTo>
                  <a:pt x="1197" y="1947"/>
                </a:lnTo>
                <a:lnTo>
                  <a:pt x="1198" y="1945"/>
                </a:lnTo>
                <a:lnTo>
                  <a:pt x="1205" y="1943"/>
                </a:lnTo>
                <a:lnTo>
                  <a:pt x="1209" y="1939"/>
                </a:lnTo>
                <a:close/>
                <a:moveTo>
                  <a:pt x="1337" y="1991"/>
                </a:moveTo>
                <a:lnTo>
                  <a:pt x="1337" y="1989"/>
                </a:lnTo>
                <a:lnTo>
                  <a:pt x="1338" y="1988"/>
                </a:lnTo>
                <a:lnTo>
                  <a:pt x="1340" y="1987"/>
                </a:lnTo>
                <a:lnTo>
                  <a:pt x="1341" y="1987"/>
                </a:lnTo>
                <a:lnTo>
                  <a:pt x="1346" y="1988"/>
                </a:lnTo>
                <a:lnTo>
                  <a:pt x="1350" y="1990"/>
                </a:lnTo>
                <a:lnTo>
                  <a:pt x="1355" y="1996"/>
                </a:lnTo>
                <a:lnTo>
                  <a:pt x="1357" y="2001"/>
                </a:lnTo>
                <a:lnTo>
                  <a:pt x="1357" y="2004"/>
                </a:lnTo>
                <a:lnTo>
                  <a:pt x="1356" y="2008"/>
                </a:lnTo>
                <a:lnTo>
                  <a:pt x="1354" y="2009"/>
                </a:lnTo>
                <a:lnTo>
                  <a:pt x="1352" y="2008"/>
                </a:lnTo>
                <a:lnTo>
                  <a:pt x="1349" y="2006"/>
                </a:lnTo>
                <a:lnTo>
                  <a:pt x="1346" y="2003"/>
                </a:lnTo>
                <a:lnTo>
                  <a:pt x="1341" y="1996"/>
                </a:lnTo>
                <a:lnTo>
                  <a:pt x="1337" y="1991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4" name="浙江"/>
          <p:cNvSpPr/>
          <p:nvPr/>
        </p:nvSpPr>
        <p:spPr bwMode="auto">
          <a:xfrm>
            <a:off x="7481570" y="4272280"/>
            <a:ext cx="608965" cy="713105"/>
          </a:xfrm>
          <a:custGeom>
            <a:avLst/>
            <a:gdLst>
              <a:gd name="T0" fmla="*/ 882 w 1493"/>
              <a:gd name="T1" fmla="*/ 1623 h 1731"/>
              <a:gd name="T2" fmla="*/ 793 w 1493"/>
              <a:gd name="T3" fmla="*/ 1671 h 1731"/>
              <a:gd name="T4" fmla="*/ 704 w 1493"/>
              <a:gd name="T5" fmla="*/ 1615 h 1731"/>
              <a:gd name="T6" fmla="*/ 646 w 1493"/>
              <a:gd name="T7" fmla="*/ 1535 h 1731"/>
              <a:gd name="T8" fmla="*/ 577 w 1493"/>
              <a:gd name="T9" fmla="*/ 1610 h 1731"/>
              <a:gd name="T10" fmla="*/ 469 w 1493"/>
              <a:gd name="T11" fmla="*/ 1637 h 1731"/>
              <a:gd name="T12" fmla="*/ 395 w 1493"/>
              <a:gd name="T13" fmla="*/ 1604 h 1731"/>
              <a:gd name="T14" fmla="*/ 306 w 1493"/>
              <a:gd name="T15" fmla="*/ 1400 h 1731"/>
              <a:gd name="T16" fmla="*/ 299 w 1493"/>
              <a:gd name="T17" fmla="*/ 1296 h 1731"/>
              <a:gd name="T18" fmla="*/ 222 w 1493"/>
              <a:gd name="T19" fmla="*/ 1320 h 1731"/>
              <a:gd name="T20" fmla="*/ 189 w 1493"/>
              <a:gd name="T21" fmla="*/ 1250 h 1731"/>
              <a:gd name="T22" fmla="*/ 142 w 1493"/>
              <a:gd name="T23" fmla="*/ 1087 h 1731"/>
              <a:gd name="T24" fmla="*/ 79 w 1493"/>
              <a:gd name="T25" fmla="*/ 1019 h 1731"/>
              <a:gd name="T26" fmla="*/ 10 w 1493"/>
              <a:gd name="T27" fmla="*/ 914 h 1731"/>
              <a:gd name="T28" fmla="*/ 71 w 1493"/>
              <a:gd name="T29" fmla="*/ 824 h 1731"/>
              <a:gd name="T30" fmla="*/ 167 w 1493"/>
              <a:gd name="T31" fmla="*/ 751 h 1731"/>
              <a:gd name="T32" fmla="*/ 245 w 1493"/>
              <a:gd name="T33" fmla="*/ 672 h 1731"/>
              <a:gd name="T34" fmla="*/ 280 w 1493"/>
              <a:gd name="T35" fmla="*/ 515 h 1731"/>
              <a:gd name="T36" fmla="*/ 278 w 1493"/>
              <a:gd name="T37" fmla="*/ 430 h 1731"/>
              <a:gd name="T38" fmla="*/ 404 w 1493"/>
              <a:gd name="T39" fmla="*/ 411 h 1731"/>
              <a:gd name="T40" fmla="*/ 439 w 1493"/>
              <a:gd name="T41" fmla="*/ 312 h 1731"/>
              <a:gd name="T42" fmla="*/ 445 w 1493"/>
              <a:gd name="T43" fmla="*/ 233 h 1731"/>
              <a:gd name="T44" fmla="*/ 491 w 1493"/>
              <a:gd name="T45" fmla="*/ 183 h 1731"/>
              <a:gd name="T46" fmla="*/ 539 w 1493"/>
              <a:gd name="T47" fmla="*/ 10 h 1731"/>
              <a:gd name="T48" fmla="*/ 659 w 1493"/>
              <a:gd name="T49" fmla="*/ 60 h 1731"/>
              <a:gd name="T50" fmla="*/ 828 w 1493"/>
              <a:gd name="T51" fmla="*/ 128 h 1731"/>
              <a:gd name="T52" fmla="*/ 921 w 1493"/>
              <a:gd name="T53" fmla="*/ 73 h 1731"/>
              <a:gd name="T54" fmla="*/ 1020 w 1493"/>
              <a:gd name="T55" fmla="*/ 63 h 1731"/>
              <a:gd name="T56" fmla="*/ 1126 w 1493"/>
              <a:gd name="T57" fmla="*/ 156 h 1731"/>
              <a:gd name="T58" fmla="*/ 1026 w 1493"/>
              <a:gd name="T59" fmla="*/ 246 h 1731"/>
              <a:gd name="T60" fmla="*/ 907 w 1493"/>
              <a:gd name="T61" fmla="*/ 309 h 1731"/>
              <a:gd name="T62" fmla="*/ 793 w 1493"/>
              <a:gd name="T63" fmla="*/ 385 h 1731"/>
              <a:gd name="T64" fmla="*/ 906 w 1493"/>
              <a:gd name="T65" fmla="*/ 385 h 1731"/>
              <a:gd name="T66" fmla="*/ 1033 w 1493"/>
              <a:gd name="T67" fmla="*/ 401 h 1731"/>
              <a:gd name="T68" fmla="*/ 1208 w 1493"/>
              <a:gd name="T69" fmla="*/ 337 h 1731"/>
              <a:gd name="T70" fmla="*/ 1430 w 1493"/>
              <a:gd name="T71" fmla="*/ 474 h 1731"/>
              <a:gd name="T72" fmla="*/ 1423 w 1493"/>
              <a:gd name="T73" fmla="*/ 517 h 1731"/>
              <a:gd name="T74" fmla="*/ 1450 w 1493"/>
              <a:gd name="T75" fmla="*/ 599 h 1731"/>
              <a:gd name="T76" fmla="*/ 1314 w 1493"/>
              <a:gd name="T77" fmla="*/ 647 h 1731"/>
              <a:gd name="T78" fmla="*/ 1402 w 1493"/>
              <a:gd name="T79" fmla="*/ 650 h 1731"/>
              <a:gd name="T80" fmla="*/ 1452 w 1493"/>
              <a:gd name="T81" fmla="*/ 714 h 1731"/>
              <a:gd name="T82" fmla="*/ 1463 w 1493"/>
              <a:gd name="T83" fmla="*/ 763 h 1731"/>
              <a:gd name="T84" fmla="*/ 1391 w 1493"/>
              <a:gd name="T85" fmla="*/ 713 h 1731"/>
              <a:gd name="T86" fmla="*/ 1327 w 1493"/>
              <a:gd name="T87" fmla="*/ 773 h 1731"/>
              <a:gd name="T88" fmla="*/ 1313 w 1493"/>
              <a:gd name="T89" fmla="*/ 834 h 1731"/>
              <a:gd name="T90" fmla="*/ 1372 w 1493"/>
              <a:gd name="T91" fmla="*/ 912 h 1731"/>
              <a:gd name="T92" fmla="*/ 1330 w 1493"/>
              <a:gd name="T93" fmla="*/ 928 h 1731"/>
              <a:gd name="T94" fmla="*/ 1299 w 1493"/>
              <a:gd name="T95" fmla="*/ 1015 h 1731"/>
              <a:gd name="T96" fmla="*/ 1358 w 1493"/>
              <a:gd name="T97" fmla="*/ 1136 h 1731"/>
              <a:gd name="T98" fmla="*/ 1341 w 1493"/>
              <a:gd name="T99" fmla="*/ 1180 h 1731"/>
              <a:gd name="T100" fmla="*/ 1292 w 1493"/>
              <a:gd name="T101" fmla="*/ 1239 h 1731"/>
              <a:gd name="T102" fmla="*/ 1254 w 1493"/>
              <a:gd name="T103" fmla="*/ 1257 h 1731"/>
              <a:gd name="T104" fmla="*/ 1223 w 1493"/>
              <a:gd name="T105" fmla="*/ 1313 h 1731"/>
              <a:gd name="T106" fmla="*/ 1251 w 1493"/>
              <a:gd name="T107" fmla="*/ 1225 h 1731"/>
              <a:gd name="T108" fmla="*/ 1167 w 1493"/>
              <a:gd name="T109" fmla="*/ 1200 h 1731"/>
              <a:gd name="T110" fmla="*/ 1178 w 1493"/>
              <a:gd name="T111" fmla="*/ 1270 h 1731"/>
              <a:gd name="T112" fmla="*/ 1122 w 1493"/>
              <a:gd name="T113" fmla="*/ 1343 h 1731"/>
              <a:gd name="T114" fmla="*/ 1078 w 1493"/>
              <a:gd name="T115" fmla="*/ 1369 h 1731"/>
              <a:gd name="T116" fmla="*/ 1053 w 1493"/>
              <a:gd name="T117" fmla="*/ 1478 h 1731"/>
              <a:gd name="T118" fmla="*/ 1047 w 1493"/>
              <a:gd name="T119" fmla="*/ 1570 h 1731"/>
              <a:gd name="T120" fmla="*/ 1018 w 1493"/>
              <a:gd name="T121" fmla="*/ 1623 h 1731"/>
              <a:gd name="T122" fmla="*/ 1011 w 1493"/>
              <a:gd name="T123" fmla="*/ 1696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93" h="1731">
                <a:moveTo>
                  <a:pt x="984" y="1731"/>
                </a:moveTo>
                <a:lnTo>
                  <a:pt x="980" y="1725"/>
                </a:lnTo>
                <a:lnTo>
                  <a:pt x="975" y="1721"/>
                </a:lnTo>
                <a:lnTo>
                  <a:pt x="971" y="1715"/>
                </a:lnTo>
                <a:lnTo>
                  <a:pt x="968" y="1710"/>
                </a:lnTo>
                <a:lnTo>
                  <a:pt x="963" y="1697"/>
                </a:lnTo>
                <a:lnTo>
                  <a:pt x="958" y="1681"/>
                </a:lnTo>
                <a:lnTo>
                  <a:pt x="954" y="1667"/>
                </a:lnTo>
                <a:lnTo>
                  <a:pt x="950" y="1656"/>
                </a:lnTo>
                <a:lnTo>
                  <a:pt x="946" y="1649"/>
                </a:lnTo>
                <a:lnTo>
                  <a:pt x="944" y="1642"/>
                </a:lnTo>
                <a:lnTo>
                  <a:pt x="942" y="1640"/>
                </a:lnTo>
                <a:lnTo>
                  <a:pt x="939" y="1637"/>
                </a:lnTo>
                <a:lnTo>
                  <a:pt x="936" y="1635"/>
                </a:lnTo>
                <a:lnTo>
                  <a:pt x="932" y="1634"/>
                </a:lnTo>
                <a:lnTo>
                  <a:pt x="924" y="1634"/>
                </a:lnTo>
                <a:lnTo>
                  <a:pt x="914" y="1631"/>
                </a:lnTo>
                <a:lnTo>
                  <a:pt x="905" y="1630"/>
                </a:lnTo>
                <a:lnTo>
                  <a:pt x="894" y="1626"/>
                </a:lnTo>
                <a:lnTo>
                  <a:pt x="888" y="1624"/>
                </a:lnTo>
                <a:lnTo>
                  <a:pt x="882" y="1623"/>
                </a:lnTo>
                <a:lnTo>
                  <a:pt x="876" y="1623"/>
                </a:lnTo>
                <a:lnTo>
                  <a:pt x="870" y="1624"/>
                </a:lnTo>
                <a:lnTo>
                  <a:pt x="866" y="1627"/>
                </a:lnTo>
                <a:lnTo>
                  <a:pt x="860" y="1630"/>
                </a:lnTo>
                <a:lnTo>
                  <a:pt x="856" y="1634"/>
                </a:lnTo>
                <a:lnTo>
                  <a:pt x="852" y="1639"/>
                </a:lnTo>
                <a:lnTo>
                  <a:pt x="845" y="1647"/>
                </a:lnTo>
                <a:lnTo>
                  <a:pt x="839" y="1653"/>
                </a:lnTo>
                <a:lnTo>
                  <a:pt x="836" y="1655"/>
                </a:lnTo>
                <a:lnTo>
                  <a:pt x="833" y="1656"/>
                </a:lnTo>
                <a:lnTo>
                  <a:pt x="831" y="1656"/>
                </a:lnTo>
                <a:lnTo>
                  <a:pt x="829" y="1655"/>
                </a:lnTo>
                <a:lnTo>
                  <a:pt x="825" y="1652"/>
                </a:lnTo>
                <a:lnTo>
                  <a:pt x="819" y="1648"/>
                </a:lnTo>
                <a:lnTo>
                  <a:pt x="817" y="1647"/>
                </a:lnTo>
                <a:lnTo>
                  <a:pt x="813" y="1646"/>
                </a:lnTo>
                <a:lnTo>
                  <a:pt x="810" y="1647"/>
                </a:lnTo>
                <a:lnTo>
                  <a:pt x="807" y="1649"/>
                </a:lnTo>
                <a:lnTo>
                  <a:pt x="801" y="1656"/>
                </a:lnTo>
                <a:lnTo>
                  <a:pt x="797" y="1664"/>
                </a:lnTo>
                <a:lnTo>
                  <a:pt x="793" y="1671"/>
                </a:lnTo>
                <a:lnTo>
                  <a:pt x="791" y="1675"/>
                </a:lnTo>
                <a:lnTo>
                  <a:pt x="787" y="1678"/>
                </a:lnTo>
                <a:lnTo>
                  <a:pt x="779" y="1679"/>
                </a:lnTo>
                <a:lnTo>
                  <a:pt x="769" y="1680"/>
                </a:lnTo>
                <a:lnTo>
                  <a:pt x="761" y="1680"/>
                </a:lnTo>
                <a:lnTo>
                  <a:pt x="750" y="1683"/>
                </a:lnTo>
                <a:lnTo>
                  <a:pt x="742" y="1686"/>
                </a:lnTo>
                <a:lnTo>
                  <a:pt x="737" y="1689"/>
                </a:lnTo>
                <a:lnTo>
                  <a:pt x="736" y="1689"/>
                </a:lnTo>
                <a:lnTo>
                  <a:pt x="736" y="1685"/>
                </a:lnTo>
                <a:lnTo>
                  <a:pt x="736" y="1679"/>
                </a:lnTo>
                <a:lnTo>
                  <a:pt x="731" y="1673"/>
                </a:lnTo>
                <a:lnTo>
                  <a:pt x="725" y="1666"/>
                </a:lnTo>
                <a:lnTo>
                  <a:pt x="716" y="1659"/>
                </a:lnTo>
                <a:lnTo>
                  <a:pt x="706" y="1653"/>
                </a:lnTo>
                <a:lnTo>
                  <a:pt x="705" y="1649"/>
                </a:lnTo>
                <a:lnTo>
                  <a:pt x="704" y="1646"/>
                </a:lnTo>
                <a:lnTo>
                  <a:pt x="703" y="1642"/>
                </a:lnTo>
                <a:lnTo>
                  <a:pt x="703" y="1637"/>
                </a:lnTo>
                <a:lnTo>
                  <a:pt x="704" y="1626"/>
                </a:lnTo>
                <a:lnTo>
                  <a:pt x="704" y="1615"/>
                </a:lnTo>
                <a:lnTo>
                  <a:pt x="704" y="1610"/>
                </a:lnTo>
                <a:lnTo>
                  <a:pt x="703" y="1607"/>
                </a:lnTo>
                <a:lnTo>
                  <a:pt x="702" y="1603"/>
                </a:lnTo>
                <a:lnTo>
                  <a:pt x="699" y="1599"/>
                </a:lnTo>
                <a:lnTo>
                  <a:pt x="696" y="1597"/>
                </a:lnTo>
                <a:lnTo>
                  <a:pt x="692" y="1596"/>
                </a:lnTo>
                <a:lnTo>
                  <a:pt x="687" y="1596"/>
                </a:lnTo>
                <a:lnTo>
                  <a:pt x="682" y="1595"/>
                </a:lnTo>
                <a:lnTo>
                  <a:pt x="681" y="1589"/>
                </a:lnTo>
                <a:lnTo>
                  <a:pt x="681" y="1577"/>
                </a:lnTo>
                <a:lnTo>
                  <a:pt x="675" y="1571"/>
                </a:lnTo>
                <a:lnTo>
                  <a:pt x="671" y="1567"/>
                </a:lnTo>
                <a:lnTo>
                  <a:pt x="669" y="1557"/>
                </a:lnTo>
                <a:lnTo>
                  <a:pt x="667" y="1541"/>
                </a:lnTo>
                <a:lnTo>
                  <a:pt x="666" y="1539"/>
                </a:lnTo>
                <a:lnTo>
                  <a:pt x="663" y="1536"/>
                </a:lnTo>
                <a:lnTo>
                  <a:pt x="662" y="1535"/>
                </a:lnTo>
                <a:lnTo>
                  <a:pt x="660" y="1534"/>
                </a:lnTo>
                <a:lnTo>
                  <a:pt x="654" y="1534"/>
                </a:lnTo>
                <a:lnTo>
                  <a:pt x="649" y="1534"/>
                </a:lnTo>
                <a:lnTo>
                  <a:pt x="646" y="1535"/>
                </a:lnTo>
                <a:lnTo>
                  <a:pt x="642" y="1538"/>
                </a:lnTo>
                <a:lnTo>
                  <a:pt x="637" y="1540"/>
                </a:lnTo>
                <a:lnTo>
                  <a:pt x="634" y="1542"/>
                </a:lnTo>
                <a:lnTo>
                  <a:pt x="629" y="1548"/>
                </a:lnTo>
                <a:lnTo>
                  <a:pt x="624" y="1555"/>
                </a:lnTo>
                <a:lnTo>
                  <a:pt x="622" y="1563"/>
                </a:lnTo>
                <a:lnTo>
                  <a:pt x="619" y="1571"/>
                </a:lnTo>
                <a:lnTo>
                  <a:pt x="616" y="1586"/>
                </a:lnTo>
                <a:lnTo>
                  <a:pt x="612" y="1598"/>
                </a:lnTo>
                <a:lnTo>
                  <a:pt x="611" y="1603"/>
                </a:lnTo>
                <a:lnTo>
                  <a:pt x="609" y="1607"/>
                </a:lnTo>
                <a:lnTo>
                  <a:pt x="606" y="1608"/>
                </a:lnTo>
                <a:lnTo>
                  <a:pt x="604" y="1609"/>
                </a:lnTo>
                <a:lnTo>
                  <a:pt x="602" y="1609"/>
                </a:lnTo>
                <a:lnTo>
                  <a:pt x="599" y="1608"/>
                </a:lnTo>
                <a:lnTo>
                  <a:pt x="596" y="1607"/>
                </a:lnTo>
                <a:lnTo>
                  <a:pt x="593" y="1604"/>
                </a:lnTo>
                <a:lnTo>
                  <a:pt x="590" y="1603"/>
                </a:lnTo>
                <a:lnTo>
                  <a:pt x="586" y="1604"/>
                </a:lnTo>
                <a:lnTo>
                  <a:pt x="581" y="1607"/>
                </a:lnTo>
                <a:lnTo>
                  <a:pt x="577" y="1610"/>
                </a:lnTo>
                <a:lnTo>
                  <a:pt x="567" y="1621"/>
                </a:lnTo>
                <a:lnTo>
                  <a:pt x="560" y="1631"/>
                </a:lnTo>
                <a:lnTo>
                  <a:pt x="554" y="1642"/>
                </a:lnTo>
                <a:lnTo>
                  <a:pt x="547" y="1652"/>
                </a:lnTo>
                <a:lnTo>
                  <a:pt x="542" y="1655"/>
                </a:lnTo>
                <a:lnTo>
                  <a:pt x="537" y="1659"/>
                </a:lnTo>
                <a:lnTo>
                  <a:pt x="533" y="1661"/>
                </a:lnTo>
                <a:lnTo>
                  <a:pt x="527" y="1664"/>
                </a:lnTo>
                <a:lnTo>
                  <a:pt x="515" y="1665"/>
                </a:lnTo>
                <a:lnTo>
                  <a:pt x="504" y="1666"/>
                </a:lnTo>
                <a:lnTo>
                  <a:pt x="499" y="1665"/>
                </a:lnTo>
                <a:lnTo>
                  <a:pt x="496" y="1664"/>
                </a:lnTo>
                <a:lnTo>
                  <a:pt x="493" y="1661"/>
                </a:lnTo>
                <a:lnTo>
                  <a:pt x="491" y="1659"/>
                </a:lnTo>
                <a:lnTo>
                  <a:pt x="491" y="1653"/>
                </a:lnTo>
                <a:lnTo>
                  <a:pt x="490" y="1649"/>
                </a:lnTo>
                <a:lnTo>
                  <a:pt x="488" y="1646"/>
                </a:lnTo>
                <a:lnTo>
                  <a:pt x="484" y="1642"/>
                </a:lnTo>
                <a:lnTo>
                  <a:pt x="480" y="1640"/>
                </a:lnTo>
                <a:lnTo>
                  <a:pt x="476" y="1639"/>
                </a:lnTo>
                <a:lnTo>
                  <a:pt x="469" y="1637"/>
                </a:lnTo>
                <a:lnTo>
                  <a:pt x="460" y="1637"/>
                </a:lnTo>
                <a:lnTo>
                  <a:pt x="444" y="1637"/>
                </a:lnTo>
                <a:lnTo>
                  <a:pt x="429" y="1640"/>
                </a:lnTo>
                <a:lnTo>
                  <a:pt x="416" y="1642"/>
                </a:lnTo>
                <a:lnTo>
                  <a:pt x="406" y="1645"/>
                </a:lnTo>
                <a:lnTo>
                  <a:pt x="401" y="1645"/>
                </a:lnTo>
                <a:lnTo>
                  <a:pt x="397" y="1645"/>
                </a:lnTo>
                <a:lnTo>
                  <a:pt x="392" y="1643"/>
                </a:lnTo>
                <a:lnTo>
                  <a:pt x="389" y="1640"/>
                </a:lnTo>
                <a:lnTo>
                  <a:pt x="385" y="1636"/>
                </a:lnTo>
                <a:lnTo>
                  <a:pt x="383" y="1633"/>
                </a:lnTo>
                <a:lnTo>
                  <a:pt x="382" y="1629"/>
                </a:lnTo>
                <a:lnTo>
                  <a:pt x="381" y="1626"/>
                </a:lnTo>
                <a:lnTo>
                  <a:pt x="382" y="1623"/>
                </a:lnTo>
                <a:lnTo>
                  <a:pt x="382" y="1620"/>
                </a:lnTo>
                <a:lnTo>
                  <a:pt x="384" y="1617"/>
                </a:lnTo>
                <a:lnTo>
                  <a:pt x="386" y="1615"/>
                </a:lnTo>
                <a:lnTo>
                  <a:pt x="391" y="1611"/>
                </a:lnTo>
                <a:lnTo>
                  <a:pt x="395" y="1608"/>
                </a:lnTo>
                <a:lnTo>
                  <a:pt x="395" y="1607"/>
                </a:lnTo>
                <a:lnTo>
                  <a:pt x="395" y="1604"/>
                </a:lnTo>
                <a:lnTo>
                  <a:pt x="395" y="1602"/>
                </a:lnTo>
                <a:lnTo>
                  <a:pt x="394" y="1598"/>
                </a:lnTo>
                <a:lnTo>
                  <a:pt x="390" y="1590"/>
                </a:lnTo>
                <a:lnTo>
                  <a:pt x="385" y="1579"/>
                </a:lnTo>
                <a:lnTo>
                  <a:pt x="381" y="1567"/>
                </a:lnTo>
                <a:lnTo>
                  <a:pt x="376" y="1553"/>
                </a:lnTo>
                <a:lnTo>
                  <a:pt x="371" y="1538"/>
                </a:lnTo>
                <a:lnTo>
                  <a:pt x="366" y="1521"/>
                </a:lnTo>
                <a:lnTo>
                  <a:pt x="362" y="1504"/>
                </a:lnTo>
                <a:lnTo>
                  <a:pt x="356" y="1490"/>
                </a:lnTo>
                <a:lnTo>
                  <a:pt x="348" y="1476"/>
                </a:lnTo>
                <a:lnTo>
                  <a:pt x="340" y="1465"/>
                </a:lnTo>
                <a:lnTo>
                  <a:pt x="332" y="1456"/>
                </a:lnTo>
                <a:lnTo>
                  <a:pt x="323" y="1447"/>
                </a:lnTo>
                <a:lnTo>
                  <a:pt x="319" y="1444"/>
                </a:lnTo>
                <a:lnTo>
                  <a:pt x="315" y="1439"/>
                </a:lnTo>
                <a:lnTo>
                  <a:pt x="312" y="1433"/>
                </a:lnTo>
                <a:lnTo>
                  <a:pt x="309" y="1428"/>
                </a:lnTo>
                <a:lnTo>
                  <a:pt x="307" y="1415"/>
                </a:lnTo>
                <a:lnTo>
                  <a:pt x="306" y="1404"/>
                </a:lnTo>
                <a:lnTo>
                  <a:pt x="306" y="1400"/>
                </a:lnTo>
                <a:lnTo>
                  <a:pt x="308" y="1395"/>
                </a:lnTo>
                <a:lnTo>
                  <a:pt x="310" y="1390"/>
                </a:lnTo>
                <a:lnTo>
                  <a:pt x="314" y="1387"/>
                </a:lnTo>
                <a:lnTo>
                  <a:pt x="322" y="1381"/>
                </a:lnTo>
                <a:lnTo>
                  <a:pt x="328" y="1374"/>
                </a:lnTo>
                <a:lnTo>
                  <a:pt x="331" y="1370"/>
                </a:lnTo>
                <a:lnTo>
                  <a:pt x="332" y="1365"/>
                </a:lnTo>
                <a:lnTo>
                  <a:pt x="331" y="1362"/>
                </a:lnTo>
                <a:lnTo>
                  <a:pt x="331" y="1358"/>
                </a:lnTo>
                <a:lnTo>
                  <a:pt x="327" y="1350"/>
                </a:lnTo>
                <a:lnTo>
                  <a:pt x="323" y="1344"/>
                </a:lnTo>
                <a:lnTo>
                  <a:pt x="321" y="1337"/>
                </a:lnTo>
                <a:lnTo>
                  <a:pt x="321" y="1328"/>
                </a:lnTo>
                <a:lnTo>
                  <a:pt x="321" y="1325"/>
                </a:lnTo>
                <a:lnTo>
                  <a:pt x="320" y="1320"/>
                </a:lnTo>
                <a:lnTo>
                  <a:pt x="319" y="1315"/>
                </a:lnTo>
                <a:lnTo>
                  <a:pt x="315" y="1309"/>
                </a:lnTo>
                <a:lnTo>
                  <a:pt x="312" y="1305"/>
                </a:lnTo>
                <a:lnTo>
                  <a:pt x="307" y="1301"/>
                </a:lnTo>
                <a:lnTo>
                  <a:pt x="303" y="1299"/>
                </a:lnTo>
                <a:lnTo>
                  <a:pt x="299" y="1296"/>
                </a:lnTo>
                <a:lnTo>
                  <a:pt x="294" y="1296"/>
                </a:lnTo>
                <a:lnTo>
                  <a:pt x="289" y="1297"/>
                </a:lnTo>
                <a:lnTo>
                  <a:pt x="284" y="1300"/>
                </a:lnTo>
                <a:lnTo>
                  <a:pt x="281" y="1305"/>
                </a:lnTo>
                <a:lnTo>
                  <a:pt x="272" y="1312"/>
                </a:lnTo>
                <a:lnTo>
                  <a:pt x="265" y="1317"/>
                </a:lnTo>
                <a:lnTo>
                  <a:pt x="263" y="1318"/>
                </a:lnTo>
                <a:lnTo>
                  <a:pt x="260" y="1318"/>
                </a:lnTo>
                <a:lnTo>
                  <a:pt x="258" y="1318"/>
                </a:lnTo>
                <a:lnTo>
                  <a:pt x="256" y="1317"/>
                </a:lnTo>
                <a:lnTo>
                  <a:pt x="253" y="1313"/>
                </a:lnTo>
                <a:lnTo>
                  <a:pt x="250" y="1309"/>
                </a:lnTo>
                <a:lnTo>
                  <a:pt x="247" y="1308"/>
                </a:lnTo>
                <a:lnTo>
                  <a:pt x="244" y="1307"/>
                </a:lnTo>
                <a:lnTo>
                  <a:pt x="240" y="1307"/>
                </a:lnTo>
                <a:lnTo>
                  <a:pt x="236" y="1308"/>
                </a:lnTo>
                <a:lnTo>
                  <a:pt x="231" y="1309"/>
                </a:lnTo>
                <a:lnTo>
                  <a:pt x="228" y="1312"/>
                </a:lnTo>
                <a:lnTo>
                  <a:pt x="226" y="1314"/>
                </a:lnTo>
                <a:lnTo>
                  <a:pt x="225" y="1318"/>
                </a:lnTo>
                <a:lnTo>
                  <a:pt x="222" y="1320"/>
                </a:lnTo>
                <a:lnTo>
                  <a:pt x="220" y="1322"/>
                </a:lnTo>
                <a:lnTo>
                  <a:pt x="215" y="1325"/>
                </a:lnTo>
                <a:lnTo>
                  <a:pt x="209" y="1326"/>
                </a:lnTo>
                <a:lnTo>
                  <a:pt x="202" y="1326"/>
                </a:lnTo>
                <a:lnTo>
                  <a:pt x="195" y="1325"/>
                </a:lnTo>
                <a:lnTo>
                  <a:pt x="190" y="1322"/>
                </a:lnTo>
                <a:lnTo>
                  <a:pt x="187" y="1320"/>
                </a:lnTo>
                <a:lnTo>
                  <a:pt x="183" y="1317"/>
                </a:lnTo>
                <a:lnTo>
                  <a:pt x="181" y="1314"/>
                </a:lnTo>
                <a:lnTo>
                  <a:pt x="182" y="1311"/>
                </a:lnTo>
                <a:lnTo>
                  <a:pt x="188" y="1305"/>
                </a:lnTo>
                <a:lnTo>
                  <a:pt x="190" y="1301"/>
                </a:lnTo>
                <a:lnTo>
                  <a:pt x="194" y="1297"/>
                </a:lnTo>
                <a:lnTo>
                  <a:pt x="195" y="1293"/>
                </a:lnTo>
                <a:lnTo>
                  <a:pt x="196" y="1288"/>
                </a:lnTo>
                <a:lnTo>
                  <a:pt x="197" y="1283"/>
                </a:lnTo>
                <a:lnTo>
                  <a:pt x="196" y="1277"/>
                </a:lnTo>
                <a:lnTo>
                  <a:pt x="196" y="1274"/>
                </a:lnTo>
                <a:lnTo>
                  <a:pt x="194" y="1269"/>
                </a:lnTo>
                <a:lnTo>
                  <a:pt x="192" y="1259"/>
                </a:lnTo>
                <a:lnTo>
                  <a:pt x="189" y="1250"/>
                </a:lnTo>
                <a:lnTo>
                  <a:pt x="188" y="1238"/>
                </a:lnTo>
                <a:lnTo>
                  <a:pt x="184" y="1225"/>
                </a:lnTo>
                <a:lnTo>
                  <a:pt x="183" y="1218"/>
                </a:lnTo>
                <a:lnTo>
                  <a:pt x="183" y="1212"/>
                </a:lnTo>
                <a:lnTo>
                  <a:pt x="182" y="1205"/>
                </a:lnTo>
                <a:lnTo>
                  <a:pt x="183" y="1199"/>
                </a:lnTo>
                <a:lnTo>
                  <a:pt x="187" y="1188"/>
                </a:lnTo>
                <a:lnTo>
                  <a:pt x="188" y="1177"/>
                </a:lnTo>
                <a:lnTo>
                  <a:pt x="188" y="1172"/>
                </a:lnTo>
                <a:lnTo>
                  <a:pt x="187" y="1167"/>
                </a:lnTo>
                <a:lnTo>
                  <a:pt x="184" y="1161"/>
                </a:lnTo>
                <a:lnTo>
                  <a:pt x="181" y="1155"/>
                </a:lnTo>
                <a:lnTo>
                  <a:pt x="171" y="1147"/>
                </a:lnTo>
                <a:lnTo>
                  <a:pt x="165" y="1139"/>
                </a:lnTo>
                <a:lnTo>
                  <a:pt x="163" y="1137"/>
                </a:lnTo>
                <a:lnTo>
                  <a:pt x="161" y="1132"/>
                </a:lnTo>
                <a:lnTo>
                  <a:pt x="158" y="1128"/>
                </a:lnTo>
                <a:lnTo>
                  <a:pt x="157" y="1122"/>
                </a:lnTo>
                <a:lnTo>
                  <a:pt x="152" y="1107"/>
                </a:lnTo>
                <a:lnTo>
                  <a:pt x="146" y="1093"/>
                </a:lnTo>
                <a:lnTo>
                  <a:pt x="142" y="1087"/>
                </a:lnTo>
                <a:lnTo>
                  <a:pt x="138" y="1081"/>
                </a:lnTo>
                <a:lnTo>
                  <a:pt x="133" y="1076"/>
                </a:lnTo>
                <a:lnTo>
                  <a:pt x="129" y="1073"/>
                </a:lnTo>
                <a:lnTo>
                  <a:pt x="119" y="1066"/>
                </a:lnTo>
                <a:lnTo>
                  <a:pt x="112" y="1057"/>
                </a:lnTo>
                <a:lnTo>
                  <a:pt x="107" y="1049"/>
                </a:lnTo>
                <a:lnTo>
                  <a:pt x="102" y="1042"/>
                </a:lnTo>
                <a:lnTo>
                  <a:pt x="100" y="1040"/>
                </a:lnTo>
                <a:lnTo>
                  <a:pt x="98" y="1037"/>
                </a:lnTo>
                <a:lnTo>
                  <a:pt x="95" y="1037"/>
                </a:lnTo>
                <a:lnTo>
                  <a:pt x="93" y="1036"/>
                </a:lnTo>
                <a:lnTo>
                  <a:pt x="89" y="1037"/>
                </a:lnTo>
                <a:lnTo>
                  <a:pt x="85" y="1040"/>
                </a:lnTo>
                <a:lnTo>
                  <a:pt x="82" y="1040"/>
                </a:lnTo>
                <a:lnTo>
                  <a:pt x="81" y="1040"/>
                </a:lnTo>
                <a:lnTo>
                  <a:pt x="80" y="1038"/>
                </a:lnTo>
                <a:lnTo>
                  <a:pt x="80" y="1036"/>
                </a:lnTo>
                <a:lnTo>
                  <a:pt x="80" y="1031"/>
                </a:lnTo>
                <a:lnTo>
                  <a:pt x="80" y="1025"/>
                </a:lnTo>
                <a:lnTo>
                  <a:pt x="80" y="1022"/>
                </a:lnTo>
                <a:lnTo>
                  <a:pt x="79" y="1019"/>
                </a:lnTo>
                <a:lnTo>
                  <a:pt x="76" y="1017"/>
                </a:lnTo>
                <a:lnTo>
                  <a:pt x="74" y="1016"/>
                </a:lnTo>
                <a:lnTo>
                  <a:pt x="68" y="1013"/>
                </a:lnTo>
                <a:lnTo>
                  <a:pt x="60" y="1011"/>
                </a:lnTo>
                <a:lnTo>
                  <a:pt x="54" y="1011"/>
                </a:lnTo>
                <a:lnTo>
                  <a:pt x="49" y="1010"/>
                </a:lnTo>
                <a:lnTo>
                  <a:pt x="43" y="1007"/>
                </a:lnTo>
                <a:lnTo>
                  <a:pt x="37" y="1005"/>
                </a:lnTo>
                <a:lnTo>
                  <a:pt x="31" y="1000"/>
                </a:lnTo>
                <a:lnTo>
                  <a:pt x="25" y="996"/>
                </a:lnTo>
                <a:lnTo>
                  <a:pt x="19" y="988"/>
                </a:lnTo>
                <a:lnTo>
                  <a:pt x="13" y="980"/>
                </a:lnTo>
                <a:lnTo>
                  <a:pt x="8" y="971"/>
                </a:lnTo>
                <a:lnTo>
                  <a:pt x="5" y="961"/>
                </a:lnTo>
                <a:lnTo>
                  <a:pt x="1" y="952"/>
                </a:lnTo>
                <a:lnTo>
                  <a:pt x="0" y="942"/>
                </a:lnTo>
                <a:lnTo>
                  <a:pt x="0" y="934"/>
                </a:lnTo>
                <a:lnTo>
                  <a:pt x="1" y="927"/>
                </a:lnTo>
                <a:lnTo>
                  <a:pt x="3" y="921"/>
                </a:lnTo>
                <a:lnTo>
                  <a:pt x="5" y="917"/>
                </a:lnTo>
                <a:lnTo>
                  <a:pt x="10" y="914"/>
                </a:lnTo>
                <a:lnTo>
                  <a:pt x="12" y="910"/>
                </a:lnTo>
                <a:lnTo>
                  <a:pt x="12" y="906"/>
                </a:lnTo>
                <a:lnTo>
                  <a:pt x="11" y="902"/>
                </a:lnTo>
                <a:lnTo>
                  <a:pt x="11" y="898"/>
                </a:lnTo>
                <a:lnTo>
                  <a:pt x="11" y="896"/>
                </a:lnTo>
                <a:lnTo>
                  <a:pt x="12" y="892"/>
                </a:lnTo>
                <a:lnTo>
                  <a:pt x="13" y="890"/>
                </a:lnTo>
                <a:lnTo>
                  <a:pt x="16" y="887"/>
                </a:lnTo>
                <a:lnTo>
                  <a:pt x="19" y="885"/>
                </a:lnTo>
                <a:lnTo>
                  <a:pt x="23" y="884"/>
                </a:lnTo>
                <a:lnTo>
                  <a:pt x="27" y="883"/>
                </a:lnTo>
                <a:lnTo>
                  <a:pt x="38" y="881"/>
                </a:lnTo>
                <a:lnTo>
                  <a:pt x="47" y="879"/>
                </a:lnTo>
                <a:lnTo>
                  <a:pt x="50" y="876"/>
                </a:lnTo>
                <a:lnTo>
                  <a:pt x="54" y="872"/>
                </a:lnTo>
                <a:lnTo>
                  <a:pt x="56" y="867"/>
                </a:lnTo>
                <a:lnTo>
                  <a:pt x="58" y="860"/>
                </a:lnTo>
                <a:lnTo>
                  <a:pt x="63" y="842"/>
                </a:lnTo>
                <a:lnTo>
                  <a:pt x="67" y="832"/>
                </a:lnTo>
                <a:lnTo>
                  <a:pt x="69" y="828"/>
                </a:lnTo>
                <a:lnTo>
                  <a:pt x="71" y="824"/>
                </a:lnTo>
                <a:lnTo>
                  <a:pt x="75" y="822"/>
                </a:lnTo>
                <a:lnTo>
                  <a:pt x="80" y="818"/>
                </a:lnTo>
                <a:lnTo>
                  <a:pt x="88" y="811"/>
                </a:lnTo>
                <a:lnTo>
                  <a:pt x="96" y="802"/>
                </a:lnTo>
                <a:lnTo>
                  <a:pt x="104" y="790"/>
                </a:lnTo>
                <a:lnTo>
                  <a:pt x="107" y="782"/>
                </a:lnTo>
                <a:lnTo>
                  <a:pt x="108" y="778"/>
                </a:lnTo>
                <a:lnTo>
                  <a:pt x="111" y="776"/>
                </a:lnTo>
                <a:lnTo>
                  <a:pt x="113" y="773"/>
                </a:lnTo>
                <a:lnTo>
                  <a:pt x="117" y="771"/>
                </a:lnTo>
                <a:lnTo>
                  <a:pt x="120" y="770"/>
                </a:lnTo>
                <a:lnTo>
                  <a:pt x="124" y="769"/>
                </a:lnTo>
                <a:lnTo>
                  <a:pt x="129" y="767"/>
                </a:lnTo>
                <a:lnTo>
                  <a:pt x="134" y="767"/>
                </a:lnTo>
                <a:lnTo>
                  <a:pt x="143" y="767"/>
                </a:lnTo>
                <a:lnTo>
                  <a:pt x="150" y="765"/>
                </a:lnTo>
                <a:lnTo>
                  <a:pt x="153" y="761"/>
                </a:lnTo>
                <a:lnTo>
                  <a:pt x="156" y="758"/>
                </a:lnTo>
                <a:lnTo>
                  <a:pt x="158" y="754"/>
                </a:lnTo>
                <a:lnTo>
                  <a:pt x="162" y="752"/>
                </a:lnTo>
                <a:lnTo>
                  <a:pt x="167" y="751"/>
                </a:lnTo>
                <a:lnTo>
                  <a:pt x="171" y="751"/>
                </a:lnTo>
                <a:lnTo>
                  <a:pt x="176" y="750"/>
                </a:lnTo>
                <a:lnTo>
                  <a:pt x="178" y="747"/>
                </a:lnTo>
                <a:lnTo>
                  <a:pt x="180" y="745"/>
                </a:lnTo>
                <a:lnTo>
                  <a:pt x="181" y="742"/>
                </a:lnTo>
                <a:lnTo>
                  <a:pt x="181" y="739"/>
                </a:lnTo>
                <a:lnTo>
                  <a:pt x="180" y="735"/>
                </a:lnTo>
                <a:lnTo>
                  <a:pt x="180" y="731"/>
                </a:lnTo>
                <a:lnTo>
                  <a:pt x="180" y="726"/>
                </a:lnTo>
                <a:lnTo>
                  <a:pt x="181" y="721"/>
                </a:lnTo>
                <a:lnTo>
                  <a:pt x="183" y="716"/>
                </a:lnTo>
                <a:lnTo>
                  <a:pt x="187" y="713"/>
                </a:lnTo>
                <a:lnTo>
                  <a:pt x="192" y="709"/>
                </a:lnTo>
                <a:lnTo>
                  <a:pt x="197" y="706"/>
                </a:lnTo>
                <a:lnTo>
                  <a:pt x="203" y="702"/>
                </a:lnTo>
                <a:lnTo>
                  <a:pt x="211" y="698"/>
                </a:lnTo>
                <a:lnTo>
                  <a:pt x="219" y="695"/>
                </a:lnTo>
                <a:lnTo>
                  <a:pt x="226" y="690"/>
                </a:lnTo>
                <a:lnTo>
                  <a:pt x="233" y="684"/>
                </a:lnTo>
                <a:lnTo>
                  <a:pt x="240" y="678"/>
                </a:lnTo>
                <a:lnTo>
                  <a:pt x="245" y="672"/>
                </a:lnTo>
                <a:lnTo>
                  <a:pt x="249" y="666"/>
                </a:lnTo>
                <a:lnTo>
                  <a:pt x="249" y="660"/>
                </a:lnTo>
                <a:lnTo>
                  <a:pt x="247" y="650"/>
                </a:lnTo>
                <a:lnTo>
                  <a:pt x="246" y="638"/>
                </a:lnTo>
                <a:lnTo>
                  <a:pt x="247" y="633"/>
                </a:lnTo>
                <a:lnTo>
                  <a:pt x="247" y="627"/>
                </a:lnTo>
                <a:lnTo>
                  <a:pt x="250" y="622"/>
                </a:lnTo>
                <a:lnTo>
                  <a:pt x="252" y="618"/>
                </a:lnTo>
                <a:lnTo>
                  <a:pt x="266" y="602"/>
                </a:lnTo>
                <a:lnTo>
                  <a:pt x="276" y="589"/>
                </a:lnTo>
                <a:lnTo>
                  <a:pt x="277" y="582"/>
                </a:lnTo>
                <a:lnTo>
                  <a:pt x="281" y="577"/>
                </a:lnTo>
                <a:lnTo>
                  <a:pt x="284" y="572"/>
                </a:lnTo>
                <a:lnTo>
                  <a:pt x="288" y="570"/>
                </a:lnTo>
                <a:lnTo>
                  <a:pt x="291" y="567"/>
                </a:lnTo>
                <a:lnTo>
                  <a:pt x="294" y="562"/>
                </a:lnTo>
                <a:lnTo>
                  <a:pt x="295" y="553"/>
                </a:lnTo>
                <a:lnTo>
                  <a:pt x="294" y="543"/>
                </a:lnTo>
                <a:lnTo>
                  <a:pt x="290" y="532"/>
                </a:lnTo>
                <a:lnTo>
                  <a:pt x="283" y="520"/>
                </a:lnTo>
                <a:lnTo>
                  <a:pt x="280" y="515"/>
                </a:lnTo>
                <a:lnTo>
                  <a:pt x="277" y="509"/>
                </a:lnTo>
                <a:lnTo>
                  <a:pt x="275" y="505"/>
                </a:lnTo>
                <a:lnTo>
                  <a:pt x="274" y="499"/>
                </a:lnTo>
                <a:lnTo>
                  <a:pt x="275" y="488"/>
                </a:lnTo>
                <a:lnTo>
                  <a:pt x="276" y="480"/>
                </a:lnTo>
                <a:lnTo>
                  <a:pt x="278" y="476"/>
                </a:lnTo>
                <a:lnTo>
                  <a:pt x="280" y="474"/>
                </a:lnTo>
                <a:lnTo>
                  <a:pt x="282" y="471"/>
                </a:lnTo>
                <a:lnTo>
                  <a:pt x="285" y="470"/>
                </a:lnTo>
                <a:lnTo>
                  <a:pt x="288" y="470"/>
                </a:lnTo>
                <a:lnTo>
                  <a:pt x="290" y="468"/>
                </a:lnTo>
                <a:lnTo>
                  <a:pt x="293" y="467"/>
                </a:lnTo>
                <a:lnTo>
                  <a:pt x="294" y="463"/>
                </a:lnTo>
                <a:lnTo>
                  <a:pt x="295" y="461"/>
                </a:lnTo>
                <a:lnTo>
                  <a:pt x="295" y="457"/>
                </a:lnTo>
                <a:lnTo>
                  <a:pt x="294" y="454"/>
                </a:lnTo>
                <a:lnTo>
                  <a:pt x="291" y="450"/>
                </a:lnTo>
                <a:lnTo>
                  <a:pt x="287" y="444"/>
                </a:lnTo>
                <a:lnTo>
                  <a:pt x="282" y="437"/>
                </a:lnTo>
                <a:lnTo>
                  <a:pt x="280" y="433"/>
                </a:lnTo>
                <a:lnTo>
                  <a:pt x="278" y="430"/>
                </a:lnTo>
                <a:lnTo>
                  <a:pt x="278" y="424"/>
                </a:lnTo>
                <a:lnTo>
                  <a:pt x="278" y="419"/>
                </a:lnTo>
                <a:lnTo>
                  <a:pt x="280" y="412"/>
                </a:lnTo>
                <a:lnTo>
                  <a:pt x="282" y="406"/>
                </a:lnTo>
                <a:lnTo>
                  <a:pt x="284" y="401"/>
                </a:lnTo>
                <a:lnTo>
                  <a:pt x="289" y="397"/>
                </a:lnTo>
                <a:lnTo>
                  <a:pt x="294" y="393"/>
                </a:lnTo>
                <a:lnTo>
                  <a:pt x="300" y="391"/>
                </a:lnTo>
                <a:lnTo>
                  <a:pt x="304" y="389"/>
                </a:lnTo>
                <a:lnTo>
                  <a:pt x="310" y="392"/>
                </a:lnTo>
                <a:lnTo>
                  <a:pt x="321" y="397"/>
                </a:lnTo>
                <a:lnTo>
                  <a:pt x="332" y="400"/>
                </a:lnTo>
                <a:lnTo>
                  <a:pt x="341" y="401"/>
                </a:lnTo>
                <a:lnTo>
                  <a:pt x="351" y="401"/>
                </a:lnTo>
                <a:lnTo>
                  <a:pt x="360" y="400"/>
                </a:lnTo>
                <a:lnTo>
                  <a:pt x="370" y="400"/>
                </a:lnTo>
                <a:lnTo>
                  <a:pt x="378" y="402"/>
                </a:lnTo>
                <a:lnTo>
                  <a:pt x="386" y="406"/>
                </a:lnTo>
                <a:lnTo>
                  <a:pt x="395" y="410"/>
                </a:lnTo>
                <a:lnTo>
                  <a:pt x="401" y="411"/>
                </a:lnTo>
                <a:lnTo>
                  <a:pt x="404" y="411"/>
                </a:lnTo>
                <a:lnTo>
                  <a:pt x="407" y="410"/>
                </a:lnTo>
                <a:lnTo>
                  <a:pt x="409" y="406"/>
                </a:lnTo>
                <a:lnTo>
                  <a:pt x="411" y="401"/>
                </a:lnTo>
                <a:lnTo>
                  <a:pt x="414" y="393"/>
                </a:lnTo>
                <a:lnTo>
                  <a:pt x="417" y="385"/>
                </a:lnTo>
                <a:lnTo>
                  <a:pt x="421" y="382"/>
                </a:lnTo>
                <a:lnTo>
                  <a:pt x="425" y="380"/>
                </a:lnTo>
                <a:lnTo>
                  <a:pt x="430" y="378"/>
                </a:lnTo>
                <a:lnTo>
                  <a:pt x="436" y="376"/>
                </a:lnTo>
                <a:lnTo>
                  <a:pt x="448" y="373"/>
                </a:lnTo>
                <a:lnTo>
                  <a:pt x="455" y="370"/>
                </a:lnTo>
                <a:lnTo>
                  <a:pt x="457" y="368"/>
                </a:lnTo>
                <a:lnTo>
                  <a:pt x="457" y="366"/>
                </a:lnTo>
                <a:lnTo>
                  <a:pt x="457" y="362"/>
                </a:lnTo>
                <a:lnTo>
                  <a:pt x="457" y="357"/>
                </a:lnTo>
                <a:lnTo>
                  <a:pt x="454" y="344"/>
                </a:lnTo>
                <a:lnTo>
                  <a:pt x="451" y="331"/>
                </a:lnTo>
                <a:lnTo>
                  <a:pt x="448" y="324"/>
                </a:lnTo>
                <a:lnTo>
                  <a:pt x="446" y="319"/>
                </a:lnTo>
                <a:lnTo>
                  <a:pt x="442" y="315"/>
                </a:lnTo>
                <a:lnTo>
                  <a:pt x="439" y="312"/>
                </a:lnTo>
                <a:lnTo>
                  <a:pt x="421" y="306"/>
                </a:lnTo>
                <a:lnTo>
                  <a:pt x="406" y="300"/>
                </a:lnTo>
                <a:lnTo>
                  <a:pt x="402" y="297"/>
                </a:lnTo>
                <a:lnTo>
                  <a:pt x="400" y="291"/>
                </a:lnTo>
                <a:lnTo>
                  <a:pt x="397" y="285"/>
                </a:lnTo>
                <a:lnTo>
                  <a:pt x="396" y="279"/>
                </a:lnTo>
                <a:lnTo>
                  <a:pt x="396" y="272"/>
                </a:lnTo>
                <a:lnTo>
                  <a:pt x="397" y="267"/>
                </a:lnTo>
                <a:lnTo>
                  <a:pt x="397" y="265"/>
                </a:lnTo>
                <a:lnTo>
                  <a:pt x="400" y="263"/>
                </a:lnTo>
                <a:lnTo>
                  <a:pt x="401" y="262"/>
                </a:lnTo>
                <a:lnTo>
                  <a:pt x="403" y="261"/>
                </a:lnTo>
                <a:lnTo>
                  <a:pt x="411" y="260"/>
                </a:lnTo>
                <a:lnTo>
                  <a:pt x="421" y="259"/>
                </a:lnTo>
                <a:lnTo>
                  <a:pt x="425" y="257"/>
                </a:lnTo>
                <a:lnTo>
                  <a:pt x="428" y="255"/>
                </a:lnTo>
                <a:lnTo>
                  <a:pt x="432" y="252"/>
                </a:lnTo>
                <a:lnTo>
                  <a:pt x="434" y="248"/>
                </a:lnTo>
                <a:lnTo>
                  <a:pt x="438" y="240"/>
                </a:lnTo>
                <a:lnTo>
                  <a:pt x="441" y="234"/>
                </a:lnTo>
                <a:lnTo>
                  <a:pt x="445" y="233"/>
                </a:lnTo>
                <a:lnTo>
                  <a:pt x="447" y="233"/>
                </a:lnTo>
                <a:lnTo>
                  <a:pt x="451" y="234"/>
                </a:lnTo>
                <a:lnTo>
                  <a:pt x="455" y="236"/>
                </a:lnTo>
                <a:lnTo>
                  <a:pt x="459" y="240"/>
                </a:lnTo>
                <a:lnTo>
                  <a:pt x="463" y="241"/>
                </a:lnTo>
                <a:lnTo>
                  <a:pt x="466" y="242"/>
                </a:lnTo>
                <a:lnTo>
                  <a:pt x="470" y="242"/>
                </a:lnTo>
                <a:lnTo>
                  <a:pt x="472" y="241"/>
                </a:lnTo>
                <a:lnTo>
                  <a:pt x="474" y="240"/>
                </a:lnTo>
                <a:lnTo>
                  <a:pt x="476" y="237"/>
                </a:lnTo>
                <a:lnTo>
                  <a:pt x="478" y="235"/>
                </a:lnTo>
                <a:lnTo>
                  <a:pt x="483" y="228"/>
                </a:lnTo>
                <a:lnTo>
                  <a:pt x="485" y="219"/>
                </a:lnTo>
                <a:lnTo>
                  <a:pt x="485" y="211"/>
                </a:lnTo>
                <a:lnTo>
                  <a:pt x="485" y="203"/>
                </a:lnTo>
                <a:lnTo>
                  <a:pt x="483" y="196"/>
                </a:lnTo>
                <a:lnTo>
                  <a:pt x="482" y="189"/>
                </a:lnTo>
                <a:lnTo>
                  <a:pt x="483" y="186"/>
                </a:lnTo>
                <a:lnTo>
                  <a:pt x="484" y="184"/>
                </a:lnTo>
                <a:lnTo>
                  <a:pt x="486" y="183"/>
                </a:lnTo>
                <a:lnTo>
                  <a:pt x="491" y="183"/>
                </a:lnTo>
                <a:lnTo>
                  <a:pt x="495" y="181"/>
                </a:lnTo>
                <a:lnTo>
                  <a:pt x="498" y="181"/>
                </a:lnTo>
                <a:lnTo>
                  <a:pt x="502" y="179"/>
                </a:lnTo>
                <a:lnTo>
                  <a:pt x="503" y="177"/>
                </a:lnTo>
                <a:lnTo>
                  <a:pt x="507" y="170"/>
                </a:lnTo>
                <a:lnTo>
                  <a:pt x="507" y="160"/>
                </a:lnTo>
                <a:lnTo>
                  <a:pt x="507" y="147"/>
                </a:lnTo>
                <a:lnTo>
                  <a:pt x="507" y="133"/>
                </a:lnTo>
                <a:lnTo>
                  <a:pt x="508" y="118"/>
                </a:lnTo>
                <a:lnTo>
                  <a:pt x="510" y="108"/>
                </a:lnTo>
                <a:lnTo>
                  <a:pt x="515" y="97"/>
                </a:lnTo>
                <a:lnTo>
                  <a:pt x="518" y="83"/>
                </a:lnTo>
                <a:lnTo>
                  <a:pt x="522" y="68"/>
                </a:lnTo>
                <a:lnTo>
                  <a:pt x="523" y="57"/>
                </a:lnTo>
                <a:lnTo>
                  <a:pt x="523" y="42"/>
                </a:lnTo>
                <a:lnTo>
                  <a:pt x="521" y="30"/>
                </a:lnTo>
                <a:lnTo>
                  <a:pt x="521" y="27"/>
                </a:lnTo>
                <a:lnTo>
                  <a:pt x="523" y="23"/>
                </a:lnTo>
                <a:lnTo>
                  <a:pt x="527" y="19"/>
                </a:lnTo>
                <a:lnTo>
                  <a:pt x="533" y="15"/>
                </a:lnTo>
                <a:lnTo>
                  <a:pt x="539" y="10"/>
                </a:lnTo>
                <a:lnTo>
                  <a:pt x="548" y="5"/>
                </a:lnTo>
                <a:lnTo>
                  <a:pt x="553" y="4"/>
                </a:lnTo>
                <a:lnTo>
                  <a:pt x="558" y="2"/>
                </a:lnTo>
                <a:lnTo>
                  <a:pt x="564" y="2"/>
                </a:lnTo>
                <a:lnTo>
                  <a:pt x="571" y="1"/>
                </a:lnTo>
                <a:lnTo>
                  <a:pt x="585" y="1"/>
                </a:lnTo>
                <a:lnTo>
                  <a:pt x="598" y="1"/>
                </a:lnTo>
                <a:lnTo>
                  <a:pt x="610" y="0"/>
                </a:lnTo>
                <a:lnTo>
                  <a:pt x="618" y="0"/>
                </a:lnTo>
                <a:lnTo>
                  <a:pt x="622" y="1"/>
                </a:lnTo>
                <a:lnTo>
                  <a:pt x="624" y="2"/>
                </a:lnTo>
                <a:lnTo>
                  <a:pt x="628" y="4"/>
                </a:lnTo>
                <a:lnTo>
                  <a:pt x="631" y="8"/>
                </a:lnTo>
                <a:lnTo>
                  <a:pt x="635" y="13"/>
                </a:lnTo>
                <a:lnTo>
                  <a:pt x="637" y="19"/>
                </a:lnTo>
                <a:lnTo>
                  <a:pt x="640" y="25"/>
                </a:lnTo>
                <a:lnTo>
                  <a:pt x="642" y="30"/>
                </a:lnTo>
                <a:lnTo>
                  <a:pt x="644" y="38"/>
                </a:lnTo>
                <a:lnTo>
                  <a:pt x="648" y="45"/>
                </a:lnTo>
                <a:lnTo>
                  <a:pt x="653" y="53"/>
                </a:lnTo>
                <a:lnTo>
                  <a:pt x="659" y="60"/>
                </a:lnTo>
                <a:lnTo>
                  <a:pt x="665" y="67"/>
                </a:lnTo>
                <a:lnTo>
                  <a:pt x="672" y="74"/>
                </a:lnTo>
                <a:lnTo>
                  <a:pt x="679" y="79"/>
                </a:lnTo>
                <a:lnTo>
                  <a:pt x="686" y="83"/>
                </a:lnTo>
                <a:lnTo>
                  <a:pt x="703" y="88"/>
                </a:lnTo>
                <a:lnTo>
                  <a:pt x="721" y="91"/>
                </a:lnTo>
                <a:lnTo>
                  <a:pt x="730" y="92"/>
                </a:lnTo>
                <a:lnTo>
                  <a:pt x="740" y="92"/>
                </a:lnTo>
                <a:lnTo>
                  <a:pt x="748" y="91"/>
                </a:lnTo>
                <a:lnTo>
                  <a:pt x="756" y="90"/>
                </a:lnTo>
                <a:lnTo>
                  <a:pt x="769" y="89"/>
                </a:lnTo>
                <a:lnTo>
                  <a:pt x="782" y="88"/>
                </a:lnTo>
                <a:lnTo>
                  <a:pt x="788" y="88"/>
                </a:lnTo>
                <a:lnTo>
                  <a:pt x="794" y="88"/>
                </a:lnTo>
                <a:lnTo>
                  <a:pt x="800" y="90"/>
                </a:lnTo>
                <a:lnTo>
                  <a:pt x="806" y="91"/>
                </a:lnTo>
                <a:lnTo>
                  <a:pt x="811" y="96"/>
                </a:lnTo>
                <a:lnTo>
                  <a:pt x="816" y="101"/>
                </a:lnTo>
                <a:lnTo>
                  <a:pt x="819" y="107"/>
                </a:lnTo>
                <a:lnTo>
                  <a:pt x="823" y="114"/>
                </a:lnTo>
                <a:lnTo>
                  <a:pt x="828" y="128"/>
                </a:lnTo>
                <a:lnTo>
                  <a:pt x="832" y="141"/>
                </a:lnTo>
                <a:lnTo>
                  <a:pt x="835" y="145"/>
                </a:lnTo>
                <a:lnTo>
                  <a:pt x="838" y="147"/>
                </a:lnTo>
                <a:lnTo>
                  <a:pt x="842" y="148"/>
                </a:lnTo>
                <a:lnTo>
                  <a:pt x="847" y="148"/>
                </a:lnTo>
                <a:lnTo>
                  <a:pt x="851" y="147"/>
                </a:lnTo>
                <a:lnTo>
                  <a:pt x="856" y="145"/>
                </a:lnTo>
                <a:lnTo>
                  <a:pt x="860" y="140"/>
                </a:lnTo>
                <a:lnTo>
                  <a:pt x="863" y="135"/>
                </a:lnTo>
                <a:lnTo>
                  <a:pt x="869" y="126"/>
                </a:lnTo>
                <a:lnTo>
                  <a:pt x="875" y="118"/>
                </a:lnTo>
                <a:lnTo>
                  <a:pt x="883" y="114"/>
                </a:lnTo>
                <a:lnTo>
                  <a:pt x="895" y="108"/>
                </a:lnTo>
                <a:lnTo>
                  <a:pt x="901" y="104"/>
                </a:lnTo>
                <a:lnTo>
                  <a:pt x="907" y="99"/>
                </a:lnTo>
                <a:lnTo>
                  <a:pt x="913" y="96"/>
                </a:lnTo>
                <a:lnTo>
                  <a:pt x="917" y="91"/>
                </a:lnTo>
                <a:lnTo>
                  <a:pt x="919" y="86"/>
                </a:lnTo>
                <a:lnTo>
                  <a:pt x="921" y="82"/>
                </a:lnTo>
                <a:lnTo>
                  <a:pt x="923" y="77"/>
                </a:lnTo>
                <a:lnTo>
                  <a:pt x="921" y="73"/>
                </a:lnTo>
                <a:lnTo>
                  <a:pt x="920" y="70"/>
                </a:lnTo>
                <a:lnTo>
                  <a:pt x="920" y="65"/>
                </a:lnTo>
                <a:lnTo>
                  <a:pt x="920" y="60"/>
                </a:lnTo>
                <a:lnTo>
                  <a:pt x="921" y="57"/>
                </a:lnTo>
                <a:lnTo>
                  <a:pt x="924" y="52"/>
                </a:lnTo>
                <a:lnTo>
                  <a:pt x="927" y="48"/>
                </a:lnTo>
                <a:lnTo>
                  <a:pt x="931" y="44"/>
                </a:lnTo>
                <a:lnTo>
                  <a:pt x="936" y="41"/>
                </a:lnTo>
                <a:lnTo>
                  <a:pt x="948" y="35"/>
                </a:lnTo>
                <a:lnTo>
                  <a:pt x="963" y="30"/>
                </a:lnTo>
                <a:lnTo>
                  <a:pt x="977" y="27"/>
                </a:lnTo>
                <a:lnTo>
                  <a:pt x="989" y="25"/>
                </a:lnTo>
                <a:lnTo>
                  <a:pt x="994" y="23"/>
                </a:lnTo>
                <a:lnTo>
                  <a:pt x="999" y="23"/>
                </a:lnTo>
                <a:lnTo>
                  <a:pt x="1003" y="25"/>
                </a:lnTo>
                <a:lnTo>
                  <a:pt x="1008" y="26"/>
                </a:lnTo>
                <a:lnTo>
                  <a:pt x="1012" y="29"/>
                </a:lnTo>
                <a:lnTo>
                  <a:pt x="1015" y="33"/>
                </a:lnTo>
                <a:lnTo>
                  <a:pt x="1018" y="39"/>
                </a:lnTo>
                <a:lnTo>
                  <a:pt x="1019" y="46"/>
                </a:lnTo>
                <a:lnTo>
                  <a:pt x="1020" y="63"/>
                </a:lnTo>
                <a:lnTo>
                  <a:pt x="1021" y="78"/>
                </a:lnTo>
                <a:lnTo>
                  <a:pt x="1021" y="86"/>
                </a:lnTo>
                <a:lnTo>
                  <a:pt x="1022" y="92"/>
                </a:lnTo>
                <a:lnTo>
                  <a:pt x="1024" y="98"/>
                </a:lnTo>
                <a:lnTo>
                  <a:pt x="1025" y="102"/>
                </a:lnTo>
                <a:lnTo>
                  <a:pt x="1028" y="105"/>
                </a:lnTo>
                <a:lnTo>
                  <a:pt x="1034" y="108"/>
                </a:lnTo>
                <a:lnTo>
                  <a:pt x="1040" y="111"/>
                </a:lnTo>
                <a:lnTo>
                  <a:pt x="1049" y="112"/>
                </a:lnTo>
                <a:lnTo>
                  <a:pt x="1058" y="115"/>
                </a:lnTo>
                <a:lnTo>
                  <a:pt x="1068" y="116"/>
                </a:lnTo>
                <a:lnTo>
                  <a:pt x="1076" y="116"/>
                </a:lnTo>
                <a:lnTo>
                  <a:pt x="1085" y="116"/>
                </a:lnTo>
                <a:lnTo>
                  <a:pt x="1094" y="116"/>
                </a:lnTo>
                <a:lnTo>
                  <a:pt x="1102" y="117"/>
                </a:lnTo>
                <a:lnTo>
                  <a:pt x="1108" y="120"/>
                </a:lnTo>
                <a:lnTo>
                  <a:pt x="1114" y="123"/>
                </a:lnTo>
                <a:lnTo>
                  <a:pt x="1120" y="136"/>
                </a:lnTo>
                <a:lnTo>
                  <a:pt x="1127" y="155"/>
                </a:lnTo>
                <a:lnTo>
                  <a:pt x="1127" y="156"/>
                </a:lnTo>
                <a:lnTo>
                  <a:pt x="1126" y="156"/>
                </a:lnTo>
                <a:lnTo>
                  <a:pt x="1115" y="161"/>
                </a:lnTo>
                <a:lnTo>
                  <a:pt x="1104" y="170"/>
                </a:lnTo>
                <a:lnTo>
                  <a:pt x="1100" y="174"/>
                </a:lnTo>
                <a:lnTo>
                  <a:pt x="1096" y="179"/>
                </a:lnTo>
                <a:lnTo>
                  <a:pt x="1094" y="183"/>
                </a:lnTo>
                <a:lnTo>
                  <a:pt x="1093" y="186"/>
                </a:lnTo>
                <a:lnTo>
                  <a:pt x="1091" y="193"/>
                </a:lnTo>
                <a:lnTo>
                  <a:pt x="1089" y="199"/>
                </a:lnTo>
                <a:lnTo>
                  <a:pt x="1087" y="202"/>
                </a:lnTo>
                <a:lnTo>
                  <a:pt x="1083" y="204"/>
                </a:lnTo>
                <a:lnTo>
                  <a:pt x="1080" y="205"/>
                </a:lnTo>
                <a:lnTo>
                  <a:pt x="1076" y="205"/>
                </a:lnTo>
                <a:lnTo>
                  <a:pt x="1065" y="206"/>
                </a:lnTo>
                <a:lnTo>
                  <a:pt x="1055" y="209"/>
                </a:lnTo>
                <a:lnTo>
                  <a:pt x="1049" y="211"/>
                </a:lnTo>
                <a:lnTo>
                  <a:pt x="1044" y="215"/>
                </a:lnTo>
                <a:lnTo>
                  <a:pt x="1038" y="218"/>
                </a:lnTo>
                <a:lnTo>
                  <a:pt x="1033" y="224"/>
                </a:lnTo>
                <a:lnTo>
                  <a:pt x="1030" y="230"/>
                </a:lnTo>
                <a:lnTo>
                  <a:pt x="1027" y="237"/>
                </a:lnTo>
                <a:lnTo>
                  <a:pt x="1026" y="246"/>
                </a:lnTo>
                <a:lnTo>
                  <a:pt x="1025" y="255"/>
                </a:lnTo>
                <a:lnTo>
                  <a:pt x="1025" y="272"/>
                </a:lnTo>
                <a:lnTo>
                  <a:pt x="1026" y="284"/>
                </a:lnTo>
                <a:lnTo>
                  <a:pt x="1025" y="288"/>
                </a:lnTo>
                <a:lnTo>
                  <a:pt x="1022" y="293"/>
                </a:lnTo>
                <a:lnTo>
                  <a:pt x="1019" y="298"/>
                </a:lnTo>
                <a:lnTo>
                  <a:pt x="1014" y="303"/>
                </a:lnTo>
                <a:lnTo>
                  <a:pt x="1002" y="311"/>
                </a:lnTo>
                <a:lnTo>
                  <a:pt x="989" y="319"/>
                </a:lnTo>
                <a:lnTo>
                  <a:pt x="983" y="323"/>
                </a:lnTo>
                <a:lnTo>
                  <a:pt x="977" y="325"/>
                </a:lnTo>
                <a:lnTo>
                  <a:pt x="971" y="328"/>
                </a:lnTo>
                <a:lnTo>
                  <a:pt x="967" y="329"/>
                </a:lnTo>
                <a:lnTo>
                  <a:pt x="962" y="329"/>
                </a:lnTo>
                <a:lnTo>
                  <a:pt x="957" y="328"/>
                </a:lnTo>
                <a:lnTo>
                  <a:pt x="952" y="325"/>
                </a:lnTo>
                <a:lnTo>
                  <a:pt x="948" y="322"/>
                </a:lnTo>
                <a:lnTo>
                  <a:pt x="940" y="316"/>
                </a:lnTo>
                <a:lnTo>
                  <a:pt x="931" y="312"/>
                </a:lnTo>
                <a:lnTo>
                  <a:pt x="919" y="310"/>
                </a:lnTo>
                <a:lnTo>
                  <a:pt x="907" y="309"/>
                </a:lnTo>
                <a:lnTo>
                  <a:pt x="893" y="310"/>
                </a:lnTo>
                <a:lnTo>
                  <a:pt x="879" y="311"/>
                </a:lnTo>
                <a:lnTo>
                  <a:pt x="866" y="312"/>
                </a:lnTo>
                <a:lnTo>
                  <a:pt x="852" y="317"/>
                </a:lnTo>
                <a:lnTo>
                  <a:pt x="847" y="319"/>
                </a:lnTo>
                <a:lnTo>
                  <a:pt x="841" y="323"/>
                </a:lnTo>
                <a:lnTo>
                  <a:pt x="835" y="326"/>
                </a:lnTo>
                <a:lnTo>
                  <a:pt x="830" y="331"/>
                </a:lnTo>
                <a:lnTo>
                  <a:pt x="823" y="342"/>
                </a:lnTo>
                <a:lnTo>
                  <a:pt x="817" y="353"/>
                </a:lnTo>
                <a:lnTo>
                  <a:pt x="813" y="359"/>
                </a:lnTo>
                <a:lnTo>
                  <a:pt x="808" y="364"/>
                </a:lnTo>
                <a:lnTo>
                  <a:pt x="801" y="370"/>
                </a:lnTo>
                <a:lnTo>
                  <a:pt x="792" y="376"/>
                </a:lnTo>
                <a:lnTo>
                  <a:pt x="784" y="381"/>
                </a:lnTo>
                <a:lnTo>
                  <a:pt x="780" y="385"/>
                </a:lnTo>
                <a:lnTo>
                  <a:pt x="780" y="386"/>
                </a:lnTo>
                <a:lnTo>
                  <a:pt x="780" y="386"/>
                </a:lnTo>
                <a:lnTo>
                  <a:pt x="781" y="386"/>
                </a:lnTo>
                <a:lnTo>
                  <a:pt x="782" y="387"/>
                </a:lnTo>
                <a:lnTo>
                  <a:pt x="793" y="385"/>
                </a:lnTo>
                <a:lnTo>
                  <a:pt x="805" y="381"/>
                </a:lnTo>
                <a:lnTo>
                  <a:pt x="814" y="375"/>
                </a:lnTo>
                <a:lnTo>
                  <a:pt x="826" y="366"/>
                </a:lnTo>
                <a:lnTo>
                  <a:pt x="836" y="355"/>
                </a:lnTo>
                <a:lnTo>
                  <a:pt x="841" y="348"/>
                </a:lnTo>
                <a:lnTo>
                  <a:pt x="845" y="342"/>
                </a:lnTo>
                <a:lnTo>
                  <a:pt x="851" y="337"/>
                </a:lnTo>
                <a:lnTo>
                  <a:pt x="856" y="335"/>
                </a:lnTo>
                <a:lnTo>
                  <a:pt x="860" y="334"/>
                </a:lnTo>
                <a:lnTo>
                  <a:pt x="864" y="332"/>
                </a:lnTo>
                <a:lnTo>
                  <a:pt x="869" y="334"/>
                </a:lnTo>
                <a:lnTo>
                  <a:pt x="879" y="335"/>
                </a:lnTo>
                <a:lnTo>
                  <a:pt x="888" y="337"/>
                </a:lnTo>
                <a:lnTo>
                  <a:pt x="898" y="339"/>
                </a:lnTo>
                <a:lnTo>
                  <a:pt x="904" y="343"/>
                </a:lnTo>
                <a:lnTo>
                  <a:pt x="906" y="345"/>
                </a:lnTo>
                <a:lnTo>
                  <a:pt x="907" y="349"/>
                </a:lnTo>
                <a:lnTo>
                  <a:pt x="908" y="354"/>
                </a:lnTo>
                <a:lnTo>
                  <a:pt x="908" y="359"/>
                </a:lnTo>
                <a:lnTo>
                  <a:pt x="907" y="370"/>
                </a:lnTo>
                <a:lnTo>
                  <a:pt x="906" y="385"/>
                </a:lnTo>
                <a:lnTo>
                  <a:pt x="907" y="392"/>
                </a:lnTo>
                <a:lnTo>
                  <a:pt x="908" y="398"/>
                </a:lnTo>
                <a:lnTo>
                  <a:pt x="912" y="404"/>
                </a:lnTo>
                <a:lnTo>
                  <a:pt x="917" y="407"/>
                </a:lnTo>
                <a:lnTo>
                  <a:pt x="921" y="412"/>
                </a:lnTo>
                <a:lnTo>
                  <a:pt x="927" y="414"/>
                </a:lnTo>
                <a:lnTo>
                  <a:pt x="933" y="417"/>
                </a:lnTo>
                <a:lnTo>
                  <a:pt x="939" y="419"/>
                </a:lnTo>
                <a:lnTo>
                  <a:pt x="952" y="422"/>
                </a:lnTo>
                <a:lnTo>
                  <a:pt x="965" y="424"/>
                </a:lnTo>
                <a:lnTo>
                  <a:pt x="973" y="424"/>
                </a:lnTo>
                <a:lnTo>
                  <a:pt x="978" y="423"/>
                </a:lnTo>
                <a:lnTo>
                  <a:pt x="983" y="422"/>
                </a:lnTo>
                <a:lnTo>
                  <a:pt x="987" y="419"/>
                </a:lnTo>
                <a:lnTo>
                  <a:pt x="995" y="414"/>
                </a:lnTo>
                <a:lnTo>
                  <a:pt x="1003" y="412"/>
                </a:lnTo>
                <a:lnTo>
                  <a:pt x="1012" y="411"/>
                </a:lnTo>
                <a:lnTo>
                  <a:pt x="1021" y="410"/>
                </a:lnTo>
                <a:lnTo>
                  <a:pt x="1026" y="407"/>
                </a:lnTo>
                <a:lnTo>
                  <a:pt x="1030" y="405"/>
                </a:lnTo>
                <a:lnTo>
                  <a:pt x="1033" y="401"/>
                </a:lnTo>
                <a:lnTo>
                  <a:pt x="1036" y="397"/>
                </a:lnTo>
                <a:lnTo>
                  <a:pt x="1040" y="388"/>
                </a:lnTo>
                <a:lnTo>
                  <a:pt x="1043" y="380"/>
                </a:lnTo>
                <a:lnTo>
                  <a:pt x="1044" y="376"/>
                </a:lnTo>
                <a:lnTo>
                  <a:pt x="1047" y="373"/>
                </a:lnTo>
                <a:lnTo>
                  <a:pt x="1052" y="369"/>
                </a:lnTo>
                <a:lnTo>
                  <a:pt x="1057" y="364"/>
                </a:lnTo>
                <a:lnTo>
                  <a:pt x="1070" y="356"/>
                </a:lnTo>
                <a:lnTo>
                  <a:pt x="1083" y="344"/>
                </a:lnTo>
                <a:lnTo>
                  <a:pt x="1090" y="338"/>
                </a:lnTo>
                <a:lnTo>
                  <a:pt x="1099" y="334"/>
                </a:lnTo>
                <a:lnTo>
                  <a:pt x="1107" y="329"/>
                </a:lnTo>
                <a:lnTo>
                  <a:pt x="1115" y="325"/>
                </a:lnTo>
                <a:lnTo>
                  <a:pt x="1124" y="322"/>
                </a:lnTo>
                <a:lnTo>
                  <a:pt x="1132" y="319"/>
                </a:lnTo>
                <a:lnTo>
                  <a:pt x="1139" y="318"/>
                </a:lnTo>
                <a:lnTo>
                  <a:pt x="1145" y="317"/>
                </a:lnTo>
                <a:lnTo>
                  <a:pt x="1159" y="319"/>
                </a:lnTo>
                <a:lnTo>
                  <a:pt x="1175" y="324"/>
                </a:lnTo>
                <a:lnTo>
                  <a:pt x="1191" y="330"/>
                </a:lnTo>
                <a:lnTo>
                  <a:pt x="1208" y="337"/>
                </a:lnTo>
                <a:lnTo>
                  <a:pt x="1215" y="341"/>
                </a:lnTo>
                <a:lnTo>
                  <a:pt x="1222" y="347"/>
                </a:lnTo>
                <a:lnTo>
                  <a:pt x="1228" y="354"/>
                </a:lnTo>
                <a:lnTo>
                  <a:pt x="1235" y="361"/>
                </a:lnTo>
                <a:lnTo>
                  <a:pt x="1250" y="379"/>
                </a:lnTo>
                <a:lnTo>
                  <a:pt x="1264" y="399"/>
                </a:lnTo>
                <a:lnTo>
                  <a:pt x="1271" y="407"/>
                </a:lnTo>
                <a:lnTo>
                  <a:pt x="1278" y="414"/>
                </a:lnTo>
                <a:lnTo>
                  <a:pt x="1286" y="423"/>
                </a:lnTo>
                <a:lnTo>
                  <a:pt x="1296" y="430"/>
                </a:lnTo>
                <a:lnTo>
                  <a:pt x="1307" y="437"/>
                </a:lnTo>
                <a:lnTo>
                  <a:pt x="1317" y="443"/>
                </a:lnTo>
                <a:lnTo>
                  <a:pt x="1329" y="449"/>
                </a:lnTo>
                <a:lnTo>
                  <a:pt x="1341" y="454"/>
                </a:lnTo>
                <a:lnTo>
                  <a:pt x="1358" y="458"/>
                </a:lnTo>
                <a:lnTo>
                  <a:pt x="1374" y="462"/>
                </a:lnTo>
                <a:lnTo>
                  <a:pt x="1391" y="463"/>
                </a:lnTo>
                <a:lnTo>
                  <a:pt x="1405" y="463"/>
                </a:lnTo>
                <a:lnTo>
                  <a:pt x="1415" y="465"/>
                </a:lnTo>
                <a:lnTo>
                  <a:pt x="1423" y="469"/>
                </a:lnTo>
                <a:lnTo>
                  <a:pt x="1430" y="474"/>
                </a:lnTo>
                <a:lnTo>
                  <a:pt x="1437" y="476"/>
                </a:lnTo>
                <a:lnTo>
                  <a:pt x="1444" y="476"/>
                </a:lnTo>
                <a:lnTo>
                  <a:pt x="1456" y="474"/>
                </a:lnTo>
                <a:lnTo>
                  <a:pt x="1469" y="470"/>
                </a:lnTo>
                <a:lnTo>
                  <a:pt x="1479" y="467"/>
                </a:lnTo>
                <a:lnTo>
                  <a:pt x="1483" y="467"/>
                </a:lnTo>
                <a:lnTo>
                  <a:pt x="1486" y="465"/>
                </a:lnTo>
                <a:lnTo>
                  <a:pt x="1488" y="467"/>
                </a:lnTo>
                <a:lnTo>
                  <a:pt x="1491" y="467"/>
                </a:lnTo>
                <a:lnTo>
                  <a:pt x="1492" y="468"/>
                </a:lnTo>
                <a:lnTo>
                  <a:pt x="1493" y="470"/>
                </a:lnTo>
                <a:lnTo>
                  <a:pt x="1493" y="473"/>
                </a:lnTo>
                <a:lnTo>
                  <a:pt x="1493" y="475"/>
                </a:lnTo>
                <a:lnTo>
                  <a:pt x="1490" y="481"/>
                </a:lnTo>
                <a:lnTo>
                  <a:pt x="1485" y="487"/>
                </a:lnTo>
                <a:lnTo>
                  <a:pt x="1477" y="492"/>
                </a:lnTo>
                <a:lnTo>
                  <a:pt x="1467" y="498"/>
                </a:lnTo>
                <a:lnTo>
                  <a:pt x="1455" y="502"/>
                </a:lnTo>
                <a:lnTo>
                  <a:pt x="1439" y="509"/>
                </a:lnTo>
                <a:lnTo>
                  <a:pt x="1431" y="513"/>
                </a:lnTo>
                <a:lnTo>
                  <a:pt x="1423" y="517"/>
                </a:lnTo>
                <a:lnTo>
                  <a:pt x="1416" y="521"/>
                </a:lnTo>
                <a:lnTo>
                  <a:pt x="1410" y="525"/>
                </a:lnTo>
                <a:lnTo>
                  <a:pt x="1405" y="530"/>
                </a:lnTo>
                <a:lnTo>
                  <a:pt x="1403" y="534"/>
                </a:lnTo>
                <a:lnTo>
                  <a:pt x="1400" y="538"/>
                </a:lnTo>
                <a:lnTo>
                  <a:pt x="1399" y="542"/>
                </a:lnTo>
                <a:lnTo>
                  <a:pt x="1398" y="547"/>
                </a:lnTo>
                <a:lnTo>
                  <a:pt x="1393" y="556"/>
                </a:lnTo>
                <a:lnTo>
                  <a:pt x="1390" y="561"/>
                </a:lnTo>
                <a:lnTo>
                  <a:pt x="1389" y="565"/>
                </a:lnTo>
                <a:lnTo>
                  <a:pt x="1390" y="569"/>
                </a:lnTo>
                <a:lnTo>
                  <a:pt x="1391" y="572"/>
                </a:lnTo>
                <a:lnTo>
                  <a:pt x="1395" y="576"/>
                </a:lnTo>
                <a:lnTo>
                  <a:pt x="1398" y="578"/>
                </a:lnTo>
                <a:lnTo>
                  <a:pt x="1403" y="582"/>
                </a:lnTo>
                <a:lnTo>
                  <a:pt x="1409" y="583"/>
                </a:lnTo>
                <a:lnTo>
                  <a:pt x="1431" y="589"/>
                </a:lnTo>
                <a:lnTo>
                  <a:pt x="1444" y="591"/>
                </a:lnTo>
                <a:lnTo>
                  <a:pt x="1448" y="593"/>
                </a:lnTo>
                <a:lnTo>
                  <a:pt x="1450" y="595"/>
                </a:lnTo>
                <a:lnTo>
                  <a:pt x="1450" y="599"/>
                </a:lnTo>
                <a:lnTo>
                  <a:pt x="1450" y="602"/>
                </a:lnTo>
                <a:lnTo>
                  <a:pt x="1444" y="610"/>
                </a:lnTo>
                <a:lnTo>
                  <a:pt x="1437" y="620"/>
                </a:lnTo>
                <a:lnTo>
                  <a:pt x="1434" y="624"/>
                </a:lnTo>
                <a:lnTo>
                  <a:pt x="1428" y="627"/>
                </a:lnTo>
                <a:lnTo>
                  <a:pt x="1423" y="628"/>
                </a:lnTo>
                <a:lnTo>
                  <a:pt x="1417" y="628"/>
                </a:lnTo>
                <a:lnTo>
                  <a:pt x="1405" y="627"/>
                </a:lnTo>
                <a:lnTo>
                  <a:pt x="1396" y="625"/>
                </a:lnTo>
                <a:lnTo>
                  <a:pt x="1385" y="622"/>
                </a:lnTo>
                <a:lnTo>
                  <a:pt x="1373" y="621"/>
                </a:lnTo>
                <a:lnTo>
                  <a:pt x="1360" y="621"/>
                </a:lnTo>
                <a:lnTo>
                  <a:pt x="1347" y="621"/>
                </a:lnTo>
                <a:lnTo>
                  <a:pt x="1339" y="622"/>
                </a:lnTo>
                <a:lnTo>
                  <a:pt x="1330" y="625"/>
                </a:lnTo>
                <a:lnTo>
                  <a:pt x="1323" y="627"/>
                </a:lnTo>
                <a:lnTo>
                  <a:pt x="1317" y="631"/>
                </a:lnTo>
                <a:lnTo>
                  <a:pt x="1315" y="635"/>
                </a:lnTo>
                <a:lnTo>
                  <a:pt x="1314" y="641"/>
                </a:lnTo>
                <a:lnTo>
                  <a:pt x="1314" y="644"/>
                </a:lnTo>
                <a:lnTo>
                  <a:pt x="1314" y="647"/>
                </a:lnTo>
                <a:lnTo>
                  <a:pt x="1316" y="650"/>
                </a:lnTo>
                <a:lnTo>
                  <a:pt x="1317" y="652"/>
                </a:lnTo>
                <a:lnTo>
                  <a:pt x="1320" y="654"/>
                </a:lnTo>
                <a:lnTo>
                  <a:pt x="1323" y="656"/>
                </a:lnTo>
                <a:lnTo>
                  <a:pt x="1326" y="657"/>
                </a:lnTo>
                <a:lnTo>
                  <a:pt x="1329" y="657"/>
                </a:lnTo>
                <a:lnTo>
                  <a:pt x="1337" y="656"/>
                </a:lnTo>
                <a:lnTo>
                  <a:pt x="1343" y="657"/>
                </a:lnTo>
                <a:lnTo>
                  <a:pt x="1351" y="658"/>
                </a:lnTo>
                <a:lnTo>
                  <a:pt x="1355" y="660"/>
                </a:lnTo>
                <a:lnTo>
                  <a:pt x="1360" y="664"/>
                </a:lnTo>
                <a:lnTo>
                  <a:pt x="1364" y="669"/>
                </a:lnTo>
                <a:lnTo>
                  <a:pt x="1366" y="671"/>
                </a:lnTo>
                <a:lnTo>
                  <a:pt x="1368" y="672"/>
                </a:lnTo>
                <a:lnTo>
                  <a:pt x="1371" y="672"/>
                </a:lnTo>
                <a:lnTo>
                  <a:pt x="1372" y="672"/>
                </a:lnTo>
                <a:lnTo>
                  <a:pt x="1378" y="666"/>
                </a:lnTo>
                <a:lnTo>
                  <a:pt x="1383" y="660"/>
                </a:lnTo>
                <a:lnTo>
                  <a:pt x="1389" y="656"/>
                </a:lnTo>
                <a:lnTo>
                  <a:pt x="1395" y="652"/>
                </a:lnTo>
                <a:lnTo>
                  <a:pt x="1402" y="650"/>
                </a:lnTo>
                <a:lnTo>
                  <a:pt x="1409" y="649"/>
                </a:lnTo>
                <a:lnTo>
                  <a:pt x="1417" y="647"/>
                </a:lnTo>
                <a:lnTo>
                  <a:pt x="1427" y="647"/>
                </a:lnTo>
                <a:lnTo>
                  <a:pt x="1436" y="649"/>
                </a:lnTo>
                <a:lnTo>
                  <a:pt x="1443" y="650"/>
                </a:lnTo>
                <a:lnTo>
                  <a:pt x="1447" y="652"/>
                </a:lnTo>
                <a:lnTo>
                  <a:pt x="1449" y="653"/>
                </a:lnTo>
                <a:lnTo>
                  <a:pt x="1450" y="656"/>
                </a:lnTo>
                <a:lnTo>
                  <a:pt x="1450" y="658"/>
                </a:lnTo>
                <a:lnTo>
                  <a:pt x="1450" y="664"/>
                </a:lnTo>
                <a:lnTo>
                  <a:pt x="1448" y="669"/>
                </a:lnTo>
                <a:lnTo>
                  <a:pt x="1443" y="675"/>
                </a:lnTo>
                <a:lnTo>
                  <a:pt x="1435" y="683"/>
                </a:lnTo>
                <a:lnTo>
                  <a:pt x="1431" y="687"/>
                </a:lnTo>
                <a:lnTo>
                  <a:pt x="1430" y="690"/>
                </a:lnTo>
                <a:lnTo>
                  <a:pt x="1429" y="694"/>
                </a:lnTo>
                <a:lnTo>
                  <a:pt x="1430" y="696"/>
                </a:lnTo>
                <a:lnTo>
                  <a:pt x="1435" y="702"/>
                </a:lnTo>
                <a:lnTo>
                  <a:pt x="1441" y="707"/>
                </a:lnTo>
                <a:lnTo>
                  <a:pt x="1447" y="710"/>
                </a:lnTo>
                <a:lnTo>
                  <a:pt x="1452" y="714"/>
                </a:lnTo>
                <a:lnTo>
                  <a:pt x="1453" y="715"/>
                </a:lnTo>
                <a:lnTo>
                  <a:pt x="1453" y="717"/>
                </a:lnTo>
                <a:lnTo>
                  <a:pt x="1452" y="720"/>
                </a:lnTo>
                <a:lnTo>
                  <a:pt x="1449" y="721"/>
                </a:lnTo>
                <a:lnTo>
                  <a:pt x="1444" y="727"/>
                </a:lnTo>
                <a:lnTo>
                  <a:pt x="1441" y="732"/>
                </a:lnTo>
                <a:lnTo>
                  <a:pt x="1441" y="736"/>
                </a:lnTo>
                <a:lnTo>
                  <a:pt x="1441" y="741"/>
                </a:lnTo>
                <a:lnTo>
                  <a:pt x="1442" y="745"/>
                </a:lnTo>
                <a:lnTo>
                  <a:pt x="1443" y="748"/>
                </a:lnTo>
                <a:lnTo>
                  <a:pt x="1448" y="748"/>
                </a:lnTo>
                <a:lnTo>
                  <a:pt x="1454" y="745"/>
                </a:lnTo>
                <a:lnTo>
                  <a:pt x="1459" y="742"/>
                </a:lnTo>
                <a:lnTo>
                  <a:pt x="1461" y="742"/>
                </a:lnTo>
                <a:lnTo>
                  <a:pt x="1463" y="742"/>
                </a:lnTo>
                <a:lnTo>
                  <a:pt x="1466" y="744"/>
                </a:lnTo>
                <a:lnTo>
                  <a:pt x="1466" y="745"/>
                </a:lnTo>
                <a:lnTo>
                  <a:pt x="1467" y="748"/>
                </a:lnTo>
                <a:lnTo>
                  <a:pt x="1466" y="753"/>
                </a:lnTo>
                <a:lnTo>
                  <a:pt x="1465" y="758"/>
                </a:lnTo>
                <a:lnTo>
                  <a:pt x="1463" y="763"/>
                </a:lnTo>
                <a:lnTo>
                  <a:pt x="1460" y="769"/>
                </a:lnTo>
                <a:lnTo>
                  <a:pt x="1456" y="773"/>
                </a:lnTo>
                <a:lnTo>
                  <a:pt x="1452" y="777"/>
                </a:lnTo>
                <a:lnTo>
                  <a:pt x="1442" y="784"/>
                </a:lnTo>
                <a:lnTo>
                  <a:pt x="1434" y="789"/>
                </a:lnTo>
                <a:lnTo>
                  <a:pt x="1425" y="792"/>
                </a:lnTo>
                <a:lnTo>
                  <a:pt x="1418" y="792"/>
                </a:lnTo>
                <a:lnTo>
                  <a:pt x="1416" y="792"/>
                </a:lnTo>
                <a:lnTo>
                  <a:pt x="1414" y="791"/>
                </a:lnTo>
                <a:lnTo>
                  <a:pt x="1411" y="789"/>
                </a:lnTo>
                <a:lnTo>
                  <a:pt x="1410" y="786"/>
                </a:lnTo>
                <a:lnTo>
                  <a:pt x="1408" y="778"/>
                </a:lnTo>
                <a:lnTo>
                  <a:pt x="1406" y="765"/>
                </a:lnTo>
                <a:lnTo>
                  <a:pt x="1405" y="753"/>
                </a:lnTo>
                <a:lnTo>
                  <a:pt x="1405" y="742"/>
                </a:lnTo>
                <a:lnTo>
                  <a:pt x="1405" y="733"/>
                </a:lnTo>
                <a:lnTo>
                  <a:pt x="1405" y="726"/>
                </a:lnTo>
                <a:lnTo>
                  <a:pt x="1404" y="721"/>
                </a:lnTo>
                <a:lnTo>
                  <a:pt x="1403" y="717"/>
                </a:lnTo>
                <a:lnTo>
                  <a:pt x="1398" y="714"/>
                </a:lnTo>
                <a:lnTo>
                  <a:pt x="1391" y="713"/>
                </a:lnTo>
                <a:lnTo>
                  <a:pt x="1385" y="712"/>
                </a:lnTo>
                <a:lnTo>
                  <a:pt x="1383" y="713"/>
                </a:lnTo>
                <a:lnTo>
                  <a:pt x="1381" y="716"/>
                </a:lnTo>
                <a:lnTo>
                  <a:pt x="1384" y="723"/>
                </a:lnTo>
                <a:lnTo>
                  <a:pt x="1385" y="735"/>
                </a:lnTo>
                <a:lnTo>
                  <a:pt x="1385" y="751"/>
                </a:lnTo>
                <a:lnTo>
                  <a:pt x="1385" y="766"/>
                </a:lnTo>
                <a:lnTo>
                  <a:pt x="1385" y="779"/>
                </a:lnTo>
                <a:lnTo>
                  <a:pt x="1385" y="783"/>
                </a:lnTo>
                <a:lnTo>
                  <a:pt x="1383" y="785"/>
                </a:lnTo>
                <a:lnTo>
                  <a:pt x="1380" y="788"/>
                </a:lnTo>
                <a:lnTo>
                  <a:pt x="1377" y="789"/>
                </a:lnTo>
                <a:lnTo>
                  <a:pt x="1370" y="790"/>
                </a:lnTo>
                <a:lnTo>
                  <a:pt x="1361" y="792"/>
                </a:lnTo>
                <a:lnTo>
                  <a:pt x="1353" y="795"/>
                </a:lnTo>
                <a:lnTo>
                  <a:pt x="1345" y="795"/>
                </a:lnTo>
                <a:lnTo>
                  <a:pt x="1337" y="792"/>
                </a:lnTo>
                <a:lnTo>
                  <a:pt x="1333" y="790"/>
                </a:lnTo>
                <a:lnTo>
                  <a:pt x="1330" y="785"/>
                </a:lnTo>
                <a:lnTo>
                  <a:pt x="1328" y="779"/>
                </a:lnTo>
                <a:lnTo>
                  <a:pt x="1327" y="773"/>
                </a:lnTo>
                <a:lnTo>
                  <a:pt x="1326" y="765"/>
                </a:lnTo>
                <a:lnTo>
                  <a:pt x="1324" y="759"/>
                </a:lnTo>
                <a:lnTo>
                  <a:pt x="1322" y="755"/>
                </a:lnTo>
                <a:lnTo>
                  <a:pt x="1320" y="754"/>
                </a:lnTo>
                <a:lnTo>
                  <a:pt x="1318" y="754"/>
                </a:lnTo>
                <a:lnTo>
                  <a:pt x="1317" y="755"/>
                </a:lnTo>
                <a:lnTo>
                  <a:pt x="1316" y="758"/>
                </a:lnTo>
                <a:lnTo>
                  <a:pt x="1311" y="763"/>
                </a:lnTo>
                <a:lnTo>
                  <a:pt x="1304" y="766"/>
                </a:lnTo>
                <a:lnTo>
                  <a:pt x="1297" y="779"/>
                </a:lnTo>
                <a:lnTo>
                  <a:pt x="1286" y="803"/>
                </a:lnTo>
                <a:lnTo>
                  <a:pt x="1276" y="827"/>
                </a:lnTo>
                <a:lnTo>
                  <a:pt x="1271" y="838"/>
                </a:lnTo>
                <a:lnTo>
                  <a:pt x="1271" y="840"/>
                </a:lnTo>
                <a:lnTo>
                  <a:pt x="1273" y="841"/>
                </a:lnTo>
                <a:lnTo>
                  <a:pt x="1276" y="842"/>
                </a:lnTo>
                <a:lnTo>
                  <a:pt x="1279" y="842"/>
                </a:lnTo>
                <a:lnTo>
                  <a:pt x="1289" y="841"/>
                </a:lnTo>
                <a:lnTo>
                  <a:pt x="1298" y="839"/>
                </a:lnTo>
                <a:lnTo>
                  <a:pt x="1305" y="835"/>
                </a:lnTo>
                <a:lnTo>
                  <a:pt x="1313" y="834"/>
                </a:lnTo>
                <a:lnTo>
                  <a:pt x="1321" y="833"/>
                </a:lnTo>
                <a:lnTo>
                  <a:pt x="1332" y="834"/>
                </a:lnTo>
                <a:lnTo>
                  <a:pt x="1334" y="835"/>
                </a:lnTo>
                <a:lnTo>
                  <a:pt x="1336" y="836"/>
                </a:lnTo>
                <a:lnTo>
                  <a:pt x="1337" y="840"/>
                </a:lnTo>
                <a:lnTo>
                  <a:pt x="1339" y="842"/>
                </a:lnTo>
                <a:lnTo>
                  <a:pt x="1341" y="849"/>
                </a:lnTo>
                <a:lnTo>
                  <a:pt x="1345" y="854"/>
                </a:lnTo>
                <a:lnTo>
                  <a:pt x="1348" y="858"/>
                </a:lnTo>
                <a:lnTo>
                  <a:pt x="1353" y="860"/>
                </a:lnTo>
                <a:lnTo>
                  <a:pt x="1357" y="860"/>
                </a:lnTo>
                <a:lnTo>
                  <a:pt x="1360" y="861"/>
                </a:lnTo>
                <a:lnTo>
                  <a:pt x="1365" y="862"/>
                </a:lnTo>
                <a:lnTo>
                  <a:pt x="1368" y="866"/>
                </a:lnTo>
                <a:lnTo>
                  <a:pt x="1372" y="872"/>
                </a:lnTo>
                <a:lnTo>
                  <a:pt x="1374" y="880"/>
                </a:lnTo>
                <a:lnTo>
                  <a:pt x="1376" y="890"/>
                </a:lnTo>
                <a:lnTo>
                  <a:pt x="1376" y="902"/>
                </a:lnTo>
                <a:lnTo>
                  <a:pt x="1374" y="906"/>
                </a:lnTo>
                <a:lnTo>
                  <a:pt x="1373" y="910"/>
                </a:lnTo>
                <a:lnTo>
                  <a:pt x="1372" y="912"/>
                </a:lnTo>
                <a:lnTo>
                  <a:pt x="1370" y="914"/>
                </a:lnTo>
                <a:lnTo>
                  <a:pt x="1367" y="914"/>
                </a:lnTo>
                <a:lnTo>
                  <a:pt x="1364" y="914"/>
                </a:lnTo>
                <a:lnTo>
                  <a:pt x="1358" y="911"/>
                </a:lnTo>
                <a:lnTo>
                  <a:pt x="1352" y="909"/>
                </a:lnTo>
                <a:lnTo>
                  <a:pt x="1346" y="905"/>
                </a:lnTo>
                <a:lnTo>
                  <a:pt x="1339" y="903"/>
                </a:lnTo>
                <a:lnTo>
                  <a:pt x="1330" y="901"/>
                </a:lnTo>
                <a:lnTo>
                  <a:pt x="1322" y="899"/>
                </a:lnTo>
                <a:lnTo>
                  <a:pt x="1315" y="899"/>
                </a:lnTo>
                <a:lnTo>
                  <a:pt x="1309" y="902"/>
                </a:lnTo>
                <a:lnTo>
                  <a:pt x="1308" y="903"/>
                </a:lnTo>
                <a:lnTo>
                  <a:pt x="1305" y="905"/>
                </a:lnTo>
                <a:lnTo>
                  <a:pt x="1305" y="908"/>
                </a:lnTo>
                <a:lnTo>
                  <a:pt x="1305" y="911"/>
                </a:lnTo>
                <a:lnTo>
                  <a:pt x="1307" y="914"/>
                </a:lnTo>
                <a:lnTo>
                  <a:pt x="1308" y="916"/>
                </a:lnTo>
                <a:lnTo>
                  <a:pt x="1310" y="918"/>
                </a:lnTo>
                <a:lnTo>
                  <a:pt x="1314" y="921"/>
                </a:lnTo>
                <a:lnTo>
                  <a:pt x="1321" y="924"/>
                </a:lnTo>
                <a:lnTo>
                  <a:pt x="1330" y="928"/>
                </a:lnTo>
                <a:lnTo>
                  <a:pt x="1348" y="934"/>
                </a:lnTo>
                <a:lnTo>
                  <a:pt x="1361" y="940"/>
                </a:lnTo>
                <a:lnTo>
                  <a:pt x="1365" y="943"/>
                </a:lnTo>
                <a:lnTo>
                  <a:pt x="1367" y="947"/>
                </a:lnTo>
                <a:lnTo>
                  <a:pt x="1370" y="950"/>
                </a:lnTo>
                <a:lnTo>
                  <a:pt x="1371" y="955"/>
                </a:lnTo>
                <a:lnTo>
                  <a:pt x="1372" y="960"/>
                </a:lnTo>
                <a:lnTo>
                  <a:pt x="1371" y="965"/>
                </a:lnTo>
                <a:lnTo>
                  <a:pt x="1370" y="971"/>
                </a:lnTo>
                <a:lnTo>
                  <a:pt x="1367" y="977"/>
                </a:lnTo>
                <a:lnTo>
                  <a:pt x="1360" y="987"/>
                </a:lnTo>
                <a:lnTo>
                  <a:pt x="1354" y="993"/>
                </a:lnTo>
                <a:lnTo>
                  <a:pt x="1348" y="998"/>
                </a:lnTo>
                <a:lnTo>
                  <a:pt x="1343" y="1002"/>
                </a:lnTo>
                <a:lnTo>
                  <a:pt x="1340" y="1004"/>
                </a:lnTo>
                <a:lnTo>
                  <a:pt x="1335" y="1006"/>
                </a:lnTo>
                <a:lnTo>
                  <a:pt x="1330" y="1007"/>
                </a:lnTo>
                <a:lnTo>
                  <a:pt x="1326" y="1009"/>
                </a:lnTo>
                <a:lnTo>
                  <a:pt x="1315" y="1011"/>
                </a:lnTo>
                <a:lnTo>
                  <a:pt x="1304" y="1012"/>
                </a:lnTo>
                <a:lnTo>
                  <a:pt x="1299" y="1015"/>
                </a:lnTo>
                <a:lnTo>
                  <a:pt x="1297" y="1017"/>
                </a:lnTo>
                <a:lnTo>
                  <a:pt x="1297" y="1021"/>
                </a:lnTo>
                <a:lnTo>
                  <a:pt x="1298" y="1025"/>
                </a:lnTo>
                <a:lnTo>
                  <a:pt x="1302" y="1035"/>
                </a:lnTo>
                <a:lnTo>
                  <a:pt x="1308" y="1043"/>
                </a:lnTo>
                <a:lnTo>
                  <a:pt x="1315" y="1053"/>
                </a:lnTo>
                <a:lnTo>
                  <a:pt x="1324" y="1063"/>
                </a:lnTo>
                <a:lnTo>
                  <a:pt x="1336" y="1073"/>
                </a:lnTo>
                <a:lnTo>
                  <a:pt x="1345" y="1079"/>
                </a:lnTo>
                <a:lnTo>
                  <a:pt x="1353" y="1081"/>
                </a:lnTo>
                <a:lnTo>
                  <a:pt x="1360" y="1085"/>
                </a:lnTo>
                <a:lnTo>
                  <a:pt x="1364" y="1087"/>
                </a:lnTo>
                <a:lnTo>
                  <a:pt x="1365" y="1088"/>
                </a:lnTo>
                <a:lnTo>
                  <a:pt x="1365" y="1089"/>
                </a:lnTo>
                <a:lnTo>
                  <a:pt x="1364" y="1092"/>
                </a:lnTo>
                <a:lnTo>
                  <a:pt x="1360" y="1097"/>
                </a:lnTo>
                <a:lnTo>
                  <a:pt x="1358" y="1104"/>
                </a:lnTo>
                <a:lnTo>
                  <a:pt x="1355" y="1113"/>
                </a:lnTo>
                <a:lnTo>
                  <a:pt x="1354" y="1124"/>
                </a:lnTo>
                <a:lnTo>
                  <a:pt x="1355" y="1130"/>
                </a:lnTo>
                <a:lnTo>
                  <a:pt x="1358" y="1136"/>
                </a:lnTo>
                <a:lnTo>
                  <a:pt x="1361" y="1141"/>
                </a:lnTo>
                <a:lnTo>
                  <a:pt x="1366" y="1147"/>
                </a:lnTo>
                <a:lnTo>
                  <a:pt x="1376" y="1155"/>
                </a:lnTo>
                <a:lnTo>
                  <a:pt x="1381" y="1161"/>
                </a:lnTo>
                <a:lnTo>
                  <a:pt x="1385" y="1167"/>
                </a:lnTo>
                <a:lnTo>
                  <a:pt x="1390" y="1174"/>
                </a:lnTo>
                <a:lnTo>
                  <a:pt x="1392" y="1182"/>
                </a:lnTo>
                <a:lnTo>
                  <a:pt x="1393" y="1191"/>
                </a:lnTo>
                <a:lnTo>
                  <a:pt x="1393" y="1194"/>
                </a:lnTo>
                <a:lnTo>
                  <a:pt x="1392" y="1198"/>
                </a:lnTo>
                <a:lnTo>
                  <a:pt x="1391" y="1200"/>
                </a:lnTo>
                <a:lnTo>
                  <a:pt x="1389" y="1202"/>
                </a:lnTo>
                <a:lnTo>
                  <a:pt x="1383" y="1205"/>
                </a:lnTo>
                <a:lnTo>
                  <a:pt x="1378" y="1205"/>
                </a:lnTo>
                <a:lnTo>
                  <a:pt x="1372" y="1204"/>
                </a:lnTo>
                <a:lnTo>
                  <a:pt x="1366" y="1199"/>
                </a:lnTo>
                <a:lnTo>
                  <a:pt x="1360" y="1194"/>
                </a:lnTo>
                <a:lnTo>
                  <a:pt x="1355" y="1189"/>
                </a:lnTo>
                <a:lnTo>
                  <a:pt x="1351" y="1185"/>
                </a:lnTo>
                <a:lnTo>
                  <a:pt x="1345" y="1181"/>
                </a:lnTo>
                <a:lnTo>
                  <a:pt x="1341" y="1180"/>
                </a:lnTo>
                <a:lnTo>
                  <a:pt x="1337" y="1179"/>
                </a:lnTo>
                <a:lnTo>
                  <a:pt x="1333" y="1177"/>
                </a:lnTo>
                <a:lnTo>
                  <a:pt x="1328" y="1177"/>
                </a:lnTo>
                <a:lnTo>
                  <a:pt x="1322" y="1179"/>
                </a:lnTo>
                <a:lnTo>
                  <a:pt x="1318" y="1180"/>
                </a:lnTo>
                <a:lnTo>
                  <a:pt x="1316" y="1181"/>
                </a:lnTo>
                <a:lnTo>
                  <a:pt x="1314" y="1183"/>
                </a:lnTo>
                <a:lnTo>
                  <a:pt x="1311" y="1191"/>
                </a:lnTo>
                <a:lnTo>
                  <a:pt x="1310" y="1200"/>
                </a:lnTo>
                <a:lnTo>
                  <a:pt x="1309" y="1206"/>
                </a:lnTo>
                <a:lnTo>
                  <a:pt x="1308" y="1211"/>
                </a:lnTo>
                <a:lnTo>
                  <a:pt x="1307" y="1215"/>
                </a:lnTo>
                <a:lnTo>
                  <a:pt x="1304" y="1219"/>
                </a:lnTo>
                <a:lnTo>
                  <a:pt x="1302" y="1223"/>
                </a:lnTo>
                <a:lnTo>
                  <a:pt x="1298" y="1225"/>
                </a:lnTo>
                <a:lnTo>
                  <a:pt x="1296" y="1227"/>
                </a:lnTo>
                <a:lnTo>
                  <a:pt x="1292" y="1229"/>
                </a:lnTo>
                <a:lnTo>
                  <a:pt x="1290" y="1230"/>
                </a:lnTo>
                <a:lnTo>
                  <a:pt x="1289" y="1232"/>
                </a:lnTo>
                <a:lnTo>
                  <a:pt x="1290" y="1236"/>
                </a:lnTo>
                <a:lnTo>
                  <a:pt x="1292" y="1239"/>
                </a:lnTo>
                <a:lnTo>
                  <a:pt x="1295" y="1243"/>
                </a:lnTo>
                <a:lnTo>
                  <a:pt x="1296" y="1248"/>
                </a:lnTo>
                <a:lnTo>
                  <a:pt x="1297" y="1252"/>
                </a:lnTo>
                <a:lnTo>
                  <a:pt x="1298" y="1258"/>
                </a:lnTo>
                <a:lnTo>
                  <a:pt x="1297" y="1262"/>
                </a:lnTo>
                <a:lnTo>
                  <a:pt x="1295" y="1265"/>
                </a:lnTo>
                <a:lnTo>
                  <a:pt x="1291" y="1268"/>
                </a:lnTo>
                <a:lnTo>
                  <a:pt x="1288" y="1269"/>
                </a:lnTo>
                <a:lnTo>
                  <a:pt x="1284" y="1269"/>
                </a:lnTo>
                <a:lnTo>
                  <a:pt x="1280" y="1268"/>
                </a:lnTo>
                <a:lnTo>
                  <a:pt x="1277" y="1265"/>
                </a:lnTo>
                <a:lnTo>
                  <a:pt x="1276" y="1262"/>
                </a:lnTo>
                <a:lnTo>
                  <a:pt x="1273" y="1259"/>
                </a:lnTo>
                <a:lnTo>
                  <a:pt x="1271" y="1256"/>
                </a:lnTo>
                <a:lnTo>
                  <a:pt x="1269" y="1255"/>
                </a:lnTo>
                <a:lnTo>
                  <a:pt x="1266" y="1252"/>
                </a:lnTo>
                <a:lnTo>
                  <a:pt x="1264" y="1252"/>
                </a:lnTo>
                <a:lnTo>
                  <a:pt x="1261" y="1252"/>
                </a:lnTo>
                <a:lnTo>
                  <a:pt x="1259" y="1254"/>
                </a:lnTo>
                <a:lnTo>
                  <a:pt x="1257" y="1255"/>
                </a:lnTo>
                <a:lnTo>
                  <a:pt x="1254" y="1257"/>
                </a:lnTo>
                <a:lnTo>
                  <a:pt x="1253" y="1259"/>
                </a:lnTo>
                <a:lnTo>
                  <a:pt x="1252" y="1263"/>
                </a:lnTo>
                <a:lnTo>
                  <a:pt x="1251" y="1267"/>
                </a:lnTo>
                <a:lnTo>
                  <a:pt x="1251" y="1270"/>
                </a:lnTo>
                <a:lnTo>
                  <a:pt x="1252" y="1273"/>
                </a:lnTo>
                <a:lnTo>
                  <a:pt x="1253" y="1275"/>
                </a:lnTo>
                <a:lnTo>
                  <a:pt x="1255" y="1277"/>
                </a:lnTo>
                <a:lnTo>
                  <a:pt x="1259" y="1280"/>
                </a:lnTo>
                <a:lnTo>
                  <a:pt x="1261" y="1283"/>
                </a:lnTo>
                <a:lnTo>
                  <a:pt x="1261" y="1287"/>
                </a:lnTo>
                <a:lnTo>
                  <a:pt x="1261" y="1293"/>
                </a:lnTo>
                <a:lnTo>
                  <a:pt x="1261" y="1295"/>
                </a:lnTo>
                <a:lnTo>
                  <a:pt x="1260" y="1297"/>
                </a:lnTo>
                <a:lnTo>
                  <a:pt x="1259" y="1299"/>
                </a:lnTo>
                <a:lnTo>
                  <a:pt x="1257" y="1301"/>
                </a:lnTo>
                <a:lnTo>
                  <a:pt x="1251" y="1303"/>
                </a:lnTo>
                <a:lnTo>
                  <a:pt x="1244" y="1305"/>
                </a:lnTo>
                <a:lnTo>
                  <a:pt x="1238" y="1305"/>
                </a:lnTo>
                <a:lnTo>
                  <a:pt x="1233" y="1307"/>
                </a:lnTo>
                <a:lnTo>
                  <a:pt x="1229" y="1309"/>
                </a:lnTo>
                <a:lnTo>
                  <a:pt x="1223" y="1313"/>
                </a:lnTo>
                <a:lnTo>
                  <a:pt x="1220" y="1315"/>
                </a:lnTo>
                <a:lnTo>
                  <a:pt x="1216" y="1317"/>
                </a:lnTo>
                <a:lnTo>
                  <a:pt x="1214" y="1317"/>
                </a:lnTo>
                <a:lnTo>
                  <a:pt x="1210" y="1315"/>
                </a:lnTo>
                <a:lnTo>
                  <a:pt x="1207" y="1313"/>
                </a:lnTo>
                <a:lnTo>
                  <a:pt x="1203" y="1308"/>
                </a:lnTo>
                <a:lnTo>
                  <a:pt x="1201" y="1300"/>
                </a:lnTo>
                <a:lnTo>
                  <a:pt x="1198" y="1289"/>
                </a:lnTo>
                <a:lnTo>
                  <a:pt x="1200" y="1284"/>
                </a:lnTo>
                <a:lnTo>
                  <a:pt x="1202" y="1280"/>
                </a:lnTo>
                <a:lnTo>
                  <a:pt x="1206" y="1275"/>
                </a:lnTo>
                <a:lnTo>
                  <a:pt x="1211" y="1273"/>
                </a:lnTo>
                <a:lnTo>
                  <a:pt x="1215" y="1271"/>
                </a:lnTo>
                <a:lnTo>
                  <a:pt x="1217" y="1270"/>
                </a:lnTo>
                <a:lnTo>
                  <a:pt x="1220" y="1268"/>
                </a:lnTo>
                <a:lnTo>
                  <a:pt x="1222" y="1264"/>
                </a:lnTo>
                <a:lnTo>
                  <a:pt x="1226" y="1258"/>
                </a:lnTo>
                <a:lnTo>
                  <a:pt x="1229" y="1250"/>
                </a:lnTo>
                <a:lnTo>
                  <a:pt x="1239" y="1240"/>
                </a:lnTo>
                <a:lnTo>
                  <a:pt x="1250" y="1232"/>
                </a:lnTo>
                <a:lnTo>
                  <a:pt x="1251" y="1225"/>
                </a:lnTo>
                <a:lnTo>
                  <a:pt x="1250" y="1218"/>
                </a:lnTo>
                <a:lnTo>
                  <a:pt x="1248" y="1212"/>
                </a:lnTo>
                <a:lnTo>
                  <a:pt x="1248" y="1206"/>
                </a:lnTo>
                <a:lnTo>
                  <a:pt x="1247" y="1198"/>
                </a:lnTo>
                <a:lnTo>
                  <a:pt x="1247" y="1189"/>
                </a:lnTo>
                <a:lnTo>
                  <a:pt x="1245" y="1183"/>
                </a:lnTo>
                <a:lnTo>
                  <a:pt x="1242" y="1179"/>
                </a:lnTo>
                <a:lnTo>
                  <a:pt x="1234" y="1175"/>
                </a:lnTo>
                <a:lnTo>
                  <a:pt x="1222" y="1170"/>
                </a:lnTo>
                <a:lnTo>
                  <a:pt x="1220" y="1170"/>
                </a:lnTo>
                <a:lnTo>
                  <a:pt x="1217" y="1172"/>
                </a:lnTo>
                <a:lnTo>
                  <a:pt x="1213" y="1175"/>
                </a:lnTo>
                <a:lnTo>
                  <a:pt x="1209" y="1177"/>
                </a:lnTo>
                <a:lnTo>
                  <a:pt x="1202" y="1185"/>
                </a:lnTo>
                <a:lnTo>
                  <a:pt x="1198" y="1191"/>
                </a:lnTo>
                <a:lnTo>
                  <a:pt x="1195" y="1194"/>
                </a:lnTo>
                <a:lnTo>
                  <a:pt x="1190" y="1196"/>
                </a:lnTo>
                <a:lnTo>
                  <a:pt x="1185" y="1198"/>
                </a:lnTo>
                <a:lnTo>
                  <a:pt x="1178" y="1198"/>
                </a:lnTo>
                <a:lnTo>
                  <a:pt x="1172" y="1199"/>
                </a:lnTo>
                <a:lnTo>
                  <a:pt x="1167" y="1200"/>
                </a:lnTo>
                <a:lnTo>
                  <a:pt x="1163" y="1202"/>
                </a:lnTo>
                <a:lnTo>
                  <a:pt x="1162" y="1205"/>
                </a:lnTo>
                <a:lnTo>
                  <a:pt x="1162" y="1208"/>
                </a:lnTo>
                <a:lnTo>
                  <a:pt x="1162" y="1212"/>
                </a:lnTo>
                <a:lnTo>
                  <a:pt x="1164" y="1213"/>
                </a:lnTo>
                <a:lnTo>
                  <a:pt x="1165" y="1215"/>
                </a:lnTo>
                <a:lnTo>
                  <a:pt x="1171" y="1218"/>
                </a:lnTo>
                <a:lnTo>
                  <a:pt x="1178" y="1219"/>
                </a:lnTo>
                <a:lnTo>
                  <a:pt x="1183" y="1221"/>
                </a:lnTo>
                <a:lnTo>
                  <a:pt x="1187" y="1224"/>
                </a:lnTo>
                <a:lnTo>
                  <a:pt x="1189" y="1226"/>
                </a:lnTo>
                <a:lnTo>
                  <a:pt x="1192" y="1230"/>
                </a:lnTo>
                <a:lnTo>
                  <a:pt x="1195" y="1233"/>
                </a:lnTo>
                <a:lnTo>
                  <a:pt x="1196" y="1238"/>
                </a:lnTo>
                <a:lnTo>
                  <a:pt x="1196" y="1242"/>
                </a:lnTo>
                <a:lnTo>
                  <a:pt x="1196" y="1246"/>
                </a:lnTo>
                <a:lnTo>
                  <a:pt x="1195" y="1250"/>
                </a:lnTo>
                <a:lnTo>
                  <a:pt x="1192" y="1255"/>
                </a:lnTo>
                <a:lnTo>
                  <a:pt x="1190" y="1258"/>
                </a:lnTo>
                <a:lnTo>
                  <a:pt x="1187" y="1263"/>
                </a:lnTo>
                <a:lnTo>
                  <a:pt x="1178" y="1270"/>
                </a:lnTo>
                <a:lnTo>
                  <a:pt x="1169" y="1275"/>
                </a:lnTo>
                <a:lnTo>
                  <a:pt x="1165" y="1277"/>
                </a:lnTo>
                <a:lnTo>
                  <a:pt x="1162" y="1281"/>
                </a:lnTo>
                <a:lnTo>
                  <a:pt x="1159" y="1284"/>
                </a:lnTo>
                <a:lnTo>
                  <a:pt x="1157" y="1289"/>
                </a:lnTo>
                <a:lnTo>
                  <a:pt x="1156" y="1297"/>
                </a:lnTo>
                <a:lnTo>
                  <a:pt x="1156" y="1305"/>
                </a:lnTo>
                <a:lnTo>
                  <a:pt x="1157" y="1313"/>
                </a:lnTo>
                <a:lnTo>
                  <a:pt x="1157" y="1322"/>
                </a:lnTo>
                <a:lnTo>
                  <a:pt x="1156" y="1332"/>
                </a:lnTo>
                <a:lnTo>
                  <a:pt x="1153" y="1341"/>
                </a:lnTo>
                <a:lnTo>
                  <a:pt x="1151" y="1345"/>
                </a:lnTo>
                <a:lnTo>
                  <a:pt x="1148" y="1349"/>
                </a:lnTo>
                <a:lnTo>
                  <a:pt x="1145" y="1350"/>
                </a:lnTo>
                <a:lnTo>
                  <a:pt x="1143" y="1351"/>
                </a:lnTo>
                <a:lnTo>
                  <a:pt x="1139" y="1351"/>
                </a:lnTo>
                <a:lnTo>
                  <a:pt x="1135" y="1350"/>
                </a:lnTo>
                <a:lnTo>
                  <a:pt x="1132" y="1349"/>
                </a:lnTo>
                <a:lnTo>
                  <a:pt x="1128" y="1346"/>
                </a:lnTo>
                <a:lnTo>
                  <a:pt x="1126" y="1344"/>
                </a:lnTo>
                <a:lnTo>
                  <a:pt x="1122" y="1343"/>
                </a:lnTo>
                <a:lnTo>
                  <a:pt x="1118" y="1341"/>
                </a:lnTo>
                <a:lnTo>
                  <a:pt x="1114" y="1343"/>
                </a:lnTo>
                <a:lnTo>
                  <a:pt x="1104" y="1344"/>
                </a:lnTo>
                <a:lnTo>
                  <a:pt x="1096" y="1346"/>
                </a:lnTo>
                <a:lnTo>
                  <a:pt x="1088" y="1346"/>
                </a:lnTo>
                <a:lnTo>
                  <a:pt x="1078" y="1345"/>
                </a:lnTo>
                <a:lnTo>
                  <a:pt x="1070" y="1343"/>
                </a:lnTo>
                <a:lnTo>
                  <a:pt x="1061" y="1339"/>
                </a:lnTo>
                <a:lnTo>
                  <a:pt x="1056" y="1338"/>
                </a:lnTo>
                <a:lnTo>
                  <a:pt x="1052" y="1337"/>
                </a:lnTo>
                <a:lnTo>
                  <a:pt x="1050" y="1337"/>
                </a:lnTo>
                <a:lnTo>
                  <a:pt x="1047" y="1339"/>
                </a:lnTo>
                <a:lnTo>
                  <a:pt x="1046" y="1340"/>
                </a:lnTo>
                <a:lnTo>
                  <a:pt x="1046" y="1343"/>
                </a:lnTo>
                <a:lnTo>
                  <a:pt x="1047" y="1345"/>
                </a:lnTo>
                <a:lnTo>
                  <a:pt x="1049" y="1349"/>
                </a:lnTo>
                <a:lnTo>
                  <a:pt x="1056" y="1355"/>
                </a:lnTo>
                <a:lnTo>
                  <a:pt x="1064" y="1362"/>
                </a:lnTo>
                <a:lnTo>
                  <a:pt x="1069" y="1365"/>
                </a:lnTo>
                <a:lnTo>
                  <a:pt x="1074" y="1368"/>
                </a:lnTo>
                <a:lnTo>
                  <a:pt x="1078" y="1369"/>
                </a:lnTo>
                <a:lnTo>
                  <a:pt x="1082" y="1370"/>
                </a:lnTo>
                <a:lnTo>
                  <a:pt x="1089" y="1371"/>
                </a:lnTo>
                <a:lnTo>
                  <a:pt x="1097" y="1374"/>
                </a:lnTo>
                <a:lnTo>
                  <a:pt x="1101" y="1375"/>
                </a:lnTo>
                <a:lnTo>
                  <a:pt x="1103" y="1378"/>
                </a:lnTo>
                <a:lnTo>
                  <a:pt x="1107" y="1381"/>
                </a:lnTo>
                <a:lnTo>
                  <a:pt x="1109" y="1384"/>
                </a:lnTo>
                <a:lnTo>
                  <a:pt x="1109" y="1388"/>
                </a:lnTo>
                <a:lnTo>
                  <a:pt x="1109" y="1391"/>
                </a:lnTo>
                <a:lnTo>
                  <a:pt x="1109" y="1396"/>
                </a:lnTo>
                <a:lnTo>
                  <a:pt x="1108" y="1400"/>
                </a:lnTo>
                <a:lnTo>
                  <a:pt x="1104" y="1409"/>
                </a:lnTo>
                <a:lnTo>
                  <a:pt x="1101" y="1418"/>
                </a:lnTo>
                <a:lnTo>
                  <a:pt x="1094" y="1434"/>
                </a:lnTo>
                <a:lnTo>
                  <a:pt x="1087" y="1448"/>
                </a:lnTo>
                <a:lnTo>
                  <a:pt x="1082" y="1456"/>
                </a:lnTo>
                <a:lnTo>
                  <a:pt x="1078" y="1462"/>
                </a:lnTo>
                <a:lnTo>
                  <a:pt x="1074" y="1466"/>
                </a:lnTo>
                <a:lnTo>
                  <a:pt x="1069" y="1470"/>
                </a:lnTo>
                <a:lnTo>
                  <a:pt x="1059" y="1475"/>
                </a:lnTo>
                <a:lnTo>
                  <a:pt x="1053" y="1478"/>
                </a:lnTo>
                <a:lnTo>
                  <a:pt x="1052" y="1481"/>
                </a:lnTo>
                <a:lnTo>
                  <a:pt x="1051" y="1486"/>
                </a:lnTo>
                <a:lnTo>
                  <a:pt x="1050" y="1497"/>
                </a:lnTo>
                <a:lnTo>
                  <a:pt x="1050" y="1511"/>
                </a:lnTo>
                <a:lnTo>
                  <a:pt x="1050" y="1516"/>
                </a:lnTo>
                <a:lnTo>
                  <a:pt x="1049" y="1521"/>
                </a:lnTo>
                <a:lnTo>
                  <a:pt x="1046" y="1525"/>
                </a:lnTo>
                <a:lnTo>
                  <a:pt x="1044" y="1527"/>
                </a:lnTo>
                <a:lnTo>
                  <a:pt x="1037" y="1530"/>
                </a:lnTo>
                <a:lnTo>
                  <a:pt x="1028" y="1532"/>
                </a:lnTo>
                <a:lnTo>
                  <a:pt x="1025" y="1533"/>
                </a:lnTo>
                <a:lnTo>
                  <a:pt x="1022" y="1535"/>
                </a:lnTo>
                <a:lnTo>
                  <a:pt x="1021" y="1536"/>
                </a:lnTo>
                <a:lnTo>
                  <a:pt x="1020" y="1539"/>
                </a:lnTo>
                <a:lnTo>
                  <a:pt x="1020" y="1545"/>
                </a:lnTo>
                <a:lnTo>
                  <a:pt x="1021" y="1551"/>
                </a:lnTo>
                <a:lnTo>
                  <a:pt x="1025" y="1555"/>
                </a:lnTo>
                <a:lnTo>
                  <a:pt x="1028" y="1561"/>
                </a:lnTo>
                <a:lnTo>
                  <a:pt x="1033" y="1565"/>
                </a:lnTo>
                <a:lnTo>
                  <a:pt x="1038" y="1567"/>
                </a:lnTo>
                <a:lnTo>
                  <a:pt x="1047" y="1570"/>
                </a:lnTo>
                <a:lnTo>
                  <a:pt x="1057" y="1574"/>
                </a:lnTo>
                <a:lnTo>
                  <a:pt x="1061" y="1578"/>
                </a:lnTo>
                <a:lnTo>
                  <a:pt x="1062" y="1580"/>
                </a:lnTo>
                <a:lnTo>
                  <a:pt x="1063" y="1583"/>
                </a:lnTo>
                <a:lnTo>
                  <a:pt x="1063" y="1586"/>
                </a:lnTo>
                <a:lnTo>
                  <a:pt x="1059" y="1591"/>
                </a:lnTo>
                <a:lnTo>
                  <a:pt x="1056" y="1597"/>
                </a:lnTo>
                <a:lnTo>
                  <a:pt x="1055" y="1604"/>
                </a:lnTo>
                <a:lnTo>
                  <a:pt x="1053" y="1612"/>
                </a:lnTo>
                <a:lnTo>
                  <a:pt x="1055" y="1621"/>
                </a:lnTo>
                <a:lnTo>
                  <a:pt x="1055" y="1628"/>
                </a:lnTo>
                <a:lnTo>
                  <a:pt x="1055" y="1630"/>
                </a:lnTo>
                <a:lnTo>
                  <a:pt x="1053" y="1633"/>
                </a:lnTo>
                <a:lnTo>
                  <a:pt x="1052" y="1634"/>
                </a:lnTo>
                <a:lnTo>
                  <a:pt x="1050" y="1635"/>
                </a:lnTo>
                <a:lnTo>
                  <a:pt x="1045" y="1634"/>
                </a:lnTo>
                <a:lnTo>
                  <a:pt x="1039" y="1631"/>
                </a:lnTo>
                <a:lnTo>
                  <a:pt x="1032" y="1628"/>
                </a:lnTo>
                <a:lnTo>
                  <a:pt x="1025" y="1624"/>
                </a:lnTo>
                <a:lnTo>
                  <a:pt x="1021" y="1623"/>
                </a:lnTo>
                <a:lnTo>
                  <a:pt x="1018" y="1623"/>
                </a:lnTo>
                <a:lnTo>
                  <a:pt x="1017" y="1626"/>
                </a:lnTo>
                <a:lnTo>
                  <a:pt x="1015" y="1629"/>
                </a:lnTo>
                <a:lnTo>
                  <a:pt x="1013" y="1637"/>
                </a:lnTo>
                <a:lnTo>
                  <a:pt x="1012" y="1643"/>
                </a:lnTo>
                <a:lnTo>
                  <a:pt x="1011" y="1647"/>
                </a:lnTo>
                <a:lnTo>
                  <a:pt x="1009" y="1652"/>
                </a:lnTo>
                <a:lnTo>
                  <a:pt x="1011" y="1653"/>
                </a:lnTo>
                <a:lnTo>
                  <a:pt x="1011" y="1655"/>
                </a:lnTo>
                <a:lnTo>
                  <a:pt x="1012" y="1656"/>
                </a:lnTo>
                <a:lnTo>
                  <a:pt x="1014" y="1656"/>
                </a:lnTo>
                <a:lnTo>
                  <a:pt x="1017" y="1658"/>
                </a:lnTo>
                <a:lnTo>
                  <a:pt x="1019" y="1659"/>
                </a:lnTo>
                <a:lnTo>
                  <a:pt x="1020" y="1661"/>
                </a:lnTo>
                <a:lnTo>
                  <a:pt x="1020" y="1664"/>
                </a:lnTo>
                <a:lnTo>
                  <a:pt x="1020" y="1667"/>
                </a:lnTo>
                <a:lnTo>
                  <a:pt x="1018" y="1671"/>
                </a:lnTo>
                <a:lnTo>
                  <a:pt x="1015" y="1674"/>
                </a:lnTo>
                <a:lnTo>
                  <a:pt x="1013" y="1678"/>
                </a:lnTo>
                <a:lnTo>
                  <a:pt x="1011" y="1683"/>
                </a:lnTo>
                <a:lnTo>
                  <a:pt x="1011" y="1689"/>
                </a:lnTo>
                <a:lnTo>
                  <a:pt x="1011" y="1696"/>
                </a:lnTo>
                <a:lnTo>
                  <a:pt x="1009" y="1704"/>
                </a:lnTo>
                <a:lnTo>
                  <a:pt x="1008" y="1712"/>
                </a:lnTo>
                <a:lnTo>
                  <a:pt x="1006" y="1717"/>
                </a:lnTo>
                <a:lnTo>
                  <a:pt x="1002" y="1722"/>
                </a:lnTo>
                <a:lnTo>
                  <a:pt x="998" y="1724"/>
                </a:lnTo>
                <a:lnTo>
                  <a:pt x="995" y="1724"/>
                </a:lnTo>
                <a:lnTo>
                  <a:pt x="993" y="1724"/>
                </a:lnTo>
                <a:lnTo>
                  <a:pt x="992" y="1723"/>
                </a:lnTo>
                <a:lnTo>
                  <a:pt x="989" y="1721"/>
                </a:lnTo>
                <a:lnTo>
                  <a:pt x="988" y="1715"/>
                </a:lnTo>
                <a:lnTo>
                  <a:pt x="988" y="1711"/>
                </a:lnTo>
                <a:lnTo>
                  <a:pt x="988" y="1709"/>
                </a:lnTo>
                <a:lnTo>
                  <a:pt x="987" y="1709"/>
                </a:lnTo>
                <a:lnTo>
                  <a:pt x="987" y="1709"/>
                </a:lnTo>
                <a:lnTo>
                  <a:pt x="986" y="1710"/>
                </a:lnTo>
                <a:lnTo>
                  <a:pt x="984" y="1718"/>
                </a:lnTo>
                <a:lnTo>
                  <a:pt x="984" y="1731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5" name="广东"/>
          <p:cNvSpPr>
            <a:spLocks noEditPoints="1"/>
          </p:cNvSpPr>
          <p:nvPr/>
        </p:nvSpPr>
        <p:spPr bwMode="auto">
          <a:xfrm>
            <a:off x="6184900" y="5354320"/>
            <a:ext cx="1233170" cy="951230"/>
          </a:xfrm>
          <a:custGeom>
            <a:avLst/>
            <a:gdLst>
              <a:gd name="T0" fmla="*/ 1983 w 2993"/>
              <a:gd name="T1" fmla="*/ 1253 h 2287"/>
              <a:gd name="T2" fmla="*/ 2080 w 2993"/>
              <a:gd name="T3" fmla="*/ 1133 h 2287"/>
              <a:gd name="T4" fmla="*/ 2127 w 2993"/>
              <a:gd name="T5" fmla="*/ 1209 h 2287"/>
              <a:gd name="T6" fmla="*/ 2356 w 2993"/>
              <a:gd name="T7" fmla="*/ 1181 h 2287"/>
              <a:gd name="T8" fmla="*/ 2480 w 2993"/>
              <a:gd name="T9" fmla="*/ 1152 h 2287"/>
              <a:gd name="T10" fmla="*/ 2738 w 2993"/>
              <a:gd name="T11" fmla="*/ 1021 h 2287"/>
              <a:gd name="T12" fmla="*/ 2854 w 2993"/>
              <a:gd name="T13" fmla="*/ 891 h 2287"/>
              <a:gd name="T14" fmla="*/ 2844 w 2993"/>
              <a:gd name="T15" fmla="*/ 848 h 2287"/>
              <a:gd name="T16" fmla="*/ 2946 w 2993"/>
              <a:gd name="T17" fmla="*/ 699 h 2287"/>
              <a:gd name="T18" fmla="*/ 2872 w 2993"/>
              <a:gd name="T19" fmla="*/ 454 h 2287"/>
              <a:gd name="T20" fmla="*/ 2773 w 2993"/>
              <a:gd name="T21" fmla="*/ 297 h 2287"/>
              <a:gd name="T22" fmla="*/ 2603 w 2993"/>
              <a:gd name="T23" fmla="*/ 246 h 2287"/>
              <a:gd name="T24" fmla="*/ 2417 w 2993"/>
              <a:gd name="T25" fmla="*/ 227 h 2287"/>
              <a:gd name="T26" fmla="*/ 2342 w 2993"/>
              <a:gd name="T27" fmla="*/ 335 h 2287"/>
              <a:gd name="T28" fmla="*/ 2086 w 2993"/>
              <a:gd name="T29" fmla="*/ 337 h 2287"/>
              <a:gd name="T30" fmla="*/ 1904 w 2993"/>
              <a:gd name="T31" fmla="*/ 415 h 2287"/>
              <a:gd name="T32" fmla="*/ 1849 w 2993"/>
              <a:gd name="T33" fmla="*/ 309 h 2287"/>
              <a:gd name="T34" fmla="*/ 1992 w 2993"/>
              <a:gd name="T35" fmla="*/ 90 h 2287"/>
              <a:gd name="T36" fmla="*/ 1765 w 2993"/>
              <a:gd name="T37" fmla="*/ 66 h 2287"/>
              <a:gd name="T38" fmla="*/ 1610 w 2993"/>
              <a:gd name="T39" fmla="*/ 65 h 2287"/>
              <a:gd name="T40" fmla="*/ 1415 w 2993"/>
              <a:gd name="T41" fmla="*/ 0 h 2287"/>
              <a:gd name="T42" fmla="*/ 1315 w 2993"/>
              <a:gd name="T43" fmla="*/ 121 h 2287"/>
              <a:gd name="T44" fmla="*/ 1253 w 2993"/>
              <a:gd name="T45" fmla="*/ 274 h 2287"/>
              <a:gd name="T46" fmla="*/ 999 w 2993"/>
              <a:gd name="T47" fmla="*/ 159 h 2287"/>
              <a:gd name="T48" fmla="*/ 901 w 2993"/>
              <a:gd name="T49" fmla="*/ 417 h 2287"/>
              <a:gd name="T50" fmla="*/ 909 w 2993"/>
              <a:gd name="T51" fmla="*/ 657 h 2287"/>
              <a:gd name="T52" fmla="*/ 793 w 2993"/>
              <a:gd name="T53" fmla="*/ 809 h 2287"/>
              <a:gd name="T54" fmla="*/ 716 w 2993"/>
              <a:gd name="T55" fmla="*/ 1086 h 2287"/>
              <a:gd name="T56" fmla="*/ 506 w 2993"/>
              <a:gd name="T57" fmla="*/ 1278 h 2287"/>
              <a:gd name="T58" fmla="*/ 453 w 2993"/>
              <a:gd name="T59" fmla="*/ 1412 h 2287"/>
              <a:gd name="T60" fmla="*/ 285 w 2993"/>
              <a:gd name="T61" fmla="*/ 1453 h 2287"/>
              <a:gd name="T62" fmla="*/ 212 w 2993"/>
              <a:gd name="T63" fmla="*/ 1574 h 2287"/>
              <a:gd name="T64" fmla="*/ 40 w 2993"/>
              <a:gd name="T65" fmla="*/ 1698 h 2287"/>
              <a:gd name="T66" fmla="*/ 86 w 2993"/>
              <a:gd name="T67" fmla="*/ 1807 h 2287"/>
              <a:gd name="T68" fmla="*/ 27 w 2993"/>
              <a:gd name="T69" fmla="*/ 2081 h 2287"/>
              <a:gd name="T70" fmla="*/ 234 w 2993"/>
              <a:gd name="T71" fmla="*/ 2275 h 2287"/>
              <a:gd name="T72" fmla="*/ 285 w 2993"/>
              <a:gd name="T73" fmla="*/ 2113 h 2287"/>
              <a:gd name="T74" fmla="*/ 297 w 2993"/>
              <a:gd name="T75" fmla="*/ 2077 h 2287"/>
              <a:gd name="T76" fmla="*/ 266 w 2993"/>
              <a:gd name="T77" fmla="*/ 1930 h 2287"/>
              <a:gd name="T78" fmla="*/ 366 w 2993"/>
              <a:gd name="T79" fmla="*/ 1948 h 2287"/>
              <a:gd name="T80" fmla="*/ 325 w 2993"/>
              <a:gd name="T81" fmla="*/ 1792 h 2287"/>
              <a:gd name="T82" fmla="*/ 371 w 2993"/>
              <a:gd name="T83" fmla="*/ 1847 h 2287"/>
              <a:gd name="T84" fmla="*/ 403 w 2993"/>
              <a:gd name="T85" fmla="*/ 1860 h 2287"/>
              <a:gd name="T86" fmla="*/ 655 w 2993"/>
              <a:gd name="T87" fmla="*/ 1746 h 2287"/>
              <a:gd name="T88" fmla="*/ 742 w 2993"/>
              <a:gd name="T89" fmla="*/ 1733 h 2287"/>
              <a:gd name="T90" fmla="*/ 869 w 2993"/>
              <a:gd name="T91" fmla="*/ 1660 h 2287"/>
              <a:gd name="T92" fmla="*/ 898 w 2993"/>
              <a:gd name="T93" fmla="*/ 1658 h 2287"/>
              <a:gd name="T94" fmla="*/ 940 w 2993"/>
              <a:gd name="T95" fmla="*/ 1669 h 2287"/>
              <a:gd name="T96" fmla="*/ 965 w 2993"/>
              <a:gd name="T97" fmla="*/ 1603 h 2287"/>
              <a:gd name="T98" fmla="*/ 1103 w 2993"/>
              <a:gd name="T99" fmla="*/ 1553 h 2287"/>
              <a:gd name="T100" fmla="*/ 1131 w 2993"/>
              <a:gd name="T101" fmla="*/ 1574 h 2287"/>
              <a:gd name="T102" fmla="*/ 1322 w 2993"/>
              <a:gd name="T103" fmla="*/ 1575 h 2287"/>
              <a:gd name="T104" fmla="*/ 1375 w 2993"/>
              <a:gd name="T105" fmla="*/ 1307 h 2287"/>
              <a:gd name="T106" fmla="*/ 1511 w 2993"/>
              <a:gd name="T107" fmla="*/ 1424 h 2287"/>
              <a:gd name="T108" fmla="*/ 1551 w 2993"/>
              <a:gd name="T109" fmla="*/ 1433 h 2287"/>
              <a:gd name="T110" fmla="*/ 1591 w 2993"/>
              <a:gd name="T111" fmla="*/ 1270 h 2287"/>
              <a:gd name="T112" fmla="*/ 1587 w 2993"/>
              <a:gd name="T113" fmla="*/ 1162 h 2287"/>
              <a:gd name="T114" fmla="*/ 1594 w 2993"/>
              <a:gd name="T115" fmla="*/ 1093 h 2287"/>
              <a:gd name="T116" fmla="*/ 1723 w 2993"/>
              <a:gd name="T117" fmla="*/ 1284 h 2287"/>
              <a:gd name="T118" fmla="*/ 370 w 2993"/>
              <a:gd name="T119" fmla="*/ 1998 h 2287"/>
              <a:gd name="T120" fmla="*/ 1834 w 2993"/>
              <a:gd name="T121" fmla="*/ 1500 h 2287"/>
              <a:gd name="T122" fmla="*/ 1897 w 2993"/>
              <a:gd name="T123" fmla="*/ 1471 h 2287"/>
              <a:gd name="T124" fmla="*/ 2948 w 2993"/>
              <a:gd name="T125" fmla="*/ 801 h 2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93" h="2287">
                <a:moveTo>
                  <a:pt x="1852" y="1263"/>
                </a:moveTo>
                <a:lnTo>
                  <a:pt x="1853" y="1261"/>
                </a:lnTo>
                <a:lnTo>
                  <a:pt x="1854" y="1259"/>
                </a:lnTo>
                <a:lnTo>
                  <a:pt x="1858" y="1256"/>
                </a:lnTo>
                <a:lnTo>
                  <a:pt x="1863" y="1253"/>
                </a:lnTo>
                <a:lnTo>
                  <a:pt x="1875" y="1244"/>
                </a:lnTo>
                <a:lnTo>
                  <a:pt x="1890" y="1236"/>
                </a:lnTo>
                <a:lnTo>
                  <a:pt x="1895" y="1235"/>
                </a:lnTo>
                <a:lnTo>
                  <a:pt x="1901" y="1234"/>
                </a:lnTo>
                <a:lnTo>
                  <a:pt x="1906" y="1234"/>
                </a:lnTo>
                <a:lnTo>
                  <a:pt x="1910" y="1234"/>
                </a:lnTo>
                <a:lnTo>
                  <a:pt x="1922" y="1236"/>
                </a:lnTo>
                <a:lnTo>
                  <a:pt x="1937" y="1242"/>
                </a:lnTo>
                <a:lnTo>
                  <a:pt x="1944" y="1245"/>
                </a:lnTo>
                <a:lnTo>
                  <a:pt x="1948" y="1249"/>
                </a:lnTo>
                <a:lnTo>
                  <a:pt x="1951" y="1254"/>
                </a:lnTo>
                <a:lnTo>
                  <a:pt x="1953" y="1259"/>
                </a:lnTo>
                <a:lnTo>
                  <a:pt x="1956" y="1269"/>
                </a:lnTo>
                <a:lnTo>
                  <a:pt x="1956" y="1280"/>
                </a:lnTo>
                <a:lnTo>
                  <a:pt x="1957" y="1285"/>
                </a:lnTo>
                <a:lnTo>
                  <a:pt x="1958" y="1288"/>
                </a:lnTo>
                <a:lnTo>
                  <a:pt x="1959" y="1291"/>
                </a:lnTo>
                <a:lnTo>
                  <a:pt x="1961" y="1293"/>
                </a:lnTo>
                <a:lnTo>
                  <a:pt x="1964" y="1293"/>
                </a:lnTo>
                <a:lnTo>
                  <a:pt x="1966" y="1292"/>
                </a:lnTo>
                <a:lnTo>
                  <a:pt x="1970" y="1291"/>
                </a:lnTo>
                <a:lnTo>
                  <a:pt x="1973" y="1287"/>
                </a:lnTo>
                <a:lnTo>
                  <a:pt x="1990" y="1280"/>
                </a:lnTo>
                <a:lnTo>
                  <a:pt x="2003" y="1273"/>
                </a:lnTo>
                <a:lnTo>
                  <a:pt x="2003" y="1270"/>
                </a:lnTo>
                <a:lnTo>
                  <a:pt x="2003" y="1267"/>
                </a:lnTo>
                <a:lnTo>
                  <a:pt x="2002" y="1265"/>
                </a:lnTo>
                <a:lnTo>
                  <a:pt x="2001" y="1262"/>
                </a:lnTo>
                <a:lnTo>
                  <a:pt x="1996" y="1257"/>
                </a:lnTo>
                <a:lnTo>
                  <a:pt x="1989" y="1255"/>
                </a:lnTo>
                <a:lnTo>
                  <a:pt x="1983" y="1253"/>
                </a:lnTo>
                <a:lnTo>
                  <a:pt x="1978" y="1249"/>
                </a:lnTo>
                <a:lnTo>
                  <a:pt x="1977" y="1245"/>
                </a:lnTo>
                <a:lnTo>
                  <a:pt x="1977" y="1242"/>
                </a:lnTo>
                <a:lnTo>
                  <a:pt x="1978" y="1237"/>
                </a:lnTo>
                <a:lnTo>
                  <a:pt x="1980" y="1232"/>
                </a:lnTo>
                <a:lnTo>
                  <a:pt x="1985" y="1226"/>
                </a:lnTo>
                <a:lnTo>
                  <a:pt x="1990" y="1221"/>
                </a:lnTo>
                <a:lnTo>
                  <a:pt x="1990" y="1218"/>
                </a:lnTo>
                <a:lnTo>
                  <a:pt x="1989" y="1217"/>
                </a:lnTo>
                <a:lnTo>
                  <a:pt x="1986" y="1216"/>
                </a:lnTo>
                <a:lnTo>
                  <a:pt x="1983" y="1216"/>
                </a:lnTo>
                <a:lnTo>
                  <a:pt x="1975" y="1215"/>
                </a:lnTo>
                <a:lnTo>
                  <a:pt x="1967" y="1216"/>
                </a:lnTo>
                <a:lnTo>
                  <a:pt x="1964" y="1216"/>
                </a:lnTo>
                <a:lnTo>
                  <a:pt x="1961" y="1216"/>
                </a:lnTo>
                <a:lnTo>
                  <a:pt x="1960" y="1215"/>
                </a:lnTo>
                <a:lnTo>
                  <a:pt x="1958" y="1213"/>
                </a:lnTo>
                <a:lnTo>
                  <a:pt x="1957" y="1212"/>
                </a:lnTo>
                <a:lnTo>
                  <a:pt x="1957" y="1210"/>
                </a:lnTo>
                <a:lnTo>
                  <a:pt x="1957" y="1207"/>
                </a:lnTo>
                <a:lnTo>
                  <a:pt x="1957" y="1204"/>
                </a:lnTo>
                <a:lnTo>
                  <a:pt x="1959" y="1196"/>
                </a:lnTo>
                <a:lnTo>
                  <a:pt x="1964" y="1185"/>
                </a:lnTo>
                <a:lnTo>
                  <a:pt x="1967" y="1179"/>
                </a:lnTo>
                <a:lnTo>
                  <a:pt x="1971" y="1174"/>
                </a:lnTo>
                <a:lnTo>
                  <a:pt x="1976" y="1169"/>
                </a:lnTo>
                <a:lnTo>
                  <a:pt x="1982" y="1166"/>
                </a:lnTo>
                <a:lnTo>
                  <a:pt x="2002" y="1156"/>
                </a:lnTo>
                <a:lnTo>
                  <a:pt x="2028" y="1146"/>
                </a:lnTo>
                <a:lnTo>
                  <a:pt x="2052" y="1135"/>
                </a:lnTo>
                <a:lnTo>
                  <a:pt x="2066" y="1127"/>
                </a:lnTo>
                <a:lnTo>
                  <a:pt x="2070" y="1124"/>
                </a:lnTo>
                <a:lnTo>
                  <a:pt x="2073" y="1124"/>
                </a:lnTo>
                <a:lnTo>
                  <a:pt x="2077" y="1125"/>
                </a:lnTo>
                <a:lnTo>
                  <a:pt x="2079" y="1129"/>
                </a:lnTo>
                <a:lnTo>
                  <a:pt x="2080" y="1133"/>
                </a:lnTo>
                <a:lnTo>
                  <a:pt x="2082" y="1137"/>
                </a:lnTo>
                <a:lnTo>
                  <a:pt x="2082" y="1142"/>
                </a:lnTo>
                <a:lnTo>
                  <a:pt x="2079" y="1146"/>
                </a:lnTo>
                <a:lnTo>
                  <a:pt x="2064" y="1159"/>
                </a:lnTo>
                <a:lnTo>
                  <a:pt x="2052" y="1167"/>
                </a:lnTo>
                <a:lnTo>
                  <a:pt x="2051" y="1173"/>
                </a:lnTo>
                <a:lnTo>
                  <a:pt x="2052" y="1182"/>
                </a:lnTo>
                <a:lnTo>
                  <a:pt x="2053" y="1193"/>
                </a:lnTo>
                <a:lnTo>
                  <a:pt x="2053" y="1203"/>
                </a:lnTo>
                <a:lnTo>
                  <a:pt x="2053" y="1213"/>
                </a:lnTo>
                <a:lnTo>
                  <a:pt x="2054" y="1225"/>
                </a:lnTo>
                <a:lnTo>
                  <a:pt x="2055" y="1230"/>
                </a:lnTo>
                <a:lnTo>
                  <a:pt x="2058" y="1235"/>
                </a:lnTo>
                <a:lnTo>
                  <a:pt x="2059" y="1236"/>
                </a:lnTo>
                <a:lnTo>
                  <a:pt x="2061" y="1236"/>
                </a:lnTo>
                <a:lnTo>
                  <a:pt x="2063" y="1237"/>
                </a:lnTo>
                <a:lnTo>
                  <a:pt x="2065" y="1236"/>
                </a:lnTo>
                <a:lnTo>
                  <a:pt x="2076" y="1231"/>
                </a:lnTo>
                <a:lnTo>
                  <a:pt x="2089" y="1225"/>
                </a:lnTo>
                <a:lnTo>
                  <a:pt x="2095" y="1224"/>
                </a:lnTo>
                <a:lnTo>
                  <a:pt x="2101" y="1223"/>
                </a:lnTo>
                <a:lnTo>
                  <a:pt x="2102" y="1224"/>
                </a:lnTo>
                <a:lnTo>
                  <a:pt x="2104" y="1224"/>
                </a:lnTo>
                <a:lnTo>
                  <a:pt x="2105" y="1226"/>
                </a:lnTo>
                <a:lnTo>
                  <a:pt x="2108" y="1229"/>
                </a:lnTo>
                <a:lnTo>
                  <a:pt x="2111" y="1237"/>
                </a:lnTo>
                <a:lnTo>
                  <a:pt x="2115" y="1244"/>
                </a:lnTo>
                <a:lnTo>
                  <a:pt x="2117" y="1245"/>
                </a:lnTo>
                <a:lnTo>
                  <a:pt x="2118" y="1245"/>
                </a:lnTo>
                <a:lnTo>
                  <a:pt x="2120" y="1245"/>
                </a:lnTo>
                <a:lnTo>
                  <a:pt x="2122" y="1243"/>
                </a:lnTo>
                <a:lnTo>
                  <a:pt x="2123" y="1235"/>
                </a:lnTo>
                <a:lnTo>
                  <a:pt x="2123" y="1224"/>
                </a:lnTo>
                <a:lnTo>
                  <a:pt x="2123" y="1219"/>
                </a:lnTo>
                <a:lnTo>
                  <a:pt x="2124" y="1213"/>
                </a:lnTo>
                <a:lnTo>
                  <a:pt x="2127" y="1209"/>
                </a:lnTo>
                <a:lnTo>
                  <a:pt x="2130" y="1205"/>
                </a:lnTo>
                <a:lnTo>
                  <a:pt x="2134" y="1200"/>
                </a:lnTo>
                <a:lnTo>
                  <a:pt x="2141" y="1191"/>
                </a:lnTo>
                <a:lnTo>
                  <a:pt x="2149" y="1181"/>
                </a:lnTo>
                <a:lnTo>
                  <a:pt x="2158" y="1171"/>
                </a:lnTo>
                <a:lnTo>
                  <a:pt x="2161" y="1166"/>
                </a:lnTo>
                <a:lnTo>
                  <a:pt x="2164" y="1162"/>
                </a:lnTo>
                <a:lnTo>
                  <a:pt x="2165" y="1159"/>
                </a:lnTo>
                <a:lnTo>
                  <a:pt x="2165" y="1155"/>
                </a:lnTo>
                <a:lnTo>
                  <a:pt x="2165" y="1150"/>
                </a:lnTo>
                <a:lnTo>
                  <a:pt x="2165" y="1146"/>
                </a:lnTo>
                <a:lnTo>
                  <a:pt x="2166" y="1142"/>
                </a:lnTo>
                <a:lnTo>
                  <a:pt x="2168" y="1139"/>
                </a:lnTo>
                <a:lnTo>
                  <a:pt x="2171" y="1136"/>
                </a:lnTo>
                <a:lnTo>
                  <a:pt x="2174" y="1134"/>
                </a:lnTo>
                <a:lnTo>
                  <a:pt x="2179" y="1131"/>
                </a:lnTo>
                <a:lnTo>
                  <a:pt x="2184" y="1130"/>
                </a:lnTo>
                <a:lnTo>
                  <a:pt x="2194" y="1128"/>
                </a:lnTo>
                <a:lnTo>
                  <a:pt x="2206" y="1127"/>
                </a:lnTo>
                <a:lnTo>
                  <a:pt x="2219" y="1128"/>
                </a:lnTo>
                <a:lnTo>
                  <a:pt x="2233" y="1129"/>
                </a:lnTo>
                <a:lnTo>
                  <a:pt x="2255" y="1131"/>
                </a:lnTo>
                <a:lnTo>
                  <a:pt x="2271" y="1135"/>
                </a:lnTo>
                <a:lnTo>
                  <a:pt x="2275" y="1137"/>
                </a:lnTo>
                <a:lnTo>
                  <a:pt x="2280" y="1139"/>
                </a:lnTo>
                <a:lnTo>
                  <a:pt x="2282" y="1141"/>
                </a:lnTo>
                <a:lnTo>
                  <a:pt x="2284" y="1143"/>
                </a:lnTo>
                <a:lnTo>
                  <a:pt x="2286" y="1154"/>
                </a:lnTo>
                <a:lnTo>
                  <a:pt x="2293" y="1167"/>
                </a:lnTo>
                <a:lnTo>
                  <a:pt x="2300" y="1169"/>
                </a:lnTo>
                <a:lnTo>
                  <a:pt x="2317" y="1172"/>
                </a:lnTo>
                <a:lnTo>
                  <a:pt x="2326" y="1173"/>
                </a:lnTo>
                <a:lnTo>
                  <a:pt x="2336" y="1174"/>
                </a:lnTo>
                <a:lnTo>
                  <a:pt x="2344" y="1177"/>
                </a:lnTo>
                <a:lnTo>
                  <a:pt x="2353" y="1179"/>
                </a:lnTo>
                <a:lnTo>
                  <a:pt x="2356" y="1181"/>
                </a:lnTo>
                <a:lnTo>
                  <a:pt x="2360" y="1182"/>
                </a:lnTo>
                <a:lnTo>
                  <a:pt x="2363" y="1184"/>
                </a:lnTo>
                <a:lnTo>
                  <a:pt x="2367" y="1184"/>
                </a:lnTo>
                <a:lnTo>
                  <a:pt x="2372" y="1182"/>
                </a:lnTo>
                <a:lnTo>
                  <a:pt x="2375" y="1180"/>
                </a:lnTo>
                <a:lnTo>
                  <a:pt x="2380" y="1177"/>
                </a:lnTo>
                <a:lnTo>
                  <a:pt x="2385" y="1172"/>
                </a:lnTo>
                <a:lnTo>
                  <a:pt x="2386" y="1169"/>
                </a:lnTo>
                <a:lnTo>
                  <a:pt x="2387" y="1166"/>
                </a:lnTo>
                <a:lnTo>
                  <a:pt x="2387" y="1163"/>
                </a:lnTo>
                <a:lnTo>
                  <a:pt x="2386" y="1160"/>
                </a:lnTo>
                <a:lnTo>
                  <a:pt x="2383" y="1155"/>
                </a:lnTo>
                <a:lnTo>
                  <a:pt x="2378" y="1149"/>
                </a:lnTo>
                <a:lnTo>
                  <a:pt x="2364" y="1139"/>
                </a:lnTo>
                <a:lnTo>
                  <a:pt x="2353" y="1129"/>
                </a:lnTo>
                <a:lnTo>
                  <a:pt x="2349" y="1123"/>
                </a:lnTo>
                <a:lnTo>
                  <a:pt x="2347" y="1118"/>
                </a:lnTo>
                <a:lnTo>
                  <a:pt x="2345" y="1114"/>
                </a:lnTo>
                <a:lnTo>
                  <a:pt x="2345" y="1109"/>
                </a:lnTo>
                <a:lnTo>
                  <a:pt x="2347" y="1102"/>
                </a:lnTo>
                <a:lnTo>
                  <a:pt x="2349" y="1095"/>
                </a:lnTo>
                <a:lnTo>
                  <a:pt x="2353" y="1090"/>
                </a:lnTo>
                <a:lnTo>
                  <a:pt x="2357" y="1085"/>
                </a:lnTo>
                <a:lnTo>
                  <a:pt x="2360" y="1084"/>
                </a:lnTo>
                <a:lnTo>
                  <a:pt x="2363" y="1083"/>
                </a:lnTo>
                <a:lnTo>
                  <a:pt x="2367" y="1083"/>
                </a:lnTo>
                <a:lnTo>
                  <a:pt x="2370" y="1084"/>
                </a:lnTo>
                <a:lnTo>
                  <a:pt x="2388" y="1097"/>
                </a:lnTo>
                <a:lnTo>
                  <a:pt x="2416" y="1118"/>
                </a:lnTo>
                <a:lnTo>
                  <a:pt x="2430" y="1129"/>
                </a:lnTo>
                <a:lnTo>
                  <a:pt x="2444" y="1140"/>
                </a:lnTo>
                <a:lnTo>
                  <a:pt x="2458" y="1148"/>
                </a:lnTo>
                <a:lnTo>
                  <a:pt x="2471" y="1153"/>
                </a:lnTo>
                <a:lnTo>
                  <a:pt x="2475" y="1153"/>
                </a:lnTo>
                <a:lnTo>
                  <a:pt x="2477" y="1153"/>
                </a:lnTo>
                <a:lnTo>
                  <a:pt x="2480" y="1152"/>
                </a:lnTo>
                <a:lnTo>
                  <a:pt x="2482" y="1150"/>
                </a:lnTo>
                <a:lnTo>
                  <a:pt x="2487" y="1146"/>
                </a:lnTo>
                <a:lnTo>
                  <a:pt x="2490" y="1140"/>
                </a:lnTo>
                <a:lnTo>
                  <a:pt x="2498" y="1128"/>
                </a:lnTo>
                <a:lnTo>
                  <a:pt x="2500" y="1123"/>
                </a:lnTo>
                <a:lnTo>
                  <a:pt x="2515" y="1106"/>
                </a:lnTo>
                <a:lnTo>
                  <a:pt x="2529" y="1096"/>
                </a:lnTo>
                <a:lnTo>
                  <a:pt x="2539" y="1087"/>
                </a:lnTo>
                <a:lnTo>
                  <a:pt x="2546" y="1084"/>
                </a:lnTo>
                <a:lnTo>
                  <a:pt x="2552" y="1083"/>
                </a:lnTo>
                <a:lnTo>
                  <a:pt x="2558" y="1083"/>
                </a:lnTo>
                <a:lnTo>
                  <a:pt x="2576" y="1086"/>
                </a:lnTo>
                <a:lnTo>
                  <a:pt x="2590" y="1091"/>
                </a:lnTo>
                <a:lnTo>
                  <a:pt x="2594" y="1091"/>
                </a:lnTo>
                <a:lnTo>
                  <a:pt x="2597" y="1090"/>
                </a:lnTo>
                <a:lnTo>
                  <a:pt x="2600" y="1089"/>
                </a:lnTo>
                <a:lnTo>
                  <a:pt x="2602" y="1086"/>
                </a:lnTo>
                <a:lnTo>
                  <a:pt x="2607" y="1081"/>
                </a:lnTo>
                <a:lnTo>
                  <a:pt x="2611" y="1077"/>
                </a:lnTo>
                <a:lnTo>
                  <a:pt x="2619" y="1065"/>
                </a:lnTo>
                <a:lnTo>
                  <a:pt x="2633" y="1046"/>
                </a:lnTo>
                <a:lnTo>
                  <a:pt x="2641" y="1037"/>
                </a:lnTo>
                <a:lnTo>
                  <a:pt x="2650" y="1029"/>
                </a:lnTo>
                <a:lnTo>
                  <a:pt x="2657" y="1023"/>
                </a:lnTo>
                <a:lnTo>
                  <a:pt x="2663" y="1021"/>
                </a:lnTo>
                <a:lnTo>
                  <a:pt x="2666" y="1021"/>
                </a:lnTo>
                <a:lnTo>
                  <a:pt x="2671" y="1023"/>
                </a:lnTo>
                <a:lnTo>
                  <a:pt x="2676" y="1026"/>
                </a:lnTo>
                <a:lnTo>
                  <a:pt x="2681" y="1029"/>
                </a:lnTo>
                <a:lnTo>
                  <a:pt x="2688" y="1032"/>
                </a:lnTo>
                <a:lnTo>
                  <a:pt x="2695" y="1034"/>
                </a:lnTo>
                <a:lnTo>
                  <a:pt x="2703" y="1035"/>
                </a:lnTo>
                <a:lnTo>
                  <a:pt x="2714" y="1034"/>
                </a:lnTo>
                <a:lnTo>
                  <a:pt x="2721" y="1032"/>
                </a:lnTo>
                <a:lnTo>
                  <a:pt x="2729" y="1028"/>
                </a:lnTo>
                <a:lnTo>
                  <a:pt x="2738" y="1021"/>
                </a:lnTo>
                <a:lnTo>
                  <a:pt x="2746" y="1014"/>
                </a:lnTo>
                <a:lnTo>
                  <a:pt x="2762" y="999"/>
                </a:lnTo>
                <a:lnTo>
                  <a:pt x="2773" y="985"/>
                </a:lnTo>
                <a:lnTo>
                  <a:pt x="2775" y="983"/>
                </a:lnTo>
                <a:lnTo>
                  <a:pt x="2776" y="978"/>
                </a:lnTo>
                <a:lnTo>
                  <a:pt x="2776" y="973"/>
                </a:lnTo>
                <a:lnTo>
                  <a:pt x="2776" y="967"/>
                </a:lnTo>
                <a:lnTo>
                  <a:pt x="2775" y="954"/>
                </a:lnTo>
                <a:lnTo>
                  <a:pt x="2773" y="941"/>
                </a:lnTo>
                <a:lnTo>
                  <a:pt x="2772" y="928"/>
                </a:lnTo>
                <a:lnTo>
                  <a:pt x="2771" y="916"/>
                </a:lnTo>
                <a:lnTo>
                  <a:pt x="2771" y="911"/>
                </a:lnTo>
                <a:lnTo>
                  <a:pt x="2772" y="908"/>
                </a:lnTo>
                <a:lnTo>
                  <a:pt x="2773" y="906"/>
                </a:lnTo>
                <a:lnTo>
                  <a:pt x="2776" y="903"/>
                </a:lnTo>
                <a:lnTo>
                  <a:pt x="2779" y="903"/>
                </a:lnTo>
                <a:lnTo>
                  <a:pt x="2783" y="904"/>
                </a:lnTo>
                <a:lnTo>
                  <a:pt x="2785" y="908"/>
                </a:lnTo>
                <a:lnTo>
                  <a:pt x="2786" y="911"/>
                </a:lnTo>
                <a:lnTo>
                  <a:pt x="2790" y="921"/>
                </a:lnTo>
                <a:lnTo>
                  <a:pt x="2794" y="929"/>
                </a:lnTo>
                <a:lnTo>
                  <a:pt x="2795" y="931"/>
                </a:lnTo>
                <a:lnTo>
                  <a:pt x="2797" y="931"/>
                </a:lnTo>
                <a:lnTo>
                  <a:pt x="2801" y="931"/>
                </a:lnTo>
                <a:lnTo>
                  <a:pt x="2805" y="929"/>
                </a:lnTo>
                <a:lnTo>
                  <a:pt x="2815" y="927"/>
                </a:lnTo>
                <a:lnTo>
                  <a:pt x="2827" y="922"/>
                </a:lnTo>
                <a:lnTo>
                  <a:pt x="2847" y="913"/>
                </a:lnTo>
                <a:lnTo>
                  <a:pt x="2858" y="907"/>
                </a:lnTo>
                <a:lnTo>
                  <a:pt x="2861" y="903"/>
                </a:lnTo>
                <a:lnTo>
                  <a:pt x="2864" y="900"/>
                </a:lnTo>
                <a:lnTo>
                  <a:pt x="2864" y="897"/>
                </a:lnTo>
                <a:lnTo>
                  <a:pt x="2864" y="896"/>
                </a:lnTo>
                <a:lnTo>
                  <a:pt x="2861" y="895"/>
                </a:lnTo>
                <a:lnTo>
                  <a:pt x="2859" y="894"/>
                </a:lnTo>
                <a:lnTo>
                  <a:pt x="2854" y="891"/>
                </a:lnTo>
                <a:lnTo>
                  <a:pt x="2851" y="888"/>
                </a:lnTo>
                <a:lnTo>
                  <a:pt x="2848" y="883"/>
                </a:lnTo>
                <a:lnTo>
                  <a:pt x="2847" y="878"/>
                </a:lnTo>
                <a:lnTo>
                  <a:pt x="2846" y="876"/>
                </a:lnTo>
                <a:lnTo>
                  <a:pt x="2845" y="873"/>
                </a:lnTo>
                <a:lnTo>
                  <a:pt x="2842" y="872"/>
                </a:lnTo>
                <a:lnTo>
                  <a:pt x="2840" y="870"/>
                </a:lnTo>
                <a:lnTo>
                  <a:pt x="2834" y="869"/>
                </a:lnTo>
                <a:lnTo>
                  <a:pt x="2828" y="868"/>
                </a:lnTo>
                <a:lnTo>
                  <a:pt x="2819" y="869"/>
                </a:lnTo>
                <a:lnTo>
                  <a:pt x="2807" y="870"/>
                </a:lnTo>
                <a:lnTo>
                  <a:pt x="2794" y="871"/>
                </a:lnTo>
                <a:lnTo>
                  <a:pt x="2782" y="871"/>
                </a:lnTo>
                <a:lnTo>
                  <a:pt x="2777" y="871"/>
                </a:lnTo>
                <a:lnTo>
                  <a:pt x="2772" y="869"/>
                </a:lnTo>
                <a:lnTo>
                  <a:pt x="2767" y="865"/>
                </a:lnTo>
                <a:lnTo>
                  <a:pt x="2764" y="862"/>
                </a:lnTo>
                <a:lnTo>
                  <a:pt x="2760" y="857"/>
                </a:lnTo>
                <a:lnTo>
                  <a:pt x="2757" y="852"/>
                </a:lnTo>
                <a:lnTo>
                  <a:pt x="2754" y="847"/>
                </a:lnTo>
                <a:lnTo>
                  <a:pt x="2753" y="841"/>
                </a:lnTo>
                <a:lnTo>
                  <a:pt x="2753" y="837"/>
                </a:lnTo>
                <a:lnTo>
                  <a:pt x="2753" y="834"/>
                </a:lnTo>
                <a:lnTo>
                  <a:pt x="2754" y="832"/>
                </a:lnTo>
                <a:lnTo>
                  <a:pt x="2756" y="831"/>
                </a:lnTo>
                <a:lnTo>
                  <a:pt x="2759" y="832"/>
                </a:lnTo>
                <a:lnTo>
                  <a:pt x="2765" y="834"/>
                </a:lnTo>
                <a:lnTo>
                  <a:pt x="2773" y="839"/>
                </a:lnTo>
                <a:lnTo>
                  <a:pt x="2785" y="841"/>
                </a:lnTo>
                <a:lnTo>
                  <a:pt x="2797" y="844"/>
                </a:lnTo>
                <a:lnTo>
                  <a:pt x="2810" y="844"/>
                </a:lnTo>
                <a:lnTo>
                  <a:pt x="2821" y="845"/>
                </a:lnTo>
                <a:lnTo>
                  <a:pt x="2830" y="847"/>
                </a:lnTo>
                <a:lnTo>
                  <a:pt x="2835" y="848"/>
                </a:lnTo>
                <a:lnTo>
                  <a:pt x="2840" y="850"/>
                </a:lnTo>
                <a:lnTo>
                  <a:pt x="2844" y="848"/>
                </a:lnTo>
                <a:lnTo>
                  <a:pt x="2848" y="846"/>
                </a:lnTo>
                <a:lnTo>
                  <a:pt x="2857" y="838"/>
                </a:lnTo>
                <a:lnTo>
                  <a:pt x="2863" y="828"/>
                </a:lnTo>
                <a:lnTo>
                  <a:pt x="2868" y="819"/>
                </a:lnTo>
                <a:lnTo>
                  <a:pt x="2873" y="810"/>
                </a:lnTo>
                <a:lnTo>
                  <a:pt x="2878" y="802"/>
                </a:lnTo>
                <a:lnTo>
                  <a:pt x="2883" y="791"/>
                </a:lnTo>
                <a:lnTo>
                  <a:pt x="2885" y="780"/>
                </a:lnTo>
                <a:lnTo>
                  <a:pt x="2886" y="770"/>
                </a:lnTo>
                <a:lnTo>
                  <a:pt x="2885" y="758"/>
                </a:lnTo>
                <a:lnTo>
                  <a:pt x="2884" y="743"/>
                </a:lnTo>
                <a:lnTo>
                  <a:pt x="2884" y="737"/>
                </a:lnTo>
                <a:lnTo>
                  <a:pt x="2884" y="730"/>
                </a:lnTo>
                <a:lnTo>
                  <a:pt x="2886" y="725"/>
                </a:lnTo>
                <a:lnTo>
                  <a:pt x="2889" y="721"/>
                </a:lnTo>
                <a:lnTo>
                  <a:pt x="2892" y="720"/>
                </a:lnTo>
                <a:lnTo>
                  <a:pt x="2896" y="720"/>
                </a:lnTo>
                <a:lnTo>
                  <a:pt x="2899" y="720"/>
                </a:lnTo>
                <a:lnTo>
                  <a:pt x="2903" y="723"/>
                </a:lnTo>
                <a:lnTo>
                  <a:pt x="2910" y="726"/>
                </a:lnTo>
                <a:lnTo>
                  <a:pt x="2918" y="731"/>
                </a:lnTo>
                <a:lnTo>
                  <a:pt x="2929" y="728"/>
                </a:lnTo>
                <a:lnTo>
                  <a:pt x="2952" y="726"/>
                </a:lnTo>
                <a:lnTo>
                  <a:pt x="2965" y="728"/>
                </a:lnTo>
                <a:lnTo>
                  <a:pt x="2974" y="731"/>
                </a:lnTo>
                <a:lnTo>
                  <a:pt x="2978" y="731"/>
                </a:lnTo>
                <a:lnTo>
                  <a:pt x="2981" y="731"/>
                </a:lnTo>
                <a:lnTo>
                  <a:pt x="2983" y="728"/>
                </a:lnTo>
                <a:lnTo>
                  <a:pt x="2985" y="725"/>
                </a:lnTo>
                <a:lnTo>
                  <a:pt x="2984" y="721"/>
                </a:lnTo>
                <a:lnTo>
                  <a:pt x="2981" y="719"/>
                </a:lnTo>
                <a:lnTo>
                  <a:pt x="2977" y="717"/>
                </a:lnTo>
                <a:lnTo>
                  <a:pt x="2971" y="714"/>
                </a:lnTo>
                <a:lnTo>
                  <a:pt x="2960" y="709"/>
                </a:lnTo>
                <a:lnTo>
                  <a:pt x="2951" y="705"/>
                </a:lnTo>
                <a:lnTo>
                  <a:pt x="2946" y="699"/>
                </a:lnTo>
                <a:lnTo>
                  <a:pt x="2942" y="692"/>
                </a:lnTo>
                <a:lnTo>
                  <a:pt x="2940" y="684"/>
                </a:lnTo>
                <a:lnTo>
                  <a:pt x="2939" y="676"/>
                </a:lnTo>
                <a:lnTo>
                  <a:pt x="2936" y="668"/>
                </a:lnTo>
                <a:lnTo>
                  <a:pt x="2934" y="661"/>
                </a:lnTo>
                <a:lnTo>
                  <a:pt x="2930" y="652"/>
                </a:lnTo>
                <a:lnTo>
                  <a:pt x="2924" y="645"/>
                </a:lnTo>
                <a:lnTo>
                  <a:pt x="2914" y="631"/>
                </a:lnTo>
                <a:lnTo>
                  <a:pt x="2907" y="618"/>
                </a:lnTo>
                <a:lnTo>
                  <a:pt x="2904" y="611"/>
                </a:lnTo>
                <a:lnTo>
                  <a:pt x="2902" y="605"/>
                </a:lnTo>
                <a:lnTo>
                  <a:pt x="2901" y="599"/>
                </a:lnTo>
                <a:lnTo>
                  <a:pt x="2901" y="593"/>
                </a:lnTo>
                <a:lnTo>
                  <a:pt x="2899" y="582"/>
                </a:lnTo>
                <a:lnTo>
                  <a:pt x="2897" y="572"/>
                </a:lnTo>
                <a:lnTo>
                  <a:pt x="2893" y="563"/>
                </a:lnTo>
                <a:lnTo>
                  <a:pt x="2888" y="555"/>
                </a:lnTo>
                <a:lnTo>
                  <a:pt x="2885" y="550"/>
                </a:lnTo>
                <a:lnTo>
                  <a:pt x="2884" y="544"/>
                </a:lnTo>
                <a:lnTo>
                  <a:pt x="2883" y="539"/>
                </a:lnTo>
                <a:lnTo>
                  <a:pt x="2883" y="534"/>
                </a:lnTo>
                <a:lnTo>
                  <a:pt x="2884" y="528"/>
                </a:lnTo>
                <a:lnTo>
                  <a:pt x="2885" y="522"/>
                </a:lnTo>
                <a:lnTo>
                  <a:pt x="2889" y="516"/>
                </a:lnTo>
                <a:lnTo>
                  <a:pt x="2893" y="511"/>
                </a:lnTo>
                <a:lnTo>
                  <a:pt x="2898" y="506"/>
                </a:lnTo>
                <a:lnTo>
                  <a:pt x="2901" y="503"/>
                </a:lnTo>
                <a:lnTo>
                  <a:pt x="2902" y="498"/>
                </a:lnTo>
                <a:lnTo>
                  <a:pt x="2902" y="493"/>
                </a:lnTo>
                <a:lnTo>
                  <a:pt x="2901" y="490"/>
                </a:lnTo>
                <a:lnTo>
                  <a:pt x="2898" y="485"/>
                </a:lnTo>
                <a:lnTo>
                  <a:pt x="2895" y="481"/>
                </a:lnTo>
                <a:lnTo>
                  <a:pt x="2890" y="476"/>
                </a:lnTo>
                <a:lnTo>
                  <a:pt x="2882" y="468"/>
                </a:lnTo>
                <a:lnTo>
                  <a:pt x="2876" y="460"/>
                </a:lnTo>
                <a:lnTo>
                  <a:pt x="2872" y="454"/>
                </a:lnTo>
                <a:lnTo>
                  <a:pt x="2870" y="448"/>
                </a:lnTo>
                <a:lnTo>
                  <a:pt x="2868" y="442"/>
                </a:lnTo>
                <a:lnTo>
                  <a:pt x="2866" y="434"/>
                </a:lnTo>
                <a:lnTo>
                  <a:pt x="2864" y="421"/>
                </a:lnTo>
                <a:lnTo>
                  <a:pt x="2860" y="413"/>
                </a:lnTo>
                <a:lnTo>
                  <a:pt x="2855" y="410"/>
                </a:lnTo>
                <a:lnTo>
                  <a:pt x="2851" y="406"/>
                </a:lnTo>
                <a:lnTo>
                  <a:pt x="2847" y="404"/>
                </a:lnTo>
                <a:lnTo>
                  <a:pt x="2846" y="402"/>
                </a:lnTo>
                <a:lnTo>
                  <a:pt x="2844" y="398"/>
                </a:lnTo>
                <a:lnTo>
                  <a:pt x="2842" y="393"/>
                </a:lnTo>
                <a:lnTo>
                  <a:pt x="2841" y="385"/>
                </a:lnTo>
                <a:lnTo>
                  <a:pt x="2839" y="375"/>
                </a:lnTo>
                <a:lnTo>
                  <a:pt x="2836" y="368"/>
                </a:lnTo>
                <a:lnTo>
                  <a:pt x="2833" y="364"/>
                </a:lnTo>
                <a:lnTo>
                  <a:pt x="2828" y="361"/>
                </a:lnTo>
                <a:lnTo>
                  <a:pt x="2821" y="359"/>
                </a:lnTo>
                <a:lnTo>
                  <a:pt x="2817" y="358"/>
                </a:lnTo>
                <a:lnTo>
                  <a:pt x="2814" y="355"/>
                </a:lnTo>
                <a:lnTo>
                  <a:pt x="2813" y="352"/>
                </a:lnTo>
                <a:lnTo>
                  <a:pt x="2810" y="347"/>
                </a:lnTo>
                <a:lnTo>
                  <a:pt x="2809" y="342"/>
                </a:lnTo>
                <a:lnTo>
                  <a:pt x="2809" y="336"/>
                </a:lnTo>
                <a:lnTo>
                  <a:pt x="2810" y="330"/>
                </a:lnTo>
                <a:lnTo>
                  <a:pt x="2811" y="324"/>
                </a:lnTo>
                <a:lnTo>
                  <a:pt x="2815" y="312"/>
                </a:lnTo>
                <a:lnTo>
                  <a:pt x="2819" y="303"/>
                </a:lnTo>
                <a:lnTo>
                  <a:pt x="2820" y="296"/>
                </a:lnTo>
                <a:lnTo>
                  <a:pt x="2819" y="290"/>
                </a:lnTo>
                <a:lnTo>
                  <a:pt x="2817" y="289"/>
                </a:lnTo>
                <a:lnTo>
                  <a:pt x="2815" y="287"/>
                </a:lnTo>
                <a:lnTo>
                  <a:pt x="2811" y="287"/>
                </a:lnTo>
                <a:lnTo>
                  <a:pt x="2807" y="289"/>
                </a:lnTo>
                <a:lnTo>
                  <a:pt x="2797" y="291"/>
                </a:lnTo>
                <a:lnTo>
                  <a:pt x="2785" y="293"/>
                </a:lnTo>
                <a:lnTo>
                  <a:pt x="2773" y="297"/>
                </a:lnTo>
                <a:lnTo>
                  <a:pt x="2762" y="301"/>
                </a:lnTo>
                <a:lnTo>
                  <a:pt x="2750" y="305"/>
                </a:lnTo>
                <a:lnTo>
                  <a:pt x="2739" y="311"/>
                </a:lnTo>
                <a:lnTo>
                  <a:pt x="2732" y="316"/>
                </a:lnTo>
                <a:lnTo>
                  <a:pt x="2726" y="320"/>
                </a:lnTo>
                <a:lnTo>
                  <a:pt x="2721" y="321"/>
                </a:lnTo>
                <a:lnTo>
                  <a:pt x="2715" y="322"/>
                </a:lnTo>
                <a:lnTo>
                  <a:pt x="2710" y="322"/>
                </a:lnTo>
                <a:lnTo>
                  <a:pt x="2708" y="321"/>
                </a:lnTo>
                <a:lnTo>
                  <a:pt x="2706" y="318"/>
                </a:lnTo>
                <a:lnTo>
                  <a:pt x="2703" y="315"/>
                </a:lnTo>
                <a:lnTo>
                  <a:pt x="2701" y="308"/>
                </a:lnTo>
                <a:lnTo>
                  <a:pt x="2697" y="298"/>
                </a:lnTo>
                <a:lnTo>
                  <a:pt x="2695" y="289"/>
                </a:lnTo>
                <a:lnTo>
                  <a:pt x="2690" y="280"/>
                </a:lnTo>
                <a:lnTo>
                  <a:pt x="2683" y="272"/>
                </a:lnTo>
                <a:lnTo>
                  <a:pt x="2674" y="265"/>
                </a:lnTo>
                <a:lnTo>
                  <a:pt x="2663" y="258"/>
                </a:lnTo>
                <a:lnTo>
                  <a:pt x="2652" y="252"/>
                </a:lnTo>
                <a:lnTo>
                  <a:pt x="2649" y="248"/>
                </a:lnTo>
                <a:lnTo>
                  <a:pt x="2646" y="246"/>
                </a:lnTo>
                <a:lnTo>
                  <a:pt x="2645" y="244"/>
                </a:lnTo>
                <a:lnTo>
                  <a:pt x="2646" y="241"/>
                </a:lnTo>
                <a:lnTo>
                  <a:pt x="2656" y="232"/>
                </a:lnTo>
                <a:lnTo>
                  <a:pt x="2663" y="222"/>
                </a:lnTo>
                <a:lnTo>
                  <a:pt x="2664" y="220"/>
                </a:lnTo>
                <a:lnTo>
                  <a:pt x="2663" y="217"/>
                </a:lnTo>
                <a:lnTo>
                  <a:pt x="2662" y="216"/>
                </a:lnTo>
                <a:lnTo>
                  <a:pt x="2660" y="215"/>
                </a:lnTo>
                <a:lnTo>
                  <a:pt x="2655" y="217"/>
                </a:lnTo>
                <a:lnTo>
                  <a:pt x="2645" y="222"/>
                </a:lnTo>
                <a:lnTo>
                  <a:pt x="2631" y="238"/>
                </a:lnTo>
                <a:lnTo>
                  <a:pt x="2620" y="248"/>
                </a:lnTo>
                <a:lnTo>
                  <a:pt x="2614" y="249"/>
                </a:lnTo>
                <a:lnTo>
                  <a:pt x="2608" y="248"/>
                </a:lnTo>
                <a:lnTo>
                  <a:pt x="2603" y="246"/>
                </a:lnTo>
                <a:lnTo>
                  <a:pt x="2597" y="241"/>
                </a:lnTo>
                <a:lnTo>
                  <a:pt x="2593" y="235"/>
                </a:lnTo>
                <a:lnTo>
                  <a:pt x="2586" y="232"/>
                </a:lnTo>
                <a:lnTo>
                  <a:pt x="2577" y="229"/>
                </a:lnTo>
                <a:lnTo>
                  <a:pt x="2565" y="228"/>
                </a:lnTo>
                <a:lnTo>
                  <a:pt x="2551" y="229"/>
                </a:lnTo>
                <a:lnTo>
                  <a:pt x="2536" y="228"/>
                </a:lnTo>
                <a:lnTo>
                  <a:pt x="2530" y="228"/>
                </a:lnTo>
                <a:lnTo>
                  <a:pt x="2523" y="226"/>
                </a:lnTo>
                <a:lnTo>
                  <a:pt x="2517" y="224"/>
                </a:lnTo>
                <a:lnTo>
                  <a:pt x="2512" y="221"/>
                </a:lnTo>
                <a:lnTo>
                  <a:pt x="2504" y="214"/>
                </a:lnTo>
                <a:lnTo>
                  <a:pt x="2494" y="209"/>
                </a:lnTo>
                <a:lnTo>
                  <a:pt x="2483" y="205"/>
                </a:lnTo>
                <a:lnTo>
                  <a:pt x="2470" y="202"/>
                </a:lnTo>
                <a:lnTo>
                  <a:pt x="2463" y="198"/>
                </a:lnTo>
                <a:lnTo>
                  <a:pt x="2456" y="195"/>
                </a:lnTo>
                <a:lnTo>
                  <a:pt x="2452" y="195"/>
                </a:lnTo>
                <a:lnTo>
                  <a:pt x="2451" y="197"/>
                </a:lnTo>
                <a:lnTo>
                  <a:pt x="2450" y="202"/>
                </a:lnTo>
                <a:lnTo>
                  <a:pt x="2450" y="210"/>
                </a:lnTo>
                <a:lnTo>
                  <a:pt x="2450" y="215"/>
                </a:lnTo>
                <a:lnTo>
                  <a:pt x="2449" y="217"/>
                </a:lnTo>
                <a:lnTo>
                  <a:pt x="2449" y="220"/>
                </a:lnTo>
                <a:lnTo>
                  <a:pt x="2446" y="221"/>
                </a:lnTo>
                <a:lnTo>
                  <a:pt x="2445" y="221"/>
                </a:lnTo>
                <a:lnTo>
                  <a:pt x="2443" y="221"/>
                </a:lnTo>
                <a:lnTo>
                  <a:pt x="2442" y="220"/>
                </a:lnTo>
                <a:lnTo>
                  <a:pt x="2439" y="217"/>
                </a:lnTo>
                <a:lnTo>
                  <a:pt x="2437" y="215"/>
                </a:lnTo>
                <a:lnTo>
                  <a:pt x="2435" y="215"/>
                </a:lnTo>
                <a:lnTo>
                  <a:pt x="2431" y="215"/>
                </a:lnTo>
                <a:lnTo>
                  <a:pt x="2427" y="216"/>
                </a:lnTo>
                <a:lnTo>
                  <a:pt x="2424" y="219"/>
                </a:lnTo>
                <a:lnTo>
                  <a:pt x="2420" y="222"/>
                </a:lnTo>
                <a:lnTo>
                  <a:pt x="2417" y="227"/>
                </a:lnTo>
                <a:lnTo>
                  <a:pt x="2413" y="233"/>
                </a:lnTo>
                <a:lnTo>
                  <a:pt x="2407" y="248"/>
                </a:lnTo>
                <a:lnTo>
                  <a:pt x="2402" y="265"/>
                </a:lnTo>
                <a:lnTo>
                  <a:pt x="2399" y="279"/>
                </a:lnTo>
                <a:lnTo>
                  <a:pt x="2397" y="287"/>
                </a:lnTo>
                <a:lnTo>
                  <a:pt x="2404" y="298"/>
                </a:lnTo>
                <a:lnTo>
                  <a:pt x="2407" y="308"/>
                </a:lnTo>
                <a:lnTo>
                  <a:pt x="2404" y="314"/>
                </a:lnTo>
                <a:lnTo>
                  <a:pt x="2402" y="320"/>
                </a:lnTo>
                <a:lnTo>
                  <a:pt x="2402" y="322"/>
                </a:lnTo>
                <a:lnTo>
                  <a:pt x="2404" y="324"/>
                </a:lnTo>
                <a:lnTo>
                  <a:pt x="2406" y="327"/>
                </a:lnTo>
                <a:lnTo>
                  <a:pt x="2411" y="329"/>
                </a:lnTo>
                <a:lnTo>
                  <a:pt x="2416" y="331"/>
                </a:lnTo>
                <a:lnTo>
                  <a:pt x="2420" y="335"/>
                </a:lnTo>
                <a:lnTo>
                  <a:pt x="2424" y="337"/>
                </a:lnTo>
                <a:lnTo>
                  <a:pt x="2426" y="341"/>
                </a:lnTo>
                <a:lnTo>
                  <a:pt x="2429" y="345"/>
                </a:lnTo>
                <a:lnTo>
                  <a:pt x="2430" y="348"/>
                </a:lnTo>
                <a:lnTo>
                  <a:pt x="2431" y="352"/>
                </a:lnTo>
                <a:lnTo>
                  <a:pt x="2431" y="355"/>
                </a:lnTo>
                <a:lnTo>
                  <a:pt x="2430" y="358"/>
                </a:lnTo>
                <a:lnTo>
                  <a:pt x="2429" y="360"/>
                </a:lnTo>
                <a:lnTo>
                  <a:pt x="2426" y="362"/>
                </a:lnTo>
                <a:lnTo>
                  <a:pt x="2424" y="364"/>
                </a:lnTo>
                <a:lnTo>
                  <a:pt x="2417" y="366"/>
                </a:lnTo>
                <a:lnTo>
                  <a:pt x="2408" y="366"/>
                </a:lnTo>
                <a:lnTo>
                  <a:pt x="2400" y="366"/>
                </a:lnTo>
                <a:lnTo>
                  <a:pt x="2393" y="365"/>
                </a:lnTo>
                <a:lnTo>
                  <a:pt x="2386" y="361"/>
                </a:lnTo>
                <a:lnTo>
                  <a:pt x="2380" y="356"/>
                </a:lnTo>
                <a:lnTo>
                  <a:pt x="2373" y="350"/>
                </a:lnTo>
                <a:lnTo>
                  <a:pt x="2363" y="345"/>
                </a:lnTo>
                <a:lnTo>
                  <a:pt x="2355" y="340"/>
                </a:lnTo>
                <a:lnTo>
                  <a:pt x="2348" y="337"/>
                </a:lnTo>
                <a:lnTo>
                  <a:pt x="2342" y="335"/>
                </a:lnTo>
                <a:lnTo>
                  <a:pt x="2335" y="328"/>
                </a:lnTo>
                <a:lnTo>
                  <a:pt x="2328" y="320"/>
                </a:lnTo>
                <a:lnTo>
                  <a:pt x="2320" y="310"/>
                </a:lnTo>
                <a:lnTo>
                  <a:pt x="2313" y="301"/>
                </a:lnTo>
                <a:lnTo>
                  <a:pt x="2305" y="291"/>
                </a:lnTo>
                <a:lnTo>
                  <a:pt x="2297" y="283"/>
                </a:lnTo>
                <a:lnTo>
                  <a:pt x="2288" y="278"/>
                </a:lnTo>
                <a:lnTo>
                  <a:pt x="2280" y="276"/>
                </a:lnTo>
                <a:lnTo>
                  <a:pt x="2269" y="274"/>
                </a:lnTo>
                <a:lnTo>
                  <a:pt x="2265" y="276"/>
                </a:lnTo>
                <a:lnTo>
                  <a:pt x="2260" y="277"/>
                </a:lnTo>
                <a:lnTo>
                  <a:pt x="2255" y="278"/>
                </a:lnTo>
                <a:lnTo>
                  <a:pt x="2252" y="282"/>
                </a:lnTo>
                <a:lnTo>
                  <a:pt x="2246" y="287"/>
                </a:lnTo>
                <a:lnTo>
                  <a:pt x="2241" y="291"/>
                </a:lnTo>
                <a:lnTo>
                  <a:pt x="2236" y="293"/>
                </a:lnTo>
                <a:lnTo>
                  <a:pt x="2229" y="293"/>
                </a:lnTo>
                <a:lnTo>
                  <a:pt x="2222" y="293"/>
                </a:lnTo>
                <a:lnTo>
                  <a:pt x="2215" y="293"/>
                </a:lnTo>
                <a:lnTo>
                  <a:pt x="2209" y="296"/>
                </a:lnTo>
                <a:lnTo>
                  <a:pt x="2203" y="302"/>
                </a:lnTo>
                <a:lnTo>
                  <a:pt x="2194" y="310"/>
                </a:lnTo>
                <a:lnTo>
                  <a:pt x="2186" y="318"/>
                </a:lnTo>
                <a:lnTo>
                  <a:pt x="2181" y="322"/>
                </a:lnTo>
                <a:lnTo>
                  <a:pt x="2177" y="324"/>
                </a:lnTo>
                <a:lnTo>
                  <a:pt x="2171" y="326"/>
                </a:lnTo>
                <a:lnTo>
                  <a:pt x="2164" y="327"/>
                </a:lnTo>
                <a:lnTo>
                  <a:pt x="2150" y="327"/>
                </a:lnTo>
                <a:lnTo>
                  <a:pt x="2136" y="327"/>
                </a:lnTo>
                <a:lnTo>
                  <a:pt x="2123" y="327"/>
                </a:lnTo>
                <a:lnTo>
                  <a:pt x="2111" y="327"/>
                </a:lnTo>
                <a:lnTo>
                  <a:pt x="2105" y="328"/>
                </a:lnTo>
                <a:lnTo>
                  <a:pt x="2099" y="329"/>
                </a:lnTo>
                <a:lnTo>
                  <a:pt x="2095" y="331"/>
                </a:lnTo>
                <a:lnTo>
                  <a:pt x="2090" y="334"/>
                </a:lnTo>
                <a:lnTo>
                  <a:pt x="2086" y="337"/>
                </a:lnTo>
                <a:lnTo>
                  <a:pt x="2083" y="341"/>
                </a:lnTo>
                <a:lnTo>
                  <a:pt x="2079" y="346"/>
                </a:lnTo>
                <a:lnTo>
                  <a:pt x="2077" y="350"/>
                </a:lnTo>
                <a:lnTo>
                  <a:pt x="2073" y="359"/>
                </a:lnTo>
                <a:lnTo>
                  <a:pt x="2071" y="366"/>
                </a:lnTo>
                <a:lnTo>
                  <a:pt x="2070" y="371"/>
                </a:lnTo>
                <a:lnTo>
                  <a:pt x="2066" y="374"/>
                </a:lnTo>
                <a:lnTo>
                  <a:pt x="2064" y="375"/>
                </a:lnTo>
                <a:lnTo>
                  <a:pt x="2060" y="374"/>
                </a:lnTo>
                <a:lnTo>
                  <a:pt x="2057" y="373"/>
                </a:lnTo>
                <a:lnTo>
                  <a:pt x="2053" y="372"/>
                </a:lnTo>
                <a:lnTo>
                  <a:pt x="2045" y="367"/>
                </a:lnTo>
                <a:lnTo>
                  <a:pt x="2036" y="364"/>
                </a:lnTo>
                <a:lnTo>
                  <a:pt x="2028" y="361"/>
                </a:lnTo>
                <a:lnTo>
                  <a:pt x="2021" y="361"/>
                </a:lnTo>
                <a:lnTo>
                  <a:pt x="2019" y="362"/>
                </a:lnTo>
                <a:lnTo>
                  <a:pt x="2015" y="364"/>
                </a:lnTo>
                <a:lnTo>
                  <a:pt x="2014" y="366"/>
                </a:lnTo>
                <a:lnTo>
                  <a:pt x="2011" y="369"/>
                </a:lnTo>
                <a:lnTo>
                  <a:pt x="2008" y="381"/>
                </a:lnTo>
                <a:lnTo>
                  <a:pt x="2004" y="389"/>
                </a:lnTo>
                <a:lnTo>
                  <a:pt x="2001" y="391"/>
                </a:lnTo>
                <a:lnTo>
                  <a:pt x="1996" y="391"/>
                </a:lnTo>
                <a:lnTo>
                  <a:pt x="1992" y="390"/>
                </a:lnTo>
                <a:lnTo>
                  <a:pt x="1988" y="385"/>
                </a:lnTo>
                <a:lnTo>
                  <a:pt x="1985" y="383"/>
                </a:lnTo>
                <a:lnTo>
                  <a:pt x="1983" y="381"/>
                </a:lnTo>
                <a:lnTo>
                  <a:pt x="1979" y="381"/>
                </a:lnTo>
                <a:lnTo>
                  <a:pt x="1976" y="383"/>
                </a:lnTo>
                <a:lnTo>
                  <a:pt x="1967" y="385"/>
                </a:lnTo>
                <a:lnTo>
                  <a:pt x="1959" y="390"/>
                </a:lnTo>
                <a:lnTo>
                  <a:pt x="1948" y="394"/>
                </a:lnTo>
                <a:lnTo>
                  <a:pt x="1935" y="400"/>
                </a:lnTo>
                <a:lnTo>
                  <a:pt x="1922" y="406"/>
                </a:lnTo>
                <a:lnTo>
                  <a:pt x="1910" y="412"/>
                </a:lnTo>
                <a:lnTo>
                  <a:pt x="1904" y="415"/>
                </a:lnTo>
                <a:lnTo>
                  <a:pt x="1900" y="417"/>
                </a:lnTo>
                <a:lnTo>
                  <a:pt x="1895" y="417"/>
                </a:lnTo>
                <a:lnTo>
                  <a:pt x="1890" y="417"/>
                </a:lnTo>
                <a:lnTo>
                  <a:pt x="1887" y="416"/>
                </a:lnTo>
                <a:lnTo>
                  <a:pt x="1883" y="415"/>
                </a:lnTo>
                <a:lnTo>
                  <a:pt x="1881" y="412"/>
                </a:lnTo>
                <a:lnTo>
                  <a:pt x="1879" y="409"/>
                </a:lnTo>
                <a:lnTo>
                  <a:pt x="1877" y="402"/>
                </a:lnTo>
                <a:lnTo>
                  <a:pt x="1872" y="392"/>
                </a:lnTo>
                <a:lnTo>
                  <a:pt x="1870" y="387"/>
                </a:lnTo>
                <a:lnTo>
                  <a:pt x="1866" y="384"/>
                </a:lnTo>
                <a:lnTo>
                  <a:pt x="1863" y="381"/>
                </a:lnTo>
                <a:lnTo>
                  <a:pt x="1859" y="379"/>
                </a:lnTo>
                <a:lnTo>
                  <a:pt x="1850" y="378"/>
                </a:lnTo>
                <a:lnTo>
                  <a:pt x="1843" y="377"/>
                </a:lnTo>
                <a:lnTo>
                  <a:pt x="1839" y="377"/>
                </a:lnTo>
                <a:lnTo>
                  <a:pt x="1835" y="375"/>
                </a:lnTo>
                <a:lnTo>
                  <a:pt x="1833" y="373"/>
                </a:lnTo>
                <a:lnTo>
                  <a:pt x="1831" y="369"/>
                </a:lnTo>
                <a:lnTo>
                  <a:pt x="1827" y="364"/>
                </a:lnTo>
                <a:lnTo>
                  <a:pt x="1822" y="359"/>
                </a:lnTo>
                <a:lnTo>
                  <a:pt x="1818" y="356"/>
                </a:lnTo>
                <a:lnTo>
                  <a:pt x="1811" y="354"/>
                </a:lnTo>
                <a:lnTo>
                  <a:pt x="1805" y="353"/>
                </a:lnTo>
                <a:lnTo>
                  <a:pt x="1800" y="350"/>
                </a:lnTo>
                <a:lnTo>
                  <a:pt x="1797" y="348"/>
                </a:lnTo>
                <a:lnTo>
                  <a:pt x="1797" y="346"/>
                </a:lnTo>
                <a:lnTo>
                  <a:pt x="1797" y="343"/>
                </a:lnTo>
                <a:lnTo>
                  <a:pt x="1799" y="340"/>
                </a:lnTo>
                <a:lnTo>
                  <a:pt x="1801" y="336"/>
                </a:lnTo>
                <a:lnTo>
                  <a:pt x="1806" y="334"/>
                </a:lnTo>
                <a:lnTo>
                  <a:pt x="1811" y="331"/>
                </a:lnTo>
                <a:lnTo>
                  <a:pt x="1816" y="329"/>
                </a:lnTo>
                <a:lnTo>
                  <a:pt x="1830" y="324"/>
                </a:lnTo>
                <a:lnTo>
                  <a:pt x="1840" y="318"/>
                </a:lnTo>
                <a:lnTo>
                  <a:pt x="1849" y="309"/>
                </a:lnTo>
                <a:lnTo>
                  <a:pt x="1858" y="297"/>
                </a:lnTo>
                <a:lnTo>
                  <a:pt x="1865" y="285"/>
                </a:lnTo>
                <a:lnTo>
                  <a:pt x="1870" y="276"/>
                </a:lnTo>
                <a:lnTo>
                  <a:pt x="1871" y="266"/>
                </a:lnTo>
                <a:lnTo>
                  <a:pt x="1872" y="258"/>
                </a:lnTo>
                <a:lnTo>
                  <a:pt x="1871" y="248"/>
                </a:lnTo>
                <a:lnTo>
                  <a:pt x="1871" y="240"/>
                </a:lnTo>
                <a:lnTo>
                  <a:pt x="1870" y="233"/>
                </a:lnTo>
                <a:lnTo>
                  <a:pt x="1871" y="226"/>
                </a:lnTo>
                <a:lnTo>
                  <a:pt x="1874" y="221"/>
                </a:lnTo>
                <a:lnTo>
                  <a:pt x="1876" y="216"/>
                </a:lnTo>
                <a:lnTo>
                  <a:pt x="1881" y="211"/>
                </a:lnTo>
                <a:lnTo>
                  <a:pt x="1888" y="204"/>
                </a:lnTo>
                <a:lnTo>
                  <a:pt x="1901" y="191"/>
                </a:lnTo>
                <a:lnTo>
                  <a:pt x="1914" y="182"/>
                </a:lnTo>
                <a:lnTo>
                  <a:pt x="1926" y="173"/>
                </a:lnTo>
                <a:lnTo>
                  <a:pt x="1939" y="167"/>
                </a:lnTo>
                <a:lnTo>
                  <a:pt x="1953" y="161"/>
                </a:lnTo>
                <a:lnTo>
                  <a:pt x="1965" y="156"/>
                </a:lnTo>
                <a:lnTo>
                  <a:pt x="1977" y="148"/>
                </a:lnTo>
                <a:lnTo>
                  <a:pt x="1988" y="139"/>
                </a:lnTo>
                <a:lnTo>
                  <a:pt x="1991" y="134"/>
                </a:lnTo>
                <a:lnTo>
                  <a:pt x="1994" y="131"/>
                </a:lnTo>
                <a:lnTo>
                  <a:pt x="1995" y="127"/>
                </a:lnTo>
                <a:lnTo>
                  <a:pt x="1995" y="123"/>
                </a:lnTo>
                <a:lnTo>
                  <a:pt x="1994" y="121"/>
                </a:lnTo>
                <a:lnTo>
                  <a:pt x="1991" y="119"/>
                </a:lnTo>
                <a:lnTo>
                  <a:pt x="1989" y="118"/>
                </a:lnTo>
                <a:lnTo>
                  <a:pt x="1986" y="116"/>
                </a:lnTo>
                <a:lnTo>
                  <a:pt x="1984" y="115"/>
                </a:lnTo>
                <a:lnTo>
                  <a:pt x="1983" y="114"/>
                </a:lnTo>
                <a:lnTo>
                  <a:pt x="1982" y="112"/>
                </a:lnTo>
                <a:lnTo>
                  <a:pt x="1983" y="109"/>
                </a:lnTo>
                <a:lnTo>
                  <a:pt x="1985" y="103"/>
                </a:lnTo>
                <a:lnTo>
                  <a:pt x="1990" y="95"/>
                </a:lnTo>
                <a:lnTo>
                  <a:pt x="1992" y="90"/>
                </a:lnTo>
                <a:lnTo>
                  <a:pt x="1995" y="85"/>
                </a:lnTo>
                <a:lnTo>
                  <a:pt x="1996" y="81"/>
                </a:lnTo>
                <a:lnTo>
                  <a:pt x="1996" y="76"/>
                </a:lnTo>
                <a:lnTo>
                  <a:pt x="1996" y="71"/>
                </a:lnTo>
                <a:lnTo>
                  <a:pt x="1995" y="68"/>
                </a:lnTo>
                <a:lnTo>
                  <a:pt x="1992" y="64"/>
                </a:lnTo>
                <a:lnTo>
                  <a:pt x="1989" y="60"/>
                </a:lnTo>
                <a:lnTo>
                  <a:pt x="1978" y="55"/>
                </a:lnTo>
                <a:lnTo>
                  <a:pt x="1967" y="47"/>
                </a:lnTo>
                <a:lnTo>
                  <a:pt x="1956" y="40"/>
                </a:lnTo>
                <a:lnTo>
                  <a:pt x="1946" y="32"/>
                </a:lnTo>
                <a:lnTo>
                  <a:pt x="1937" y="25"/>
                </a:lnTo>
                <a:lnTo>
                  <a:pt x="1928" y="19"/>
                </a:lnTo>
                <a:lnTo>
                  <a:pt x="1923" y="16"/>
                </a:lnTo>
                <a:lnTo>
                  <a:pt x="1919" y="15"/>
                </a:lnTo>
                <a:lnTo>
                  <a:pt x="1915" y="14"/>
                </a:lnTo>
                <a:lnTo>
                  <a:pt x="1910" y="14"/>
                </a:lnTo>
                <a:lnTo>
                  <a:pt x="1906" y="14"/>
                </a:lnTo>
                <a:lnTo>
                  <a:pt x="1901" y="16"/>
                </a:lnTo>
                <a:lnTo>
                  <a:pt x="1897" y="19"/>
                </a:lnTo>
                <a:lnTo>
                  <a:pt x="1893" y="22"/>
                </a:lnTo>
                <a:lnTo>
                  <a:pt x="1884" y="31"/>
                </a:lnTo>
                <a:lnTo>
                  <a:pt x="1878" y="39"/>
                </a:lnTo>
                <a:lnTo>
                  <a:pt x="1871" y="47"/>
                </a:lnTo>
                <a:lnTo>
                  <a:pt x="1864" y="56"/>
                </a:lnTo>
                <a:lnTo>
                  <a:pt x="1854" y="62"/>
                </a:lnTo>
                <a:lnTo>
                  <a:pt x="1845" y="66"/>
                </a:lnTo>
                <a:lnTo>
                  <a:pt x="1835" y="69"/>
                </a:lnTo>
                <a:lnTo>
                  <a:pt x="1825" y="70"/>
                </a:lnTo>
                <a:lnTo>
                  <a:pt x="1813" y="70"/>
                </a:lnTo>
                <a:lnTo>
                  <a:pt x="1802" y="68"/>
                </a:lnTo>
                <a:lnTo>
                  <a:pt x="1791" y="66"/>
                </a:lnTo>
                <a:lnTo>
                  <a:pt x="1782" y="64"/>
                </a:lnTo>
                <a:lnTo>
                  <a:pt x="1777" y="64"/>
                </a:lnTo>
                <a:lnTo>
                  <a:pt x="1771" y="65"/>
                </a:lnTo>
                <a:lnTo>
                  <a:pt x="1765" y="66"/>
                </a:lnTo>
                <a:lnTo>
                  <a:pt x="1759" y="69"/>
                </a:lnTo>
                <a:lnTo>
                  <a:pt x="1749" y="76"/>
                </a:lnTo>
                <a:lnTo>
                  <a:pt x="1740" y="81"/>
                </a:lnTo>
                <a:lnTo>
                  <a:pt x="1734" y="84"/>
                </a:lnTo>
                <a:lnTo>
                  <a:pt x="1728" y="85"/>
                </a:lnTo>
                <a:lnTo>
                  <a:pt x="1726" y="84"/>
                </a:lnTo>
                <a:lnTo>
                  <a:pt x="1725" y="81"/>
                </a:lnTo>
                <a:lnTo>
                  <a:pt x="1725" y="76"/>
                </a:lnTo>
                <a:lnTo>
                  <a:pt x="1725" y="71"/>
                </a:lnTo>
                <a:lnTo>
                  <a:pt x="1726" y="58"/>
                </a:lnTo>
                <a:lnTo>
                  <a:pt x="1725" y="47"/>
                </a:lnTo>
                <a:lnTo>
                  <a:pt x="1720" y="38"/>
                </a:lnTo>
                <a:lnTo>
                  <a:pt x="1713" y="28"/>
                </a:lnTo>
                <a:lnTo>
                  <a:pt x="1706" y="20"/>
                </a:lnTo>
                <a:lnTo>
                  <a:pt x="1700" y="14"/>
                </a:lnTo>
                <a:lnTo>
                  <a:pt x="1696" y="12"/>
                </a:lnTo>
                <a:lnTo>
                  <a:pt x="1693" y="9"/>
                </a:lnTo>
                <a:lnTo>
                  <a:pt x="1688" y="7"/>
                </a:lnTo>
                <a:lnTo>
                  <a:pt x="1684" y="7"/>
                </a:lnTo>
                <a:lnTo>
                  <a:pt x="1681" y="8"/>
                </a:lnTo>
                <a:lnTo>
                  <a:pt x="1677" y="11"/>
                </a:lnTo>
                <a:lnTo>
                  <a:pt x="1674" y="13"/>
                </a:lnTo>
                <a:lnTo>
                  <a:pt x="1669" y="18"/>
                </a:lnTo>
                <a:lnTo>
                  <a:pt x="1665" y="25"/>
                </a:lnTo>
                <a:lnTo>
                  <a:pt x="1664" y="33"/>
                </a:lnTo>
                <a:lnTo>
                  <a:pt x="1662" y="44"/>
                </a:lnTo>
                <a:lnTo>
                  <a:pt x="1657" y="57"/>
                </a:lnTo>
                <a:lnTo>
                  <a:pt x="1654" y="63"/>
                </a:lnTo>
                <a:lnTo>
                  <a:pt x="1649" y="68"/>
                </a:lnTo>
                <a:lnTo>
                  <a:pt x="1643" y="70"/>
                </a:lnTo>
                <a:lnTo>
                  <a:pt x="1637" y="72"/>
                </a:lnTo>
                <a:lnTo>
                  <a:pt x="1630" y="72"/>
                </a:lnTo>
                <a:lnTo>
                  <a:pt x="1624" y="72"/>
                </a:lnTo>
                <a:lnTo>
                  <a:pt x="1619" y="70"/>
                </a:lnTo>
                <a:lnTo>
                  <a:pt x="1614" y="68"/>
                </a:lnTo>
                <a:lnTo>
                  <a:pt x="1610" y="65"/>
                </a:lnTo>
                <a:lnTo>
                  <a:pt x="1606" y="64"/>
                </a:lnTo>
                <a:lnTo>
                  <a:pt x="1600" y="64"/>
                </a:lnTo>
                <a:lnTo>
                  <a:pt x="1595" y="65"/>
                </a:lnTo>
                <a:lnTo>
                  <a:pt x="1586" y="69"/>
                </a:lnTo>
                <a:lnTo>
                  <a:pt x="1579" y="74"/>
                </a:lnTo>
                <a:lnTo>
                  <a:pt x="1574" y="75"/>
                </a:lnTo>
                <a:lnTo>
                  <a:pt x="1570" y="76"/>
                </a:lnTo>
                <a:lnTo>
                  <a:pt x="1566" y="77"/>
                </a:lnTo>
                <a:lnTo>
                  <a:pt x="1561" y="77"/>
                </a:lnTo>
                <a:lnTo>
                  <a:pt x="1556" y="76"/>
                </a:lnTo>
                <a:lnTo>
                  <a:pt x="1551" y="74"/>
                </a:lnTo>
                <a:lnTo>
                  <a:pt x="1548" y="71"/>
                </a:lnTo>
                <a:lnTo>
                  <a:pt x="1545" y="69"/>
                </a:lnTo>
                <a:lnTo>
                  <a:pt x="1542" y="66"/>
                </a:lnTo>
                <a:lnTo>
                  <a:pt x="1539" y="64"/>
                </a:lnTo>
                <a:lnTo>
                  <a:pt x="1537" y="63"/>
                </a:lnTo>
                <a:lnTo>
                  <a:pt x="1534" y="62"/>
                </a:lnTo>
                <a:lnTo>
                  <a:pt x="1524" y="62"/>
                </a:lnTo>
                <a:lnTo>
                  <a:pt x="1511" y="63"/>
                </a:lnTo>
                <a:lnTo>
                  <a:pt x="1504" y="63"/>
                </a:lnTo>
                <a:lnTo>
                  <a:pt x="1497" y="63"/>
                </a:lnTo>
                <a:lnTo>
                  <a:pt x="1492" y="62"/>
                </a:lnTo>
                <a:lnTo>
                  <a:pt x="1487" y="60"/>
                </a:lnTo>
                <a:lnTo>
                  <a:pt x="1478" y="56"/>
                </a:lnTo>
                <a:lnTo>
                  <a:pt x="1469" y="50"/>
                </a:lnTo>
                <a:lnTo>
                  <a:pt x="1460" y="43"/>
                </a:lnTo>
                <a:lnTo>
                  <a:pt x="1450" y="34"/>
                </a:lnTo>
                <a:lnTo>
                  <a:pt x="1447" y="30"/>
                </a:lnTo>
                <a:lnTo>
                  <a:pt x="1443" y="25"/>
                </a:lnTo>
                <a:lnTo>
                  <a:pt x="1441" y="19"/>
                </a:lnTo>
                <a:lnTo>
                  <a:pt x="1438" y="13"/>
                </a:lnTo>
                <a:lnTo>
                  <a:pt x="1436" y="8"/>
                </a:lnTo>
                <a:lnTo>
                  <a:pt x="1432" y="3"/>
                </a:lnTo>
                <a:lnTo>
                  <a:pt x="1429" y="1"/>
                </a:lnTo>
                <a:lnTo>
                  <a:pt x="1425" y="0"/>
                </a:lnTo>
                <a:lnTo>
                  <a:pt x="1415" y="0"/>
                </a:lnTo>
                <a:lnTo>
                  <a:pt x="1404" y="1"/>
                </a:lnTo>
                <a:lnTo>
                  <a:pt x="1393" y="2"/>
                </a:lnTo>
                <a:lnTo>
                  <a:pt x="1385" y="6"/>
                </a:lnTo>
                <a:lnTo>
                  <a:pt x="1377" y="9"/>
                </a:lnTo>
                <a:lnTo>
                  <a:pt x="1372" y="15"/>
                </a:lnTo>
                <a:lnTo>
                  <a:pt x="1366" y="24"/>
                </a:lnTo>
                <a:lnTo>
                  <a:pt x="1361" y="34"/>
                </a:lnTo>
                <a:lnTo>
                  <a:pt x="1355" y="47"/>
                </a:lnTo>
                <a:lnTo>
                  <a:pt x="1352" y="57"/>
                </a:lnTo>
                <a:lnTo>
                  <a:pt x="1349" y="60"/>
                </a:lnTo>
                <a:lnTo>
                  <a:pt x="1346" y="64"/>
                </a:lnTo>
                <a:lnTo>
                  <a:pt x="1342" y="65"/>
                </a:lnTo>
                <a:lnTo>
                  <a:pt x="1337" y="66"/>
                </a:lnTo>
                <a:lnTo>
                  <a:pt x="1328" y="68"/>
                </a:lnTo>
                <a:lnTo>
                  <a:pt x="1320" y="69"/>
                </a:lnTo>
                <a:lnTo>
                  <a:pt x="1302" y="81"/>
                </a:lnTo>
                <a:lnTo>
                  <a:pt x="1286" y="88"/>
                </a:lnTo>
                <a:lnTo>
                  <a:pt x="1279" y="87"/>
                </a:lnTo>
                <a:lnTo>
                  <a:pt x="1272" y="87"/>
                </a:lnTo>
                <a:lnTo>
                  <a:pt x="1268" y="87"/>
                </a:lnTo>
                <a:lnTo>
                  <a:pt x="1266" y="89"/>
                </a:lnTo>
                <a:lnTo>
                  <a:pt x="1264" y="91"/>
                </a:lnTo>
                <a:lnTo>
                  <a:pt x="1261" y="94"/>
                </a:lnTo>
                <a:lnTo>
                  <a:pt x="1261" y="97"/>
                </a:lnTo>
                <a:lnTo>
                  <a:pt x="1260" y="101"/>
                </a:lnTo>
                <a:lnTo>
                  <a:pt x="1261" y="106"/>
                </a:lnTo>
                <a:lnTo>
                  <a:pt x="1262" y="109"/>
                </a:lnTo>
                <a:lnTo>
                  <a:pt x="1265" y="113"/>
                </a:lnTo>
                <a:lnTo>
                  <a:pt x="1268" y="116"/>
                </a:lnTo>
                <a:lnTo>
                  <a:pt x="1273" y="120"/>
                </a:lnTo>
                <a:lnTo>
                  <a:pt x="1279" y="122"/>
                </a:lnTo>
                <a:lnTo>
                  <a:pt x="1286" y="123"/>
                </a:lnTo>
                <a:lnTo>
                  <a:pt x="1293" y="123"/>
                </a:lnTo>
                <a:lnTo>
                  <a:pt x="1301" y="123"/>
                </a:lnTo>
                <a:lnTo>
                  <a:pt x="1308" y="122"/>
                </a:lnTo>
                <a:lnTo>
                  <a:pt x="1315" y="121"/>
                </a:lnTo>
                <a:lnTo>
                  <a:pt x="1320" y="121"/>
                </a:lnTo>
                <a:lnTo>
                  <a:pt x="1324" y="121"/>
                </a:lnTo>
                <a:lnTo>
                  <a:pt x="1328" y="123"/>
                </a:lnTo>
                <a:lnTo>
                  <a:pt x="1330" y="127"/>
                </a:lnTo>
                <a:lnTo>
                  <a:pt x="1330" y="131"/>
                </a:lnTo>
                <a:lnTo>
                  <a:pt x="1330" y="133"/>
                </a:lnTo>
                <a:lnTo>
                  <a:pt x="1330" y="137"/>
                </a:lnTo>
                <a:lnTo>
                  <a:pt x="1327" y="141"/>
                </a:lnTo>
                <a:lnTo>
                  <a:pt x="1321" y="148"/>
                </a:lnTo>
                <a:lnTo>
                  <a:pt x="1318" y="153"/>
                </a:lnTo>
                <a:lnTo>
                  <a:pt x="1316" y="159"/>
                </a:lnTo>
                <a:lnTo>
                  <a:pt x="1316" y="166"/>
                </a:lnTo>
                <a:lnTo>
                  <a:pt x="1317" y="176"/>
                </a:lnTo>
                <a:lnTo>
                  <a:pt x="1320" y="194"/>
                </a:lnTo>
                <a:lnTo>
                  <a:pt x="1322" y="209"/>
                </a:lnTo>
                <a:lnTo>
                  <a:pt x="1325" y="222"/>
                </a:lnTo>
                <a:lnTo>
                  <a:pt x="1330" y="235"/>
                </a:lnTo>
                <a:lnTo>
                  <a:pt x="1335" y="247"/>
                </a:lnTo>
                <a:lnTo>
                  <a:pt x="1339" y="257"/>
                </a:lnTo>
                <a:lnTo>
                  <a:pt x="1339" y="261"/>
                </a:lnTo>
                <a:lnTo>
                  <a:pt x="1337" y="266"/>
                </a:lnTo>
                <a:lnTo>
                  <a:pt x="1335" y="268"/>
                </a:lnTo>
                <a:lnTo>
                  <a:pt x="1331" y="271"/>
                </a:lnTo>
                <a:lnTo>
                  <a:pt x="1328" y="272"/>
                </a:lnTo>
                <a:lnTo>
                  <a:pt x="1323" y="272"/>
                </a:lnTo>
                <a:lnTo>
                  <a:pt x="1318" y="271"/>
                </a:lnTo>
                <a:lnTo>
                  <a:pt x="1315" y="267"/>
                </a:lnTo>
                <a:lnTo>
                  <a:pt x="1311" y="264"/>
                </a:lnTo>
                <a:lnTo>
                  <a:pt x="1306" y="261"/>
                </a:lnTo>
                <a:lnTo>
                  <a:pt x="1301" y="261"/>
                </a:lnTo>
                <a:lnTo>
                  <a:pt x="1296" y="263"/>
                </a:lnTo>
                <a:lnTo>
                  <a:pt x="1282" y="266"/>
                </a:lnTo>
                <a:lnTo>
                  <a:pt x="1265" y="272"/>
                </a:lnTo>
                <a:lnTo>
                  <a:pt x="1260" y="273"/>
                </a:lnTo>
                <a:lnTo>
                  <a:pt x="1257" y="274"/>
                </a:lnTo>
                <a:lnTo>
                  <a:pt x="1253" y="274"/>
                </a:lnTo>
                <a:lnTo>
                  <a:pt x="1249" y="273"/>
                </a:lnTo>
                <a:lnTo>
                  <a:pt x="1245" y="270"/>
                </a:lnTo>
                <a:lnTo>
                  <a:pt x="1240" y="265"/>
                </a:lnTo>
                <a:lnTo>
                  <a:pt x="1233" y="252"/>
                </a:lnTo>
                <a:lnTo>
                  <a:pt x="1227" y="239"/>
                </a:lnTo>
                <a:lnTo>
                  <a:pt x="1221" y="228"/>
                </a:lnTo>
                <a:lnTo>
                  <a:pt x="1216" y="217"/>
                </a:lnTo>
                <a:lnTo>
                  <a:pt x="1213" y="205"/>
                </a:lnTo>
                <a:lnTo>
                  <a:pt x="1207" y="192"/>
                </a:lnTo>
                <a:lnTo>
                  <a:pt x="1203" y="186"/>
                </a:lnTo>
                <a:lnTo>
                  <a:pt x="1198" y="182"/>
                </a:lnTo>
                <a:lnTo>
                  <a:pt x="1192" y="178"/>
                </a:lnTo>
                <a:lnTo>
                  <a:pt x="1186" y="176"/>
                </a:lnTo>
                <a:lnTo>
                  <a:pt x="1171" y="173"/>
                </a:lnTo>
                <a:lnTo>
                  <a:pt x="1153" y="172"/>
                </a:lnTo>
                <a:lnTo>
                  <a:pt x="1145" y="164"/>
                </a:lnTo>
                <a:lnTo>
                  <a:pt x="1134" y="153"/>
                </a:lnTo>
                <a:lnTo>
                  <a:pt x="1117" y="163"/>
                </a:lnTo>
                <a:lnTo>
                  <a:pt x="1102" y="172"/>
                </a:lnTo>
                <a:lnTo>
                  <a:pt x="1096" y="161"/>
                </a:lnTo>
                <a:lnTo>
                  <a:pt x="1090" y="152"/>
                </a:lnTo>
                <a:lnTo>
                  <a:pt x="1087" y="152"/>
                </a:lnTo>
                <a:lnTo>
                  <a:pt x="1083" y="153"/>
                </a:lnTo>
                <a:lnTo>
                  <a:pt x="1077" y="156"/>
                </a:lnTo>
                <a:lnTo>
                  <a:pt x="1072" y="158"/>
                </a:lnTo>
                <a:lnTo>
                  <a:pt x="1068" y="161"/>
                </a:lnTo>
                <a:lnTo>
                  <a:pt x="1063" y="164"/>
                </a:lnTo>
                <a:lnTo>
                  <a:pt x="1058" y="165"/>
                </a:lnTo>
                <a:lnTo>
                  <a:pt x="1053" y="166"/>
                </a:lnTo>
                <a:lnTo>
                  <a:pt x="1043" y="163"/>
                </a:lnTo>
                <a:lnTo>
                  <a:pt x="1032" y="158"/>
                </a:lnTo>
                <a:lnTo>
                  <a:pt x="1016" y="156"/>
                </a:lnTo>
                <a:lnTo>
                  <a:pt x="1005" y="156"/>
                </a:lnTo>
                <a:lnTo>
                  <a:pt x="1002" y="156"/>
                </a:lnTo>
                <a:lnTo>
                  <a:pt x="1000" y="157"/>
                </a:lnTo>
                <a:lnTo>
                  <a:pt x="999" y="159"/>
                </a:lnTo>
                <a:lnTo>
                  <a:pt x="997" y="160"/>
                </a:lnTo>
                <a:lnTo>
                  <a:pt x="995" y="166"/>
                </a:lnTo>
                <a:lnTo>
                  <a:pt x="994" y="173"/>
                </a:lnTo>
                <a:lnTo>
                  <a:pt x="993" y="188"/>
                </a:lnTo>
                <a:lnTo>
                  <a:pt x="991" y="200"/>
                </a:lnTo>
                <a:lnTo>
                  <a:pt x="988" y="214"/>
                </a:lnTo>
                <a:lnTo>
                  <a:pt x="986" y="230"/>
                </a:lnTo>
                <a:lnTo>
                  <a:pt x="984" y="239"/>
                </a:lnTo>
                <a:lnTo>
                  <a:pt x="984" y="247"/>
                </a:lnTo>
                <a:lnTo>
                  <a:pt x="986" y="254"/>
                </a:lnTo>
                <a:lnTo>
                  <a:pt x="988" y="260"/>
                </a:lnTo>
                <a:lnTo>
                  <a:pt x="989" y="265"/>
                </a:lnTo>
                <a:lnTo>
                  <a:pt x="990" y="271"/>
                </a:lnTo>
                <a:lnTo>
                  <a:pt x="991" y="276"/>
                </a:lnTo>
                <a:lnTo>
                  <a:pt x="990" y="282"/>
                </a:lnTo>
                <a:lnTo>
                  <a:pt x="989" y="286"/>
                </a:lnTo>
                <a:lnTo>
                  <a:pt x="987" y="291"/>
                </a:lnTo>
                <a:lnTo>
                  <a:pt x="983" y="296"/>
                </a:lnTo>
                <a:lnTo>
                  <a:pt x="980" y="301"/>
                </a:lnTo>
                <a:lnTo>
                  <a:pt x="966" y="311"/>
                </a:lnTo>
                <a:lnTo>
                  <a:pt x="951" y="324"/>
                </a:lnTo>
                <a:lnTo>
                  <a:pt x="944" y="331"/>
                </a:lnTo>
                <a:lnTo>
                  <a:pt x="939" y="336"/>
                </a:lnTo>
                <a:lnTo>
                  <a:pt x="936" y="341"/>
                </a:lnTo>
                <a:lnTo>
                  <a:pt x="933" y="347"/>
                </a:lnTo>
                <a:lnTo>
                  <a:pt x="927" y="352"/>
                </a:lnTo>
                <a:lnTo>
                  <a:pt x="919" y="355"/>
                </a:lnTo>
                <a:lnTo>
                  <a:pt x="914" y="359"/>
                </a:lnTo>
                <a:lnTo>
                  <a:pt x="909" y="364"/>
                </a:lnTo>
                <a:lnTo>
                  <a:pt x="906" y="369"/>
                </a:lnTo>
                <a:lnTo>
                  <a:pt x="903" y="377"/>
                </a:lnTo>
                <a:lnTo>
                  <a:pt x="901" y="392"/>
                </a:lnTo>
                <a:lnTo>
                  <a:pt x="899" y="405"/>
                </a:lnTo>
                <a:lnTo>
                  <a:pt x="899" y="410"/>
                </a:lnTo>
                <a:lnTo>
                  <a:pt x="900" y="413"/>
                </a:lnTo>
                <a:lnTo>
                  <a:pt x="901" y="417"/>
                </a:lnTo>
                <a:lnTo>
                  <a:pt x="905" y="421"/>
                </a:lnTo>
                <a:lnTo>
                  <a:pt x="913" y="424"/>
                </a:lnTo>
                <a:lnTo>
                  <a:pt x="923" y="428"/>
                </a:lnTo>
                <a:lnTo>
                  <a:pt x="927" y="431"/>
                </a:lnTo>
                <a:lnTo>
                  <a:pt x="931" y="435"/>
                </a:lnTo>
                <a:lnTo>
                  <a:pt x="933" y="440"/>
                </a:lnTo>
                <a:lnTo>
                  <a:pt x="936" y="447"/>
                </a:lnTo>
                <a:lnTo>
                  <a:pt x="937" y="460"/>
                </a:lnTo>
                <a:lnTo>
                  <a:pt x="939" y="472"/>
                </a:lnTo>
                <a:lnTo>
                  <a:pt x="943" y="481"/>
                </a:lnTo>
                <a:lnTo>
                  <a:pt x="946" y="492"/>
                </a:lnTo>
                <a:lnTo>
                  <a:pt x="950" y="503"/>
                </a:lnTo>
                <a:lnTo>
                  <a:pt x="952" y="511"/>
                </a:lnTo>
                <a:lnTo>
                  <a:pt x="951" y="515"/>
                </a:lnTo>
                <a:lnTo>
                  <a:pt x="951" y="519"/>
                </a:lnTo>
                <a:lnTo>
                  <a:pt x="949" y="523"/>
                </a:lnTo>
                <a:lnTo>
                  <a:pt x="946" y="529"/>
                </a:lnTo>
                <a:lnTo>
                  <a:pt x="942" y="534"/>
                </a:lnTo>
                <a:lnTo>
                  <a:pt x="937" y="538"/>
                </a:lnTo>
                <a:lnTo>
                  <a:pt x="931" y="543"/>
                </a:lnTo>
                <a:lnTo>
                  <a:pt x="924" y="548"/>
                </a:lnTo>
                <a:lnTo>
                  <a:pt x="909" y="556"/>
                </a:lnTo>
                <a:lnTo>
                  <a:pt x="895" y="564"/>
                </a:lnTo>
                <a:lnTo>
                  <a:pt x="889" y="569"/>
                </a:lnTo>
                <a:lnTo>
                  <a:pt x="886" y="573"/>
                </a:lnTo>
                <a:lnTo>
                  <a:pt x="882" y="577"/>
                </a:lnTo>
                <a:lnTo>
                  <a:pt x="880" y="581"/>
                </a:lnTo>
                <a:lnTo>
                  <a:pt x="879" y="586"/>
                </a:lnTo>
                <a:lnTo>
                  <a:pt x="879" y="591"/>
                </a:lnTo>
                <a:lnTo>
                  <a:pt x="879" y="595"/>
                </a:lnTo>
                <a:lnTo>
                  <a:pt x="880" y="601"/>
                </a:lnTo>
                <a:lnTo>
                  <a:pt x="886" y="614"/>
                </a:lnTo>
                <a:lnTo>
                  <a:pt x="893" y="629"/>
                </a:lnTo>
                <a:lnTo>
                  <a:pt x="901" y="643"/>
                </a:lnTo>
                <a:lnTo>
                  <a:pt x="907" y="652"/>
                </a:lnTo>
                <a:lnTo>
                  <a:pt x="909" y="657"/>
                </a:lnTo>
                <a:lnTo>
                  <a:pt x="911" y="661"/>
                </a:lnTo>
                <a:lnTo>
                  <a:pt x="911" y="665"/>
                </a:lnTo>
                <a:lnTo>
                  <a:pt x="911" y="669"/>
                </a:lnTo>
                <a:lnTo>
                  <a:pt x="909" y="674"/>
                </a:lnTo>
                <a:lnTo>
                  <a:pt x="908" y="677"/>
                </a:lnTo>
                <a:lnTo>
                  <a:pt x="905" y="681"/>
                </a:lnTo>
                <a:lnTo>
                  <a:pt x="901" y="683"/>
                </a:lnTo>
                <a:lnTo>
                  <a:pt x="892" y="688"/>
                </a:lnTo>
                <a:lnTo>
                  <a:pt x="884" y="693"/>
                </a:lnTo>
                <a:lnTo>
                  <a:pt x="881" y="695"/>
                </a:lnTo>
                <a:lnTo>
                  <a:pt x="877" y="699"/>
                </a:lnTo>
                <a:lnTo>
                  <a:pt x="875" y="703"/>
                </a:lnTo>
                <a:lnTo>
                  <a:pt x="873" y="711"/>
                </a:lnTo>
                <a:lnTo>
                  <a:pt x="870" y="723"/>
                </a:lnTo>
                <a:lnTo>
                  <a:pt x="869" y="730"/>
                </a:lnTo>
                <a:lnTo>
                  <a:pt x="869" y="732"/>
                </a:lnTo>
                <a:lnTo>
                  <a:pt x="867" y="734"/>
                </a:lnTo>
                <a:lnTo>
                  <a:pt x="863" y="737"/>
                </a:lnTo>
                <a:lnTo>
                  <a:pt x="858" y="738"/>
                </a:lnTo>
                <a:lnTo>
                  <a:pt x="846" y="740"/>
                </a:lnTo>
                <a:lnTo>
                  <a:pt x="836" y="740"/>
                </a:lnTo>
                <a:lnTo>
                  <a:pt x="824" y="740"/>
                </a:lnTo>
                <a:lnTo>
                  <a:pt x="812" y="740"/>
                </a:lnTo>
                <a:lnTo>
                  <a:pt x="806" y="742"/>
                </a:lnTo>
                <a:lnTo>
                  <a:pt x="801" y="744"/>
                </a:lnTo>
                <a:lnTo>
                  <a:pt x="798" y="746"/>
                </a:lnTo>
                <a:lnTo>
                  <a:pt x="795" y="749"/>
                </a:lnTo>
                <a:lnTo>
                  <a:pt x="793" y="753"/>
                </a:lnTo>
                <a:lnTo>
                  <a:pt x="792" y="757"/>
                </a:lnTo>
                <a:lnTo>
                  <a:pt x="792" y="762"/>
                </a:lnTo>
                <a:lnTo>
                  <a:pt x="793" y="766"/>
                </a:lnTo>
                <a:lnTo>
                  <a:pt x="794" y="778"/>
                </a:lnTo>
                <a:lnTo>
                  <a:pt x="796" y="791"/>
                </a:lnTo>
                <a:lnTo>
                  <a:pt x="796" y="799"/>
                </a:lnTo>
                <a:lnTo>
                  <a:pt x="795" y="805"/>
                </a:lnTo>
                <a:lnTo>
                  <a:pt x="793" y="809"/>
                </a:lnTo>
                <a:lnTo>
                  <a:pt x="789" y="814"/>
                </a:lnTo>
                <a:lnTo>
                  <a:pt x="777" y="819"/>
                </a:lnTo>
                <a:lnTo>
                  <a:pt x="761" y="825"/>
                </a:lnTo>
                <a:lnTo>
                  <a:pt x="754" y="828"/>
                </a:lnTo>
                <a:lnTo>
                  <a:pt x="747" y="832"/>
                </a:lnTo>
                <a:lnTo>
                  <a:pt x="742" y="837"/>
                </a:lnTo>
                <a:lnTo>
                  <a:pt x="738" y="841"/>
                </a:lnTo>
                <a:lnTo>
                  <a:pt x="735" y="853"/>
                </a:lnTo>
                <a:lnTo>
                  <a:pt x="731" y="864"/>
                </a:lnTo>
                <a:lnTo>
                  <a:pt x="730" y="870"/>
                </a:lnTo>
                <a:lnTo>
                  <a:pt x="728" y="875"/>
                </a:lnTo>
                <a:lnTo>
                  <a:pt x="724" y="879"/>
                </a:lnTo>
                <a:lnTo>
                  <a:pt x="720" y="884"/>
                </a:lnTo>
                <a:lnTo>
                  <a:pt x="711" y="892"/>
                </a:lnTo>
                <a:lnTo>
                  <a:pt x="703" y="898"/>
                </a:lnTo>
                <a:lnTo>
                  <a:pt x="700" y="901"/>
                </a:lnTo>
                <a:lnTo>
                  <a:pt x="697" y="906"/>
                </a:lnTo>
                <a:lnTo>
                  <a:pt x="694" y="910"/>
                </a:lnTo>
                <a:lnTo>
                  <a:pt x="693" y="916"/>
                </a:lnTo>
                <a:lnTo>
                  <a:pt x="692" y="933"/>
                </a:lnTo>
                <a:lnTo>
                  <a:pt x="692" y="955"/>
                </a:lnTo>
                <a:lnTo>
                  <a:pt x="692" y="978"/>
                </a:lnTo>
                <a:lnTo>
                  <a:pt x="692" y="996"/>
                </a:lnTo>
                <a:lnTo>
                  <a:pt x="692" y="1010"/>
                </a:lnTo>
                <a:lnTo>
                  <a:pt x="692" y="1022"/>
                </a:lnTo>
                <a:lnTo>
                  <a:pt x="692" y="1033"/>
                </a:lnTo>
                <a:lnTo>
                  <a:pt x="692" y="1043"/>
                </a:lnTo>
                <a:lnTo>
                  <a:pt x="693" y="1053"/>
                </a:lnTo>
                <a:lnTo>
                  <a:pt x="695" y="1059"/>
                </a:lnTo>
                <a:lnTo>
                  <a:pt x="700" y="1062"/>
                </a:lnTo>
                <a:lnTo>
                  <a:pt x="706" y="1067"/>
                </a:lnTo>
                <a:lnTo>
                  <a:pt x="709" y="1070"/>
                </a:lnTo>
                <a:lnTo>
                  <a:pt x="711" y="1073"/>
                </a:lnTo>
                <a:lnTo>
                  <a:pt x="713" y="1077"/>
                </a:lnTo>
                <a:lnTo>
                  <a:pt x="714" y="1081"/>
                </a:lnTo>
                <a:lnTo>
                  <a:pt x="716" y="1086"/>
                </a:lnTo>
                <a:lnTo>
                  <a:pt x="716" y="1091"/>
                </a:lnTo>
                <a:lnTo>
                  <a:pt x="713" y="1096"/>
                </a:lnTo>
                <a:lnTo>
                  <a:pt x="711" y="1100"/>
                </a:lnTo>
                <a:lnTo>
                  <a:pt x="703" y="1114"/>
                </a:lnTo>
                <a:lnTo>
                  <a:pt x="691" y="1131"/>
                </a:lnTo>
                <a:lnTo>
                  <a:pt x="676" y="1152"/>
                </a:lnTo>
                <a:lnTo>
                  <a:pt x="661" y="1171"/>
                </a:lnTo>
                <a:lnTo>
                  <a:pt x="648" y="1186"/>
                </a:lnTo>
                <a:lnTo>
                  <a:pt x="638" y="1197"/>
                </a:lnTo>
                <a:lnTo>
                  <a:pt x="630" y="1205"/>
                </a:lnTo>
                <a:lnTo>
                  <a:pt x="622" y="1210"/>
                </a:lnTo>
                <a:lnTo>
                  <a:pt x="612" y="1212"/>
                </a:lnTo>
                <a:lnTo>
                  <a:pt x="602" y="1213"/>
                </a:lnTo>
                <a:lnTo>
                  <a:pt x="591" y="1215"/>
                </a:lnTo>
                <a:lnTo>
                  <a:pt x="583" y="1215"/>
                </a:lnTo>
                <a:lnTo>
                  <a:pt x="575" y="1216"/>
                </a:lnTo>
                <a:lnTo>
                  <a:pt x="572" y="1218"/>
                </a:lnTo>
                <a:lnTo>
                  <a:pt x="572" y="1219"/>
                </a:lnTo>
                <a:lnTo>
                  <a:pt x="572" y="1222"/>
                </a:lnTo>
                <a:lnTo>
                  <a:pt x="573" y="1225"/>
                </a:lnTo>
                <a:lnTo>
                  <a:pt x="575" y="1229"/>
                </a:lnTo>
                <a:lnTo>
                  <a:pt x="580" y="1236"/>
                </a:lnTo>
                <a:lnTo>
                  <a:pt x="584" y="1243"/>
                </a:lnTo>
                <a:lnTo>
                  <a:pt x="584" y="1245"/>
                </a:lnTo>
                <a:lnTo>
                  <a:pt x="583" y="1248"/>
                </a:lnTo>
                <a:lnTo>
                  <a:pt x="581" y="1250"/>
                </a:lnTo>
                <a:lnTo>
                  <a:pt x="579" y="1251"/>
                </a:lnTo>
                <a:lnTo>
                  <a:pt x="569" y="1253"/>
                </a:lnTo>
                <a:lnTo>
                  <a:pt x="556" y="1254"/>
                </a:lnTo>
                <a:lnTo>
                  <a:pt x="549" y="1254"/>
                </a:lnTo>
                <a:lnTo>
                  <a:pt x="542" y="1255"/>
                </a:lnTo>
                <a:lnTo>
                  <a:pt x="535" y="1257"/>
                </a:lnTo>
                <a:lnTo>
                  <a:pt x="529" y="1261"/>
                </a:lnTo>
                <a:lnTo>
                  <a:pt x="518" y="1268"/>
                </a:lnTo>
                <a:lnTo>
                  <a:pt x="510" y="1274"/>
                </a:lnTo>
                <a:lnTo>
                  <a:pt x="506" y="1278"/>
                </a:lnTo>
                <a:lnTo>
                  <a:pt x="502" y="1280"/>
                </a:lnTo>
                <a:lnTo>
                  <a:pt x="496" y="1281"/>
                </a:lnTo>
                <a:lnTo>
                  <a:pt x="487" y="1282"/>
                </a:lnTo>
                <a:lnTo>
                  <a:pt x="472" y="1284"/>
                </a:lnTo>
                <a:lnTo>
                  <a:pt x="460" y="1284"/>
                </a:lnTo>
                <a:lnTo>
                  <a:pt x="457" y="1284"/>
                </a:lnTo>
                <a:lnTo>
                  <a:pt x="453" y="1285"/>
                </a:lnTo>
                <a:lnTo>
                  <a:pt x="451" y="1287"/>
                </a:lnTo>
                <a:lnTo>
                  <a:pt x="451" y="1291"/>
                </a:lnTo>
                <a:lnTo>
                  <a:pt x="451" y="1300"/>
                </a:lnTo>
                <a:lnTo>
                  <a:pt x="452" y="1310"/>
                </a:lnTo>
                <a:lnTo>
                  <a:pt x="451" y="1318"/>
                </a:lnTo>
                <a:lnTo>
                  <a:pt x="449" y="1325"/>
                </a:lnTo>
                <a:lnTo>
                  <a:pt x="447" y="1326"/>
                </a:lnTo>
                <a:lnTo>
                  <a:pt x="446" y="1327"/>
                </a:lnTo>
                <a:lnTo>
                  <a:pt x="445" y="1327"/>
                </a:lnTo>
                <a:lnTo>
                  <a:pt x="442" y="1327"/>
                </a:lnTo>
                <a:lnTo>
                  <a:pt x="439" y="1326"/>
                </a:lnTo>
                <a:lnTo>
                  <a:pt x="433" y="1325"/>
                </a:lnTo>
                <a:lnTo>
                  <a:pt x="429" y="1325"/>
                </a:lnTo>
                <a:lnTo>
                  <a:pt x="427" y="1326"/>
                </a:lnTo>
                <a:lnTo>
                  <a:pt x="426" y="1329"/>
                </a:lnTo>
                <a:lnTo>
                  <a:pt x="424" y="1331"/>
                </a:lnTo>
                <a:lnTo>
                  <a:pt x="423" y="1337"/>
                </a:lnTo>
                <a:lnTo>
                  <a:pt x="426" y="1344"/>
                </a:lnTo>
                <a:lnTo>
                  <a:pt x="428" y="1354"/>
                </a:lnTo>
                <a:lnTo>
                  <a:pt x="433" y="1368"/>
                </a:lnTo>
                <a:lnTo>
                  <a:pt x="435" y="1375"/>
                </a:lnTo>
                <a:lnTo>
                  <a:pt x="437" y="1382"/>
                </a:lnTo>
                <a:lnTo>
                  <a:pt x="441" y="1388"/>
                </a:lnTo>
                <a:lnTo>
                  <a:pt x="443" y="1393"/>
                </a:lnTo>
                <a:lnTo>
                  <a:pt x="451" y="1399"/>
                </a:lnTo>
                <a:lnTo>
                  <a:pt x="454" y="1405"/>
                </a:lnTo>
                <a:lnTo>
                  <a:pt x="454" y="1407"/>
                </a:lnTo>
                <a:lnTo>
                  <a:pt x="454" y="1410"/>
                </a:lnTo>
                <a:lnTo>
                  <a:pt x="453" y="1412"/>
                </a:lnTo>
                <a:lnTo>
                  <a:pt x="449" y="1414"/>
                </a:lnTo>
                <a:lnTo>
                  <a:pt x="440" y="1417"/>
                </a:lnTo>
                <a:lnTo>
                  <a:pt x="430" y="1417"/>
                </a:lnTo>
                <a:lnTo>
                  <a:pt x="427" y="1418"/>
                </a:lnTo>
                <a:lnTo>
                  <a:pt x="422" y="1418"/>
                </a:lnTo>
                <a:lnTo>
                  <a:pt x="418" y="1420"/>
                </a:lnTo>
                <a:lnTo>
                  <a:pt x="415" y="1423"/>
                </a:lnTo>
                <a:lnTo>
                  <a:pt x="403" y="1439"/>
                </a:lnTo>
                <a:lnTo>
                  <a:pt x="395" y="1452"/>
                </a:lnTo>
                <a:lnTo>
                  <a:pt x="392" y="1455"/>
                </a:lnTo>
                <a:lnTo>
                  <a:pt x="390" y="1456"/>
                </a:lnTo>
                <a:lnTo>
                  <a:pt x="389" y="1457"/>
                </a:lnTo>
                <a:lnTo>
                  <a:pt x="386" y="1457"/>
                </a:lnTo>
                <a:lnTo>
                  <a:pt x="382" y="1456"/>
                </a:lnTo>
                <a:lnTo>
                  <a:pt x="377" y="1453"/>
                </a:lnTo>
                <a:lnTo>
                  <a:pt x="372" y="1450"/>
                </a:lnTo>
                <a:lnTo>
                  <a:pt x="367" y="1449"/>
                </a:lnTo>
                <a:lnTo>
                  <a:pt x="365" y="1449"/>
                </a:lnTo>
                <a:lnTo>
                  <a:pt x="364" y="1450"/>
                </a:lnTo>
                <a:lnTo>
                  <a:pt x="361" y="1451"/>
                </a:lnTo>
                <a:lnTo>
                  <a:pt x="359" y="1455"/>
                </a:lnTo>
                <a:lnTo>
                  <a:pt x="355" y="1462"/>
                </a:lnTo>
                <a:lnTo>
                  <a:pt x="352" y="1467"/>
                </a:lnTo>
                <a:lnTo>
                  <a:pt x="351" y="1468"/>
                </a:lnTo>
                <a:lnTo>
                  <a:pt x="348" y="1468"/>
                </a:lnTo>
                <a:lnTo>
                  <a:pt x="345" y="1467"/>
                </a:lnTo>
                <a:lnTo>
                  <a:pt x="341" y="1464"/>
                </a:lnTo>
                <a:lnTo>
                  <a:pt x="333" y="1458"/>
                </a:lnTo>
                <a:lnTo>
                  <a:pt x="323" y="1453"/>
                </a:lnTo>
                <a:lnTo>
                  <a:pt x="319" y="1451"/>
                </a:lnTo>
                <a:lnTo>
                  <a:pt x="313" y="1450"/>
                </a:lnTo>
                <a:lnTo>
                  <a:pt x="307" y="1449"/>
                </a:lnTo>
                <a:lnTo>
                  <a:pt x="301" y="1449"/>
                </a:lnTo>
                <a:lnTo>
                  <a:pt x="295" y="1450"/>
                </a:lnTo>
                <a:lnTo>
                  <a:pt x="289" y="1451"/>
                </a:lnTo>
                <a:lnTo>
                  <a:pt x="285" y="1453"/>
                </a:lnTo>
                <a:lnTo>
                  <a:pt x="282" y="1456"/>
                </a:lnTo>
                <a:lnTo>
                  <a:pt x="279" y="1458"/>
                </a:lnTo>
                <a:lnTo>
                  <a:pt x="278" y="1462"/>
                </a:lnTo>
                <a:lnTo>
                  <a:pt x="278" y="1467"/>
                </a:lnTo>
                <a:lnTo>
                  <a:pt x="278" y="1471"/>
                </a:lnTo>
                <a:lnTo>
                  <a:pt x="278" y="1482"/>
                </a:lnTo>
                <a:lnTo>
                  <a:pt x="279" y="1494"/>
                </a:lnTo>
                <a:lnTo>
                  <a:pt x="279" y="1505"/>
                </a:lnTo>
                <a:lnTo>
                  <a:pt x="279" y="1514"/>
                </a:lnTo>
                <a:lnTo>
                  <a:pt x="279" y="1524"/>
                </a:lnTo>
                <a:lnTo>
                  <a:pt x="281" y="1532"/>
                </a:lnTo>
                <a:lnTo>
                  <a:pt x="283" y="1539"/>
                </a:lnTo>
                <a:lnTo>
                  <a:pt x="288" y="1546"/>
                </a:lnTo>
                <a:lnTo>
                  <a:pt x="292" y="1552"/>
                </a:lnTo>
                <a:lnTo>
                  <a:pt x="295" y="1558"/>
                </a:lnTo>
                <a:lnTo>
                  <a:pt x="295" y="1565"/>
                </a:lnTo>
                <a:lnTo>
                  <a:pt x="295" y="1571"/>
                </a:lnTo>
                <a:lnTo>
                  <a:pt x="294" y="1575"/>
                </a:lnTo>
                <a:lnTo>
                  <a:pt x="291" y="1576"/>
                </a:lnTo>
                <a:lnTo>
                  <a:pt x="289" y="1576"/>
                </a:lnTo>
                <a:lnTo>
                  <a:pt x="285" y="1576"/>
                </a:lnTo>
                <a:lnTo>
                  <a:pt x="277" y="1572"/>
                </a:lnTo>
                <a:lnTo>
                  <a:pt x="271" y="1569"/>
                </a:lnTo>
                <a:lnTo>
                  <a:pt x="265" y="1565"/>
                </a:lnTo>
                <a:lnTo>
                  <a:pt x="259" y="1564"/>
                </a:lnTo>
                <a:lnTo>
                  <a:pt x="256" y="1565"/>
                </a:lnTo>
                <a:lnTo>
                  <a:pt x="252" y="1566"/>
                </a:lnTo>
                <a:lnTo>
                  <a:pt x="250" y="1568"/>
                </a:lnTo>
                <a:lnTo>
                  <a:pt x="247" y="1571"/>
                </a:lnTo>
                <a:lnTo>
                  <a:pt x="244" y="1574"/>
                </a:lnTo>
                <a:lnTo>
                  <a:pt x="241" y="1576"/>
                </a:lnTo>
                <a:lnTo>
                  <a:pt x="238" y="1577"/>
                </a:lnTo>
                <a:lnTo>
                  <a:pt x="233" y="1578"/>
                </a:lnTo>
                <a:lnTo>
                  <a:pt x="226" y="1578"/>
                </a:lnTo>
                <a:lnTo>
                  <a:pt x="219" y="1576"/>
                </a:lnTo>
                <a:lnTo>
                  <a:pt x="212" y="1574"/>
                </a:lnTo>
                <a:lnTo>
                  <a:pt x="205" y="1571"/>
                </a:lnTo>
                <a:lnTo>
                  <a:pt x="201" y="1570"/>
                </a:lnTo>
                <a:lnTo>
                  <a:pt x="197" y="1571"/>
                </a:lnTo>
                <a:lnTo>
                  <a:pt x="194" y="1572"/>
                </a:lnTo>
                <a:lnTo>
                  <a:pt x="190" y="1576"/>
                </a:lnTo>
                <a:lnTo>
                  <a:pt x="184" y="1583"/>
                </a:lnTo>
                <a:lnTo>
                  <a:pt x="180" y="1588"/>
                </a:lnTo>
                <a:lnTo>
                  <a:pt x="177" y="1590"/>
                </a:lnTo>
                <a:lnTo>
                  <a:pt x="174" y="1591"/>
                </a:lnTo>
                <a:lnTo>
                  <a:pt x="170" y="1591"/>
                </a:lnTo>
                <a:lnTo>
                  <a:pt x="165" y="1591"/>
                </a:lnTo>
                <a:lnTo>
                  <a:pt x="153" y="1589"/>
                </a:lnTo>
                <a:lnTo>
                  <a:pt x="144" y="1587"/>
                </a:lnTo>
                <a:lnTo>
                  <a:pt x="139" y="1587"/>
                </a:lnTo>
                <a:lnTo>
                  <a:pt x="134" y="1588"/>
                </a:lnTo>
                <a:lnTo>
                  <a:pt x="131" y="1589"/>
                </a:lnTo>
                <a:lnTo>
                  <a:pt x="127" y="1593"/>
                </a:lnTo>
                <a:lnTo>
                  <a:pt x="124" y="1598"/>
                </a:lnTo>
                <a:lnTo>
                  <a:pt x="121" y="1603"/>
                </a:lnTo>
                <a:lnTo>
                  <a:pt x="119" y="1609"/>
                </a:lnTo>
                <a:lnTo>
                  <a:pt x="118" y="1616"/>
                </a:lnTo>
                <a:lnTo>
                  <a:pt x="114" y="1628"/>
                </a:lnTo>
                <a:lnTo>
                  <a:pt x="112" y="1640"/>
                </a:lnTo>
                <a:lnTo>
                  <a:pt x="109" y="1650"/>
                </a:lnTo>
                <a:lnTo>
                  <a:pt x="105" y="1659"/>
                </a:lnTo>
                <a:lnTo>
                  <a:pt x="100" y="1667"/>
                </a:lnTo>
                <a:lnTo>
                  <a:pt x="94" y="1675"/>
                </a:lnTo>
                <a:lnTo>
                  <a:pt x="89" y="1677"/>
                </a:lnTo>
                <a:lnTo>
                  <a:pt x="86" y="1679"/>
                </a:lnTo>
                <a:lnTo>
                  <a:pt x="81" y="1681"/>
                </a:lnTo>
                <a:lnTo>
                  <a:pt x="76" y="1683"/>
                </a:lnTo>
                <a:lnTo>
                  <a:pt x="65" y="1684"/>
                </a:lnTo>
                <a:lnTo>
                  <a:pt x="56" y="1688"/>
                </a:lnTo>
                <a:lnTo>
                  <a:pt x="51" y="1690"/>
                </a:lnTo>
                <a:lnTo>
                  <a:pt x="45" y="1694"/>
                </a:lnTo>
                <a:lnTo>
                  <a:pt x="40" y="1698"/>
                </a:lnTo>
                <a:lnTo>
                  <a:pt x="36" y="1703"/>
                </a:lnTo>
                <a:lnTo>
                  <a:pt x="38" y="1701"/>
                </a:lnTo>
                <a:lnTo>
                  <a:pt x="39" y="1701"/>
                </a:lnTo>
                <a:lnTo>
                  <a:pt x="39" y="1702"/>
                </a:lnTo>
                <a:lnTo>
                  <a:pt x="40" y="1705"/>
                </a:lnTo>
                <a:lnTo>
                  <a:pt x="42" y="1713"/>
                </a:lnTo>
                <a:lnTo>
                  <a:pt x="45" y="1720"/>
                </a:lnTo>
                <a:lnTo>
                  <a:pt x="50" y="1726"/>
                </a:lnTo>
                <a:lnTo>
                  <a:pt x="55" y="1730"/>
                </a:lnTo>
                <a:lnTo>
                  <a:pt x="56" y="1733"/>
                </a:lnTo>
                <a:lnTo>
                  <a:pt x="57" y="1736"/>
                </a:lnTo>
                <a:lnTo>
                  <a:pt x="58" y="1740"/>
                </a:lnTo>
                <a:lnTo>
                  <a:pt x="59" y="1745"/>
                </a:lnTo>
                <a:lnTo>
                  <a:pt x="59" y="1754"/>
                </a:lnTo>
                <a:lnTo>
                  <a:pt x="62" y="1760"/>
                </a:lnTo>
                <a:lnTo>
                  <a:pt x="64" y="1763"/>
                </a:lnTo>
                <a:lnTo>
                  <a:pt x="67" y="1763"/>
                </a:lnTo>
                <a:lnTo>
                  <a:pt x="70" y="1763"/>
                </a:lnTo>
                <a:lnTo>
                  <a:pt x="74" y="1760"/>
                </a:lnTo>
                <a:lnTo>
                  <a:pt x="80" y="1757"/>
                </a:lnTo>
                <a:lnTo>
                  <a:pt x="84" y="1755"/>
                </a:lnTo>
                <a:lnTo>
                  <a:pt x="89" y="1755"/>
                </a:lnTo>
                <a:lnTo>
                  <a:pt x="94" y="1757"/>
                </a:lnTo>
                <a:lnTo>
                  <a:pt x="99" y="1759"/>
                </a:lnTo>
                <a:lnTo>
                  <a:pt x="102" y="1761"/>
                </a:lnTo>
                <a:lnTo>
                  <a:pt x="105" y="1765"/>
                </a:lnTo>
                <a:lnTo>
                  <a:pt x="106" y="1770"/>
                </a:lnTo>
                <a:lnTo>
                  <a:pt x="105" y="1783"/>
                </a:lnTo>
                <a:lnTo>
                  <a:pt x="105" y="1795"/>
                </a:lnTo>
                <a:lnTo>
                  <a:pt x="106" y="1801"/>
                </a:lnTo>
                <a:lnTo>
                  <a:pt x="105" y="1805"/>
                </a:lnTo>
                <a:lnTo>
                  <a:pt x="103" y="1807"/>
                </a:lnTo>
                <a:lnTo>
                  <a:pt x="102" y="1808"/>
                </a:lnTo>
                <a:lnTo>
                  <a:pt x="100" y="1808"/>
                </a:lnTo>
                <a:lnTo>
                  <a:pt x="96" y="1808"/>
                </a:lnTo>
                <a:lnTo>
                  <a:pt x="86" y="1807"/>
                </a:lnTo>
                <a:lnTo>
                  <a:pt x="73" y="1808"/>
                </a:lnTo>
                <a:lnTo>
                  <a:pt x="58" y="1808"/>
                </a:lnTo>
                <a:lnTo>
                  <a:pt x="49" y="1808"/>
                </a:lnTo>
                <a:lnTo>
                  <a:pt x="46" y="1809"/>
                </a:lnTo>
                <a:lnTo>
                  <a:pt x="44" y="1809"/>
                </a:lnTo>
                <a:lnTo>
                  <a:pt x="43" y="1810"/>
                </a:lnTo>
                <a:lnTo>
                  <a:pt x="42" y="1812"/>
                </a:lnTo>
                <a:lnTo>
                  <a:pt x="42" y="1817"/>
                </a:lnTo>
                <a:lnTo>
                  <a:pt x="43" y="1823"/>
                </a:lnTo>
                <a:lnTo>
                  <a:pt x="44" y="1831"/>
                </a:lnTo>
                <a:lnTo>
                  <a:pt x="44" y="1845"/>
                </a:lnTo>
                <a:lnTo>
                  <a:pt x="43" y="1858"/>
                </a:lnTo>
                <a:lnTo>
                  <a:pt x="42" y="1871"/>
                </a:lnTo>
                <a:lnTo>
                  <a:pt x="40" y="1881"/>
                </a:lnTo>
                <a:lnTo>
                  <a:pt x="38" y="1887"/>
                </a:lnTo>
                <a:lnTo>
                  <a:pt x="35" y="1892"/>
                </a:lnTo>
                <a:lnTo>
                  <a:pt x="30" y="1894"/>
                </a:lnTo>
                <a:lnTo>
                  <a:pt x="24" y="1896"/>
                </a:lnTo>
                <a:lnTo>
                  <a:pt x="18" y="1897"/>
                </a:lnTo>
                <a:lnTo>
                  <a:pt x="15" y="1898"/>
                </a:lnTo>
                <a:lnTo>
                  <a:pt x="13" y="1899"/>
                </a:lnTo>
                <a:lnTo>
                  <a:pt x="11" y="1902"/>
                </a:lnTo>
                <a:lnTo>
                  <a:pt x="8" y="1904"/>
                </a:lnTo>
                <a:lnTo>
                  <a:pt x="5" y="1913"/>
                </a:lnTo>
                <a:lnTo>
                  <a:pt x="2" y="1927"/>
                </a:lnTo>
                <a:lnTo>
                  <a:pt x="1" y="1943"/>
                </a:lnTo>
                <a:lnTo>
                  <a:pt x="0" y="1960"/>
                </a:lnTo>
                <a:lnTo>
                  <a:pt x="0" y="1991"/>
                </a:lnTo>
                <a:lnTo>
                  <a:pt x="0" y="2006"/>
                </a:lnTo>
                <a:lnTo>
                  <a:pt x="2" y="2016"/>
                </a:lnTo>
                <a:lnTo>
                  <a:pt x="5" y="2025"/>
                </a:lnTo>
                <a:lnTo>
                  <a:pt x="8" y="2034"/>
                </a:lnTo>
                <a:lnTo>
                  <a:pt x="13" y="2043"/>
                </a:lnTo>
                <a:lnTo>
                  <a:pt x="20" y="2058"/>
                </a:lnTo>
                <a:lnTo>
                  <a:pt x="26" y="2073"/>
                </a:lnTo>
                <a:lnTo>
                  <a:pt x="27" y="2081"/>
                </a:lnTo>
                <a:lnTo>
                  <a:pt x="29" y="2088"/>
                </a:lnTo>
                <a:lnTo>
                  <a:pt x="29" y="2095"/>
                </a:lnTo>
                <a:lnTo>
                  <a:pt x="27" y="2100"/>
                </a:lnTo>
                <a:lnTo>
                  <a:pt x="27" y="2106"/>
                </a:lnTo>
                <a:lnTo>
                  <a:pt x="27" y="2111"/>
                </a:lnTo>
                <a:lnTo>
                  <a:pt x="29" y="2116"/>
                </a:lnTo>
                <a:lnTo>
                  <a:pt x="30" y="2120"/>
                </a:lnTo>
                <a:lnTo>
                  <a:pt x="45" y="2150"/>
                </a:lnTo>
                <a:lnTo>
                  <a:pt x="57" y="2180"/>
                </a:lnTo>
                <a:lnTo>
                  <a:pt x="69" y="2206"/>
                </a:lnTo>
                <a:lnTo>
                  <a:pt x="78" y="2231"/>
                </a:lnTo>
                <a:lnTo>
                  <a:pt x="87" y="2252"/>
                </a:lnTo>
                <a:lnTo>
                  <a:pt x="93" y="2268"/>
                </a:lnTo>
                <a:lnTo>
                  <a:pt x="99" y="2280"/>
                </a:lnTo>
                <a:lnTo>
                  <a:pt x="102" y="2286"/>
                </a:lnTo>
                <a:lnTo>
                  <a:pt x="108" y="2287"/>
                </a:lnTo>
                <a:lnTo>
                  <a:pt x="114" y="2287"/>
                </a:lnTo>
                <a:lnTo>
                  <a:pt x="120" y="2286"/>
                </a:lnTo>
                <a:lnTo>
                  <a:pt x="125" y="2282"/>
                </a:lnTo>
                <a:lnTo>
                  <a:pt x="137" y="2275"/>
                </a:lnTo>
                <a:lnTo>
                  <a:pt x="149" y="2270"/>
                </a:lnTo>
                <a:lnTo>
                  <a:pt x="158" y="2269"/>
                </a:lnTo>
                <a:lnTo>
                  <a:pt x="168" y="2268"/>
                </a:lnTo>
                <a:lnTo>
                  <a:pt x="171" y="2268"/>
                </a:lnTo>
                <a:lnTo>
                  <a:pt x="175" y="2268"/>
                </a:lnTo>
                <a:lnTo>
                  <a:pt x="178" y="2270"/>
                </a:lnTo>
                <a:lnTo>
                  <a:pt x="181" y="2272"/>
                </a:lnTo>
                <a:lnTo>
                  <a:pt x="185" y="2275"/>
                </a:lnTo>
                <a:lnTo>
                  <a:pt x="190" y="2278"/>
                </a:lnTo>
                <a:lnTo>
                  <a:pt x="196" y="2281"/>
                </a:lnTo>
                <a:lnTo>
                  <a:pt x="202" y="2282"/>
                </a:lnTo>
                <a:lnTo>
                  <a:pt x="209" y="2283"/>
                </a:lnTo>
                <a:lnTo>
                  <a:pt x="215" y="2283"/>
                </a:lnTo>
                <a:lnTo>
                  <a:pt x="221" y="2282"/>
                </a:lnTo>
                <a:lnTo>
                  <a:pt x="226" y="2280"/>
                </a:lnTo>
                <a:lnTo>
                  <a:pt x="234" y="2275"/>
                </a:lnTo>
                <a:lnTo>
                  <a:pt x="244" y="2271"/>
                </a:lnTo>
                <a:lnTo>
                  <a:pt x="254" y="2268"/>
                </a:lnTo>
                <a:lnTo>
                  <a:pt x="265" y="2264"/>
                </a:lnTo>
                <a:lnTo>
                  <a:pt x="288" y="2259"/>
                </a:lnTo>
                <a:lnTo>
                  <a:pt x="309" y="2252"/>
                </a:lnTo>
                <a:lnTo>
                  <a:pt x="315" y="2249"/>
                </a:lnTo>
                <a:lnTo>
                  <a:pt x="322" y="2244"/>
                </a:lnTo>
                <a:lnTo>
                  <a:pt x="328" y="2238"/>
                </a:lnTo>
                <a:lnTo>
                  <a:pt x="333" y="2232"/>
                </a:lnTo>
                <a:lnTo>
                  <a:pt x="342" y="2218"/>
                </a:lnTo>
                <a:lnTo>
                  <a:pt x="348" y="2206"/>
                </a:lnTo>
                <a:lnTo>
                  <a:pt x="352" y="2195"/>
                </a:lnTo>
                <a:lnTo>
                  <a:pt x="353" y="2183"/>
                </a:lnTo>
                <a:lnTo>
                  <a:pt x="353" y="2174"/>
                </a:lnTo>
                <a:lnTo>
                  <a:pt x="352" y="2165"/>
                </a:lnTo>
                <a:lnTo>
                  <a:pt x="351" y="2161"/>
                </a:lnTo>
                <a:lnTo>
                  <a:pt x="350" y="2157"/>
                </a:lnTo>
                <a:lnTo>
                  <a:pt x="347" y="2152"/>
                </a:lnTo>
                <a:lnTo>
                  <a:pt x="344" y="2149"/>
                </a:lnTo>
                <a:lnTo>
                  <a:pt x="341" y="2146"/>
                </a:lnTo>
                <a:lnTo>
                  <a:pt x="336" y="2144"/>
                </a:lnTo>
                <a:lnTo>
                  <a:pt x="333" y="2142"/>
                </a:lnTo>
                <a:lnTo>
                  <a:pt x="328" y="2142"/>
                </a:lnTo>
                <a:lnTo>
                  <a:pt x="320" y="2140"/>
                </a:lnTo>
                <a:lnTo>
                  <a:pt x="313" y="2138"/>
                </a:lnTo>
                <a:lnTo>
                  <a:pt x="310" y="2136"/>
                </a:lnTo>
                <a:lnTo>
                  <a:pt x="308" y="2133"/>
                </a:lnTo>
                <a:lnTo>
                  <a:pt x="306" y="2130"/>
                </a:lnTo>
                <a:lnTo>
                  <a:pt x="304" y="2126"/>
                </a:lnTo>
                <a:lnTo>
                  <a:pt x="302" y="2120"/>
                </a:lnTo>
                <a:lnTo>
                  <a:pt x="300" y="2114"/>
                </a:lnTo>
                <a:lnTo>
                  <a:pt x="297" y="2111"/>
                </a:lnTo>
                <a:lnTo>
                  <a:pt x="295" y="2108"/>
                </a:lnTo>
                <a:lnTo>
                  <a:pt x="291" y="2108"/>
                </a:lnTo>
                <a:lnTo>
                  <a:pt x="288" y="2111"/>
                </a:lnTo>
                <a:lnTo>
                  <a:pt x="285" y="2113"/>
                </a:lnTo>
                <a:lnTo>
                  <a:pt x="282" y="2117"/>
                </a:lnTo>
                <a:lnTo>
                  <a:pt x="278" y="2119"/>
                </a:lnTo>
                <a:lnTo>
                  <a:pt x="276" y="2120"/>
                </a:lnTo>
                <a:lnTo>
                  <a:pt x="273" y="2120"/>
                </a:lnTo>
                <a:lnTo>
                  <a:pt x="269" y="2119"/>
                </a:lnTo>
                <a:lnTo>
                  <a:pt x="264" y="2117"/>
                </a:lnTo>
                <a:lnTo>
                  <a:pt x="259" y="2113"/>
                </a:lnTo>
                <a:lnTo>
                  <a:pt x="258" y="2112"/>
                </a:lnTo>
                <a:lnTo>
                  <a:pt x="258" y="2110"/>
                </a:lnTo>
                <a:lnTo>
                  <a:pt x="258" y="2106"/>
                </a:lnTo>
                <a:lnTo>
                  <a:pt x="260" y="2104"/>
                </a:lnTo>
                <a:lnTo>
                  <a:pt x="264" y="2098"/>
                </a:lnTo>
                <a:lnTo>
                  <a:pt x="268" y="2092"/>
                </a:lnTo>
                <a:lnTo>
                  <a:pt x="269" y="2089"/>
                </a:lnTo>
                <a:lnTo>
                  <a:pt x="270" y="2086"/>
                </a:lnTo>
                <a:lnTo>
                  <a:pt x="270" y="2082"/>
                </a:lnTo>
                <a:lnTo>
                  <a:pt x="270" y="2077"/>
                </a:lnTo>
                <a:lnTo>
                  <a:pt x="269" y="2070"/>
                </a:lnTo>
                <a:lnTo>
                  <a:pt x="268" y="2066"/>
                </a:lnTo>
                <a:lnTo>
                  <a:pt x="269" y="2062"/>
                </a:lnTo>
                <a:lnTo>
                  <a:pt x="271" y="2061"/>
                </a:lnTo>
                <a:lnTo>
                  <a:pt x="275" y="2060"/>
                </a:lnTo>
                <a:lnTo>
                  <a:pt x="278" y="2060"/>
                </a:lnTo>
                <a:lnTo>
                  <a:pt x="281" y="2060"/>
                </a:lnTo>
                <a:lnTo>
                  <a:pt x="282" y="2062"/>
                </a:lnTo>
                <a:lnTo>
                  <a:pt x="283" y="2066"/>
                </a:lnTo>
                <a:lnTo>
                  <a:pt x="283" y="2070"/>
                </a:lnTo>
                <a:lnTo>
                  <a:pt x="283" y="2075"/>
                </a:lnTo>
                <a:lnTo>
                  <a:pt x="284" y="2079"/>
                </a:lnTo>
                <a:lnTo>
                  <a:pt x="285" y="2082"/>
                </a:lnTo>
                <a:lnTo>
                  <a:pt x="287" y="2083"/>
                </a:lnTo>
                <a:lnTo>
                  <a:pt x="290" y="2086"/>
                </a:lnTo>
                <a:lnTo>
                  <a:pt x="294" y="2086"/>
                </a:lnTo>
                <a:lnTo>
                  <a:pt x="296" y="2085"/>
                </a:lnTo>
                <a:lnTo>
                  <a:pt x="297" y="2082"/>
                </a:lnTo>
                <a:lnTo>
                  <a:pt x="297" y="2077"/>
                </a:lnTo>
                <a:lnTo>
                  <a:pt x="298" y="2073"/>
                </a:lnTo>
                <a:lnTo>
                  <a:pt x="297" y="2061"/>
                </a:lnTo>
                <a:lnTo>
                  <a:pt x="296" y="2050"/>
                </a:lnTo>
                <a:lnTo>
                  <a:pt x="294" y="2045"/>
                </a:lnTo>
                <a:lnTo>
                  <a:pt x="292" y="2042"/>
                </a:lnTo>
                <a:lnTo>
                  <a:pt x="290" y="2039"/>
                </a:lnTo>
                <a:lnTo>
                  <a:pt x="288" y="2036"/>
                </a:lnTo>
                <a:lnTo>
                  <a:pt x="285" y="2035"/>
                </a:lnTo>
                <a:lnTo>
                  <a:pt x="281" y="2034"/>
                </a:lnTo>
                <a:lnTo>
                  <a:pt x="277" y="2032"/>
                </a:lnTo>
                <a:lnTo>
                  <a:pt x="271" y="2032"/>
                </a:lnTo>
                <a:lnTo>
                  <a:pt x="259" y="2032"/>
                </a:lnTo>
                <a:lnTo>
                  <a:pt x="246" y="2031"/>
                </a:lnTo>
                <a:lnTo>
                  <a:pt x="234" y="2031"/>
                </a:lnTo>
                <a:lnTo>
                  <a:pt x="225" y="2030"/>
                </a:lnTo>
                <a:lnTo>
                  <a:pt x="219" y="2029"/>
                </a:lnTo>
                <a:lnTo>
                  <a:pt x="215" y="2026"/>
                </a:lnTo>
                <a:lnTo>
                  <a:pt x="214" y="2022"/>
                </a:lnTo>
                <a:lnTo>
                  <a:pt x="214" y="2016"/>
                </a:lnTo>
                <a:lnTo>
                  <a:pt x="214" y="2005"/>
                </a:lnTo>
                <a:lnTo>
                  <a:pt x="214" y="1987"/>
                </a:lnTo>
                <a:lnTo>
                  <a:pt x="215" y="1967"/>
                </a:lnTo>
                <a:lnTo>
                  <a:pt x="216" y="1946"/>
                </a:lnTo>
                <a:lnTo>
                  <a:pt x="219" y="1936"/>
                </a:lnTo>
                <a:lnTo>
                  <a:pt x="221" y="1929"/>
                </a:lnTo>
                <a:lnTo>
                  <a:pt x="225" y="1923"/>
                </a:lnTo>
                <a:lnTo>
                  <a:pt x="229" y="1917"/>
                </a:lnTo>
                <a:lnTo>
                  <a:pt x="234" y="1913"/>
                </a:lnTo>
                <a:lnTo>
                  <a:pt x="240" y="1911"/>
                </a:lnTo>
                <a:lnTo>
                  <a:pt x="245" y="1910"/>
                </a:lnTo>
                <a:lnTo>
                  <a:pt x="251" y="1910"/>
                </a:lnTo>
                <a:lnTo>
                  <a:pt x="257" y="1912"/>
                </a:lnTo>
                <a:lnTo>
                  <a:pt x="263" y="1916"/>
                </a:lnTo>
                <a:lnTo>
                  <a:pt x="264" y="1919"/>
                </a:lnTo>
                <a:lnTo>
                  <a:pt x="265" y="1924"/>
                </a:lnTo>
                <a:lnTo>
                  <a:pt x="266" y="1930"/>
                </a:lnTo>
                <a:lnTo>
                  <a:pt x="265" y="1937"/>
                </a:lnTo>
                <a:lnTo>
                  <a:pt x="264" y="1944"/>
                </a:lnTo>
                <a:lnTo>
                  <a:pt x="262" y="1950"/>
                </a:lnTo>
                <a:lnTo>
                  <a:pt x="258" y="1956"/>
                </a:lnTo>
                <a:lnTo>
                  <a:pt x="256" y="1961"/>
                </a:lnTo>
                <a:lnTo>
                  <a:pt x="250" y="1967"/>
                </a:lnTo>
                <a:lnTo>
                  <a:pt x="247" y="1971"/>
                </a:lnTo>
                <a:lnTo>
                  <a:pt x="247" y="1974"/>
                </a:lnTo>
                <a:lnTo>
                  <a:pt x="250" y="1975"/>
                </a:lnTo>
                <a:lnTo>
                  <a:pt x="253" y="1976"/>
                </a:lnTo>
                <a:lnTo>
                  <a:pt x="258" y="1976"/>
                </a:lnTo>
                <a:lnTo>
                  <a:pt x="268" y="1976"/>
                </a:lnTo>
                <a:lnTo>
                  <a:pt x="275" y="1975"/>
                </a:lnTo>
                <a:lnTo>
                  <a:pt x="284" y="1972"/>
                </a:lnTo>
                <a:lnTo>
                  <a:pt x="295" y="1967"/>
                </a:lnTo>
                <a:lnTo>
                  <a:pt x="304" y="1963"/>
                </a:lnTo>
                <a:lnTo>
                  <a:pt x="314" y="1962"/>
                </a:lnTo>
                <a:lnTo>
                  <a:pt x="320" y="1962"/>
                </a:lnTo>
                <a:lnTo>
                  <a:pt x="323" y="1962"/>
                </a:lnTo>
                <a:lnTo>
                  <a:pt x="327" y="1963"/>
                </a:lnTo>
                <a:lnTo>
                  <a:pt x="329" y="1966"/>
                </a:lnTo>
                <a:lnTo>
                  <a:pt x="332" y="1973"/>
                </a:lnTo>
                <a:lnTo>
                  <a:pt x="335" y="1980"/>
                </a:lnTo>
                <a:lnTo>
                  <a:pt x="338" y="1985"/>
                </a:lnTo>
                <a:lnTo>
                  <a:pt x="340" y="1988"/>
                </a:lnTo>
                <a:lnTo>
                  <a:pt x="344" y="1991"/>
                </a:lnTo>
                <a:lnTo>
                  <a:pt x="347" y="1992"/>
                </a:lnTo>
                <a:lnTo>
                  <a:pt x="351" y="1992"/>
                </a:lnTo>
                <a:lnTo>
                  <a:pt x="353" y="1992"/>
                </a:lnTo>
                <a:lnTo>
                  <a:pt x="355" y="1991"/>
                </a:lnTo>
                <a:lnTo>
                  <a:pt x="358" y="1987"/>
                </a:lnTo>
                <a:lnTo>
                  <a:pt x="364" y="1973"/>
                </a:lnTo>
                <a:lnTo>
                  <a:pt x="366" y="1961"/>
                </a:lnTo>
                <a:lnTo>
                  <a:pt x="367" y="1956"/>
                </a:lnTo>
                <a:lnTo>
                  <a:pt x="367" y="1952"/>
                </a:lnTo>
                <a:lnTo>
                  <a:pt x="366" y="1948"/>
                </a:lnTo>
                <a:lnTo>
                  <a:pt x="365" y="1944"/>
                </a:lnTo>
                <a:lnTo>
                  <a:pt x="360" y="1940"/>
                </a:lnTo>
                <a:lnTo>
                  <a:pt x="355" y="1936"/>
                </a:lnTo>
                <a:lnTo>
                  <a:pt x="348" y="1934"/>
                </a:lnTo>
                <a:lnTo>
                  <a:pt x="340" y="1931"/>
                </a:lnTo>
                <a:lnTo>
                  <a:pt x="323" y="1929"/>
                </a:lnTo>
                <a:lnTo>
                  <a:pt x="308" y="1928"/>
                </a:lnTo>
                <a:lnTo>
                  <a:pt x="301" y="1925"/>
                </a:lnTo>
                <a:lnTo>
                  <a:pt x="296" y="1922"/>
                </a:lnTo>
                <a:lnTo>
                  <a:pt x="294" y="1921"/>
                </a:lnTo>
                <a:lnTo>
                  <a:pt x="291" y="1918"/>
                </a:lnTo>
                <a:lnTo>
                  <a:pt x="290" y="1915"/>
                </a:lnTo>
                <a:lnTo>
                  <a:pt x="290" y="1911"/>
                </a:lnTo>
                <a:lnTo>
                  <a:pt x="290" y="1903"/>
                </a:lnTo>
                <a:lnTo>
                  <a:pt x="294" y="1894"/>
                </a:lnTo>
                <a:lnTo>
                  <a:pt x="297" y="1887"/>
                </a:lnTo>
                <a:lnTo>
                  <a:pt x="300" y="1880"/>
                </a:lnTo>
                <a:lnTo>
                  <a:pt x="301" y="1872"/>
                </a:lnTo>
                <a:lnTo>
                  <a:pt x="301" y="1865"/>
                </a:lnTo>
                <a:lnTo>
                  <a:pt x="300" y="1859"/>
                </a:lnTo>
                <a:lnTo>
                  <a:pt x="297" y="1852"/>
                </a:lnTo>
                <a:lnTo>
                  <a:pt x="295" y="1845"/>
                </a:lnTo>
                <a:lnTo>
                  <a:pt x="292" y="1840"/>
                </a:lnTo>
                <a:lnTo>
                  <a:pt x="290" y="1833"/>
                </a:lnTo>
                <a:lnTo>
                  <a:pt x="290" y="1823"/>
                </a:lnTo>
                <a:lnTo>
                  <a:pt x="290" y="1812"/>
                </a:lnTo>
                <a:lnTo>
                  <a:pt x="292" y="1802"/>
                </a:lnTo>
                <a:lnTo>
                  <a:pt x="294" y="1798"/>
                </a:lnTo>
                <a:lnTo>
                  <a:pt x="297" y="1795"/>
                </a:lnTo>
                <a:lnTo>
                  <a:pt x="301" y="1791"/>
                </a:lnTo>
                <a:lnTo>
                  <a:pt x="307" y="1790"/>
                </a:lnTo>
                <a:lnTo>
                  <a:pt x="316" y="1787"/>
                </a:lnTo>
                <a:lnTo>
                  <a:pt x="322" y="1787"/>
                </a:lnTo>
                <a:lnTo>
                  <a:pt x="325" y="1789"/>
                </a:lnTo>
                <a:lnTo>
                  <a:pt x="325" y="1790"/>
                </a:lnTo>
                <a:lnTo>
                  <a:pt x="325" y="1792"/>
                </a:lnTo>
                <a:lnTo>
                  <a:pt x="322" y="1796"/>
                </a:lnTo>
                <a:lnTo>
                  <a:pt x="319" y="1803"/>
                </a:lnTo>
                <a:lnTo>
                  <a:pt x="316" y="1808"/>
                </a:lnTo>
                <a:lnTo>
                  <a:pt x="314" y="1814"/>
                </a:lnTo>
                <a:lnTo>
                  <a:pt x="314" y="1821"/>
                </a:lnTo>
                <a:lnTo>
                  <a:pt x="314" y="1824"/>
                </a:lnTo>
                <a:lnTo>
                  <a:pt x="315" y="1827"/>
                </a:lnTo>
                <a:lnTo>
                  <a:pt x="316" y="1828"/>
                </a:lnTo>
                <a:lnTo>
                  <a:pt x="319" y="1828"/>
                </a:lnTo>
                <a:lnTo>
                  <a:pt x="321" y="1828"/>
                </a:lnTo>
                <a:lnTo>
                  <a:pt x="323" y="1827"/>
                </a:lnTo>
                <a:lnTo>
                  <a:pt x="326" y="1824"/>
                </a:lnTo>
                <a:lnTo>
                  <a:pt x="327" y="1821"/>
                </a:lnTo>
                <a:lnTo>
                  <a:pt x="329" y="1817"/>
                </a:lnTo>
                <a:lnTo>
                  <a:pt x="332" y="1816"/>
                </a:lnTo>
                <a:lnTo>
                  <a:pt x="333" y="1816"/>
                </a:lnTo>
                <a:lnTo>
                  <a:pt x="334" y="1816"/>
                </a:lnTo>
                <a:lnTo>
                  <a:pt x="335" y="1821"/>
                </a:lnTo>
                <a:lnTo>
                  <a:pt x="336" y="1827"/>
                </a:lnTo>
                <a:lnTo>
                  <a:pt x="336" y="1830"/>
                </a:lnTo>
                <a:lnTo>
                  <a:pt x="336" y="1834"/>
                </a:lnTo>
                <a:lnTo>
                  <a:pt x="335" y="1837"/>
                </a:lnTo>
                <a:lnTo>
                  <a:pt x="333" y="1841"/>
                </a:lnTo>
                <a:lnTo>
                  <a:pt x="329" y="1845"/>
                </a:lnTo>
                <a:lnTo>
                  <a:pt x="325" y="1847"/>
                </a:lnTo>
                <a:lnTo>
                  <a:pt x="321" y="1849"/>
                </a:lnTo>
                <a:lnTo>
                  <a:pt x="320" y="1854"/>
                </a:lnTo>
                <a:lnTo>
                  <a:pt x="320" y="1859"/>
                </a:lnTo>
                <a:lnTo>
                  <a:pt x="322" y="1862"/>
                </a:lnTo>
                <a:lnTo>
                  <a:pt x="326" y="1865"/>
                </a:lnTo>
                <a:lnTo>
                  <a:pt x="331" y="1865"/>
                </a:lnTo>
                <a:lnTo>
                  <a:pt x="342" y="1858"/>
                </a:lnTo>
                <a:lnTo>
                  <a:pt x="355" y="1849"/>
                </a:lnTo>
                <a:lnTo>
                  <a:pt x="361" y="1848"/>
                </a:lnTo>
                <a:lnTo>
                  <a:pt x="366" y="1847"/>
                </a:lnTo>
                <a:lnTo>
                  <a:pt x="371" y="1847"/>
                </a:lnTo>
                <a:lnTo>
                  <a:pt x="374" y="1848"/>
                </a:lnTo>
                <a:lnTo>
                  <a:pt x="378" y="1849"/>
                </a:lnTo>
                <a:lnTo>
                  <a:pt x="380" y="1852"/>
                </a:lnTo>
                <a:lnTo>
                  <a:pt x="383" y="1854"/>
                </a:lnTo>
                <a:lnTo>
                  <a:pt x="384" y="1858"/>
                </a:lnTo>
                <a:lnTo>
                  <a:pt x="384" y="1861"/>
                </a:lnTo>
                <a:lnTo>
                  <a:pt x="384" y="1865"/>
                </a:lnTo>
                <a:lnTo>
                  <a:pt x="383" y="1867"/>
                </a:lnTo>
                <a:lnTo>
                  <a:pt x="382" y="1871"/>
                </a:lnTo>
                <a:lnTo>
                  <a:pt x="379" y="1874"/>
                </a:lnTo>
                <a:lnTo>
                  <a:pt x="376" y="1877"/>
                </a:lnTo>
                <a:lnTo>
                  <a:pt x="372" y="1878"/>
                </a:lnTo>
                <a:lnTo>
                  <a:pt x="367" y="1879"/>
                </a:lnTo>
                <a:lnTo>
                  <a:pt x="354" y="1880"/>
                </a:lnTo>
                <a:lnTo>
                  <a:pt x="341" y="1881"/>
                </a:lnTo>
                <a:lnTo>
                  <a:pt x="335" y="1883"/>
                </a:lnTo>
                <a:lnTo>
                  <a:pt x="331" y="1884"/>
                </a:lnTo>
                <a:lnTo>
                  <a:pt x="327" y="1886"/>
                </a:lnTo>
                <a:lnTo>
                  <a:pt x="325" y="1889"/>
                </a:lnTo>
                <a:lnTo>
                  <a:pt x="325" y="1891"/>
                </a:lnTo>
                <a:lnTo>
                  <a:pt x="326" y="1892"/>
                </a:lnTo>
                <a:lnTo>
                  <a:pt x="327" y="1894"/>
                </a:lnTo>
                <a:lnTo>
                  <a:pt x="329" y="1897"/>
                </a:lnTo>
                <a:lnTo>
                  <a:pt x="335" y="1903"/>
                </a:lnTo>
                <a:lnTo>
                  <a:pt x="342" y="1909"/>
                </a:lnTo>
                <a:lnTo>
                  <a:pt x="351" y="1913"/>
                </a:lnTo>
                <a:lnTo>
                  <a:pt x="360" y="1917"/>
                </a:lnTo>
                <a:lnTo>
                  <a:pt x="367" y="1919"/>
                </a:lnTo>
                <a:lnTo>
                  <a:pt x="373" y="1921"/>
                </a:lnTo>
                <a:lnTo>
                  <a:pt x="378" y="1918"/>
                </a:lnTo>
                <a:lnTo>
                  <a:pt x="382" y="1916"/>
                </a:lnTo>
                <a:lnTo>
                  <a:pt x="385" y="1911"/>
                </a:lnTo>
                <a:lnTo>
                  <a:pt x="388" y="1905"/>
                </a:lnTo>
                <a:lnTo>
                  <a:pt x="394" y="1892"/>
                </a:lnTo>
                <a:lnTo>
                  <a:pt x="397" y="1881"/>
                </a:lnTo>
                <a:lnTo>
                  <a:pt x="403" y="1860"/>
                </a:lnTo>
                <a:lnTo>
                  <a:pt x="410" y="1843"/>
                </a:lnTo>
                <a:lnTo>
                  <a:pt x="417" y="1829"/>
                </a:lnTo>
                <a:lnTo>
                  <a:pt x="424" y="1818"/>
                </a:lnTo>
                <a:lnTo>
                  <a:pt x="432" y="1811"/>
                </a:lnTo>
                <a:lnTo>
                  <a:pt x="439" y="1805"/>
                </a:lnTo>
                <a:lnTo>
                  <a:pt x="446" y="1802"/>
                </a:lnTo>
                <a:lnTo>
                  <a:pt x="453" y="1799"/>
                </a:lnTo>
                <a:lnTo>
                  <a:pt x="468" y="1798"/>
                </a:lnTo>
                <a:lnTo>
                  <a:pt x="483" y="1797"/>
                </a:lnTo>
                <a:lnTo>
                  <a:pt x="489" y="1797"/>
                </a:lnTo>
                <a:lnTo>
                  <a:pt x="496" y="1795"/>
                </a:lnTo>
                <a:lnTo>
                  <a:pt x="502" y="1792"/>
                </a:lnTo>
                <a:lnTo>
                  <a:pt x="508" y="1787"/>
                </a:lnTo>
                <a:lnTo>
                  <a:pt x="515" y="1780"/>
                </a:lnTo>
                <a:lnTo>
                  <a:pt x="523" y="1776"/>
                </a:lnTo>
                <a:lnTo>
                  <a:pt x="528" y="1773"/>
                </a:lnTo>
                <a:lnTo>
                  <a:pt x="533" y="1772"/>
                </a:lnTo>
                <a:lnTo>
                  <a:pt x="539" y="1772"/>
                </a:lnTo>
                <a:lnTo>
                  <a:pt x="544" y="1772"/>
                </a:lnTo>
                <a:lnTo>
                  <a:pt x="550" y="1772"/>
                </a:lnTo>
                <a:lnTo>
                  <a:pt x="558" y="1770"/>
                </a:lnTo>
                <a:lnTo>
                  <a:pt x="565" y="1768"/>
                </a:lnTo>
                <a:lnTo>
                  <a:pt x="573" y="1766"/>
                </a:lnTo>
                <a:lnTo>
                  <a:pt x="586" y="1761"/>
                </a:lnTo>
                <a:lnTo>
                  <a:pt x="598" y="1758"/>
                </a:lnTo>
                <a:lnTo>
                  <a:pt x="610" y="1746"/>
                </a:lnTo>
                <a:lnTo>
                  <a:pt x="621" y="1735"/>
                </a:lnTo>
                <a:lnTo>
                  <a:pt x="627" y="1735"/>
                </a:lnTo>
                <a:lnTo>
                  <a:pt x="634" y="1734"/>
                </a:lnTo>
                <a:lnTo>
                  <a:pt x="638" y="1734"/>
                </a:lnTo>
                <a:lnTo>
                  <a:pt x="642" y="1734"/>
                </a:lnTo>
                <a:lnTo>
                  <a:pt x="646" y="1735"/>
                </a:lnTo>
                <a:lnTo>
                  <a:pt x="649" y="1736"/>
                </a:lnTo>
                <a:lnTo>
                  <a:pt x="651" y="1739"/>
                </a:lnTo>
                <a:lnTo>
                  <a:pt x="654" y="1742"/>
                </a:lnTo>
                <a:lnTo>
                  <a:pt x="655" y="1746"/>
                </a:lnTo>
                <a:lnTo>
                  <a:pt x="656" y="1751"/>
                </a:lnTo>
                <a:lnTo>
                  <a:pt x="657" y="1758"/>
                </a:lnTo>
                <a:lnTo>
                  <a:pt x="660" y="1763"/>
                </a:lnTo>
                <a:lnTo>
                  <a:pt x="661" y="1766"/>
                </a:lnTo>
                <a:lnTo>
                  <a:pt x="663" y="1767"/>
                </a:lnTo>
                <a:lnTo>
                  <a:pt x="665" y="1768"/>
                </a:lnTo>
                <a:lnTo>
                  <a:pt x="667" y="1768"/>
                </a:lnTo>
                <a:lnTo>
                  <a:pt x="672" y="1767"/>
                </a:lnTo>
                <a:lnTo>
                  <a:pt x="679" y="1763"/>
                </a:lnTo>
                <a:lnTo>
                  <a:pt x="686" y="1759"/>
                </a:lnTo>
                <a:lnTo>
                  <a:pt x="691" y="1754"/>
                </a:lnTo>
                <a:lnTo>
                  <a:pt x="694" y="1751"/>
                </a:lnTo>
                <a:lnTo>
                  <a:pt x="695" y="1745"/>
                </a:lnTo>
                <a:lnTo>
                  <a:pt x="694" y="1736"/>
                </a:lnTo>
                <a:lnTo>
                  <a:pt x="693" y="1729"/>
                </a:lnTo>
                <a:lnTo>
                  <a:pt x="693" y="1727"/>
                </a:lnTo>
                <a:lnTo>
                  <a:pt x="693" y="1723"/>
                </a:lnTo>
                <a:lnTo>
                  <a:pt x="694" y="1721"/>
                </a:lnTo>
                <a:lnTo>
                  <a:pt x="697" y="1719"/>
                </a:lnTo>
                <a:lnTo>
                  <a:pt x="712" y="1711"/>
                </a:lnTo>
                <a:lnTo>
                  <a:pt x="709" y="1714"/>
                </a:lnTo>
                <a:lnTo>
                  <a:pt x="706" y="1714"/>
                </a:lnTo>
                <a:lnTo>
                  <a:pt x="706" y="1713"/>
                </a:lnTo>
                <a:lnTo>
                  <a:pt x="711" y="1709"/>
                </a:lnTo>
                <a:lnTo>
                  <a:pt x="722" y="1701"/>
                </a:lnTo>
                <a:lnTo>
                  <a:pt x="724" y="1700"/>
                </a:lnTo>
                <a:lnTo>
                  <a:pt x="726" y="1698"/>
                </a:lnTo>
                <a:lnTo>
                  <a:pt x="729" y="1700"/>
                </a:lnTo>
                <a:lnTo>
                  <a:pt x="730" y="1701"/>
                </a:lnTo>
                <a:lnTo>
                  <a:pt x="732" y="1705"/>
                </a:lnTo>
                <a:lnTo>
                  <a:pt x="732" y="1711"/>
                </a:lnTo>
                <a:lnTo>
                  <a:pt x="732" y="1719"/>
                </a:lnTo>
                <a:lnTo>
                  <a:pt x="733" y="1726"/>
                </a:lnTo>
                <a:lnTo>
                  <a:pt x="736" y="1728"/>
                </a:lnTo>
                <a:lnTo>
                  <a:pt x="738" y="1730"/>
                </a:lnTo>
                <a:lnTo>
                  <a:pt x="742" y="1733"/>
                </a:lnTo>
                <a:lnTo>
                  <a:pt x="747" y="1734"/>
                </a:lnTo>
                <a:lnTo>
                  <a:pt x="761" y="1735"/>
                </a:lnTo>
                <a:lnTo>
                  <a:pt x="776" y="1735"/>
                </a:lnTo>
                <a:lnTo>
                  <a:pt x="782" y="1734"/>
                </a:lnTo>
                <a:lnTo>
                  <a:pt x="787" y="1732"/>
                </a:lnTo>
                <a:lnTo>
                  <a:pt x="788" y="1730"/>
                </a:lnTo>
                <a:lnTo>
                  <a:pt x="789" y="1729"/>
                </a:lnTo>
                <a:lnTo>
                  <a:pt x="789" y="1727"/>
                </a:lnTo>
                <a:lnTo>
                  <a:pt x="789" y="1724"/>
                </a:lnTo>
                <a:lnTo>
                  <a:pt x="788" y="1720"/>
                </a:lnTo>
                <a:lnTo>
                  <a:pt x="787" y="1716"/>
                </a:lnTo>
                <a:lnTo>
                  <a:pt x="788" y="1713"/>
                </a:lnTo>
                <a:lnTo>
                  <a:pt x="788" y="1709"/>
                </a:lnTo>
                <a:lnTo>
                  <a:pt x="791" y="1708"/>
                </a:lnTo>
                <a:lnTo>
                  <a:pt x="792" y="1708"/>
                </a:lnTo>
                <a:lnTo>
                  <a:pt x="794" y="1709"/>
                </a:lnTo>
                <a:lnTo>
                  <a:pt x="798" y="1713"/>
                </a:lnTo>
                <a:lnTo>
                  <a:pt x="802" y="1721"/>
                </a:lnTo>
                <a:lnTo>
                  <a:pt x="807" y="1728"/>
                </a:lnTo>
                <a:lnTo>
                  <a:pt x="811" y="1730"/>
                </a:lnTo>
                <a:lnTo>
                  <a:pt x="812" y="1732"/>
                </a:lnTo>
                <a:lnTo>
                  <a:pt x="814" y="1730"/>
                </a:lnTo>
                <a:lnTo>
                  <a:pt x="817" y="1728"/>
                </a:lnTo>
                <a:lnTo>
                  <a:pt x="820" y="1719"/>
                </a:lnTo>
                <a:lnTo>
                  <a:pt x="823" y="1708"/>
                </a:lnTo>
                <a:lnTo>
                  <a:pt x="825" y="1702"/>
                </a:lnTo>
                <a:lnTo>
                  <a:pt x="827" y="1697"/>
                </a:lnTo>
                <a:lnTo>
                  <a:pt x="831" y="1694"/>
                </a:lnTo>
                <a:lnTo>
                  <a:pt x="836" y="1692"/>
                </a:lnTo>
                <a:lnTo>
                  <a:pt x="845" y="1688"/>
                </a:lnTo>
                <a:lnTo>
                  <a:pt x="856" y="1682"/>
                </a:lnTo>
                <a:lnTo>
                  <a:pt x="860" y="1678"/>
                </a:lnTo>
                <a:lnTo>
                  <a:pt x="863" y="1675"/>
                </a:lnTo>
                <a:lnTo>
                  <a:pt x="867" y="1670"/>
                </a:lnTo>
                <a:lnTo>
                  <a:pt x="868" y="1665"/>
                </a:lnTo>
                <a:lnTo>
                  <a:pt x="869" y="1660"/>
                </a:lnTo>
                <a:lnTo>
                  <a:pt x="868" y="1656"/>
                </a:lnTo>
                <a:lnTo>
                  <a:pt x="868" y="1651"/>
                </a:lnTo>
                <a:lnTo>
                  <a:pt x="865" y="1648"/>
                </a:lnTo>
                <a:lnTo>
                  <a:pt x="863" y="1645"/>
                </a:lnTo>
                <a:lnTo>
                  <a:pt x="860" y="1644"/>
                </a:lnTo>
                <a:lnTo>
                  <a:pt x="856" y="1642"/>
                </a:lnTo>
                <a:lnTo>
                  <a:pt x="852" y="1644"/>
                </a:lnTo>
                <a:lnTo>
                  <a:pt x="845" y="1645"/>
                </a:lnTo>
                <a:lnTo>
                  <a:pt x="839" y="1644"/>
                </a:lnTo>
                <a:lnTo>
                  <a:pt x="835" y="1641"/>
                </a:lnTo>
                <a:lnTo>
                  <a:pt x="831" y="1635"/>
                </a:lnTo>
                <a:lnTo>
                  <a:pt x="829" y="1632"/>
                </a:lnTo>
                <a:lnTo>
                  <a:pt x="829" y="1628"/>
                </a:lnTo>
                <a:lnTo>
                  <a:pt x="830" y="1625"/>
                </a:lnTo>
                <a:lnTo>
                  <a:pt x="831" y="1622"/>
                </a:lnTo>
                <a:lnTo>
                  <a:pt x="833" y="1621"/>
                </a:lnTo>
                <a:lnTo>
                  <a:pt x="836" y="1620"/>
                </a:lnTo>
                <a:lnTo>
                  <a:pt x="838" y="1619"/>
                </a:lnTo>
                <a:lnTo>
                  <a:pt x="842" y="1618"/>
                </a:lnTo>
                <a:lnTo>
                  <a:pt x="857" y="1618"/>
                </a:lnTo>
                <a:lnTo>
                  <a:pt x="877" y="1620"/>
                </a:lnTo>
                <a:lnTo>
                  <a:pt x="886" y="1621"/>
                </a:lnTo>
                <a:lnTo>
                  <a:pt x="892" y="1623"/>
                </a:lnTo>
                <a:lnTo>
                  <a:pt x="894" y="1625"/>
                </a:lnTo>
                <a:lnTo>
                  <a:pt x="895" y="1626"/>
                </a:lnTo>
                <a:lnTo>
                  <a:pt x="895" y="1627"/>
                </a:lnTo>
                <a:lnTo>
                  <a:pt x="894" y="1629"/>
                </a:lnTo>
                <a:lnTo>
                  <a:pt x="889" y="1634"/>
                </a:lnTo>
                <a:lnTo>
                  <a:pt x="888" y="1638"/>
                </a:lnTo>
                <a:lnTo>
                  <a:pt x="887" y="1644"/>
                </a:lnTo>
                <a:lnTo>
                  <a:pt x="887" y="1650"/>
                </a:lnTo>
                <a:lnTo>
                  <a:pt x="887" y="1652"/>
                </a:lnTo>
                <a:lnTo>
                  <a:pt x="888" y="1654"/>
                </a:lnTo>
                <a:lnTo>
                  <a:pt x="889" y="1656"/>
                </a:lnTo>
                <a:lnTo>
                  <a:pt x="892" y="1657"/>
                </a:lnTo>
                <a:lnTo>
                  <a:pt x="898" y="1658"/>
                </a:lnTo>
                <a:lnTo>
                  <a:pt x="903" y="1661"/>
                </a:lnTo>
                <a:lnTo>
                  <a:pt x="905" y="1664"/>
                </a:lnTo>
                <a:lnTo>
                  <a:pt x="906" y="1666"/>
                </a:lnTo>
                <a:lnTo>
                  <a:pt x="906" y="1670"/>
                </a:lnTo>
                <a:lnTo>
                  <a:pt x="905" y="1673"/>
                </a:lnTo>
                <a:lnTo>
                  <a:pt x="902" y="1682"/>
                </a:lnTo>
                <a:lnTo>
                  <a:pt x="900" y="1688"/>
                </a:lnTo>
                <a:lnTo>
                  <a:pt x="893" y="1696"/>
                </a:lnTo>
                <a:lnTo>
                  <a:pt x="881" y="1705"/>
                </a:lnTo>
                <a:lnTo>
                  <a:pt x="877" y="1711"/>
                </a:lnTo>
                <a:lnTo>
                  <a:pt x="876" y="1714"/>
                </a:lnTo>
                <a:lnTo>
                  <a:pt x="877" y="1715"/>
                </a:lnTo>
                <a:lnTo>
                  <a:pt x="880" y="1716"/>
                </a:lnTo>
                <a:lnTo>
                  <a:pt x="882" y="1716"/>
                </a:lnTo>
                <a:lnTo>
                  <a:pt x="887" y="1715"/>
                </a:lnTo>
                <a:lnTo>
                  <a:pt x="893" y="1714"/>
                </a:lnTo>
                <a:lnTo>
                  <a:pt x="899" y="1711"/>
                </a:lnTo>
                <a:lnTo>
                  <a:pt x="906" y="1708"/>
                </a:lnTo>
                <a:lnTo>
                  <a:pt x="912" y="1704"/>
                </a:lnTo>
                <a:lnTo>
                  <a:pt x="919" y="1700"/>
                </a:lnTo>
                <a:lnTo>
                  <a:pt x="926" y="1697"/>
                </a:lnTo>
                <a:lnTo>
                  <a:pt x="932" y="1694"/>
                </a:lnTo>
                <a:lnTo>
                  <a:pt x="939" y="1692"/>
                </a:lnTo>
                <a:lnTo>
                  <a:pt x="949" y="1692"/>
                </a:lnTo>
                <a:lnTo>
                  <a:pt x="955" y="1690"/>
                </a:lnTo>
                <a:lnTo>
                  <a:pt x="957" y="1689"/>
                </a:lnTo>
                <a:lnTo>
                  <a:pt x="959" y="1688"/>
                </a:lnTo>
                <a:lnTo>
                  <a:pt x="961" y="1685"/>
                </a:lnTo>
                <a:lnTo>
                  <a:pt x="961" y="1683"/>
                </a:lnTo>
                <a:lnTo>
                  <a:pt x="962" y="1677"/>
                </a:lnTo>
                <a:lnTo>
                  <a:pt x="959" y="1672"/>
                </a:lnTo>
                <a:lnTo>
                  <a:pt x="958" y="1670"/>
                </a:lnTo>
                <a:lnTo>
                  <a:pt x="956" y="1669"/>
                </a:lnTo>
                <a:lnTo>
                  <a:pt x="952" y="1667"/>
                </a:lnTo>
                <a:lnTo>
                  <a:pt x="949" y="1667"/>
                </a:lnTo>
                <a:lnTo>
                  <a:pt x="940" y="1669"/>
                </a:lnTo>
                <a:lnTo>
                  <a:pt x="934" y="1666"/>
                </a:lnTo>
                <a:lnTo>
                  <a:pt x="932" y="1665"/>
                </a:lnTo>
                <a:lnTo>
                  <a:pt x="930" y="1663"/>
                </a:lnTo>
                <a:lnTo>
                  <a:pt x="927" y="1660"/>
                </a:lnTo>
                <a:lnTo>
                  <a:pt x="926" y="1656"/>
                </a:lnTo>
                <a:lnTo>
                  <a:pt x="926" y="1652"/>
                </a:lnTo>
                <a:lnTo>
                  <a:pt x="926" y="1648"/>
                </a:lnTo>
                <a:lnTo>
                  <a:pt x="927" y="1645"/>
                </a:lnTo>
                <a:lnTo>
                  <a:pt x="928" y="1641"/>
                </a:lnTo>
                <a:lnTo>
                  <a:pt x="933" y="1635"/>
                </a:lnTo>
                <a:lnTo>
                  <a:pt x="940" y="1631"/>
                </a:lnTo>
                <a:lnTo>
                  <a:pt x="946" y="1625"/>
                </a:lnTo>
                <a:lnTo>
                  <a:pt x="950" y="1621"/>
                </a:lnTo>
                <a:lnTo>
                  <a:pt x="950" y="1619"/>
                </a:lnTo>
                <a:lnTo>
                  <a:pt x="950" y="1616"/>
                </a:lnTo>
                <a:lnTo>
                  <a:pt x="947" y="1615"/>
                </a:lnTo>
                <a:lnTo>
                  <a:pt x="944" y="1613"/>
                </a:lnTo>
                <a:lnTo>
                  <a:pt x="936" y="1607"/>
                </a:lnTo>
                <a:lnTo>
                  <a:pt x="928" y="1600"/>
                </a:lnTo>
                <a:lnTo>
                  <a:pt x="923" y="1593"/>
                </a:lnTo>
                <a:lnTo>
                  <a:pt x="919" y="1584"/>
                </a:lnTo>
                <a:lnTo>
                  <a:pt x="917" y="1582"/>
                </a:lnTo>
                <a:lnTo>
                  <a:pt x="917" y="1578"/>
                </a:lnTo>
                <a:lnTo>
                  <a:pt x="918" y="1576"/>
                </a:lnTo>
                <a:lnTo>
                  <a:pt x="919" y="1574"/>
                </a:lnTo>
                <a:lnTo>
                  <a:pt x="921" y="1572"/>
                </a:lnTo>
                <a:lnTo>
                  <a:pt x="925" y="1571"/>
                </a:lnTo>
                <a:lnTo>
                  <a:pt x="928" y="1571"/>
                </a:lnTo>
                <a:lnTo>
                  <a:pt x="934" y="1571"/>
                </a:lnTo>
                <a:lnTo>
                  <a:pt x="939" y="1572"/>
                </a:lnTo>
                <a:lnTo>
                  <a:pt x="943" y="1575"/>
                </a:lnTo>
                <a:lnTo>
                  <a:pt x="947" y="1578"/>
                </a:lnTo>
                <a:lnTo>
                  <a:pt x="951" y="1582"/>
                </a:lnTo>
                <a:lnTo>
                  <a:pt x="957" y="1590"/>
                </a:lnTo>
                <a:lnTo>
                  <a:pt x="963" y="1600"/>
                </a:lnTo>
                <a:lnTo>
                  <a:pt x="965" y="1603"/>
                </a:lnTo>
                <a:lnTo>
                  <a:pt x="968" y="1607"/>
                </a:lnTo>
                <a:lnTo>
                  <a:pt x="970" y="1609"/>
                </a:lnTo>
                <a:lnTo>
                  <a:pt x="974" y="1610"/>
                </a:lnTo>
                <a:lnTo>
                  <a:pt x="977" y="1612"/>
                </a:lnTo>
                <a:lnTo>
                  <a:pt x="980" y="1612"/>
                </a:lnTo>
                <a:lnTo>
                  <a:pt x="983" y="1612"/>
                </a:lnTo>
                <a:lnTo>
                  <a:pt x="987" y="1609"/>
                </a:lnTo>
                <a:lnTo>
                  <a:pt x="995" y="1607"/>
                </a:lnTo>
                <a:lnTo>
                  <a:pt x="1007" y="1606"/>
                </a:lnTo>
                <a:lnTo>
                  <a:pt x="1018" y="1606"/>
                </a:lnTo>
                <a:lnTo>
                  <a:pt x="1026" y="1606"/>
                </a:lnTo>
                <a:lnTo>
                  <a:pt x="1029" y="1606"/>
                </a:lnTo>
                <a:lnTo>
                  <a:pt x="1032" y="1607"/>
                </a:lnTo>
                <a:lnTo>
                  <a:pt x="1034" y="1608"/>
                </a:lnTo>
                <a:lnTo>
                  <a:pt x="1035" y="1610"/>
                </a:lnTo>
                <a:lnTo>
                  <a:pt x="1039" y="1616"/>
                </a:lnTo>
                <a:lnTo>
                  <a:pt x="1040" y="1626"/>
                </a:lnTo>
                <a:lnTo>
                  <a:pt x="1041" y="1629"/>
                </a:lnTo>
                <a:lnTo>
                  <a:pt x="1044" y="1634"/>
                </a:lnTo>
                <a:lnTo>
                  <a:pt x="1047" y="1639"/>
                </a:lnTo>
                <a:lnTo>
                  <a:pt x="1053" y="1644"/>
                </a:lnTo>
                <a:lnTo>
                  <a:pt x="1059" y="1647"/>
                </a:lnTo>
                <a:lnTo>
                  <a:pt x="1066" y="1650"/>
                </a:lnTo>
                <a:lnTo>
                  <a:pt x="1075" y="1651"/>
                </a:lnTo>
                <a:lnTo>
                  <a:pt x="1083" y="1651"/>
                </a:lnTo>
                <a:lnTo>
                  <a:pt x="1090" y="1648"/>
                </a:lnTo>
                <a:lnTo>
                  <a:pt x="1097" y="1645"/>
                </a:lnTo>
                <a:lnTo>
                  <a:pt x="1102" y="1640"/>
                </a:lnTo>
                <a:lnTo>
                  <a:pt x="1106" y="1634"/>
                </a:lnTo>
                <a:lnTo>
                  <a:pt x="1109" y="1628"/>
                </a:lnTo>
                <a:lnTo>
                  <a:pt x="1110" y="1621"/>
                </a:lnTo>
                <a:lnTo>
                  <a:pt x="1110" y="1613"/>
                </a:lnTo>
                <a:lnTo>
                  <a:pt x="1110" y="1606"/>
                </a:lnTo>
                <a:lnTo>
                  <a:pt x="1108" y="1588"/>
                </a:lnTo>
                <a:lnTo>
                  <a:pt x="1106" y="1570"/>
                </a:lnTo>
                <a:lnTo>
                  <a:pt x="1103" y="1553"/>
                </a:lnTo>
                <a:lnTo>
                  <a:pt x="1102" y="1540"/>
                </a:lnTo>
                <a:lnTo>
                  <a:pt x="1101" y="1533"/>
                </a:lnTo>
                <a:lnTo>
                  <a:pt x="1100" y="1525"/>
                </a:lnTo>
                <a:lnTo>
                  <a:pt x="1101" y="1521"/>
                </a:lnTo>
                <a:lnTo>
                  <a:pt x="1103" y="1518"/>
                </a:lnTo>
                <a:lnTo>
                  <a:pt x="1106" y="1515"/>
                </a:lnTo>
                <a:lnTo>
                  <a:pt x="1110" y="1514"/>
                </a:lnTo>
                <a:lnTo>
                  <a:pt x="1114" y="1514"/>
                </a:lnTo>
                <a:lnTo>
                  <a:pt x="1115" y="1514"/>
                </a:lnTo>
                <a:lnTo>
                  <a:pt x="1117" y="1515"/>
                </a:lnTo>
                <a:lnTo>
                  <a:pt x="1119" y="1516"/>
                </a:lnTo>
                <a:lnTo>
                  <a:pt x="1121" y="1521"/>
                </a:lnTo>
                <a:lnTo>
                  <a:pt x="1122" y="1526"/>
                </a:lnTo>
                <a:lnTo>
                  <a:pt x="1123" y="1536"/>
                </a:lnTo>
                <a:lnTo>
                  <a:pt x="1125" y="1540"/>
                </a:lnTo>
                <a:lnTo>
                  <a:pt x="1128" y="1541"/>
                </a:lnTo>
                <a:lnTo>
                  <a:pt x="1132" y="1541"/>
                </a:lnTo>
                <a:lnTo>
                  <a:pt x="1135" y="1541"/>
                </a:lnTo>
                <a:lnTo>
                  <a:pt x="1139" y="1540"/>
                </a:lnTo>
                <a:lnTo>
                  <a:pt x="1147" y="1537"/>
                </a:lnTo>
                <a:lnTo>
                  <a:pt x="1152" y="1532"/>
                </a:lnTo>
                <a:lnTo>
                  <a:pt x="1154" y="1530"/>
                </a:lnTo>
                <a:lnTo>
                  <a:pt x="1157" y="1528"/>
                </a:lnTo>
                <a:lnTo>
                  <a:pt x="1159" y="1528"/>
                </a:lnTo>
                <a:lnTo>
                  <a:pt x="1160" y="1528"/>
                </a:lnTo>
                <a:lnTo>
                  <a:pt x="1163" y="1531"/>
                </a:lnTo>
                <a:lnTo>
                  <a:pt x="1164" y="1536"/>
                </a:lnTo>
                <a:lnTo>
                  <a:pt x="1163" y="1540"/>
                </a:lnTo>
                <a:lnTo>
                  <a:pt x="1161" y="1543"/>
                </a:lnTo>
                <a:lnTo>
                  <a:pt x="1158" y="1545"/>
                </a:lnTo>
                <a:lnTo>
                  <a:pt x="1152" y="1547"/>
                </a:lnTo>
                <a:lnTo>
                  <a:pt x="1145" y="1551"/>
                </a:lnTo>
                <a:lnTo>
                  <a:pt x="1140" y="1555"/>
                </a:lnTo>
                <a:lnTo>
                  <a:pt x="1135" y="1559"/>
                </a:lnTo>
                <a:lnTo>
                  <a:pt x="1132" y="1566"/>
                </a:lnTo>
                <a:lnTo>
                  <a:pt x="1131" y="1574"/>
                </a:lnTo>
                <a:lnTo>
                  <a:pt x="1132" y="1582"/>
                </a:lnTo>
                <a:lnTo>
                  <a:pt x="1133" y="1585"/>
                </a:lnTo>
                <a:lnTo>
                  <a:pt x="1134" y="1589"/>
                </a:lnTo>
                <a:lnTo>
                  <a:pt x="1138" y="1591"/>
                </a:lnTo>
                <a:lnTo>
                  <a:pt x="1141" y="1594"/>
                </a:lnTo>
                <a:lnTo>
                  <a:pt x="1156" y="1601"/>
                </a:lnTo>
                <a:lnTo>
                  <a:pt x="1170" y="1610"/>
                </a:lnTo>
                <a:lnTo>
                  <a:pt x="1177" y="1615"/>
                </a:lnTo>
                <a:lnTo>
                  <a:pt x="1184" y="1619"/>
                </a:lnTo>
                <a:lnTo>
                  <a:pt x="1191" y="1621"/>
                </a:lnTo>
                <a:lnTo>
                  <a:pt x="1198" y="1622"/>
                </a:lnTo>
                <a:lnTo>
                  <a:pt x="1202" y="1621"/>
                </a:lnTo>
                <a:lnTo>
                  <a:pt x="1205" y="1620"/>
                </a:lnTo>
                <a:lnTo>
                  <a:pt x="1209" y="1618"/>
                </a:lnTo>
                <a:lnTo>
                  <a:pt x="1214" y="1615"/>
                </a:lnTo>
                <a:lnTo>
                  <a:pt x="1219" y="1610"/>
                </a:lnTo>
                <a:lnTo>
                  <a:pt x="1222" y="1606"/>
                </a:lnTo>
                <a:lnTo>
                  <a:pt x="1227" y="1600"/>
                </a:lnTo>
                <a:lnTo>
                  <a:pt x="1232" y="1593"/>
                </a:lnTo>
                <a:lnTo>
                  <a:pt x="1238" y="1581"/>
                </a:lnTo>
                <a:lnTo>
                  <a:pt x="1249" y="1563"/>
                </a:lnTo>
                <a:lnTo>
                  <a:pt x="1255" y="1555"/>
                </a:lnTo>
                <a:lnTo>
                  <a:pt x="1262" y="1547"/>
                </a:lnTo>
                <a:lnTo>
                  <a:pt x="1268" y="1541"/>
                </a:lnTo>
                <a:lnTo>
                  <a:pt x="1273" y="1539"/>
                </a:lnTo>
                <a:lnTo>
                  <a:pt x="1283" y="1536"/>
                </a:lnTo>
                <a:lnTo>
                  <a:pt x="1295" y="1534"/>
                </a:lnTo>
                <a:lnTo>
                  <a:pt x="1301" y="1536"/>
                </a:lnTo>
                <a:lnTo>
                  <a:pt x="1305" y="1538"/>
                </a:lnTo>
                <a:lnTo>
                  <a:pt x="1308" y="1540"/>
                </a:lnTo>
                <a:lnTo>
                  <a:pt x="1309" y="1543"/>
                </a:lnTo>
                <a:lnTo>
                  <a:pt x="1311" y="1545"/>
                </a:lnTo>
                <a:lnTo>
                  <a:pt x="1312" y="1549"/>
                </a:lnTo>
                <a:lnTo>
                  <a:pt x="1316" y="1563"/>
                </a:lnTo>
                <a:lnTo>
                  <a:pt x="1320" y="1572"/>
                </a:lnTo>
                <a:lnTo>
                  <a:pt x="1322" y="1575"/>
                </a:lnTo>
                <a:lnTo>
                  <a:pt x="1325" y="1577"/>
                </a:lnTo>
                <a:lnTo>
                  <a:pt x="1329" y="1577"/>
                </a:lnTo>
                <a:lnTo>
                  <a:pt x="1334" y="1576"/>
                </a:lnTo>
                <a:lnTo>
                  <a:pt x="1342" y="1572"/>
                </a:lnTo>
                <a:lnTo>
                  <a:pt x="1349" y="1568"/>
                </a:lnTo>
                <a:lnTo>
                  <a:pt x="1354" y="1563"/>
                </a:lnTo>
                <a:lnTo>
                  <a:pt x="1359" y="1556"/>
                </a:lnTo>
                <a:lnTo>
                  <a:pt x="1364" y="1547"/>
                </a:lnTo>
                <a:lnTo>
                  <a:pt x="1371" y="1539"/>
                </a:lnTo>
                <a:lnTo>
                  <a:pt x="1374" y="1536"/>
                </a:lnTo>
                <a:lnTo>
                  <a:pt x="1377" y="1532"/>
                </a:lnTo>
                <a:lnTo>
                  <a:pt x="1377" y="1528"/>
                </a:lnTo>
                <a:lnTo>
                  <a:pt x="1375" y="1527"/>
                </a:lnTo>
                <a:lnTo>
                  <a:pt x="1372" y="1520"/>
                </a:lnTo>
                <a:lnTo>
                  <a:pt x="1367" y="1505"/>
                </a:lnTo>
                <a:lnTo>
                  <a:pt x="1364" y="1488"/>
                </a:lnTo>
                <a:lnTo>
                  <a:pt x="1362" y="1476"/>
                </a:lnTo>
                <a:lnTo>
                  <a:pt x="1364" y="1465"/>
                </a:lnTo>
                <a:lnTo>
                  <a:pt x="1366" y="1452"/>
                </a:lnTo>
                <a:lnTo>
                  <a:pt x="1371" y="1439"/>
                </a:lnTo>
                <a:lnTo>
                  <a:pt x="1377" y="1430"/>
                </a:lnTo>
                <a:lnTo>
                  <a:pt x="1378" y="1426"/>
                </a:lnTo>
                <a:lnTo>
                  <a:pt x="1379" y="1423"/>
                </a:lnTo>
                <a:lnTo>
                  <a:pt x="1380" y="1419"/>
                </a:lnTo>
                <a:lnTo>
                  <a:pt x="1380" y="1415"/>
                </a:lnTo>
                <a:lnTo>
                  <a:pt x="1379" y="1405"/>
                </a:lnTo>
                <a:lnTo>
                  <a:pt x="1378" y="1388"/>
                </a:lnTo>
                <a:lnTo>
                  <a:pt x="1375" y="1370"/>
                </a:lnTo>
                <a:lnTo>
                  <a:pt x="1371" y="1356"/>
                </a:lnTo>
                <a:lnTo>
                  <a:pt x="1367" y="1343"/>
                </a:lnTo>
                <a:lnTo>
                  <a:pt x="1366" y="1333"/>
                </a:lnTo>
                <a:lnTo>
                  <a:pt x="1367" y="1325"/>
                </a:lnTo>
                <a:lnTo>
                  <a:pt x="1369" y="1317"/>
                </a:lnTo>
                <a:lnTo>
                  <a:pt x="1372" y="1313"/>
                </a:lnTo>
                <a:lnTo>
                  <a:pt x="1373" y="1310"/>
                </a:lnTo>
                <a:lnTo>
                  <a:pt x="1375" y="1307"/>
                </a:lnTo>
                <a:lnTo>
                  <a:pt x="1378" y="1307"/>
                </a:lnTo>
                <a:lnTo>
                  <a:pt x="1380" y="1307"/>
                </a:lnTo>
                <a:lnTo>
                  <a:pt x="1384" y="1310"/>
                </a:lnTo>
                <a:lnTo>
                  <a:pt x="1386" y="1314"/>
                </a:lnTo>
                <a:lnTo>
                  <a:pt x="1388" y="1319"/>
                </a:lnTo>
                <a:lnTo>
                  <a:pt x="1393" y="1332"/>
                </a:lnTo>
                <a:lnTo>
                  <a:pt x="1397" y="1347"/>
                </a:lnTo>
                <a:lnTo>
                  <a:pt x="1398" y="1356"/>
                </a:lnTo>
                <a:lnTo>
                  <a:pt x="1398" y="1371"/>
                </a:lnTo>
                <a:lnTo>
                  <a:pt x="1399" y="1392"/>
                </a:lnTo>
                <a:lnTo>
                  <a:pt x="1402" y="1413"/>
                </a:lnTo>
                <a:lnTo>
                  <a:pt x="1406" y="1438"/>
                </a:lnTo>
                <a:lnTo>
                  <a:pt x="1411" y="1458"/>
                </a:lnTo>
                <a:lnTo>
                  <a:pt x="1417" y="1474"/>
                </a:lnTo>
                <a:lnTo>
                  <a:pt x="1421" y="1480"/>
                </a:lnTo>
                <a:lnTo>
                  <a:pt x="1425" y="1483"/>
                </a:lnTo>
                <a:lnTo>
                  <a:pt x="1430" y="1486"/>
                </a:lnTo>
                <a:lnTo>
                  <a:pt x="1434" y="1488"/>
                </a:lnTo>
                <a:lnTo>
                  <a:pt x="1436" y="1492"/>
                </a:lnTo>
                <a:lnTo>
                  <a:pt x="1442" y="1505"/>
                </a:lnTo>
                <a:lnTo>
                  <a:pt x="1446" y="1515"/>
                </a:lnTo>
                <a:lnTo>
                  <a:pt x="1447" y="1516"/>
                </a:lnTo>
                <a:lnTo>
                  <a:pt x="1449" y="1518"/>
                </a:lnTo>
                <a:lnTo>
                  <a:pt x="1450" y="1518"/>
                </a:lnTo>
                <a:lnTo>
                  <a:pt x="1453" y="1518"/>
                </a:lnTo>
                <a:lnTo>
                  <a:pt x="1457" y="1515"/>
                </a:lnTo>
                <a:lnTo>
                  <a:pt x="1465" y="1508"/>
                </a:lnTo>
                <a:lnTo>
                  <a:pt x="1478" y="1496"/>
                </a:lnTo>
                <a:lnTo>
                  <a:pt x="1491" y="1481"/>
                </a:lnTo>
                <a:lnTo>
                  <a:pt x="1498" y="1473"/>
                </a:lnTo>
                <a:lnTo>
                  <a:pt x="1503" y="1463"/>
                </a:lnTo>
                <a:lnTo>
                  <a:pt x="1507" y="1453"/>
                </a:lnTo>
                <a:lnTo>
                  <a:pt x="1511" y="1444"/>
                </a:lnTo>
                <a:lnTo>
                  <a:pt x="1512" y="1437"/>
                </a:lnTo>
                <a:lnTo>
                  <a:pt x="1512" y="1430"/>
                </a:lnTo>
                <a:lnTo>
                  <a:pt x="1511" y="1424"/>
                </a:lnTo>
                <a:lnTo>
                  <a:pt x="1509" y="1418"/>
                </a:lnTo>
                <a:lnTo>
                  <a:pt x="1503" y="1405"/>
                </a:lnTo>
                <a:lnTo>
                  <a:pt x="1497" y="1393"/>
                </a:lnTo>
                <a:lnTo>
                  <a:pt x="1493" y="1382"/>
                </a:lnTo>
                <a:lnTo>
                  <a:pt x="1488" y="1371"/>
                </a:lnTo>
                <a:lnTo>
                  <a:pt x="1486" y="1367"/>
                </a:lnTo>
                <a:lnTo>
                  <a:pt x="1484" y="1362"/>
                </a:lnTo>
                <a:lnTo>
                  <a:pt x="1479" y="1358"/>
                </a:lnTo>
                <a:lnTo>
                  <a:pt x="1475" y="1355"/>
                </a:lnTo>
                <a:lnTo>
                  <a:pt x="1471" y="1352"/>
                </a:lnTo>
                <a:lnTo>
                  <a:pt x="1468" y="1350"/>
                </a:lnTo>
                <a:lnTo>
                  <a:pt x="1466" y="1348"/>
                </a:lnTo>
                <a:lnTo>
                  <a:pt x="1465" y="1344"/>
                </a:lnTo>
                <a:lnTo>
                  <a:pt x="1465" y="1342"/>
                </a:lnTo>
                <a:lnTo>
                  <a:pt x="1466" y="1339"/>
                </a:lnTo>
                <a:lnTo>
                  <a:pt x="1468" y="1338"/>
                </a:lnTo>
                <a:lnTo>
                  <a:pt x="1471" y="1337"/>
                </a:lnTo>
                <a:lnTo>
                  <a:pt x="1474" y="1338"/>
                </a:lnTo>
                <a:lnTo>
                  <a:pt x="1479" y="1339"/>
                </a:lnTo>
                <a:lnTo>
                  <a:pt x="1484" y="1343"/>
                </a:lnTo>
                <a:lnTo>
                  <a:pt x="1488" y="1348"/>
                </a:lnTo>
                <a:lnTo>
                  <a:pt x="1493" y="1354"/>
                </a:lnTo>
                <a:lnTo>
                  <a:pt x="1498" y="1360"/>
                </a:lnTo>
                <a:lnTo>
                  <a:pt x="1503" y="1367"/>
                </a:lnTo>
                <a:lnTo>
                  <a:pt x="1507" y="1374"/>
                </a:lnTo>
                <a:lnTo>
                  <a:pt x="1513" y="1388"/>
                </a:lnTo>
                <a:lnTo>
                  <a:pt x="1517" y="1399"/>
                </a:lnTo>
                <a:lnTo>
                  <a:pt x="1519" y="1407"/>
                </a:lnTo>
                <a:lnTo>
                  <a:pt x="1523" y="1412"/>
                </a:lnTo>
                <a:lnTo>
                  <a:pt x="1528" y="1413"/>
                </a:lnTo>
                <a:lnTo>
                  <a:pt x="1532" y="1415"/>
                </a:lnTo>
                <a:lnTo>
                  <a:pt x="1536" y="1418"/>
                </a:lnTo>
                <a:lnTo>
                  <a:pt x="1539" y="1424"/>
                </a:lnTo>
                <a:lnTo>
                  <a:pt x="1543" y="1429"/>
                </a:lnTo>
                <a:lnTo>
                  <a:pt x="1547" y="1432"/>
                </a:lnTo>
                <a:lnTo>
                  <a:pt x="1551" y="1433"/>
                </a:lnTo>
                <a:lnTo>
                  <a:pt x="1560" y="1434"/>
                </a:lnTo>
                <a:lnTo>
                  <a:pt x="1564" y="1433"/>
                </a:lnTo>
                <a:lnTo>
                  <a:pt x="1570" y="1432"/>
                </a:lnTo>
                <a:lnTo>
                  <a:pt x="1578" y="1429"/>
                </a:lnTo>
                <a:lnTo>
                  <a:pt x="1583" y="1425"/>
                </a:lnTo>
                <a:lnTo>
                  <a:pt x="1589" y="1420"/>
                </a:lnTo>
                <a:lnTo>
                  <a:pt x="1595" y="1415"/>
                </a:lnTo>
                <a:lnTo>
                  <a:pt x="1599" y="1411"/>
                </a:lnTo>
                <a:lnTo>
                  <a:pt x="1601" y="1405"/>
                </a:lnTo>
                <a:lnTo>
                  <a:pt x="1601" y="1400"/>
                </a:lnTo>
                <a:lnTo>
                  <a:pt x="1600" y="1394"/>
                </a:lnTo>
                <a:lnTo>
                  <a:pt x="1598" y="1390"/>
                </a:lnTo>
                <a:lnTo>
                  <a:pt x="1597" y="1386"/>
                </a:lnTo>
                <a:lnTo>
                  <a:pt x="1594" y="1382"/>
                </a:lnTo>
                <a:lnTo>
                  <a:pt x="1594" y="1379"/>
                </a:lnTo>
                <a:lnTo>
                  <a:pt x="1594" y="1376"/>
                </a:lnTo>
                <a:lnTo>
                  <a:pt x="1597" y="1375"/>
                </a:lnTo>
                <a:lnTo>
                  <a:pt x="1599" y="1373"/>
                </a:lnTo>
                <a:lnTo>
                  <a:pt x="1601" y="1370"/>
                </a:lnTo>
                <a:lnTo>
                  <a:pt x="1604" y="1367"/>
                </a:lnTo>
                <a:lnTo>
                  <a:pt x="1605" y="1362"/>
                </a:lnTo>
                <a:lnTo>
                  <a:pt x="1606" y="1357"/>
                </a:lnTo>
                <a:lnTo>
                  <a:pt x="1605" y="1354"/>
                </a:lnTo>
                <a:lnTo>
                  <a:pt x="1604" y="1350"/>
                </a:lnTo>
                <a:lnTo>
                  <a:pt x="1600" y="1347"/>
                </a:lnTo>
                <a:lnTo>
                  <a:pt x="1595" y="1343"/>
                </a:lnTo>
                <a:lnTo>
                  <a:pt x="1591" y="1339"/>
                </a:lnTo>
                <a:lnTo>
                  <a:pt x="1587" y="1336"/>
                </a:lnTo>
                <a:lnTo>
                  <a:pt x="1583" y="1331"/>
                </a:lnTo>
                <a:lnTo>
                  <a:pt x="1582" y="1326"/>
                </a:lnTo>
                <a:lnTo>
                  <a:pt x="1581" y="1320"/>
                </a:lnTo>
                <a:lnTo>
                  <a:pt x="1581" y="1313"/>
                </a:lnTo>
                <a:lnTo>
                  <a:pt x="1583" y="1304"/>
                </a:lnTo>
                <a:lnTo>
                  <a:pt x="1588" y="1288"/>
                </a:lnTo>
                <a:lnTo>
                  <a:pt x="1591" y="1275"/>
                </a:lnTo>
                <a:lnTo>
                  <a:pt x="1591" y="1270"/>
                </a:lnTo>
                <a:lnTo>
                  <a:pt x="1591" y="1267"/>
                </a:lnTo>
                <a:lnTo>
                  <a:pt x="1588" y="1263"/>
                </a:lnTo>
                <a:lnTo>
                  <a:pt x="1586" y="1261"/>
                </a:lnTo>
                <a:lnTo>
                  <a:pt x="1583" y="1260"/>
                </a:lnTo>
                <a:lnTo>
                  <a:pt x="1582" y="1256"/>
                </a:lnTo>
                <a:lnTo>
                  <a:pt x="1581" y="1253"/>
                </a:lnTo>
                <a:lnTo>
                  <a:pt x="1580" y="1248"/>
                </a:lnTo>
                <a:lnTo>
                  <a:pt x="1579" y="1240"/>
                </a:lnTo>
                <a:lnTo>
                  <a:pt x="1576" y="1232"/>
                </a:lnTo>
                <a:lnTo>
                  <a:pt x="1574" y="1229"/>
                </a:lnTo>
                <a:lnTo>
                  <a:pt x="1570" y="1226"/>
                </a:lnTo>
                <a:lnTo>
                  <a:pt x="1564" y="1223"/>
                </a:lnTo>
                <a:lnTo>
                  <a:pt x="1557" y="1219"/>
                </a:lnTo>
                <a:lnTo>
                  <a:pt x="1543" y="1213"/>
                </a:lnTo>
                <a:lnTo>
                  <a:pt x="1531" y="1209"/>
                </a:lnTo>
                <a:lnTo>
                  <a:pt x="1520" y="1205"/>
                </a:lnTo>
                <a:lnTo>
                  <a:pt x="1510" y="1202"/>
                </a:lnTo>
                <a:lnTo>
                  <a:pt x="1506" y="1199"/>
                </a:lnTo>
                <a:lnTo>
                  <a:pt x="1503" y="1196"/>
                </a:lnTo>
                <a:lnTo>
                  <a:pt x="1500" y="1192"/>
                </a:lnTo>
                <a:lnTo>
                  <a:pt x="1500" y="1187"/>
                </a:lnTo>
                <a:lnTo>
                  <a:pt x="1501" y="1185"/>
                </a:lnTo>
                <a:lnTo>
                  <a:pt x="1504" y="1182"/>
                </a:lnTo>
                <a:lnTo>
                  <a:pt x="1506" y="1180"/>
                </a:lnTo>
                <a:lnTo>
                  <a:pt x="1510" y="1179"/>
                </a:lnTo>
                <a:lnTo>
                  <a:pt x="1517" y="1178"/>
                </a:lnTo>
                <a:lnTo>
                  <a:pt x="1526" y="1177"/>
                </a:lnTo>
                <a:lnTo>
                  <a:pt x="1545" y="1177"/>
                </a:lnTo>
                <a:lnTo>
                  <a:pt x="1560" y="1175"/>
                </a:lnTo>
                <a:lnTo>
                  <a:pt x="1569" y="1174"/>
                </a:lnTo>
                <a:lnTo>
                  <a:pt x="1579" y="1174"/>
                </a:lnTo>
                <a:lnTo>
                  <a:pt x="1582" y="1173"/>
                </a:lnTo>
                <a:lnTo>
                  <a:pt x="1585" y="1172"/>
                </a:lnTo>
                <a:lnTo>
                  <a:pt x="1587" y="1171"/>
                </a:lnTo>
                <a:lnTo>
                  <a:pt x="1588" y="1167"/>
                </a:lnTo>
                <a:lnTo>
                  <a:pt x="1587" y="1162"/>
                </a:lnTo>
                <a:lnTo>
                  <a:pt x="1586" y="1159"/>
                </a:lnTo>
                <a:lnTo>
                  <a:pt x="1581" y="1156"/>
                </a:lnTo>
                <a:lnTo>
                  <a:pt x="1574" y="1154"/>
                </a:lnTo>
                <a:lnTo>
                  <a:pt x="1569" y="1153"/>
                </a:lnTo>
                <a:lnTo>
                  <a:pt x="1566" y="1149"/>
                </a:lnTo>
                <a:lnTo>
                  <a:pt x="1562" y="1146"/>
                </a:lnTo>
                <a:lnTo>
                  <a:pt x="1558" y="1141"/>
                </a:lnTo>
                <a:lnTo>
                  <a:pt x="1555" y="1135"/>
                </a:lnTo>
                <a:lnTo>
                  <a:pt x="1553" y="1130"/>
                </a:lnTo>
                <a:lnTo>
                  <a:pt x="1551" y="1124"/>
                </a:lnTo>
                <a:lnTo>
                  <a:pt x="1551" y="1119"/>
                </a:lnTo>
                <a:lnTo>
                  <a:pt x="1554" y="1108"/>
                </a:lnTo>
                <a:lnTo>
                  <a:pt x="1556" y="1095"/>
                </a:lnTo>
                <a:lnTo>
                  <a:pt x="1557" y="1087"/>
                </a:lnTo>
                <a:lnTo>
                  <a:pt x="1557" y="1080"/>
                </a:lnTo>
                <a:lnTo>
                  <a:pt x="1556" y="1074"/>
                </a:lnTo>
                <a:lnTo>
                  <a:pt x="1555" y="1068"/>
                </a:lnTo>
                <a:lnTo>
                  <a:pt x="1551" y="1060"/>
                </a:lnTo>
                <a:lnTo>
                  <a:pt x="1551" y="1054"/>
                </a:lnTo>
                <a:lnTo>
                  <a:pt x="1551" y="1053"/>
                </a:lnTo>
                <a:lnTo>
                  <a:pt x="1553" y="1052"/>
                </a:lnTo>
                <a:lnTo>
                  <a:pt x="1555" y="1051"/>
                </a:lnTo>
                <a:lnTo>
                  <a:pt x="1557" y="1051"/>
                </a:lnTo>
                <a:lnTo>
                  <a:pt x="1561" y="1052"/>
                </a:lnTo>
                <a:lnTo>
                  <a:pt x="1563" y="1055"/>
                </a:lnTo>
                <a:lnTo>
                  <a:pt x="1564" y="1060"/>
                </a:lnTo>
                <a:lnTo>
                  <a:pt x="1567" y="1065"/>
                </a:lnTo>
                <a:lnTo>
                  <a:pt x="1570" y="1077"/>
                </a:lnTo>
                <a:lnTo>
                  <a:pt x="1575" y="1089"/>
                </a:lnTo>
                <a:lnTo>
                  <a:pt x="1580" y="1096"/>
                </a:lnTo>
                <a:lnTo>
                  <a:pt x="1583" y="1100"/>
                </a:lnTo>
                <a:lnTo>
                  <a:pt x="1586" y="1102"/>
                </a:lnTo>
                <a:lnTo>
                  <a:pt x="1588" y="1100"/>
                </a:lnTo>
                <a:lnTo>
                  <a:pt x="1589" y="1099"/>
                </a:lnTo>
                <a:lnTo>
                  <a:pt x="1592" y="1097"/>
                </a:lnTo>
                <a:lnTo>
                  <a:pt x="1594" y="1093"/>
                </a:lnTo>
                <a:lnTo>
                  <a:pt x="1597" y="1092"/>
                </a:lnTo>
                <a:lnTo>
                  <a:pt x="1599" y="1092"/>
                </a:lnTo>
                <a:lnTo>
                  <a:pt x="1600" y="1095"/>
                </a:lnTo>
                <a:lnTo>
                  <a:pt x="1601" y="1097"/>
                </a:lnTo>
                <a:lnTo>
                  <a:pt x="1602" y="1102"/>
                </a:lnTo>
                <a:lnTo>
                  <a:pt x="1602" y="1108"/>
                </a:lnTo>
                <a:lnTo>
                  <a:pt x="1601" y="1115"/>
                </a:lnTo>
                <a:lnTo>
                  <a:pt x="1600" y="1129"/>
                </a:lnTo>
                <a:lnTo>
                  <a:pt x="1601" y="1140"/>
                </a:lnTo>
                <a:lnTo>
                  <a:pt x="1602" y="1144"/>
                </a:lnTo>
                <a:lnTo>
                  <a:pt x="1605" y="1148"/>
                </a:lnTo>
                <a:lnTo>
                  <a:pt x="1607" y="1152"/>
                </a:lnTo>
                <a:lnTo>
                  <a:pt x="1610" y="1155"/>
                </a:lnTo>
                <a:lnTo>
                  <a:pt x="1618" y="1161"/>
                </a:lnTo>
                <a:lnTo>
                  <a:pt x="1629" y="1166"/>
                </a:lnTo>
                <a:lnTo>
                  <a:pt x="1639" y="1169"/>
                </a:lnTo>
                <a:lnTo>
                  <a:pt x="1648" y="1173"/>
                </a:lnTo>
                <a:lnTo>
                  <a:pt x="1652" y="1175"/>
                </a:lnTo>
                <a:lnTo>
                  <a:pt x="1656" y="1177"/>
                </a:lnTo>
                <a:lnTo>
                  <a:pt x="1658" y="1179"/>
                </a:lnTo>
                <a:lnTo>
                  <a:pt x="1660" y="1181"/>
                </a:lnTo>
                <a:lnTo>
                  <a:pt x="1662" y="1184"/>
                </a:lnTo>
                <a:lnTo>
                  <a:pt x="1662" y="1188"/>
                </a:lnTo>
                <a:lnTo>
                  <a:pt x="1664" y="1200"/>
                </a:lnTo>
                <a:lnTo>
                  <a:pt x="1665" y="1210"/>
                </a:lnTo>
                <a:lnTo>
                  <a:pt x="1667" y="1215"/>
                </a:lnTo>
                <a:lnTo>
                  <a:pt x="1668" y="1219"/>
                </a:lnTo>
                <a:lnTo>
                  <a:pt x="1670" y="1224"/>
                </a:lnTo>
                <a:lnTo>
                  <a:pt x="1674" y="1228"/>
                </a:lnTo>
                <a:lnTo>
                  <a:pt x="1683" y="1236"/>
                </a:lnTo>
                <a:lnTo>
                  <a:pt x="1695" y="1247"/>
                </a:lnTo>
                <a:lnTo>
                  <a:pt x="1706" y="1257"/>
                </a:lnTo>
                <a:lnTo>
                  <a:pt x="1713" y="1268"/>
                </a:lnTo>
                <a:lnTo>
                  <a:pt x="1717" y="1273"/>
                </a:lnTo>
                <a:lnTo>
                  <a:pt x="1719" y="1279"/>
                </a:lnTo>
                <a:lnTo>
                  <a:pt x="1723" y="1284"/>
                </a:lnTo>
                <a:lnTo>
                  <a:pt x="1726" y="1286"/>
                </a:lnTo>
                <a:lnTo>
                  <a:pt x="1730" y="1286"/>
                </a:lnTo>
                <a:lnTo>
                  <a:pt x="1733" y="1284"/>
                </a:lnTo>
                <a:lnTo>
                  <a:pt x="1738" y="1280"/>
                </a:lnTo>
                <a:lnTo>
                  <a:pt x="1742" y="1276"/>
                </a:lnTo>
                <a:lnTo>
                  <a:pt x="1747" y="1273"/>
                </a:lnTo>
                <a:lnTo>
                  <a:pt x="1755" y="1270"/>
                </a:lnTo>
                <a:lnTo>
                  <a:pt x="1763" y="1270"/>
                </a:lnTo>
                <a:lnTo>
                  <a:pt x="1771" y="1273"/>
                </a:lnTo>
                <a:lnTo>
                  <a:pt x="1778" y="1278"/>
                </a:lnTo>
                <a:lnTo>
                  <a:pt x="1783" y="1279"/>
                </a:lnTo>
                <a:lnTo>
                  <a:pt x="1786" y="1278"/>
                </a:lnTo>
                <a:lnTo>
                  <a:pt x="1791" y="1274"/>
                </a:lnTo>
                <a:lnTo>
                  <a:pt x="1802" y="1269"/>
                </a:lnTo>
                <a:lnTo>
                  <a:pt x="1816" y="1267"/>
                </a:lnTo>
                <a:lnTo>
                  <a:pt x="1831" y="1266"/>
                </a:lnTo>
                <a:lnTo>
                  <a:pt x="1841" y="1265"/>
                </a:lnTo>
                <a:lnTo>
                  <a:pt x="1850" y="1263"/>
                </a:lnTo>
                <a:lnTo>
                  <a:pt x="1852" y="1263"/>
                </a:lnTo>
                <a:close/>
                <a:moveTo>
                  <a:pt x="386" y="1985"/>
                </a:moveTo>
                <a:lnTo>
                  <a:pt x="390" y="1985"/>
                </a:lnTo>
                <a:lnTo>
                  <a:pt x="392" y="1986"/>
                </a:lnTo>
                <a:lnTo>
                  <a:pt x="395" y="1988"/>
                </a:lnTo>
                <a:lnTo>
                  <a:pt x="396" y="1991"/>
                </a:lnTo>
                <a:lnTo>
                  <a:pt x="397" y="1997"/>
                </a:lnTo>
                <a:lnTo>
                  <a:pt x="396" y="2004"/>
                </a:lnTo>
                <a:lnTo>
                  <a:pt x="392" y="2011"/>
                </a:lnTo>
                <a:lnTo>
                  <a:pt x="389" y="2015"/>
                </a:lnTo>
                <a:lnTo>
                  <a:pt x="384" y="2017"/>
                </a:lnTo>
                <a:lnTo>
                  <a:pt x="380" y="2018"/>
                </a:lnTo>
                <a:lnTo>
                  <a:pt x="376" y="2017"/>
                </a:lnTo>
                <a:lnTo>
                  <a:pt x="372" y="2015"/>
                </a:lnTo>
                <a:lnTo>
                  <a:pt x="371" y="2010"/>
                </a:lnTo>
                <a:lnTo>
                  <a:pt x="370" y="2005"/>
                </a:lnTo>
                <a:lnTo>
                  <a:pt x="370" y="2001"/>
                </a:lnTo>
                <a:lnTo>
                  <a:pt x="370" y="1998"/>
                </a:lnTo>
                <a:lnTo>
                  <a:pt x="371" y="1994"/>
                </a:lnTo>
                <a:lnTo>
                  <a:pt x="373" y="1991"/>
                </a:lnTo>
                <a:lnTo>
                  <a:pt x="376" y="1988"/>
                </a:lnTo>
                <a:lnTo>
                  <a:pt x="378" y="1987"/>
                </a:lnTo>
                <a:lnTo>
                  <a:pt x="383" y="1986"/>
                </a:lnTo>
                <a:lnTo>
                  <a:pt x="386" y="1985"/>
                </a:lnTo>
                <a:close/>
                <a:moveTo>
                  <a:pt x="317" y="2101"/>
                </a:moveTo>
                <a:lnTo>
                  <a:pt x="317" y="2099"/>
                </a:lnTo>
                <a:lnTo>
                  <a:pt x="319" y="2098"/>
                </a:lnTo>
                <a:lnTo>
                  <a:pt x="320" y="2097"/>
                </a:lnTo>
                <a:lnTo>
                  <a:pt x="321" y="2097"/>
                </a:lnTo>
                <a:lnTo>
                  <a:pt x="323" y="2097"/>
                </a:lnTo>
                <a:lnTo>
                  <a:pt x="326" y="2100"/>
                </a:lnTo>
                <a:lnTo>
                  <a:pt x="328" y="2104"/>
                </a:lnTo>
                <a:lnTo>
                  <a:pt x="331" y="2106"/>
                </a:lnTo>
                <a:lnTo>
                  <a:pt x="333" y="2106"/>
                </a:lnTo>
                <a:lnTo>
                  <a:pt x="334" y="2102"/>
                </a:lnTo>
                <a:lnTo>
                  <a:pt x="335" y="2100"/>
                </a:lnTo>
                <a:lnTo>
                  <a:pt x="338" y="2098"/>
                </a:lnTo>
                <a:lnTo>
                  <a:pt x="339" y="2097"/>
                </a:lnTo>
                <a:lnTo>
                  <a:pt x="340" y="2097"/>
                </a:lnTo>
                <a:lnTo>
                  <a:pt x="341" y="2098"/>
                </a:lnTo>
                <a:lnTo>
                  <a:pt x="341" y="2100"/>
                </a:lnTo>
                <a:lnTo>
                  <a:pt x="341" y="2106"/>
                </a:lnTo>
                <a:lnTo>
                  <a:pt x="341" y="2112"/>
                </a:lnTo>
                <a:lnTo>
                  <a:pt x="340" y="2116"/>
                </a:lnTo>
                <a:lnTo>
                  <a:pt x="339" y="2118"/>
                </a:lnTo>
                <a:lnTo>
                  <a:pt x="338" y="2119"/>
                </a:lnTo>
                <a:lnTo>
                  <a:pt x="335" y="2120"/>
                </a:lnTo>
                <a:lnTo>
                  <a:pt x="332" y="2120"/>
                </a:lnTo>
                <a:lnTo>
                  <a:pt x="329" y="2119"/>
                </a:lnTo>
                <a:lnTo>
                  <a:pt x="326" y="2118"/>
                </a:lnTo>
                <a:lnTo>
                  <a:pt x="323" y="2114"/>
                </a:lnTo>
                <a:lnTo>
                  <a:pt x="320" y="2108"/>
                </a:lnTo>
                <a:lnTo>
                  <a:pt x="317" y="2101"/>
                </a:lnTo>
                <a:close/>
                <a:moveTo>
                  <a:pt x="1834" y="1500"/>
                </a:moveTo>
                <a:lnTo>
                  <a:pt x="1832" y="1502"/>
                </a:lnTo>
                <a:lnTo>
                  <a:pt x="1828" y="1502"/>
                </a:lnTo>
                <a:lnTo>
                  <a:pt x="1826" y="1502"/>
                </a:lnTo>
                <a:lnTo>
                  <a:pt x="1824" y="1500"/>
                </a:lnTo>
                <a:lnTo>
                  <a:pt x="1824" y="1497"/>
                </a:lnTo>
                <a:lnTo>
                  <a:pt x="1824" y="1495"/>
                </a:lnTo>
                <a:lnTo>
                  <a:pt x="1826" y="1493"/>
                </a:lnTo>
                <a:lnTo>
                  <a:pt x="1828" y="1492"/>
                </a:lnTo>
                <a:lnTo>
                  <a:pt x="1837" y="1490"/>
                </a:lnTo>
                <a:lnTo>
                  <a:pt x="1843" y="1488"/>
                </a:lnTo>
                <a:lnTo>
                  <a:pt x="1846" y="1488"/>
                </a:lnTo>
                <a:lnTo>
                  <a:pt x="1850" y="1488"/>
                </a:lnTo>
                <a:lnTo>
                  <a:pt x="1852" y="1489"/>
                </a:lnTo>
                <a:lnTo>
                  <a:pt x="1853" y="1492"/>
                </a:lnTo>
                <a:lnTo>
                  <a:pt x="1853" y="1495"/>
                </a:lnTo>
                <a:lnTo>
                  <a:pt x="1851" y="1496"/>
                </a:lnTo>
                <a:lnTo>
                  <a:pt x="1849" y="1496"/>
                </a:lnTo>
                <a:lnTo>
                  <a:pt x="1846" y="1496"/>
                </a:lnTo>
                <a:lnTo>
                  <a:pt x="1840" y="1497"/>
                </a:lnTo>
                <a:lnTo>
                  <a:pt x="1834" y="1500"/>
                </a:lnTo>
                <a:close/>
                <a:moveTo>
                  <a:pt x="1882" y="1475"/>
                </a:moveTo>
                <a:lnTo>
                  <a:pt x="1878" y="1477"/>
                </a:lnTo>
                <a:lnTo>
                  <a:pt x="1871" y="1480"/>
                </a:lnTo>
                <a:lnTo>
                  <a:pt x="1869" y="1480"/>
                </a:lnTo>
                <a:lnTo>
                  <a:pt x="1868" y="1480"/>
                </a:lnTo>
                <a:lnTo>
                  <a:pt x="1866" y="1478"/>
                </a:lnTo>
                <a:lnTo>
                  <a:pt x="1866" y="1477"/>
                </a:lnTo>
                <a:lnTo>
                  <a:pt x="1868" y="1474"/>
                </a:lnTo>
                <a:lnTo>
                  <a:pt x="1871" y="1470"/>
                </a:lnTo>
                <a:lnTo>
                  <a:pt x="1878" y="1468"/>
                </a:lnTo>
                <a:lnTo>
                  <a:pt x="1887" y="1464"/>
                </a:lnTo>
                <a:lnTo>
                  <a:pt x="1894" y="1463"/>
                </a:lnTo>
                <a:lnTo>
                  <a:pt x="1898" y="1463"/>
                </a:lnTo>
                <a:lnTo>
                  <a:pt x="1900" y="1465"/>
                </a:lnTo>
                <a:lnTo>
                  <a:pt x="1900" y="1469"/>
                </a:lnTo>
                <a:lnTo>
                  <a:pt x="1897" y="1471"/>
                </a:lnTo>
                <a:lnTo>
                  <a:pt x="1894" y="1473"/>
                </a:lnTo>
                <a:lnTo>
                  <a:pt x="1887" y="1474"/>
                </a:lnTo>
                <a:lnTo>
                  <a:pt x="1882" y="1475"/>
                </a:lnTo>
                <a:close/>
                <a:moveTo>
                  <a:pt x="2931" y="788"/>
                </a:moveTo>
                <a:lnTo>
                  <a:pt x="2939" y="788"/>
                </a:lnTo>
                <a:lnTo>
                  <a:pt x="2946" y="788"/>
                </a:lnTo>
                <a:lnTo>
                  <a:pt x="2948" y="788"/>
                </a:lnTo>
                <a:lnTo>
                  <a:pt x="2952" y="786"/>
                </a:lnTo>
                <a:lnTo>
                  <a:pt x="2954" y="784"/>
                </a:lnTo>
                <a:lnTo>
                  <a:pt x="2956" y="782"/>
                </a:lnTo>
                <a:lnTo>
                  <a:pt x="2959" y="778"/>
                </a:lnTo>
                <a:lnTo>
                  <a:pt x="2961" y="777"/>
                </a:lnTo>
                <a:lnTo>
                  <a:pt x="2965" y="776"/>
                </a:lnTo>
                <a:lnTo>
                  <a:pt x="2968" y="776"/>
                </a:lnTo>
                <a:lnTo>
                  <a:pt x="2975" y="777"/>
                </a:lnTo>
                <a:lnTo>
                  <a:pt x="2981" y="778"/>
                </a:lnTo>
                <a:lnTo>
                  <a:pt x="2985" y="781"/>
                </a:lnTo>
                <a:lnTo>
                  <a:pt x="2986" y="783"/>
                </a:lnTo>
                <a:lnTo>
                  <a:pt x="2989" y="786"/>
                </a:lnTo>
                <a:lnTo>
                  <a:pt x="2990" y="788"/>
                </a:lnTo>
                <a:lnTo>
                  <a:pt x="2992" y="795"/>
                </a:lnTo>
                <a:lnTo>
                  <a:pt x="2993" y="802"/>
                </a:lnTo>
                <a:lnTo>
                  <a:pt x="2993" y="805"/>
                </a:lnTo>
                <a:lnTo>
                  <a:pt x="2992" y="807"/>
                </a:lnTo>
                <a:lnTo>
                  <a:pt x="2991" y="809"/>
                </a:lnTo>
                <a:lnTo>
                  <a:pt x="2989" y="810"/>
                </a:lnTo>
                <a:lnTo>
                  <a:pt x="2984" y="813"/>
                </a:lnTo>
                <a:lnTo>
                  <a:pt x="2979" y="814"/>
                </a:lnTo>
                <a:lnTo>
                  <a:pt x="2974" y="814"/>
                </a:lnTo>
                <a:lnTo>
                  <a:pt x="2970" y="812"/>
                </a:lnTo>
                <a:lnTo>
                  <a:pt x="2965" y="808"/>
                </a:lnTo>
                <a:lnTo>
                  <a:pt x="2961" y="805"/>
                </a:lnTo>
                <a:lnTo>
                  <a:pt x="2956" y="801"/>
                </a:lnTo>
                <a:lnTo>
                  <a:pt x="2954" y="800"/>
                </a:lnTo>
                <a:lnTo>
                  <a:pt x="2951" y="800"/>
                </a:lnTo>
                <a:lnTo>
                  <a:pt x="2948" y="801"/>
                </a:lnTo>
                <a:lnTo>
                  <a:pt x="2946" y="806"/>
                </a:lnTo>
                <a:lnTo>
                  <a:pt x="2945" y="812"/>
                </a:lnTo>
                <a:lnTo>
                  <a:pt x="2943" y="814"/>
                </a:lnTo>
                <a:lnTo>
                  <a:pt x="2942" y="815"/>
                </a:lnTo>
                <a:lnTo>
                  <a:pt x="2941" y="816"/>
                </a:lnTo>
                <a:lnTo>
                  <a:pt x="2939" y="816"/>
                </a:lnTo>
                <a:lnTo>
                  <a:pt x="2933" y="816"/>
                </a:lnTo>
                <a:lnTo>
                  <a:pt x="2927" y="815"/>
                </a:lnTo>
                <a:lnTo>
                  <a:pt x="2922" y="814"/>
                </a:lnTo>
                <a:lnTo>
                  <a:pt x="2917" y="813"/>
                </a:lnTo>
                <a:lnTo>
                  <a:pt x="2915" y="809"/>
                </a:lnTo>
                <a:lnTo>
                  <a:pt x="2914" y="807"/>
                </a:lnTo>
                <a:lnTo>
                  <a:pt x="2912" y="802"/>
                </a:lnTo>
                <a:lnTo>
                  <a:pt x="2914" y="799"/>
                </a:lnTo>
                <a:lnTo>
                  <a:pt x="2915" y="795"/>
                </a:lnTo>
                <a:lnTo>
                  <a:pt x="2917" y="793"/>
                </a:lnTo>
                <a:lnTo>
                  <a:pt x="2921" y="790"/>
                </a:lnTo>
                <a:lnTo>
                  <a:pt x="2924" y="788"/>
                </a:lnTo>
                <a:lnTo>
                  <a:pt x="2928" y="788"/>
                </a:lnTo>
                <a:lnTo>
                  <a:pt x="2931" y="788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6" name="天津"/>
          <p:cNvSpPr/>
          <p:nvPr/>
        </p:nvSpPr>
        <p:spPr bwMode="auto">
          <a:xfrm>
            <a:off x="7160260" y="2667635"/>
            <a:ext cx="178435" cy="297180"/>
          </a:xfrm>
          <a:custGeom>
            <a:avLst/>
            <a:gdLst>
              <a:gd name="T0" fmla="*/ 139 w 430"/>
              <a:gd name="T1" fmla="*/ 49 h 726"/>
              <a:gd name="T2" fmla="*/ 152 w 430"/>
              <a:gd name="T3" fmla="*/ 42 h 726"/>
              <a:gd name="T4" fmla="*/ 171 w 430"/>
              <a:gd name="T5" fmla="*/ 25 h 726"/>
              <a:gd name="T6" fmla="*/ 178 w 430"/>
              <a:gd name="T7" fmla="*/ 4 h 726"/>
              <a:gd name="T8" fmla="*/ 237 w 430"/>
              <a:gd name="T9" fmla="*/ 3 h 726"/>
              <a:gd name="T10" fmla="*/ 253 w 430"/>
              <a:gd name="T11" fmla="*/ 22 h 726"/>
              <a:gd name="T12" fmla="*/ 294 w 430"/>
              <a:gd name="T13" fmla="*/ 62 h 726"/>
              <a:gd name="T14" fmla="*/ 294 w 430"/>
              <a:gd name="T15" fmla="*/ 89 h 726"/>
              <a:gd name="T16" fmla="*/ 271 w 430"/>
              <a:gd name="T17" fmla="*/ 98 h 726"/>
              <a:gd name="T18" fmla="*/ 231 w 430"/>
              <a:gd name="T19" fmla="*/ 110 h 726"/>
              <a:gd name="T20" fmla="*/ 227 w 430"/>
              <a:gd name="T21" fmla="*/ 152 h 726"/>
              <a:gd name="T22" fmla="*/ 266 w 430"/>
              <a:gd name="T23" fmla="*/ 212 h 726"/>
              <a:gd name="T24" fmla="*/ 286 w 430"/>
              <a:gd name="T25" fmla="*/ 245 h 726"/>
              <a:gd name="T26" fmla="*/ 297 w 430"/>
              <a:gd name="T27" fmla="*/ 281 h 726"/>
              <a:gd name="T28" fmla="*/ 313 w 430"/>
              <a:gd name="T29" fmla="*/ 284 h 726"/>
              <a:gd name="T30" fmla="*/ 357 w 430"/>
              <a:gd name="T31" fmla="*/ 268 h 726"/>
              <a:gd name="T32" fmla="*/ 378 w 430"/>
              <a:gd name="T33" fmla="*/ 276 h 726"/>
              <a:gd name="T34" fmla="*/ 367 w 430"/>
              <a:gd name="T35" fmla="*/ 321 h 726"/>
              <a:gd name="T36" fmla="*/ 378 w 430"/>
              <a:gd name="T37" fmla="*/ 333 h 726"/>
              <a:gd name="T38" fmla="*/ 417 w 430"/>
              <a:gd name="T39" fmla="*/ 356 h 726"/>
              <a:gd name="T40" fmla="*/ 429 w 430"/>
              <a:gd name="T41" fmla="*/ 403 h 726"/>
              <a:gd name="T42" fmla="*/ 396 w 430"/>
              <a:gd name="T43" fmla="*/ 431 h 726"/>
              <a:gd name="T44" fmla="*/ 348 w 430"/>
              <a:gd name="T45" fmla="*/ 460 h 726"/>
              <a:gd name="T46" fmla="*/ 335 w 430"/>
              <a:gd name="T47" fmla="*/ 503 h 726"/>
              <a:gd name="T48" fmla="*/ 324 w 430"/>
              <a:gd name="T49" fmla="*/ 557 h 726"/>
              <a:gd name="T50" fmla="*/ 287 w 430"/>
              <a:gd name="T51" fmla="*/ 630 h 726"/>
              <a:gd name="T52" fmla="*/ 279 w 430"/>
              <a:gd name="T53" fmla="*/ 693 h 726"/>
              <a:gd name="T54" fmla="*/ 223 w 430"/>
              <a:gd name="T55" fmla="*/ 716 h 726"/>
              <a:gd name="T56" fmla="*/ 192 w 430"/>
              <a:gd name="T57" fmla="*/ 723 h 726"/>
              <a:gd name="T58" fmla="*/ 182 w 430"/>
              <a:gd name="T59" fmla="*/ 711 h 726"/>
              <a:gd name="T60" fmla="*/ 153 w 430"/>
              <a:gd name="T61" fmla="*/ 715 h 726"/>
              <a:gd name="T62" fmla="*/ 133 w 430"/>
              <a:gd name="T63" fmla="*/ 726 h 726"/>
              <a:gd name="T64" fmla="*/ 116 w 430"/>
              <a:gd name="T65" fmla="*/ 681 h 726"/>
              <a:gd name="T66" fmla="*/ 95 w 430"/>
              <a:gd name="T67" fmla="*/ 674 h 726"/>
              <a:gd name="T68" fmla="*/ 32 w 430"/>
              <a:gd name="T69" fmla="*/ 672 h 726"/>
              <a:gd name="T70" fmla="*/ 8 w 430"/>
              <a:gd name="T71" fmla="*/ 635 h 726"/>
              <a:gd name="T72" fmla="*/ 3 w 430"/>
              <a:gd name="T73" fmla="*/ 578 h 726"/>
              <a:gd name="T74" fmla="*/ 1 w 430"/>
              <a:gd name="T75" fmla="*/ 536 h 726"/>
              <a:gd name="T76" fmla="*/ 31 w 430"/>
              <a:gd name="T77" fmla="*/ 532 h 726"/>
              <a:gd name="T78" fmla="*/ 45 w 430"/>
              <a:gd name="T79" fmla="*/ 518 h 726"/>
              <a:gd name="T80" fmla="*/ 33 w 430"/>
              <a:gd name="T81" fmla="*/ 431 h 726"/>
              <a:gd name="T82" fmla="*/ 16 w 430"/>
              <a:gd name="T83" fmla="*/ 290 h 726"/>
              <a:gd name="T84" fmla="*/ 22 w 430"/>
              <a:gd name="T85" fmla="*/ 275 h 726"/>
              <a:gd name="T86" fmla="*/ 29 w 430"/>
              <a:gd name="T87" fmla="*/ 259 h 726"/>
              <a:gd name="T88" fmla="*/ 51 w 430"/>
              <a:gd name="T89" fmla="*/ 271 h 726"/>
              <a:gd name="T90" fmla="*/ 64 w 430"/>
              <a:gd name="T91" fmla="*/ 280 h 726"/>
              <a:gd name="T92" fmla="*/ 108 w 430"/>
              <a:gd name="T93" fmla="*/ 270 h 726"/>
              <a:gd name="T94" fmla="*/ 126 w 430"/>
              <a:gd name="T95" fmla="*/ 252 h 726"/>
              <a:gd name="T96" fmla="*/ 128 w 430"/>
              <a:gd name="T97" fmla="*/ 200 h 726"/>
              <a:gd name="T98" fmla="*/ 129 w 430"/>
              <a:gd name="T99" fmla="*/ 174 h 726"/>
              <a:gd name="T100" fmla="*/ 141 w 430"/>
              <a:gd name="T101" fmla="*/ 165 h 726"/>
              <a:gd name="T102" fmla="*/ 114 w 430"/>
              <a:gd name="T103" fmla="*/ 146 h 726"/>
              <a:gd name="T104" fmla="*/ 110 w 430"/>
              <a:gd name="T105" fmla="*/ 131 h 726"/>
              <a:gd name="T106" fmla="*/ 122 w 430"/>
              <a:gd name="T107" fmla="*/ 85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0" h="726">
                <a:moveTo>
                  <a:pt x="119" y="67"/>
                </a:moveTo>
                <a:lnTo>
                  <a:pt x="126" y="63"/>
                </a:lnTo>
                <a:lnTo>
                  <a:pt x="132" y="60"/>
                </a:lnTo>
                <a:lnTo>
                  <a:pt x="136" y="55"/>
                </a:lnTo>
                <a:lnTo>
                  <a:pt x="139" y="49"/>
                </a:lnTo>
                <a:lnTo>
                  <a:pt x="141" y="47"/>
                </a:lnTo>
                <a:lnTo>
                  <a:pt x="142" y="44"/>
                </a:lnTo>
                <a:lnTo>
                  <a:pt x="145" y="43"/>
                </a:lnTo>
                <a:lnTo>
                  <a:pt x="148" y="43"/>
                </a:lnTo>
                <a:lnTo>
                  <a:pt x="152" y="42"/>
                </a:lnTo>
                <a:lnTo>
                  <a:pt x="155" y="41"/>
                </a:lnTo>
                <a:lnTo>
                  <a:pt x="160" y="38"/>
                </a:lnTo>
                <a:lnTo>
                  <a:pt x="165" y="35"/>
                </a:lnTo>
                <a:lnTo>
                  <a:pt x="168" y="30"/>
                </a:lnTo>
                <a:lnTo>
                  <a:pt x="171" y="25"/>
                </a:lnTo>
                <a:lnTo>
                  <a:pt x="171" y="20"/>
                </a:lnTo>
                <a:lnTo>
                  <a:pt x="172" y="15"/>
                </a:lnTo>
                <a:lnTo>
                  <a:pt x="172" y="10"/>
                </a:lnTo>
                <a:lnTo>
                  <a:pt x="174" y="6"/>
                </a:lnTo>
                <a:lnTo>
                  <a:pt x="178" y="4"/>
                </a:lnTo>
                <a:lnTo>
                  <a:pt x="184" y="3"/>
                </a:lnTo>
                <a:lnTo>
                  <a:pt x="201" y="1"/>
                </a:lnTo>
                <a:lnTo>
                  <a:pt x="221" y="0"/>
                </a:lnTo>
                <a:lnTo>
                  <a:pt x="230" y="0"/>
                </a:lnTo>
                <a:lnTo>
                  <a:pt x="237" y="3"/>
                </a:lnTo>
                <a:lnTo>
                  <a:pt x="241" y="4"/>
                </a:lnTo>
                <a:lnTo>
                  <a:pt x="245" y="6"/>
                </a:lnTo>
                <a:lnTo>
                  <a:pt x="247" y="10"/>
                </a:lnTo>
                <a:lnTo>
                  <a:pt x="249" y="13"/>
                </a:lnTo>
                <a:lnTo>
                  <a:pt x="253" y="22"/>
                </a:lnTo>
                <a:lnTo>
                  <a:pt x="258" y="29"/>
                </a:lnTo>
                <a:lnTo>
                  <a:pt x="264" y="36"/>
                </a:lnTo>
                <a:lnTo>
                  <a:pt x="271" y="43"/>
                </a:lnTo>
                <a:lnTo>
                  <a:pt x="284" y="54"/>
                </a:lnTo>
                <a:lnTo>
                  <a:pt x="294" y="62"/>
                </a:lnTo>
                <a:lnTo>
                  <a:pt x="298" y="67"/>
                </a:lnTo>
                <a:lnTo>
                  <a:pt x="300" y="72"/>
                </a:lnTo>
                <a:lnTo>
                  <a:pt x="300" y="78"/>
                </a:lnTo>
                <a:lnTo>
                  <a:pt x="298" y="83"/>
                </a:lnTo>
                <a:lnTo>
                  <a:pt x="294" y="89"/>
                </a:lnTo>
                <a:lnTo>
                  <a:pt x="289" y="94"/>
                </a:lnTo>
                <a:lnTo>
                  <a:pt x="285" y="95"/>
                </a:lnTo>
                <a:lnTo>
                  <a:pt x="281" y="97"/>
                </a:lnTo>
                <a:lnTo>
                  <a:pt x="277" y="98"/>
                </a:lnTo>
                <a:lnTo>
                  <a:pt x="271" y="98"/>
                </a:lnTo>
                <a:lnTo>
                  <a:pt x="261" y="98"/>
                </a:lnTo>
                <a:lnTo>
                  <a:pt x="252" y="99"/>
                </a:lnTo>
                <a:lnTo>
                  <a:pt x="243" y="101"/>
                </a:lnTo>
                <a:lnTo>
                  <a:pt x="236" y="105"/>
                </a:lnTo>
                <a:lnTo>
                  <a:pt x="231" y="110"/>
                </a:lnTo>
                <a:lnTo>
                  <a:pt x="227" y="116"/>
                </a:lnTo>
                <a:lnTo>
                  <a:pt x="224" y="124"/>
                </a:lnTo>
                <a:lnTo>
                  <a:pt x="224" y="133"/>
                </a:lnTo>
                <a:lnTo>
                  <a:pt x="224" y="143"/>
                </a:lnTo>
                <a:lnTo>
                  <a:pt x="227" y="152"/>
                </a:lnTo>
                <a:lnTo>
                  <a:pt x="230" y="161"/>
                </a:lnTo>
                <a:lnTo>
                  <a:pt x="235" y="169"/>
                </a:lnTo>
                <a:lnTo>
                  <a:pt x="246" y="183"/>
                </a:lnTo>
                <a:lnTo>
                  <a:pt x="255" y="198"/>
                </a:lnTo>
                <a:lnTo>
                  <a:pt x="266" y="212"/>
                </a:lnTo>
                <a:lnTo>
                  <a:pt x="274" y="223"/>
                </a:lnTo>
                <a:lnTo>
                  <a:pt x="279" y="227"/>
                </a:lnTo>
                <a:lnTo>
                  <a:pt x="283" y="233"/>
                </a:lnTo>
                <a:lnTo>
                  <a:pt x="285" y="239"/>
                </a:lnTo>
                <a:lnTo>
                  <a:pt x="286" y="245"/>
                </a:lnTo>
                <a:lnTo>
                  <a:pt x="287" y="258"/>
                </a:lnTo>
                <a:lnTo>
                  <a:pt x="290" y="269"/>
                </a:lnTo>
                <a:lnTo>
                  <a:pt x="291" y="274"/>
                </a:lnTo>
                <a:lnTo>
                  <a:pt x="293" y="277"/>
                </a:lnTo>
                <a:lnTo>
                  <a:pt x="297" y="281"/>
                </a:lnTo>
                <a:lnTo>
                  <a:pt x="302" y="284"/>
                </a:lnTo>
                <a:lnTo>
                  <a:pt x="304" y="286"/>
                </a:lnTo>
                <a:lnTo>
                  <a:pt x="306" y="286"/>
                </a:lnTo>
                <a:lnTo>
                  <a:pt x="310" y="286"/>
                </a:lnTo>
                <a:lnTo>
                  <a:pt x="313" y="284"/>
                </a:lnTo>
                <a:lnTo>
                  <a:pt x="321" y="281"/>
                </a:lnTo>
                <a:lnTo>
                  <a:pt x="330" y="277"/>
                </a:lnTo>
                <a:lnTo>
                  <a:pt x="338" y="274"/>
                </a:lnTo>
                <a:lnTo>
                  <a:pt x="348" y="270"/>
                </a:lnTo>
                <a:lnTo>
                  <a:pt x="357" y="268"/>
                </a:lnTo>
                <a:lnTo>
                  <a:pt x="367" y="266"/>
                </a:lnTo>
                <a:lnTo>
                  <a:pt x="372" y="268"/>
                </a:lnTo>
                <a:lnTo>
                  <a:pt x="374" y="270"/>
                </a:lnTo>
                <a:lnTo>
                  <a:pt x="376" y="272"/>
                </a:lnTo>
                <a:lnTo>
                  <a:pt x="378" y="276"/>
                </a:lnTo>
                <a:lnTo>
                  <a:pt x="378" y="284"/>
                </a:lnTo>
                <a:lnTo>
                  <a:pt x="375" y="293"/>
                </a:lnTo>
                <a:lnTo>
                  <a:pt x="372" y="303"/>
                </a:lnTo>
                <a:lnTo>
                  <a:pt x="369" y="313"/>
                </a:lnTo>
                <a:lnTo>
                  <a:pt x="367" y="321"/>
                </a:lnTo>
                <a:lnTo>
                  <a:pt x="367" y="327"/>
                </a:lnTo>
                <a:lnTo>
                  <a:pt x="368" y="331"/>
                </a:lnTo>
                <a:lnTo>
                  <a:pt x="371" y="332"/>
                </a:lnTo>
                <a:lnTo>
                  <a:pt x="373" y="333"/>
                </a:lnTo>
                <a:lnTo>
                  <a:pt x="378" y="333"/>
                </a:lnTo>
                <a:lnTo>
                  <a:pt x="382" y="334"/>
                </a:lnTo>
                <a:lnTo>
                  <a:pt x="390" y="337"/>
                </a:lnTo>
                <a:lnTo>
                  <a:pt x="398" y="340"/>
                </a:lnTo>
                <a:lnTo>
                  <a:pt x="407" y="347"/>
                </a:lnTo>
                <a:lnTo>
                  <a:pt x="417" y="356"/>
                </a:lnTo>
                <a:lnTo>
                  <a:pt x="423" y="365"/>
                </a:lnTo>
                <a:lnTo>
                  <a:pt x="428" y="375"/>
                </a:lnTo>
                <a:lnTo>
                  <a:pt x="430" y="384"/>
                </a:lnTo>
                <a:lnTo>
                  <a:pt x="430" y="394"/>
                </a:lnTo>
                <a:lnTo>
                  <a:pt x="429" y="403"/>
                </a:lnTo>
                <a:lnTo>
                  <a:pt x="428" y="414"/>
                </a:lnTo>
                <a:lnTo>
                  <a:pt x="424" y="423"/>
                </a:lnTo>
                <a:lnTo>
                  <a:pt x="416" y="425"/>
                </a:lnTo>
                <a:lnTo>
                  <a:pt x="405" y="427"/>
                </a:lnTo>
                <a:lnTo>
                  <a:pt x="396" y="431"/>
                </a:lnTo>
                <a:lnTo>
                  <a:pt x="385" y="434"/>
                </a:lnTo>
                <a:lnTo>
                  <a:pt x="375" y="439"/>
                </a:lnTo>
                <a:lnTo>
                  <a:pt x="366" y="445"/>
                </a:lnTo>
                <a:lnTo>
                  <a:pt x="356" y="452"/>
                </a:lnTo>
                <a:lnTo>
                  <a:pt x="348" y="460"/>
                </a:lnTo>
                <a:lnTo>
                  <a:pt x="341" y="467"/>
                </a:lnTo>
                <a:lnTo>
                  <a:pt x="337" y="476"/>
                </a:lnTo>
                <a:lnTo>
                  <a:pt x="335" y="483"/>
                </a:lnTo>
                <a:lnTo>
                  <a:pt x="334" y="489"/>
                </a:lnTo>
                <a:lnTo>
                  <a:pt x="335" y="503"/>
                </a:lnTo>
                <a:lnTo>
                  <a:pt x="336" y="518"/>
                </a:lnTo>
                <a:lnTo>
                  <a:pt x="335" y="527"/>
                </a:lnTo>
                <a:lnTo>
                  <a:pt x="332" y="536"/>
                </a:lnTo>
                <a:lnTo>
                  <a:pt x="329" y="546"/>
                </a:lnTo>
                <a:lnTo>
                  <a:pt x="324" y="557"/>
                </a:lnTo>
                <a:lnTo>
                  <a:pt x="312" y="577"/>
                </a:lnTo>
                <a:lnTo>
                  <a:pt x="300" y="598"/>
                </a:lnTo>
                <a:lnTo>
                  <a:pt x="294" y="609"/>
                </a:lnTo>
                <a:lnTo>
                  <a:pt x="291" y="620"/>
                </a:lnTo>
                <a:lnTo>
                  <a:pt x="287" y="630"/>
                </a:lnTo>
                <a:lnTo>
                  <a:pt x="285" y="640"/>
                </a:lnTo>
                <a:lnTo>
                  <a:pt x="283" y="659"/>
                </a:lnTo>
                <a:lnTo>
                  <a:pt x="280" y="677"/>
                </a:lnTo>
                <a:lnTo>
                  <a:pt x="280" y="686"/>
                </a:lnTo>
                <a:lnTo>
                  <a:pt x="279" y="693"/>
                </a:lnTo>
                <a:lnTo>
                  <a:pt x="267" y="697"/>
                </a:lnTo>
                <a:lnTo>
                  <a:pt x="255" y="700"/>
                </a:lnTo>
                <a:lnTo>
                  <a:pt x="245" y="705"/>
                </a:lnTo>
                <a:lnTo>
                  <a:pt x="236" y="709"/>
                </a:lnTo>
                <a:lnTo>
                  <a:pt x="223" y="716"/>
                </a:lnTo>
                <a:lnTo>
                  <a:pt x="210" y="722"/>
                </a:lnTo>
                <a:lnTo>
                  <a:pt x="203" y="724"/>
                </a:lnTo>
                <a:lnTo>
                  <a:pt x="197" y="724"/>
                </a:lnTo>
                <a:lnTo>
                  <a:pt x="195" y="724"/>
                </a:lnTo>
                <a:lnTo>
                  <a:pt x="192" y="723"/>
                </a:lnTo>
                <a:lnTo>
                  <a:pt x="190" y="722"/>
                </a:lnTo>
                <a:lnTo>
                  <a:pt x="189" y="719"/>
                </a:lnTo>
                <a:lnTo>
                  <a:pt x="186" y="716"/>
                </a:lnTo>
                <a:lnTo>
                  <a:pt x="184" y="713"/>
                </a:lnTo>
                <a:lnTo>
                  <a:pt x="182" y="711"/>
                </a:lnTo>
                <a:lnTo>
                  <a:pt x="179" y="710"/>
                </a:lnTo>
                <a:lnTo>
                  <a:pt x="173" y="709"/>
                </a:lnTo>
                <a:lnTo>
                  <a:pt x="166" y="709"/>
                </a:lnTo>
                <a:lnTo>
                  <a:pt x="160" y="711"/>
                </a:lnTo>
                <a:lnTo>
                  <a:pt x="153" y="715"/>
                </a:lnTo>
                <a:lnTo>
                  <a:pt x="147" y="719"/>
                </a:lnTo>
                <a:lnTo>
                  <a:pt x="141" y="724"/>
                </a:lnTo>
                <a:lnTo>
                  <a:pt x="139" y="725"/>
                </a:lnTo>
                <a:lnTo>
                  <a:pt x="135" y="726"/>
                </a:lnTo>
                <a:lnTo>
                  <a:pt x="133" y="726"/>
                </a:lnTo>
                <a:lnTo>
                  <a:pt x="130" y="725"/>
                </a:lnTo>
                <a:lnTo>
                  <a:pt x="127" y="722"/>
                </a:lnTo>
                <a:lnTo>
                  <a:pt x="124" y="716"/>
                </a:lnTo>
                <a:lnTo>
                  <a:pt x="120" y="699"/>
                </a:lnTo>
                <a:lnTo>
                  <a:pt x="116" y="681"/>
                </a:lnTo>
                <a:lnTo>
                  <a:pt x="115" y="679"/>
                </a:lnTo>
                <a:lnTo>
                  <a:pt x="113" y="677"/>
                </a:lnTo>
                <a:lnTo>
                  <a:pt x="109" y="675"/>
                </a:lnTo>
                <a:lnTo>
                  <a:pt x="105" y="674"/>
                </a:lnTo>
                <a:lnTo>
                  <a:pt x="95" y="674"/>
                </a:lnTo>
                <a:lnTo>
                  <a:pt x="82" y="674"/>
                </a:lnTo>
                <a:lnTo>
                  <a:pt x="67" y="675"/>
                </a:lnTo>
                <a:lnTo>
                  <a:pt x="54" y="675"/>
                </a:lnTo>
                <a:lnTo>
                  <a:pt x="42" y="674"/>
                </a:lnTo>
                <a:lnTo>
                  <a:pt x="32" y="672"/>
                </a:lnTo>
                <a:lnTo>
                  <a:pt x="25" y="667"/>
                </a:lnTo>
                <a:lnTo>
                  <a:pt x="19" y="661"/>
                </a:lnTo>
                <a:lnTo>
                  <a:pt x="14" y="653"/>
                </a:lnTo>
                <a:lnTo>
                  <a:pt x="10" y="644"/>
                </a:lnTo>
                <a:lnTo>
                  <a:pt x="8" y="635"/>
                </a:lnTo>
                <a:lnTo>
                  <a:pt x="6" y="625"/>
                </a:lnTo>
                <a:lnTo>
                  <a:pt x="4" y="615"/>
                </a:lnTo>
                <a:lnTo>
                  <a:pt x="4" y="605"/>
                </a:lnTo>
                <a:lnTo>
                  <a:pt x="3" y="591"/>
                </a:lnTo>
                <a:lnTo>
                  <a:pt x="3" y="578"/>
                </a:lnTo>
                <a:lnTo>
                  <a:pt x="2" y="565"/>
                </a:lnTo>
                <a:lnTo>
                  <a:pt x="1" y="554"/>
                </a:lnTo>
                <a:lnTo>
                  <a:pt x="0" y="545"/>
                </a:lnTo>
                <a:lnTo>
                  <a:pt x="0" y="539"/>
                </a:lnTo>
                <a:lnTo>
                  <a:pt x="1" y="536"/>
                </a:lnTo>
                <a:lnTo>
                  <a:pt x="3" y="534"/>
                </a:lnTo>
                <a:lnTo>
                  <a:pt x="6" y="533"/>
                </a:lnTo>
                <a:lnTo>
                  <a:pt x="10" y="533"/>
                </a:lnTo>
                <a:lnTo>
                  <a:pt x="20" y="532"/>
                </a:lnTo>
                <a:lnTo>
                  <a:pt x="31" y="532"/>
                </a:lnTo>
                <a:lnTo>
                  <a:pt x="34" y="530"/>
                </a:lnTo>
                <a:lnTo>
                  <a:pt x="38" y="529"/>
                </a:lnTo>
                <a:lnTo>
                  <a:pt x="41" y="528"/>
                </a:lnTo>
                <a:lnTo>
                  <a:pt x="44" y="524"/>
                </a:lnTo>
                <a:lnTo>
                  <a:pt x="45" y="518"/>
                </a:lnTo>
                <a:lnTo>
                  <a:pt x="45" y="509"/>
                </a:lnTo>
                <a:lnTo>
                  <a:pt x="44" y="498"/>
                </a:lnTo>
                <a:lnTo>
                  <a:pt x="42" y="486"/>
                </a:lnTo>
                <a:lnTo>
                  <a:pt x="38" y="459"/>
                </a:lnTo>
                <a:lnTo>
                  <a:pt x="33" y="431"/>
                </a:lnTo>
                <a:lnTo>
                  <a:pt x="29" y="394"/>
                </a:lnTo>
                <a:lnTo>
                  <a:pt x="26" y="357"/>
                </a:lnTo>
                <a:lnTo>
                  <a:pt x="21" y="324"/>
                </a:lnTo>
                <a:lnTo>
                  <a:pt x="16" y="297"/>
                </a:lnTo>
                <a:lnTo>
                  <a:pt x="16" y="290"/>
                </a:lnTo>
                <a:lnTo>
                  <a:pt x="16" y="284"/>
                </a:lnTo>
                <a:lnTo>
                  <a:pt x="17" y="281"/>
                </a:lnTo>
                <a:lnTo>
                  <a:pt x="19" y="278"/>
                </a:lnTo>
                <a:lnTo>
                  <a:pt x="20" y="277"/>
                </a:lnTo>
                <a:lnTo>
                  <a:pt x="22" y="275"/>
                </a:lnTo>
                <a:lnTo>
                  <a:pt x="23" y="271"/>
                </a:lnTo>
                <a:lnTo>
                  <a:pt x="23" y="268"/>
                </a:lnTo>
                <a:lnTo>
                  <a:pt x="25" y="265"/>
                </a:lnTo>
                <a:lnTo>
                  <a:pt x="26" y="261"/>
                </a:lnTo>
                <a:lnTo>
                  <a:pt x="29" y="259"/>
                </a:lnTo>
                <a:lnTo>
                  <a:pt x="36" y="258"/>
                </a:lnTo>
                <a:lnTo>
                  <a:pt x="41" y="259"/>
                </a:lnTo>
                <a:lnTo>
                  <a:pt x="45" y="262"/>
                </a:lnTo>
                <a:lnTo>
                  <a:pt x="47" y="265"/>
                </a:lnTo>
                <a:lnTo>
                  <a:pt x="51" y="271"/>
                </a:lnTo>
                <a:lnTo>
                  <a:pt x="52" y="275"/>
                </a:lnTo>
                <a:lnTo>
                  <a:pt x="54" y="276"/>
                </a:lnTo>
                <a:lnTo>
                  <a:pt x="57" y="278"/>
                </a:lnTo>
                <a:lnTo>
                  <a:pt x="58" y="278"/>
                </a:lnTo>
                <a:lnTo>
                  <a:pt x="64" y="280"/>
                </a:lnTo>
                <a:lnTo>
                  <a:pt x="70" y="278"/>
                </a:lnTo>
                <a:lnTo>
                  <a:pt x="80" y="276"/>
                </a:lnTo>
                <a:lnTo>
                  <a:pt x="94" y="274"/>
                </a:lnTo>
                <a:lnTo>
                  <a:pt x="101" y="272"/>
                </a:lnTo>
                <a:lnTo>
                  <a:pt x="108" y="270"/>
                </a:lnTo>
                <a:lnTo>
                  <a:pt x="114" y="268"/>
                </a:lnTo>
                <a:lnTo>
                  <a:pt x="117" y="265"/>
                </a:lnTo>
                <a:lnTo>
                  <a:pt x="121" y="262"/>
                </a:lnTo>
                <a:lnTo>
                  <a:pt x="123" y="257"/>
                </a:lnTo>
                <a:lnTo>
                  <a:pt x="126" y="252"/>
                </a:lnTo>
                <a:lnTo>
                  <a:pt x="128" y="247"/>
                </a:lnTo>
                <a:lnTo>
                  <a:pt x="130" y="236"/>
                </a:lnTo>
                <a:lnTo>
                  <a:pt x="130" y="225"/>
                </a:lnTo>
                <a:lnTo>
                  <a:pt x="129" y="213"/>
                </a:lnTo>
                <a:lnTo>
                  <a:pt x="128" y="200"/>
                </a:lnTo>
                <a:lnTo>
                  <a:pt x="126" y="188"/>
                </a:lnTo>
                <a:lnTo>
                  <a:pt x="126" y="180"/>
                </a:lnTo>
                <a:lnTo>
                  <a:pt x="126" y="177"/>
                </a:lnTo>
                <a:lnTo>
                  <a:pt x="127" y="175"/>
                </a:lnTo>
                <a:lnTo>
                  <a:pt x="129" y="174"/>
                </a:lnTo>
                <a:lnTo>
                  <a:pt x="132" y="171"/>
                </a:lnTo>
                <a:lnTo>
                  <a:pt x="138" y="169"/>
                </a:lnTo>
                <a:lnTo>
                  <a:pt x="141" y="168"/>
                </a:lnTo>
                <a:lnTo>
                  <a:pt x="142" y="167"/>
                </a:lnTo>
                <a:lnTo>
                  <a:pt x="141" y="165"/>
                </a:lnTo>
                <a:lnTo>
                  <a:pt x="138" y="162"/>
                </a:lnTo>
                <a:lnTo>
                  <a:pt x="134" y="160"/>
                </a:lnTo>
                <a:lnTo>
                  <a:pt x="124" y="154"/>
                </a:lnTo>
                <a:lnTo>
                  <a:pt x="116" y="149"/>
                </a:lnTo>
                <a:lnTo>
                  <a:pt x="114" y="146"/>
                </a:lnTo>
                <a:lnTo>
                  <a:pt x="111" y="144"/>
                </a:lnTo>
                <a:lnTo>
                  <a:pt x="110" y="142"/>
                </a:lnTo>
                <a:lnTo>
                  <a:pt x="110" y="138"/>
                </a:lnTo>
                <a:lnTo>
                  <a:pt x="110" y="133"/>
                </a:lnTo>
                <a:lnTo>
                  <a:pt x="110" y="131"/>
                </a:lnTo>
                <a:lnTo>
                  <a:pt x="114" y="123"/>
                </a:lnTo>
                <a:lnTo>
                  <a:pt x="121" y="104"/>
                </a:lnTo>
                <a:lnTo>
                  <a:pt x="122" y="97"/>
                </a:lnTo>
                <a:lnTo>
                  <a:pt x="122" y="91"/>
                </a:lnTo>
                <a:lnTo>
                  <a:pt x="122" y="85"/>
                </a:lnTo>
                <a:lnTo>
                  <a:pt x="121" y="79"/>
                </a:lnTo>
                <a:lnTo>
                  <a:pt x="120" y="70"/>
                </a:lnTo>
                <a:lnTo>
                  <a:pt x="119" y="67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7" name="北京"/>
          <p:cNvSpPr/>
          <p:nvPr/>
        </p:nvSpPr>
        <p:spPr bwMode="auto">
          <a:xfrm>
            <a:off x="6967220" y="2519045"/>
            <a:ext cx="267335" cy="297180"/>
          </a:xfrm>
          <a:custGeom>
            <a:avLst/>
            <a:gdLst>
              <a:gd name="T0" fmla="*/ 265 w 636"/>
              <a:gd name="T1" fmla="*/ 650 h 711"/>
              <a:gd name="T2" fmla="*/ 282 w 636"/>
              <a:gd name="T3" fmla="*/ 694 h 711"/>
              <a:gd name="T4" fmla="*/ 304 w 636"/>
              <a:gd name="T5" fmla="*/ 711 h 711"/>
              <a:gd name="T6" fmla="*/ 325 w 636"/>
              <a:gd name="T7" fmla="*/ 696 h 711"/>
              <a:gd name="T8" fmla="*/ 372 w 636"/>
              <a:gd name="T9" fmla="*/ 646 h 711"/>
              <a:gd name="T10" fmla="*/ 401 w 636"/>
              <a:gd name="T11" fmla="*/ 633 h 711"/>
              <a:gd name="T12" fmla="*/ 428 w 636"/>
              <a:gd name="T13" fmla="*/ 631 h 711"/>
              <a:gd name="T14" fmla="*/ 448 w 636"/>
              <a:gd name="T15" fmla="*/ 625 h 711"/>
              <a:gd name="T16" fmla="*/ 471 w 636"/>
              <a:gd name="T17" fmla="*/ 626 h 711"/>
              <a:gd name="T18" fmla="*/ 486 w 636"/>
              <a:gd name="T19" fmla="*/ 568 h 711"/>
              <a:gd name="T20" fmla="*/ 496 w 636"/>
              <a:gd name="T21" fmla="*/ 535 h 711"/>
              <a:gd name="T22" fmla="*/ 446 w 636"/>
              <a:gd name="T23" fmla="*/ 513 h 711"/>
              <a:gd name="T24" fmla="*/ 435 w 636"/>
              <a:gd name="T25" fmla="*/ 469 h 711"/>
              <a:gd name="T26" fmla="*/ 446 w 636"/>
              <a:gd name="T27" fmla="*/ 441 h 711"/>
              <a:gd name="T28" fmla="*/ 496 w 636"/>
              <a:gd name="T29" fmla="*/ 436 h 711"/>
              <a:gd name="T30" fmla="*/ 572 w 636"/>
              <a:gd name="T31" fmla="*/ 416 h 711"/>
              <a:gd name="T32" fmla="*/ 599 w 636"/>
              <a:gd name="T33" fmla="*/ 391 h 711"/>
              <a:gd name="T34" fmla="*/ 619 w 636"/>
              <a:gd name="T35" fmla="*/ 366 h 711"/>
              <a:gd name="T36" fmla="*/ 602 w 636"/>
              <a:gd name="T37" fmla="*/ 320 h 711"/>
              <a:gd name="T38" fmla="*/ 594 w 636"/>
              <a:gd name="T39" fmla="*/ 270 h 711"/>
              <a:gd name="T40" fmla="*/ 597 w 636"/>
              <a:gd name="T41" fmla="*/ 248 h 711"/>
              <a:gd name="T42" fmla="*/ 574 w 636"/>
              <a:gd name="T43" fmla="*/ 252 h 711"/>
              <a:gd name="T44" fmla="*/ 570 w 636"/>
              <a:gd name="T45" fmla="*/ 220 h 711"/>
              <a:gd name="T46" fmla="*/ 592 w 636"/>
              <a:gd name="T47" fmla="*/ 199 h 711"/>
              <a:gd name="T48" fmla="*/ 627 w 636"/>
              <a:gd name="T49" fmla="*/ 194 h 711"/>
              <a:gd name="T50" fmla="*/ 633 w 636"/>
              <a:gd name="T51" fmla="*/ 161 h 711"/>
              <a:gd name="T52" fmla="*/ 545 w 636"/>
              <a:gd name="T53" fmla="*/ 147 h 711"/>
              <a:gd name="T54" fmla="*/ 474 w 636"/>
              <a:gd name="T55" fmla="*/ 142 h 711"/>
              <a:gd name="T56" fmla="*/ 429 w 636"/>
              <a:gd name="T57" fmla="*/ 93 h 711"/>
              <a:gd name="T58" fmla="*/ 382 w 636"/>
              <a:gd name="T59" fmla="*/ 49 h 711"/>
              <a:gd name="T60" fmla="*/ 366 w 636"/>
              <a:gd name="T61" fmla="*/ 3 h 711"/>
              <a:gd name="T62" fmla="*/ 353 w 636"/>
              <a:gd name="T63" fmla="*/ 3 h 711"/>
              <a:gd name="T64" fmla="*/ 340 w 636"/>
              <a:gd name="T65" fmla="*/ 28 h 711"/>
              <a:gd name="T66" fmla="*/ 308 w 636"/>
              <a:gd name="T67" fmla="*/ 34 h 711"/>
              <a:gd name="T68" fmla="*/ 300 w 636"/>
              <a:gd name="T69" fmla="*/ 51 h 711"/>
              <a:gd name="T70" fmla="*/ 288 w 636"/>
              <a:gd name="T71" fmla="*/ 63 h 711"/>
              <a:gd name="T72" fmla="*/ 266 w 636"/>
              <a:gd name="T73" fmla="*/ 72 h 711"/>
              <a:gd name="T74" fmla="*/ 298 w 636"/>
              <a:gd name="T75" fmla="*/ 108 h 711"/>
              <a:gd name="T76" fmla="*/ 302 w 636"/>
              <a:gd name="T77" fmla="*/ 129 h 711"/>
              <a:gd name="T78" fmla="*/ 252 w 636"/>
              <a:gd name="T79" fmla="*/ 139 h 711"/>
              <a:gd name="T80" fmla="*/ 233 w 636"/>
              <a:gd name="T81" fmla="*/ 131 h 711"/>
              <a:gd name="T82" fmla="*/ 216 w 636"/>
              <a:gd name="T83" fmla="*/ 173 h 711"/>
              <a:gd name="T84" fmla="*/ 176 w 636"/>
              <a:gd name="T85" fmla="*/ 217 h 711"/>
              <a:gd name="T86" fmla="*/ 144 w 636"/>
              <a:gd name="T87" fmla="*/ 209 h 711"/>
              <a:gd name="T88" fmla="*/ 106 w 636"/>
              <a:gd name="T89" fmla="*/ 227 h 711"/>
              <a:gd name="T90" fmla="*/ 90 w 636"/>
              <a:gd name="T91" fmla="*/ 271 h 711"/>
              <a:gd name="T92" fmla="*/ 137 w 636"/>
              <a:gd name="T93" fmla="*/ 318 h 711"/>
              <a:gd name="T94" fmla="*/ 145 w 636"/>
              <a:gd name="T95" fmla="*/ 374 h 711"/>
              <a:gd name="T96" fmla="*/ 115 w 636"/>
              <a:gd name="T97" fmla="*/ 416 h 711"/>
              <a:gd name="T98" fmla="*/ 63 w 636"/>
              <a:gd name="T99" fmla="*/ 432 h 711"/>
              <a:gd name="T100" fmla="*/ 0 w 636"/>
              <a:gd name="T101" fmla="*/ 481 h 711"/>
              <a:gd name="T102" fmla="*/ 10 w 636"/>
              <a:gd name="T103" fmla="*/ 516 h 711"/>
              <a:gd name="T104" fmla="*/ 39 w 636"/>
              <a:gd name="T105" fmla="*/ 566 h 711"/>
              <a:gd name="T106" fmla="*/ 17 w 636"/>
              <a:gd name="T107" fmla="*/ 575 h 711"/>
              <a:gd name="T108" fmla="*/ 25 w 636"/>
              <a:gd name="T109" fmla="*/ 607 h 711"/>
              <a:gd name="T110" fmla="*/ 37 w 636"/>
              <a:gd name="T111" fmla="*/ 646 h 711"/>
              <a:gd name="T112" fmla="*/ 64 w 636"/>
              <a:gd name="T113" fmla="*/ 662 h 711"/>
              <a:gd name="T114" fmla="*/ 93 w 636"/>
              <a:gd name="T115" fmla="*/ 663 h 711"/>
              <a:gd name="T116" fmla="*/ 118 w 636"/>
              <a:gd name="T117" fmla="*/ 689 h 711"/>
              <a:gd name="T118" fmla="*/ 157 w 636"/>
              <a:gd name="T119" fmla="*/ 675 h 711"/>
              <a:gd name="T120" fmla="*/ 201 w 636"/>
              <a:gd name="T121" fmla="*/ 649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36" h="711">
                <a:moveTo>
                  <a:pt x="237" y="646"/>
                </a:moveTo>
                <a:lnTo>
                  <a:pt x="245" y="646"/>
                </a:lnTo>
                <a:lnTo>
                  <a:pt x="252" y="646"/>
                </a:lnTo>
                <a:lnTo>
                  <a:pt x="257" y="646"/>
                </a:lnTo>
                <a:lnTo>
                  <a:pt x="262" y="648"/>
                </a:lnTo>
                <a:lnTo>
                  <a:pt x="265" y="650"/>
                </a:lnTo>
                <a:lnTo>
                  <a:pt x="268" y="655"/>
                </a:lnTo>
                <a:lnTo>
                  <a:pt x="270" y="659"/>
                </a:lnTo>
                <a:lnTo>
                  <a:pt x="272" y="668"/>
                </a:lnTo>
                <a:lnTo>
                  <a:pt x="275" y="678"/>
                </a:lnTo>
                <a:lnTo>
                  <a:pt x="279" y="689"/>
                </a:lnTo>
                <a:lnTo>
                  <a:pt x="282" y="694"/>
                </a:lnTo>
                <a:lnTo>
                  <a:pt x="285" y="699"/>
                </a:lnTo>
                <a:lnTo>
                  <a:pt x="289" y="703"/>
                </a:lnTo>
                <a:lnTo>
                  <a:pt x="291" y="706"/>
                </a:lnTo>
                <a:lnTo>
                  <a:pt x="296" y="708"/>
                </a:lnTo>
                <a:lnTo>
                  <a:pt x="300" y="709"/>
                </a:lnTo>
                <a:lnTo>
                  <a:pt x="304" y="711"/>
                </a:lnTo>
                <a:lnTo>
                  <a:pt x="308" y="711"/>
                </a:lnTo>
                <a:lnTo>
                  <a:pt x="312" y="711"/>
                </a:lnTo>
                <a:lnTo>
                  <a:pt x="315" y="708"/>
                </a:lnTo>
                <a:lnTo>
                  <a:pt x="319" y="707"/>
                </a:lnTo>
                <a:lnTo>
                  <a:pt x="321" y="703"/>
                </a:lnTo>
                <a:lnTo>
                  <a:pt x="325" y="696"/>
                </a:lnTo>
                <a:lnTo>
                  <a:pt x="331" y="689"/>
                </a:lnTo>
                <a:lnTo>
                  <a:pt x="337" y="681"/>
                </a:lnTo>
                <a:lnTo>
                  <a:pt x="344" y="675"/>
                </a:lnTo>
                <a:lnTo>
                  <a:pt x="354" y="664"/>
                </a:lnTo>
                <a:lnTo>
                  <a:pt x="364" y="655"/>
                </a:lnTo>
                <a:lnTo>
                  <a:pt x="372" y="646"/>
                </a:lnTo>
                <a:lnTo>
                  <a:pt x="379" y="639"/>
                </a:lnTo>
                <a:lnTo>
                  <a:pt x="383" y="637"/>
                </a:lnTo>
                <a:lnTo>
                  <a:pt x="386" y="635"/>
                </a:lnTo>
                <a:lnTo>
                  <a:pt x="390" y="633"/>
                </a:lnTo>
                <a:lnTo>
                  <a:pt x="394" y="633"/>
                </a:lnTo>
                <a:lnTo>
                  <a:pt x="401" y="633"/>
                </a:lnTo>
                <a:lnTo>
                  <a:pt x="409" y="636"/>
                </a:lnTo>
                <a:lnTo>
                  <a:pt x="413" y="637"/>
                </a:lnTo>
                <a:lnTo>
                  <a:pt x="416" y="637"/>
                </a:lnTo>
                <a:lnTo>
                  <a:pt x="420" y="636"/>
                </a:lnTo>
                <a:lnTo>
                  <a:pt x="422" y="636"/>
                </a:lnTo>
                <a:lnTo>
                  <a:pt x="428" y="631"/>
                </a:lnTo>
                <a:lnTo>
                  <a:pt x="434" y="625"/>
                </a:lnTo>
                <a:lnTo>
                  <a:pt x="436" y="623"/>
                </a:lnTo>
                <a:lnTo>
                  <a:pt x="439" y="621"/>
                </a:lnTo>
                <a:lnTo>
                  <a:pt x="441" y="621"/>
                </a:lnTo>
                <a:lnTo>
                  <a:pt x="444" y="621"/>
                </a:lnTo>
                <a:lnTo>
                  <a:pt x="448" y="625"/>
                </a:lnTo>
                <a:lnTo>
                  <a:pt x="453" y="631"/>
                </a:lnTo>
                <a:lnTo>
                  <a:pt x="457" y="632"/>
                </a:lnTo>
                <a:lnTo>
                  <a:pt x="460" y="633"/>
                </a:lnTo>
                <a:lnTo>
                  <a:pt x="464" y="632"/>
                </a:lnTo>
                <a:lnTo>
                  <a:pt x="467" y="630"/>
                </a:lnTo>
                <a:lnTo>
                  <a:pt x="471" y="626"/>
                </a:lnTo>
                <a:lnTo>
                  <a:pt x="474" y="621"/>
                </a:lnTo>
                <a:lnTo>
                  <a:pt x="477" y="615"/>
                </a:lnTo>
                <a:lnTo>
                  <a:pt x="478" y="608"/>
                </a:lnTo>
                <a:lnTo>
                  <a:pt x="479" y="593"/>
                </a:lnTo>
                <a:lnTo>
                  <a:pt x="482" y="580"/>
                </a:lnTo>
                <a:lnTo>
                  <a:pt x="486" y="568"/>
                </a:lnTo>
                <a:lnTo>
                  <a:pt x="492" y="556"/>
                </a:lnTo>
                <a:lnTo>
                  <a:pt x="499" y="547"/>
                </a:lnTo>
                <a:lnTo>
                  <a:pt x="503" y="542"/>
                </a:lnTo>
                <a:lnTo>
                  <a:pt x="503" y="539"/>
                </a:lnTo>
                <a:lnTo>
                  <a:pt x="501" y="537"/>
                </a:lnTo>
                <a:lnTo>
                  <a:pt x="496" y="535"/>
                </a:lnTo>
                <a:lnTo>
                  <a:pt x="489" y="532"/>
                </a:lnTo>
                <a:lnTo>
                  <a:pt x="478" y="528"/>
                </a:lnTo>
                <a:lnTo>
                  <a:pt x="467" y="524"/>
                </a:lnTo>
                <a:lnTo>
                  <a:pt x="458" y="519"/>
                </a:lnTo>
                <a:lnTo>
                  <a:pt x="449" y="516"/>
                </a:lnTo>
                <a:lnTo>
                  <a:pt x="446" y="513"/>
                </a:lnTo>
                <a:lnTo>
                  <a:pt x="442" y="509"/>
                </a:lnTo>
                <a:lnTo>
                  <a:pt x="440" y="504"/>
                </a:lnTo>
                <a:lnTo>
                  <a:pt x="438" y="499"/>
                </a:lnTo>
                <a:lnTo>
                  <a:pt x="435" y="488"/>
                </a:lnTo>
                <a:lnTo>
                  <a:pt x="435" y="479"/>
                </a:lnTo>
                <a:lnTo>
                  <a:pt x="435" y="469"/>
                </a:lnTo>
                <a:lnTo>
                  <a:pt x="434" y="460"/>
                </a:lnTo>
                <a:lnTo>
                  <a:pt x="434" y="455"/>
                </a:lnTo>
                <a:lnTo>
                  <a:pt x="435" y="450"/>
                </a:lnTo>
                <a:lnTo>
                  <a:pt x="436" y="447"/>
                </a:lnTo>
                <a:lnTo>
                  <a:pt x="440" y="444"/>
                </a:lnTo>
                <a:lnTo>
                  <a:pt x="446" y="441"/>
                </a:lnTo>
                <a:lnTo>
                  <a:pt x="454" y="436"/>
                </a:lnTo>
                <a:lnTo>
                  <a:pt x="460" y="435"/>
                </a:lnTo>
                <a:lnTo>
                  <a:pt x="465" y="434"/>
                </a:lnTo>
                <a:lnTo>
                  <a:pt x="472" y="434"/>
                </a:lnTo>
                <a:lnTo>
                  <a:pt x="480" y="435"/>
                </a:lnTo>
                <a:lnTo>
                  <a:pt x="496" y="436"/>
                </a:lnTo>
                <a:lnTo>
                  <a:pt x="510" y="435"/>
                </a:lnTo>
                <a:lnTo>
                  <a:pt x="523" y="432"/>
                </a:lnTo>
                <a:lnTo>
                  <a:pt x="534" y="428"/>
                </a:lnTo>
                <a:lnTo>
                  <a:pt x="546" y="423"/>
                </a:lnTo>
                <a:lnTo>
                  <a:pt x="559" y="419"/>
                </a:lnTo>
                <a:lnTo>
                  <a:pt x="572" y="416"/>
                </a:lnTo>
                <a:lnTo>
                  <a:pt x="583" y="410"/>
                </a:lnTo>
                <a:lnTo>
                  <a:pt x="589" y="404"/>
                </a:lnTo>
                <a:lnTo>
                  <a:pt x="592" y="397"/>
                </a:lnTo>
                <a:lnTo>
                  <a:pt x="593" y="394"/>
                </a:lnTo>
                <a:lnTo>
                  <a:pt x="596" y="392"/>
                </a:lnTo>
                <a:lnTo>
                  <a:pt x="599" y="391"/>
                </a:lnTo>
                <a:lnTo>
                  <a:pt x="604" y="390"/>
                </a:lnTo>
                <a:lnTo>
                  <a:pt x="612" y="388"/>
                </a:lnTo>
                <a:lnTo>
                  <a:pt x="617" y="386"/>
                </a:lnTo>
                <a:lnTo>
                  <a:pt x="619" y="381"/>
                </a:lnTo>
                <a:lnTo>
                  <a:pt x="619" y="374"/>
                </a:lnTo>
                <a:lnTo>
                  <a:pt x="619" y="366"/>
                </a:lnTo>
                <a:lnTo>
                  <a:pt x="619" y="358"/>
                </a:lnTo>
                <a:lnTo>
                  <a:pt x="617" y="348"/>
                </a:lnTo>
                <a:lnTo>
                  <a:pt x="615" y="341"/>
                </a:lnTo>
                <a:lnTo>
                  <a:pt x="614" y="334"/>
                </a:lnTo>
                <a:lnTo>
                  <a:pt x="611" y="330"/>
                </a:lnTo>
                <a:lnTo>
                  <a:pt x="602" y="320"/>
                </a:lnTo>
                <a:lnTo>
                  <a:pt x="592" y="306"/>
                </a:lnTo>
                <a:lnTo>
                  <a:pt x="589" y="299"/>
                </a:lnTo>
                <a:lnTo>
                  <a:pt x="586" y="293"/>
                </a:lnTo>
                <a:lnTo>
                  <a:pt x="584" y="287"/>
                </a:lnTo>
                <a:lnTo>
                  <a:pt x="583" y="281"/>
                </a:lnTo>
                <a:lnTo>
                  <a:pt x="594" y="270"/>
                </a:lnTo>
                <a:lnTo>
                  <a:pt x="606" y="260"/>
                </a:lnTo>
                <a:lnTo>
                  <a:pt x="606" y="257"/>
                </a:lnTo>
                <a:lnTo>
                  <a:pt x="605" y="254"/>
                </a:lnTo>
                <a:lnTo>
                  <a:pt x="603" y="252"/>
                </a:lnTo>
                <a:lnTo>
                  <a:pt x="600" y="249"/>
                </a:lnTo>
                <a:lnTo>
                  <a:pt x="597" y="248"/>
                </a:lnTo>
                <a:lnTo>
                  <a:pt x="593" y="248"/>
                </a:lnTo>
                <a:lnTo>
                  <a:pt x="589" y="249"/>
                </a:lnTo>
                <a:lnTo>
                  <a:pt x="585" y="252"/>
                </a:lnTo>
                <a:lnTo>
                  <a:pt x="580" y="253"/>
                </a:lnTo>
                <a:lnTo>
                  <a:pt x="577" y="253"/>
                </a:lnTo>
                <a:lnTo>
                  <a:pt x="574" y="252"/>
                </a:lnTo>
                <a:lnTo>
                  <a:pt x="572" y="248"/>
                </a:lnTo>
                <a:lnTo>
                  <a:pt x="570" y="245"/>
                </a:lnTo>
                <a:lnTo>
                  <a:pt x="568" y="239"/>
                </a:lnTo>
                <a:lnTo>
                  <a:pt x="568" y="233"/>
                </a:lnTo>
                <a:lnTo>
                  <a:pt x="568" y="227"/>
                </a:lnTo>
                <a:lnTo>
                  <a:pt x="570" y="220"/>
                </a:lnTo>
                <a:lnTo>
                  <a:pt x="573" y="215"/>
                </a:lnTo>
                <a:lnTo>
                  <a:pt x="575" y="210"/>
                </a:lnTo>
                <a:lnTo>
                  <a:pt x="579" y="205"/>
                </a:lnTo>
                <a:lnTo>
                  <a:pt x="584" y="203"/>
                </a:lnTo>
                <a:lnTo>
                  <a:pt x="589" y="201"/>
                </a:lnTo>
                <a:lnTo>
                  <a:pt x="592" y="199"/>
                </a:lnTo>
                <a:lnTo>
                  <a:pt x="597" y="198"/>
                </a:lnTo>
                <a:lnTo>
                  <a:pt x="606" y="198"/>
                </a:lnTo>
                <a:lnTo>
                  <a:pt x="615" y="198"/>
                </a:lnTo>
                <a:lnTo>
                  <a:pt x="619" y="197"/>
                </a:lnTo>
                <a:lnTo>
                  <a:pt x="623" y="196"/>
                </a:lnTo>
                <a:lnTo>
                  <a:pt x="627" y="194"/>
                </a:lnTo>
                <a:lnTo>
                  <a:pt x="629" y="191"/>
                </a:lnTo>
                <a:lnTo>
                  <a:pt x="633" y="184"/>
                </a:lnTo>
                <a:lnTo>
                  <a:pt x="635" y="177"/>
                </a:lnTo>
                <a:lnTo>
                  <a:pt x="636" y="171"/>
                </a:lnTo>
                <a:lnTo>
                  <a:pt x="635" y="165"/>
                </a:lnTo>
                <a:lnTo>
                  <a:pt x="633" y="161"/>
                </a:lnTo>
                <a:lnTo>
                  <a:pt x="629" y="158"/>
                </a:lnTo>
                <a:lnTo>
                  <a:pt x="623" y="154"/>
                </a:lnTo>
                <a:lnTo>
                  <a:pt x="615" y="152"/>
                </a:lnTo>
                <a:lnTo>
                  <a:pt x="592" y="148"/>
                </a:lnTo>
                <a:lnTo>
                  <a:pt x="567" y="147"/>
                </a:lnTo>
                <a:lnTo>
                  <a:pt x="545" y="147"/>
                </a:lnTo>
                <a:lnTo>
                  <a:pt x="530" y="147"/>
                </a:lnTo>
                <a:lnTo>
                  <a:pt x="518" y="150"/>
                </a:lnTo>
                <a:lnTo>
                  <a:pt x="508" y="151"/>
                </a:lnTo>
                <a:lnTo>
                  <a:pt x="498" y="150"/>
                </a:lnTo>
                <a:lnTo>
                  <a:pt x="486" y="147"/>
                </a:lnTo>
                <a:lnTo>
                  <a:pt x="474" y="142"/>
                </a:lnTo>
                <a:lnTo>
                  <a:pt x="464" y="135"/>
                </a:lnTo>
                <a:lnTo>
                  <a:pt x="454" y="127"/>
                </a:lnTo>
                <a:lnTo>
                  <a:pt x="448" y="117"/>
                </a:lnTo>
                <a:lnTo>
                  <a:pt x="442" y="109"/>
                </a:lnTo>
                <a:lnTo>
                  <a:pt x="436" y="101"/>
                </a:lnTo>
                <a:lnTo>
                  <a:pt x="429" y="93"/>
                </a:lnTo>
                <a:lnTo>
                  <a:pt x="422" y="87"/>
                </a:lnTo>
                <a:lnTo>
                  <a:pt x="413" y="79"/>
                </a:lnTo>
                <a:lnTo>
                  <a:pt x="404" y="73"/>
                </a:lnTo>
                <a:lnTo>
                  <a:pt x="396" y="66"/>
                </a:lnTo>
                <a:lnTo>
                  <a:pt x="388" y="58"/>
                </a:lnTo>
                <a:lnTo>
                  <a:pt x="382" y="49"/>
                </a:lnTo>
                <a:lnTo>
                  <a:pt x="377" y="40"/>
                </a:lnTo>
                <a:lnTo>
                  <a:pt x="373" y="31"/>
                </a:lnTo>
                <a:lnTo>
                  <a:pt x="371" y="21"/>
                </a:lnTo>
                <a:lnTo>
                  <a:pt x="370" y="13"/>
                </a:lnTo>
                <a:lnTo>
                  <a:pt x="367" y="6"/>
                </a:lnTo>
                <a:lnTo>
                  <a:pt x="366" y="3"/>
                </a:lnTo>
                <a:lnTo>
                  <a:pt x="364" y="1"/>
                </a:lnTo>
                <a:lnTo>
                  <a:pt x="361" y="0"/>
                </a:lnTo>
                <a:lnTo>
                  <a:pt x="359" y="0"/>
                </a:lnTo>
                <a:lnTo>
                  <a:pt x="357" y="0"/>
                </a:lnTo>
                <a:lnTo>
                  <a:pt x="354" y="1"/>
                </a:lnTo>
                <a:lnTo>
                  <a:pt x="353" y="3"/>
                </a:lnTo>
                <a:lnTo>
                  <a:pt x="352" y="6"/>
                </a:lnTo>
                <a:lnTo>
                  <a:pt x="350" y="10"/>
                </a:lnTo>
                <a:lnTo>
                  <a:pt x="348" y="16"/>
                </a:lnTo>
                <a:lnTo>
                  <a:pt x="346" y="22"/>
                </a:lnTo>
                <a:lnTo>
                  <a:pt x="342" y="27"/>
                </a:lnTo>
                <a:lnTo>
                  <a:pt x="340" y="28"/>
                </a:lnTo>
                <a:lnTo>
                  <a:pt x="337" y="30"/>
                </a:lnTo>
                <a:lnTo>
                  <a:pt x="332" y="31"/>
                </a:lnTo>
                <a:lnTo>
                  <a:pt x="325" y="31"/>
                </a:lnTo>
                <a:lnTo>
                  <a:pt x="318" y="32"/>
                </a:lnTo>
                <a:lnTo>
                  <a:pt x="313" y="32"/>
                </a:lnTo>
                <a:lnTo>
                  <a:pt x="308" y="34"/>
                </a:lnTo>
                <a:lnTo>
                  <a:pt x="304" y="35"/>
                </a:lnTo>
                <a:lnTo>
                  <a:pt x="303" y="38"/>
                </a:lnTo>
                <a:lnTo>
                  <a:pt x="301" y="40"/>
                </a:lnTo>
                <a:lnTo>
                  <a:pt x="301" y="44"/>
                </a:lnTo>
                <a:lnTo>
                  <a:pt x="301" y="47"/>
                </a:lnTo>
                <a:lnTo>
                  <a:pt x="300" y="51"/>
                </a:lnTo>
                <a:lnTo>
                  <a:pt x="300" y="53"/>
                </a:lnTo>
                <a:lnTo>
                  <a:pt x="297" y="57"/>
                </a:lnTo>
                <a:lnTo>
                  <a:pt x="296" y="59"/>
                </a:lnTo>
                <a:lnTo>
                  <a:pt x="294" y="62"/>
                </a:lnTo>
                <a:lnTo>
                  <a:pt x="290" y="63"/>
                </a:lnTo>
                <a:lnTo>
                  <a:pt x="288" y="63"/>
                </a:lnTo>
                <a:lnTo>
                  <a:pt x="284" y="63"/>
                </a:lnTo>
                <a:lnTo>
                  <a:pt x="276" y="63"/>
                </a:lnTo>
                <a:lnTo>
                  <a:pt x="270" y="65"/>
                </a:lnTo>
                <a:lnTo>
                  <a:pt x="269" y="68"/>
                </a:lnTo>
                <a:lnTo>
                  <a:pt x="266" y="70"/>
                </a:lnTo>
                <a:lnTo>
                  <a:pt x="266" y="72"/>
                </a:lnTo>
                <a:lnTo>
                  <a:pt x="268" y="76"/>
                </a:lnTo>
                <a:lnTo>
                  <a:pt x="272" y="84"/>
                </a:lnTo>
                <a:lnTo>
                  <a:pt x="279" y="93"/>
                </a:lnTo>
                <a:lnTo>
                  <a:pt x="287" y="101"/>
                </a:lnTo>
                <a:lnTo>
                  <a:pt x="295" y="106"/>
                </a:lnTo>
                <a:lnTo>
                  <a:pt x="298" y="108"/>
                </a:lnTo>
                <a:lnTo>
                  <a:pt x="301" y="112"/>
                </a:lnTo>
                <a:lnTo>
                  <a:pt x="303" y="116"/>
                </a:lnTo>
                <a:lnTo>
                  <a:pt x="304" y="120"/>
                </a:lnTo>
                <a:lnTo>
                  <a:pt x="306" y="123"/>
                </a:lnTo>
                <a:lnTo>
                  <a:pt x="304" y="127"/>
                </a:lnTo>
                <a:lnTo>
                  <a:pt x="302" y="129"/>
                </a:lnTo>
                <a:lnTo>
                  <a:pt x="300" y="131"/>
                </a:lnTo>
                <a:lnTo>
                  <a:pt x="282" y="132"/>
                </a:lnTo>
                <a:lnTo>
                  <a:pt x="268" y="136"/>
                </a:lnTo>
                <a:lnTo>
                  <a:pt x="262" y="138"/>
                </a:lnTo>
                <a:lnTo>
                  <a:pt x="255" y="139"/>
                </a:lnTo>
                <a:lnTo>
                  <a:pt x="252" y="139"/>
                </a:lnTo>
                <a:lnTo>
                  <a:pt x="249" y="138"/>
                </a:lnTo>
                <a:lnTo>
                  <a:pt x="245" y="136"/>
                </a:lnTo>
                <a:lnTo>
                  <a:pt x="243" y="134"/>
                </a:lnTo>
                <a:lnTo>
                  <a:pt x="238" y="129"/>
                </a:lnTo>
                <a:lnTo>
                  <a:pt x="234" y="128"/>
                </a:lnTo>
                <a:lnTo>
                  <a:pt x="233" y="131"/>
                </a:lnTo>
                <a:lnTo>
                  <a:pt x="232" y="138"/>
                </a:lnTo>
                <a:lnTo>
                  <a:pt x="232" y="146"/>
                </a:lnTo>
                <a:lnTo>
                  <a:pt x="230" y="153"/>
                </a:lnTo>
                <a:lnTo>
                  <a:pt x="227" y="159"/>
                </a:lnTo>
                <a:lnTo>
                  <a:pt x="222" y="165"/>
                </a:lnTo>
                <a:lnTo>
                  <a:pt x="216" y="173"/>
                </a:lnTo>
                <a:lnTo>
                  <a:pt x="212" y="183"/>
                </a:lnTo>
                <a:lnTo>
                  <a:pt x="205" y="194"/>
                </a:lnTo>
                <a:lnTo>
                  <a:pt x="194" y="205"/>
                </a:lnTo>
                <a:lnTo>
                  <a:pt x="187" y="211"/>
                </a:lnTo>
                <a:lnTo>
                  <a:pt x="181" y="215"/>
                </a:lnTo>
                <a:lnTo>
                  <a:pt x="176" y="217"/>
                </a:lnTo>
                <a:lnTo>
                  <a:pt x="170" y="219"/>
                </a:lnTo>
                <a:lnTo>
                  <a:pt x="165" y="219"/>
                </a:lnTo>
                <a:lnTo>
                  <a:pt x="161" y="217"/>
                </a:lnTo>
                <a:lnTo>
                  <a:pt x="156" y="215"/>
                </a:lnTo>
                <a:lnTo>
                  <a:pt x="150" y="211"/>
                </a:lnTo>
                <a:lnTo>
                  <a:pt x="144" y="209"/>
                </a:lnTo>
                <a:lnTo>
                  <a:pt x="138" y="209"/>
                </a:lnTo>
                <a:lnTo>
                  <a:pt x="132" y="210"/>
                </a:lnTo>
                <a:lnTo>
                  <a:pt x="125" y="213"/>
                </a:lnTo>
                <a:lnTo>
                  <a:pt x="118" y="216"/>
                </a:lnTo>
                <a:lnTo>
                  <a:pt x="112" y="221"/>
                </a:lnTo>
                <a:lnTo>
                  <a:pt x="106" y="227"/>
                </a:lnTo>
                <a:lnTo>
                  <a:pt x="101" y="232"/>
                </a:lnTo>
                <a:lnTo>
                  <a:pt x="98" y="239"/>
                </a:lnTo>
                <a:lnTo>
                  <a:pt x="94" y="246"/>
                </a:lnTo>
                <a:lnTo>
                  <a:pt x="93" y="254"/>
                </a:lnTo>
                <a:lnTo>
                  <a:pt x="92" y="262"/>
                </a:lnTo>
                <a:lnTo>
                  <a:pt x="90" y="271"/>
                </a:lnTo>
                <a:lnTo>
                  <a:pt x="92" y="278"/>
                </a:lnTo>
                <a:lnTo>
                  <a:pt x="94" y="285"/>
                </a:lnTo>
                <a:lnTo>
                  <a:pt x="99" y="290"/>
                </a:lnTo>
                <a:lnTo>
                  <a:pt x="112" y="301"/>
                </a:lnTo>
                <a:lnTo>
                  <a:pt x="130" y="312"/>
                </a:lnTo>
                <a:lnTo>
                  <a:pt x="137" y="318"/>
                </a:lnTo>
                <a:lnTo>
                  <a:pt x="142" y="323"/>
                </a:lnTo>
                <a:lnTo>
                  <a:pt x="145" y="328"/>
                </a:lnTo>
                <a:lnTo>
                  <a:pt x="148" y="337"/>
                </a:lnTo>
                <a:lnTo>
                  <a:pt x="149" y="349"/>
                </a:lnTo>
                <a:lnTo>
                  <a:pt x="148" y="362"/>
                </a:lnTo>
                <a:lnTo>
                  <a:pt x="145" y="374"/>
                </a:lnTo>
                <a:lnTo>
                  <a:pt x="142" y="386"/>
                </a:lnTo>
                <a:lnTo>
                  <a:pt x="137" y="396"/>
                </a:lnTo>
                <a:lnTo>
                  <a:pt x="132" y="404"/>
                </a:lnTo>
                <a:lnTo>
                  <a:pt x="126" y="409"/>
                </a:lnTo>
                <a:lnTo>
                  <a:pt x="121" y="413"/>
                </a:lnTo>
                <a:lnTo>
                  <a:pt x="115" y="416"/>
                </a:lnTo>
                <a:lnTo>
                  <a:pt x="111" y="417"/>
                </a:lnTo>
                <a:lnTo>
                  <a:pt x="104" y="417"/>
                </a:lnTo>
                <a:lnTo>
                  <a:pt x="95" y="418"/>
                </a:lnTo>
                <a:lnTo>
                  <a:pt x="87" y="421"/>
                </a:lnTo>
                <a:lnTo>
                  <a:pt x="76" y="424"/>
                </a:lnTo>
                <a:lnTo>
                  <a:pt x="63" y="432"/>
                </a:lnTo>
                <a:lnTo>
                  <a:pt x="44" y="443"/>
                </a:lnTo>
                <a:lnTo>
                  <a:pt x="26" y="456"/>
                </a:lnTo>
                <a:lnTo>
                  <a:pt x="11" y="466"/>
                </a:lnTo>
                <a:lnTo>
                  <a:pt x="6" y="470"/>
                </a:lnTo>
                <a:lnTo>
                  <a:pt x="2" y="475"/>
                </a:lnTo>
                <a:lnTo>
                  <a:pt x="0" y="481"/>
                </a:lnTo>
                <a:lnTo>
                  <a:pt x="0" y="486"/>
                </a:lnTo>
                <a:lnTo>
                  <a:pt x="0" y="492"/>
                </a:lnTo>
                <a:lnTo>
                  <a:pt x="0" y="497"/>
                </a:lnTo>
                <a:lnTo>
                  <a:pt x="1" y="501"/>
                </a:lnTo>
                <a:lnTo>
                  <a:pt x="4" y="506"/>
                </a:lnTo>
                <a:lnTo>
                  <a:pt x="10" y="516"/>
                </a:lnTo>
                <a:lnTo>
                  <a:pt x="19" y="528"/>
                </a:lnTo>
                <a:lnTo>
                  <a:pt x="29" y="539"/>
                </a:lnTo>
                <a:lnTo>
                  <a:pt x="35" y="549"/>
                </a:lnTo>
                <a:lnTo>
                  <a:pt x="38" y="557"/>
                </a:lnTo>
                <a:lnTo>
                  <a:pt x="41" y="563"/>
                </a:lnTo>
                <a:lnTo>
                  <a:pt x="39" y="566"/>
                </a:lnTo>
                <a:lnTo>
                  <a:pt x="39" y="567"/>
                </a:lnTo>
                <a:lnTo>
                  <a:pt x="37" y="569"/>
                </a:lnTo>
                <a:lnTo>
                  <a:pt x="33" y="569"/>
                </a:lnTo>
                <a:lnTo>
                  <a:pt x="25" y="570"/>
                </a:lnTo>
                <a:lnTo>
                  <a:pt x="19" y="574"/>
                </a:lnTo>
                <a:lnTo>
                  <a:pt x="17" y="575"/>
                </a:lnTo>
                <a:lnTo>
                  <a:pt x="14" y="577"/>
                </a:lnTo>
                <a:lnTo>
                  <a:pt x="13" y="581"/>
                </a:lnTo>
                <a:lnTo>
                  <a:pt x="13" y="585"/>
                </a:lnTo>
                <a:lnTo>
                  <a:pt x="17" y="593"/>
                </a:lnTo>
                <a:lnTo>
                  <a:pt x="22" y="602"/>
                </a:lnTo>
                <a:lnTo>
                  <a:pt x="25" y="607"/>
                </a:lnTo>
                <a:lnTo>
                  <a:pt x="29" y="611"/>
                </a:lnTo>
                <a:lnTo>
                  <a:pt x="30" y="615"/>
                </a:lnTo>
                <a:lnTo>
                  <a:pt x="31" y="620"/>
                </a:lnTo>
                <a:lnTo>
                  <a:pt x="33" y="631"/>
                </a:lnTo>
                <a:lnTo>
                  <a:pt x="35" y="642"/>
                </a:lnTo>
                <a:lnTo>
                  <a:pt x="37" y="646"/>
                </a:lnTo>
                <a:lnTo>
                  <a:pt x="39" y="651"/>
                </a:lnTo>
                <a:lnTo>
                  <a:pt x="42" y="655"/>
                </a:lnTo>
                <a:lnTo>
                  <a:pt x="45" y="658"/>
                </a:lnTo>
                <a:lnTo>
                  <a:pt x="50" y="659"/>
                </a:lnTo>
                <a:lnTo>
                  <a:pt x="57" y="661"/>
                </a:lnTo>
                <a:lnTo>
                  <a:pt x="64" y="662"/>
                </a:lnTo>
                <a:lnTo>
                  <a:pt x="71" y="662"/>
                </a:lnTo>
                <a:lnTo>
                  <a:pt x="79" y="661"/>
                </a:lnTo>
                <a:lnTo>
                  <a:pt x="86" y="659"/>
                </a:lnTo>
                <a:lnTo>
                  <a:pt x="88" y="661"/>
                </a:lnTo>
                <a:lnTo>
                  <a:pt x="90" y="662"/>
                </a:lnTo>
                <a:lnTo>
                  <a:pt x="93" y="663"/>
                </a:lnTo>
                <a:lnTo>
                  <a:pt x="95" y="667"/>
                </a:lnTo>
                <a:lnTo>
                  <a:pt x="99" y="671"/>
                </a:lnTo>
                <a:lnTo>
                  <a:pt x="102" y="677"/>
                </a:lnTo>
                <a:lnTo>
                  <a:pt x="107" y="682"/>
                </a:lnTo>
                <a:lnTo>
                  <a:pt x="112" y="687"/>
                </a:lnTo>
                <a:lnTo>
                  <a:pt x="118" y="689"/>
                </a:lnTo>
                <a:lnTo>
                  <a:pt x="123" y="689"/>
                </a:lnTo>
                <a:lnTo>
                  <a:pt x="128" y="689"/>
                </a:lnTo>
                <a:lnTo>
                  <a:pt x="134" y="688"/>
                </a:lnTo>
                <a:lnTo>
                  <a:pt x="144" y="683"/>
                </a:lnTo>
                <a:lnTo>
                  <a:pt x="150" y="680"/>
                </a:lnTo>
                <a:lnTo>
                  <a:pt x="157" y="675"/>
                </a:lnTo>
                <a:lnTo>
                  <a:pt x="163" y="669"/>
                </a:lnTo>
                <a:lnTo>
                  <a:pt x="171" y="663"/>
                </a:lnTo>
                <a:lnTo>
                  <a:pt x="180" y="657"/>
                </a:lnTo>
                <a:lnTo>
                  <a:pt x="187" y="654"/>
                </a:lnTo>
                <a:lnTo>
                  <a:pt x="194" y="650"/>
                </a:lnTo>
                <a:lnTo>
                  <a:pt x="201" y="649"/>
                </a:lnTo>
                <a:lnTo>
                  <a:pt x="213" y="648"/>
                </a:lnTo>
                <a:lnTo>
                  <a:pt x="225" y="646"/>
                </a:lnTo>
                <a:lnTo>
                  <a:pt x="237" y="646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8" name="河北"/>
          <p:cNvSpPr>
            <a:spLocks noEditPoints="1"/>
          </p:cNvSpPr>
          <p:nvPr/>
        </p:nvSpPr>
        <p:spPr bwMode="auto">
          <a:xfrm>
            <a:off x="6729095" y="2236470"/>
            <a:ext cx="847090" cy="1188720"/>
          </a:xfrm>
          <a:custGeom>
            <a:avLst/>
            <a:gdLst>
              <a:gd name="T0" fmla="*/ 1177 w 2047"/>
              <a:gd name="T1" fmla="*/ 2101 h 2907"/>
              <a:gd name="T2" fmla="*/ 917 w 2047"/>
              <a:gd name="T3" fmla="*/ 2293 h 2907"/>
              <a:gd name="T4" fmla="*/ 781 w 2047"/>
              <a:gd name="T5" fmla="*/ 2510 h 2907"/>
              <a:gd name="T6" fmla="*/ 635 w 2047"/>
              <a:gd name="T7" fmla="*/ 2788 h 2907"/>
              <a:gd name="T8" fmla="*/ 608 w 2047"/>
              <a:gd name="T9" fmla="*/ 2863 h 2907"/>
              <a:gd name="T10" fmla="*/ 320 w 2047"/>
              <a:gd name="T11" fmla="*/ 2852 h 2907"/>
              <a:gd name="T12" fmla="*/ 104 w 2047"/>
              <a:gd name="T13" fmla="*/ 2796 h 2907"/>
              <a:gd name="T14" fmla="*/ 33 w 2047"/>
              <a:gd name="T15" fmla="*/ 2646 h 2907"/>
              <a:gd name="T16" fmla="*/ 117 w 2047"/>
              <a:gd name="T17" fmla="*/ 2466 h 2907"/>
              <a:gd name="T18" fmla="*/ 165 w 2047"/>
              <a:gd name="T19" fmla="*/ 2214 h 2907"/>
              <a:gd name="T20" fmla="*/ 105 w 2047"/>
              <a:gd name="T21" fmla="*/ 2031 h 2907"/>
              <a:gd name="T22" fmla="*/ 0 w 2047"/>
              <a:gd name="T23" fmla="*/ 1928 h 2907"/>
              <a:gd name="T24" fmla="*/ 98 w 2047"/>
              <a:gd name="T25" fmla="*/ 1761 h 2907"/>
              <a:gd name="T26" fmla="*/ 174 w 2047"/>
              <a:gd name="T27" fmla="*/ 1620 h 2907"/>
              <a:gd name="T28" fmla="*/ 299 w 2047"/>
              <a:gd name="T29" fmla="*/ 1564 h 2907"/>
              <a:gd name="T30" fmla="*/ 269 w 2047"/>
              <a:gd name="T31" fmla="*/ 1321 h 2907"/>
              <a:gd name="T32" fmla="*/ 108 w 2047"/>
              <a:gd name="T33" fmla="*/ 1206 h 2907"/>
              <a:gd name="T34" fmla="*/ 184 w 2047"/>
              <a:gd name="T35" fmla="*/ 1121 h 2907"/>
              <a:gd name="T36" fmla="*/ 221 w 2047"/>
              <a:gd name="T37" fmla="*/ 1036 h 2907"/>
              <a:gd name="T38" fmla="*/ 66 w 2047"/>
              <a:gd name="T39" fmla="*/ 735 h 2907"/>
              <a:gd name="T40" fmla="*/ 74 w 2047"/>
              <a:gd name="T41" fmla="*/ 586 h 2907"/>
              <a:gd name="T42" fmla="*/ 193 w 2047"/>
              <a:gd name="T43" fmla="*/ 354 h 2907"/>
              <a:gd name="T44" fmla="*/ 357 w 2047"/>
              <a:gd name="T45" fmla="*/ 247 h 2907"/>
              <a:gd name="T46" fmla="*/ 382 w 2047"/>
              <a:gd name="T47" fmla="*/ 482 h 2907"/>
              <a:gd name="T48" fmla="*/ 532 w 2047"/>
              <a:gd name="T49" fmla="*/ 449 h 2907"/>
              <a:gd name="T50" fmla="*/ 718 w 2047"/>
              <a:gd name="T51" fmla="*/ 374 h 2907"/>
              <a:gd name="T52" fmla="*/ 857 w 2047"/>
              <a:gd name="T53" fmla="*/ 311 h 2907"/>
              <a:gd name="T54" fmla="*/ 986 w 2047"/>
              <a:gd name="T55" fmla="*/ 214 h 2907"/>
              <a:gd name="T56" fmla="*/ 1058 w 2047"/>
              <a:gd name="T57" fmla="*/ 70 h 2907"/>
              <a:gd name="T58" fmla="*/ 1301 w 2047"/>
              <a:gd name="T59" fmla="*/ 12 h 2907"/>
              <a:gd name="T60" fmla="*/ 1397 w 2047"/>
              <a:gd name="T61" fmla="*/ 196 h 2907"/>
              <a:gd name="T62" fmla="*/ 1466 w 2047"/>
              <a:gd name="T63" fmla="*/ 341 h 2907"/>
              <a:gd name="T64" fmla="*/ 1475 w 2047"/>
              <a:gd name="T65" fmla="*/ 482 h 2907"/>
              <a:gd name="T66" fmla="*/ 1660 w 2047"/>
              <a:gd name="T67" fmla="*/ 518 h 2907"/>
              <a:gd name="T68" fmla="*/ 1700 w 2047"/>
              <a:gd name="T69" fmla="*/ 623 h 2907"/>
              <a:gd name="T70" fmla="*/ 1682 w 2047"/>
              <a:gd name="T71" fmla="*/ 752 h 2907"/>
              <a:gd name="T72" fmla="*/ 1863 w 2047"/>
              <a:gd name="T73" fmla="*/ 853 h 2907"/>
              <a:gd name="T74" fmla="*/ 2009 w 2047"/>
              <a:gd name="T75" fmla="*/ 1033 h 2907"/>
              <a:gd name="T76" fmla="*/ 1905 w 2047"/>
              <a:gd name="T77" fmla="*/ 1185 h 2907"/>
              <a:gd name="T78" fmla="*/ 1862 w 2047"/>
              <a:gd name="T79" fmla="*/ 1338 h 2907"/>
              <a:gd name="T80" fmla="*/ 1782 w 2047"/>
              <a:gd name="T81" fmla="*/ 1457 h 2907"/>
              <a:gd name="T82" fmla="*/ 1548 w 2047"/>
              <a:gd name="T83" fmla="*/ 1538 h 2907"/>
              <a:gd name="T84" fmla="*/ 1420 w 2047"/>
              <a:gd name="T85" fmla="*/ 1382 h 2907"/>
              <a:gd name="T86" fmla="*/ 1328 w 2047"/>
              <a:gd name="T87" fmla="*/ 1277 h 2907"/>
              <a:gd name="T88" fmla="*/ 1307 w 2047"/>
              <a:gd name="T89" fmla="*/ 1079 h 2907"/>
              <a:gd name="T90" fmla="*/ 1204 w 2047"/>
              <a:gd name="T91" fmla="*/ 957 h 2907"/>
              <a:gd name="T92" fmla="*/ 1233 w 2047"/>
              <a:gd name="T93" fmla="*/ 877 h 2907"/>
              <a:gd name="T94" fmla="*/ 968 w 2047"/>
              <a:gd name="T95" fmla="*/ 713 h 2907"/>
              <a:gd name="T96" fmla="*/ 888 w 2047"/>
              <a:gd name="T97" fmla="*/ 763 h 2907"/>
              <a:gd name="T98" fmla="*/ 831 w 2047"/>
              <a:gd name="T99" fmla="*/ 831 h 2907"/>
              <a:gd name="T100" fmla="*/ 690 w 2047"/>
              <a:gd name="T101" fmla="*/ 979 h 2907"/>
              <a:gd name="T102" fmla="*/ 597 w 2047"/>
              <a:gd name="T103" fmla="*/ 1192 h 2907"/>
              <a:gd name="T104" fmla="*/ 643 w 2047"/>
              <a:gd name="T105" fmla="*/ 1358 h 2907"/>
              <a:gd name="T106" fmla="*/ 843 w 2047"/>
              <a:gd name="T107" fmla="*/ 1346 h 2907"/>
              <a:gd name="T108" fmla="*/ 984 w 2047"/>
              <a:gd name="T109" fmla="*/ 1336 h 2907"/>
              <a:gd name="T110" fmla="*/ 1093 w 2047"/>
              <a:gd name="T111" fmla="*/ 1548 h 2907"/>
              <a:gd name="T112" fmla="*/ 1131 w 2047"/>
              <a:gd name="T113" fmla="*/ 1723 h 2907"/>
              <a:gd name="T114" fmla="*/ 1272 w 2047"/>
              <a:gd name="T115" fmla="*/ 1765 h 2907"/>
              <a:gd name="T116" fmla="*/ 1390 w 2047"/>
              <a:gd name="T117" fmla="*/ 1918 h 2907"/>
              <a:gd name="T118" fmla="*/ 1163 w 2047"/>
              <a:gd name="T119" fmla="*/ 1195 h 2907"/>
              <a:gd name="T120" fmla="*/ 1107 w 2047"/>
              <a:gd name="T121" fmla="*/ 1329 h 2907"/>
              <a:gd name="T122" fmla="*/ 1033 w 2047"/>
              <a:gd name="T123" fmla="*/ 1188 h 2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47" h="2907">
                <a:moveTo>
                  <a:pt x="1422" y="1913"/>
                </a:moveTo>
                <a:lnTo>
                  <a:pt x="1422" y="1915"/>
                </a:lnTo>
                <a:lnTo>
                  <a:pt x="1421" y="1916"/>
                </a:lnTo>
                <a:lnTo>
                  <a:pt x="1422" y="1922"/>
                </a:lnTo>
                <a:lnTo>
                  <a:pt x="1421" y="1928"/>
                </a:lnTo>
                <a:lnTo>
                  <a:pt x="1421" y="1935"/>
                </a:lnTo>
                <a:lnTo>
                  <a:pt x="1418" y="1942"/>
                </a:lnTo>
                <a:lnTo>
                  <a:pt x="1416" y="1949"/>
                </a:lnTo>
                <a:lnTo>
                  <a:pt x="1411" y="1956"/>
                </a:lnTo>
                <a:lnTo>
                  <a:pt x="1405" y="1963"/>
                </a:lnTo>
                <a:lnTo>
                  <a:pt x="1397" y="1968"/>
                </a:lnTo>
                <a:lnTo>
                  <a:pt x="1384" y="1976"/>
                </a:lnTo>
                <a:lnTo>
                  <a:pt x="1371" y="1986"/>
                </a:lnTo>
                <a:lnTo>
                  <a:pt x="1360" y="1995"/>
                </a:lnTo>
                <a:lnTo>
                  <a:pt x="1352" y="2006"/>
                </a:lnTo>
                <a:lnTo>
                  <a:pt x="1345" y="2023"/>
                </a:lnTo>
                <a:lnTo>
                  <a:pt x="1339" y="2039"/>
                </a:lnTo>
                <a:lnTo>
                  <a:pt x="1333" y="2058"/>
                </a:lnTo>
                <a:lnTo>
                  <a:pt x="1327" y="2071"/>
                </a:lnTo>
                <a:lnTo>
                  <a:pt x="1322" y="2074"/>
                </a:lnTo>
                <a:lnTo>
                  <a:pt x="1316" y="2076"/>
                </a:lnTo>
                <a:lnTo>
                  <a:pt x="1309" y="2077"/>
                </a:lnTo>
                <a:lnTo>
                  <a:pt x="1301" y="2080"/>
                </a:lnTo>
                <a:lnTo>
                  <a:pt x="1288" y="2082"/>
                </a:lnTo>
                <a:lnTo>
                  <a:pt x="1270" y="2085"/>
                </a:lnTo>
                <a:lnTo>
                  <a:pt x="1251" y="2087"/>
                </a:lnTo>
                <a:lnTo>
                  <a:pt x="1234" y="2089"/>
                </a:lnTo>
                <a:lnTo>
                  <a:pt x="1220" y="2092"/>
                </a:lnTo>
                <a:lnTo>
                  <a:pt x="1204" y="2095"/>
                </a:lnTo>
                <a:lnTo>
                  <a:pt x="1190" y="2099"/>
                </a:lnTo>
                <a:lnTo>
                  <a:pt x="1177" y="2101"/>
                </a:lnTo>
                <a:lnTo>
                  <a:pt x="1149" y="2104"/>
                </a:lnTo>
                <a:lnTo>
                  <a:pt x="1126" y="2105"/>
                </a:lnTo>
                <a:lnTo>
                  <a:pt x="1116" y="2108"/>
                </a:lnTo>
                <a:lnTo>
                  <a:pt x="1107" y="2113"/>
                </a:lnTo>
                <a:lnTo>
                  <a:pt x="1102" y="2117"/>
                </a:lnTo>
                <a:lnTo>
                  <a:pt x="1099" y="2121"/>
                </a:lnTo>
                <a:lnTo>
                  <a:pt x="1094" y="2126"/>
                </a:lnTo>
                <a:lnTo>
                  <a:pt x="1090" y="2133"/>
                </a:lnTo>
                <a:lnTo>
                  <a:pt x="1076" y="2161"/>
                </a:lnTo>
                <a:lnTo>
                  <a:pt x="1063" y="2184"/>
                </a:lnTo>
                <a:lnTo>
                  <a:pt x="1056" y="2195"/>
                </a:lnTo>
                <a:lnTo>
                  <a:pt x="1049" y="2206"/>
                </a:lnTo>
                <a:lnTo>
                  <a:pt x="1039" y="2215"/>
                </a:lnTo>
                <a:lnTo>
                  <a:pt x="1030" y="2224"/>
                </a:lnTo>
                <a:lnTo>
                  <a:pt x="1011" y="2238"/>
                </a:lnTo>
                <a:lnTo>
                  <a:pt x="998" y="2249"/>
                </a:lnTo>
                <a:lnTo>
                  <a:pt x="990" y="2252"/>
                </a:lnTo>
                <a:lnTo>
                  <a:pt x="984" y="2253"/>
                </a:lnTo>
                <a:lnTo>
                  <a:pt x="977" y="2253"/>
                </a:lnTo>
                <a:lnTo>
                  <a:pt x="969" y="2250"/>
                </a:lnTo>
                <a:lnTo>
                  <a:pt x="961" y="2247"/>
                </a:lnTo>
                <a:lnTo>
                  <a:pt x="954" y="2245"/>
                </a:lnTo>
                <a:lnTo>
                  <a:pt x="948" y="2245"/>
                </a:lnTo>
                <a:lnTo>
                  <a:pt x="942" y="2246"/>
                </a:lnTo>
                <a:lnTo>
                  <a:pt x="936" y="2251"/>
                </a:lnTo>
                <a:lnTo>
                  <a:pt x="931" y="2257"/>
                </a:lnTo>
                <a:lnTo>
                  <a:pt x="926" y="2265"/>
                </a:lnTo>
                <a:lnTo>
                  <a:pt x="920" y="2277"/>
                </a:lnTo>
                <a:lnTo>
                  <a:pt x="918" y="2283"/>
                </a:lnTo>
                <a:lnTo>
                  <a:pt x="917" y="2288"/>
                </a:lnTo>
                <a:lnTo>
                  <a:pt x="917" y="2293"/>
                </a:lnTo>
                <a:lnTo>
                  <a:pt x="918" y="2297"/>
                </a:lnTo>
                <a:lnTo>
                  <a:pt x="920" y="2303"/>
                </a:lnTo>
                <a:lnTo>
                  <a:pt x="924" y="2308"/>
                </a:lnTo>
                <a:lnTo>
                  <a:pt x="926" y="2312"/>
                </a:lnTo>
                <a:lnTo>
                  <a:pt x="927" y="2315"/>
                </a:lnTo>
                <a:lnTo>
                  <a:pt x="927" y="2316"/>
                </a:lnTo>
                <a:lnTo>
                  <a:pt x="926" y="2319"/>
                </a:lnTo>
                <a:lnTo>
                  <a:pt x="924" y="2321"/>
                </a:lnTo>
                <a:lnTo>
                  <a:pt x="919" y="2323"/>
                </a:lnTo>
                <a:lnTo>
                  <a:pt x="914" y="2326"/>
                </a:lnTo>
                <a:lnTo>
                  <a:pt x="911" y="2328"/>
                </a:lnTo>
                <a:lnTo>
                  <a:pt x="906" y="2329"/>
                </a:lnTo>
                <a:lnTo>
                  <a:pt x="901" y="2329"/>
                </a:lnTo>
                <a:lnTo>
                  <a:pt x="894" y="2329"/>
                </a:lnTo>
                <a:lnTo>
                  <a:pt x="886" y="2328"/>
                </a:lnTo>
                <a:lnTo>
                  <a:pt x="879" y="2327"/>
                </a:lnTo>
                <a:lnTo>
                  <a:pt x="870" y="2328"/>
                </a:lnTo>
                <a:lnTo>
                  <a:pt x="867" y="2331"/>
                </a:lnTo>
                <a:lnTo>
                  <a:pt x="863" y="2333"/>
                </a:lnTo>
                <a:lnTo>
                  <a:pt x="858" y="2336"/>
                </a:lnTo>
                <a:lnTo>
                  <a:pt x="855" y="2341"/>
                </a:lnTo>
                <a:lnTo>
                  <a:pt x="847" y="2352"/>
                </a:lnTo>
                <a:lnTo>
                  <a:pt x="838" y="2366"/>
                </a:lnTo>
                <a:lnTo>
                  <a:pt x="829" y="2382"/>
                </a:lnTo>
                <a:lnTo>
                  <a:pt x="820" y="2401"/>
                </a:lnTo>
                <a:lnTo>
                  <a:pt x="812" y="2423"/>
                </a:lnTo>
                <a:lnTo>
                  <a:pt x="806" y="2446"/>
                </a:lnTo>
                <a:lnTo>
                  <a:pt x="800" y="2467"/>
                </a:lnTo>
                <a:lnTo>
                  <a:pt x="795" y="2486"/>
                </a:lnTo>
                <a:lnTo>
                  <a:pt x="788" y="2498"/>
                </a:lnTo>
                <a:lnTo>
                  <a:pt x="781" y="2510"/>
                </a:lnTo>
                <a:lnTo>
                  <a:pt x="775" y="2522"/>
                </a:lnTo>
                <a:lnTo>
                  <a:pt x="769" y="2533"/>
                </a:lnTo>
                <a:lnTo>
                  <a:pt x="765" y="2547"/>
                </a:lnTo>
                <a:lnTo>
                  <a:pt x="760" y="2560"/>
                </a:lnTo>
                <a:lnTo>
                  <a:pt x="757" y="2571"/>
                </a:lnTo>
                <a:lnTo>
                  <a:pt x="755" y="2578"/>
                </a:lnTo>
                <a:lnTo>
                  <a:pt x="743" y="2586"/>
                </a:lnTo>
                <a:lnTo>
                  <a:pt x="729" y="2594"/>
                </a:lnTo>
                <a:lnTo>
                  <a:pt x="712" y="2604"/>
                </a:lnTo>
                <a:lnTo>
                  <a:pt x="694" y="2613"/>
                </a:lnTo>
                <a:lnTo>
                  <a:pt x="691" y="2616"/>
                </a:lnTo>
                <a:lnTo>
                  <a:pt x="688" y="2619"/>
                </a:lnTo>
                <a:lnTo>
                  <a:pt x="686" y="2623"/>
                </a:lnTo>
                <a:lnTo>
                  <a:pt x="684" y="2627"/>
                </a:lnTo>
                <a:lnTo>
                  <a:pt x="680" y="2635"/>
                </a:lnTo>
                <a:lnTo>
                  <a:pt x="674" y="2642"/>
                </a:lnTo>
                <a:lnTo>
                  <a:pt x="668" y="2653"/>
                </a:lnTo>
                <a:lnTo>
                  <a:pt x="661" y="2662"/>
                </a:lnTo>
                <a:lnTo>
                  <a:pt x="653" y="2674"/>
                </a:lnTo>
                <a:lnTo>
                  <a:pt x="641" y="2692"/>
                </a:lnTo>
                <a:lnTo>
                  <a:pt x="635" y="2706"/>
                </a:lnTo>
                <a:lnTo>
                  <a:pt x="629" y="2723"/>
                </a:lnTo>
                <a:lnTo>
                  <a:pt x="625" y="2730"/>
                </a:lnTo>
                <a:lnTo>
                  <a:pt x="624" y="2736"/>
                </a:lnTo>
                <a:lnTo>
                  <a:pt x="623" y="2742"/>
                </a:lnTo>
                <a:lnTo>
                  <a:pt x="623" y="2745"/>
                </a:lnTo>
                <a:lnTo>
                  <a:pt x="625" y="2754"/>
                </a:lnTo>
                <a:lnTo>
                  <a:pt x="628" y="2763"/>
                </a:lnTo>
                <a:lnTo>
                  <a:pt x="630" y="2774"/>
                </a:lnTo>
                <a:lnTo>
                  <a:pt x="634" y="2785"/>
                </a:lnTo>
                <a:lnTo>
                  <a:pt x="635" y="2788"/>
                </a:lnTo>
                <a:lnTo>
                  <a:pt x="637" y="2791"/>
                </a:lnTo>
                <a:lnTo>
                  <a:pt x="641" y="2793"/>
                </a:lnTo>
                <a:lnTo>
                  <a:pt x="644" y="2794"/>
                </a:lnTo>
                <a:lnTo>
                  <a:pt x="653" y="2798"/>
                </a:lnTo>
                <a:lnTo>
                  <a:pt x="662" y="2801"/>
                </a:lnTo>
                <a:lnTo>
                  <a:pt x="668" y="2805"/>
                </a:lnTo>
                <a:lnTo>
                  <a:pt x="673" y="2810"/>
                </a:lnTo>
                <a:lnTo>
                  <a:pt x="678" y="2815"/>
                </a:lnTo>
                <a:lnTo>
                  <a:pt x="681" y="2820"/>
                </a:lnTo>
                <a:lnTo>
                  <a:pt x="687" y="2832"/>
                </a:lnTo>
                <a:lnTo>
                  <a:pt x="692" y="2843"/>
                </a:lnTo>
                <a:lnTo>
                  <a:pt x="697" y="2858"/>
                </a:lnTo>
                <a:lnTo>
                  <a:pt x="700" y="2869"/>
                </a:lnTo>
                <a:lnTo>
                  <a:pt x="700" y="2873"/>
                </a:lnTo>
                <a:lnTo>
                  <a:pt x="698" y="2875"/>
                </a:lnTo>
                <a:lnTo>
                  <a:pt x="694" y="2878"/>
                </a:lnTo>
                <a:lnTo>
                  <a:pt x="688" y="2882"/>
                </a:lnTo>
                <a:lnTo>
                  <a:pt x="678" y="2892"/>
                </a:lnTo>
                <a:lnTo>
                  <a:pt x="669" y="2899"/>
                </a:lnTo>
                <a:lnTo>
                  <a:pt x="665" y="2901"/>
                </a:lnTo>
                <a:lnTo>
                  <a:pt x="660" y="2903"/>
                </a:lnTo>
                <a:lnTo>
                  <a:pt x="655" y="2903"/>
                </a:lnTo>
                <a:lnTo>
                  <a:pt x="650" y="2903"/>
                </a:lnTo>
                <a:lnTo>
                  <a:pt x="647" y="2902"/>
                </a:lnTo>
                <a:lnTo>
                  <a:pt x="642" y="2900"/>
                </a:lnTo>
                <a:lnTo>
                  <a:pt x="639" y="2896"/>
                </a:lnTo>
                <a:lnTo>
                  <a:pt x="635" y="2893"/>
                </a:lnTo>
                <a:lnTo>
                  <a:pt x="628" y="2882"/>
                </a:lnTo>
                <a:lnTo>
                  <a:pt x="620" y="2871"/>
                </a:lnTo>
                <a:lnTo>
                  <a:pt x="614" y="2867"/>
                </a:lnTo>
                <a:lnTo>
                  <a:pt x="608" y="2863"/>
                </a:lnTo>
                <a:lnTo>
                  <a:pt x="600" y="2861"/>
                </a:lnTo>
                <a:lnTo>
                  <a:pt x="592" y="2861"/>
                </a:lnTo>
                <a:lnTo>
                  <a:pt x="584" y="2862"/>
                </a:lnTo>
                <a:lnTo>
                  <a:pt x="578" y="2864"/>
                </a:lnTo>
                <a:lnTo>
                  <a:pt x="571" y="2869"/>
                </a:lnTo>
                <a:lnTo>
                  <a:pt x="566" y="2875"/>
                </a:lnTo>
                <a:lnTo>
                  <a:pt x="558" y="2887"/>
                </a:lnTo>
                <a:lnTo>
                  <a:pt x="553" y="2898"/>
                </a:lnTo>
                <a:lnTo>
                  <a:pt x="551" y="2901"/>
                </a:lnTo>
                <a:lnTo>
                  <a:pt x="547" y="2903"/>
                </a:lnTo>
                <a:lnTo>
                  <a:pt x="542" y="2906"/>
                </a:lnTo>
                <a:lnTo>
                  <a:pt x="537" y="2907"/>
                </a:lnTo>
                <a:lnTo>
                  <a:pt x="533" y="2907"/>
                </a:lnTo>
                <a:lnTo>
                  <a:pt x="527" y="2906"/>
                </a:lnTo>
                <a:lnTo>
                  <a:pt x="521" y="2905"/>
                </a:lnTo>
                <a:lnTo>
                  <a:pt x="516" y="2902"/>
                </a:lnTo>
                <a:lnTo>
                  <a:pt x="509" y="2901"/>
                </a:lnTo>
                <a:lnTo>
                  <a:pt x="501" y="2899"/>
                </a:lnTo>
                <a:lnTo>
                  <a:pt x="491" y="2898"/>
                </a:lnTo>
                <a:lnTo>
                  <a:pt x="480" y="2896"/>
                </a:lnTo>
                <a:lnTo>
                  <a:pt x="457" y="2895"/>
                </a:lnTo>
                <a:lnTo>
                  <a:pt x="432" y="2896"/>
                </a:lnTo>
                <a:lnTo>
                  <a:pt x="410" y="2895"/>
                </a:lnTo>
                <a:lnTo>
                  <a:pt x="394" y="2894"/>
                </a:lnTo>
                <a:lnTo>
                  <a:pt x="387" y="2892"/>
                </a:lnTo>
                <a:lnTo>
                  <a:pt x="378" y="2888"/>
                </a:lnTo>
                <a:lnTo>
                  <a:pt x="370" y="2884"/>
                </a:lnTo>
                <a:lnTo>
                  <a:pt x="359" y="2878"/>
                </a:lnTo>
                <a:lnTo>
                  <a:pt x="346" y="2870"/>
                </a:lnTo>
                <a:lnTo>
                  <a:pt x="332" y="2862"/>
                </a:lnTo>
                <a:lnTo>
                  <a:pt x="320" y="2852"/>
                </a:lnTo>
                <a:lnTo>
                  <a:pt x="310" y="2846"/>
                </a:lnTo>
                <a:lnTo>
                  <a:pt x="306" y="2844"/>
                </a:lnTo>
                <a:lnTo>
                  <a:pt x="299" y="2844"/>
                </a:lnTo>
                <a:lnTo>
                  <a:pt x="291" y="2845"/>
                </a:lnTo>
                <a:lnTo>
                  <a:pt x="284" y="2846"/>
                </a:lnTo>
                <a:lnTo>
                  <a:pt x="281" y="2849"/>
                </a:lnTo>
                <a:lnTo>
                  <a:pt x="277" y="2854"/>
                </a:lnTo>
                <a:lnTo>
                  <a:pt x="272" y="2855"/>
                </a:lnTo>
                <a:lnTo>
                  <a:pt x="266" y="2855"/>
                </a:lnTo>
                <a:lnTo>
                  <a:pt x="259" y="2855"/>
                </a:lnTo>
                <a:lnTo>
                  <a:pt x="251" y="2855"/>
                </a:lnTo>
                <a:lnTo>
                  <a:pt x="243" y="2854"/>
                </a:lnTo>
                <a:lnTo>
                  <a:pt x="236" y="2852"/>
                </a:lnTo>
                <a:lnTo>
                  <a:pt x="228" y="2850"/>
                </a:lnTo>
                <a:lnTo>
                  <a:pt x="224" y="2848"/>
                </a:lnTo>
                <a:lnTo>
                  <a:pt x="211" y="2836"/>
                </a:lnTo>
                <a:lnTo>
                  <a:pt x="199" y="2823"/>
                </a:lnTo>
                <a:lnTo>
                  <a:pt x="184" y="2821"/>
                </a:lnTo>
                <a:lnTo>
                  <a:pt x="174" y="2818"/>
                </a:lnTo>
                <a:lnTo>
                  <a:pt x="165" y="2815"/>
                </a:lnTo>
                <a:lnTo>
                  <a:pt x="157" y="2814"/>
                </a:lnTo>
                <a:lnTo>
                  <a:pt x="148" y="2814"/>
                </a:lnTo>
                <a:lnTo>
                  <a:pt x="138" y="2815"/>
                </a:lnTo>
                <a:lnTo>
                  <a:pt x="127" y="2819"/>
                </a:lnTo>
                <a:lnTo>
                  <a:pt x="115" y="2820"/>
                </a:lnTo>
                <a:lnTo>
                  <a:pt x="108" y="2823"/>
                </a:lnTo>
                <a:lnTo>
                  <a:pt x="105" y="2823"/>
                </a:lnTo>
                <a:lnTo>
                  <a:pt x="104" y="2819"/>
                </a:lnTo>
                <a:lnTo>
                  <a:pt x="105" y="2811"/>
                </a:lnTo>
                <a:lnTo>
                  <a:pt x="105" y="2804"/>
                </a:lnTo>
                <a:lnTo>
                  <a:pt x="104" y="2796"/>
                </a:lnTo>
                <a:lnTo>
                  <a:pt x="102" y="2793"/>
                </a:lnTo>
                <a:lnTo>
                  <a:pt x="100" y="2789"/>
                </a:lnTo>
                <a:lnTo>
                  <a:pt x="96" y="2787"/>
                </a:lnTo>
                <a:lnTo>
                  <a:pt x="93" y="2785"/>
                </a:lnTo>
                <a:lnTo>
                  <a:pt x="79" y="2777"/>
                </a:lnTo>
                <a:lnTo>
                  <a:pt x="66" y="2770"/>
                </a:lnTo>
                <a:lnTo>
                  <a:pt x="60" y="2767"/>
                </a:lnTo>
                <a:lnTo>
                  <a:pt x="55" y="2763"/>
                </a:lnTo>
                <a:lnTo>
                  <a:pt x="50" y="2758"/>
                </a:lnTo>
                <a:lnTo>
                  <a:pt x="48" y="2752"/>
                </a:lnTo>
                <a:lnTo>
                  <a:pt x="48" y="2741"/>
                </a:lnTo>
                <a:lnTo>
                  <a:pt x="49" y="2728"/>
                </a:lnTo>
                <a:lnTo>
                  <a:pt x="49" y="2720"/>
                </a:lnTo>
                <a:lnTo>
                  <a:pt x="47" y="2714"/>
                </a:lnTo>
                <a:lnTo>
                  <a:pt x="44" y="2711"/>
                </a:lnTo>
                <a:lnTo>
                  <a:pt x="42" y="2709"/>
                </a:lnTo>
                <a:lnTo>
                  <a:pt x="38" y="2705"/>
                </a:lnTo>
                <a:lnTo>
                  <a:pt x="33" y="2703"/>
                </a:lnTo>
                <a:lnTo>
                  <a:pt x="25" y="2698"/>
                </a:lnTo>
                <a:lnTo>
                  <a:pt x="20" y="2693"/>
                </a:lnTo>
                <a:lnTo>
                  <a:pt x="17" y="2689"/>
                </a:lnTo>
                <a:lnTo>
                  <a:pt x="14" y="2686"/>
                </a:lnTo>
                <a:lnTo>
                  <a:pt x="13" y="2678"/>
                </a:lnTo>
                <a:lnTo>
                  <a:pt x="14" y="2668"/>
                </a:lnTo>
                <a:lnTo>
                  <a:pt x="13" y="2659"/>
                </a:lnTo>
                <a:lnTo>
                  <a:pt x="14" y="2653"/>
                </a:lnTo>
                <a:lnTo>
                  <a:pt x="16" y="2650"/>
                </a:lnTo>
                <a:lnTo>
                  <a:pt x="18" y="2648"/>
                </a:lnTo>
                <a:lnTo>
                  <a:pt x="22" y="2648"/>
                </a:lnTo>
                <a:lnTo>
                  <a:pt x="28" y="2647"/>
                </a:lnTo>
                <a:lnTo>
                  <a:pt x="33" y="2646"/>
                </a:lnTo>
                <a:lnTo>
                  <a:pt x="41" y="2644"/>
                </a:lnTo>
                <a:lnTo>
                  <a:pt x="47" y="2641"/>
                </a:lnTo>
                <a:lnTo>
                  <a:pt x="54" y="2637"/>
                </a:lnTo>
                <a:lnTo>
                  <a:pt x="58" y="2634"/>
                </a:lnTo>
                <a:lnTo>
                  <a:pt x="63" y="2629"/>
                </a:lnTo>
                <a:lnTo>
                  <a:pt x="68" y="2624"/>
                </a:lnTo>
                <a:lnTo>
                  <a:pt x="69" y="2619"/>
                </a:lnTo>
                <a:lnTo>
                  <a:pt x="71" y="2610"/>
                </a:lnTo>
                <a:lnTo>
                  <a:pt x="73" y="2600"/>
                </a:lnTo>
                <a:lnTo>
                  <a:pt x="75" y="2596"/>
                </a:lnTo>
                <a:lnTo>
                  <a:pt x="76" y="2593"/>
                </a:lnTo>
                <a:lnTo>
                  <a:pt x="80" y="2591"/>
                </a:lnTo>
                <a:lnTo>
                  <a:pt x="85" y="2591"/>
                </a:lnTo>
                <a:lnTo>
                  <a:pt x="89" y="2592"/>
                </a:lnTo>
                <a:lnTo>
                  <a:pt x="94" y="2591"/>
                </a:lnTo>
                <a:lnTo>
                  <a:pt x="98" y="2588"/>
                </a:lnTo>
                <a:lnTo>
                  <a:pt x="101" y="2586"/>
                </a:lnTo>
                <a:lnTo>
                  <a:pt x="102" y="2581"/>
                </a:lnTo>
                <a:lnTo>
                  <a:pt x="105" y="2577"/>
                </a:lnTo>
                <a:lnTo>
                  <a:pt x="106" y="2571"/>
                </a:lnTo>
                <a:lnTo>
                  <a:pt x="106" y="2564"/>
                </a:lnTo>
                <a:lnTo>
                  <a:pt x="105" y="2547"/>
                </a:lnTo>
                <a:lnTo>
                  <a:pt x="104" y="2530"/>
                </a:lnTo>
                <a:lnTo>
                  <a:pt x="102" y="2515"/>
                </a:lnTo>
                <a:lnTo>
                  <a:pt x="100" y="2503"/>
                </a:lnTo>
                <a:lnTo>
                  <a:pt x="100" y="2498"/>
                </a:lnTo>
                <a:lnTo>
                  <a:pt x="100" y="2493"/>
                </a:lnTo>
                <a:lnTo>
                  <a:pt x="101" y="2489"/>
                </a:lnTo>
                <a:lnTo>
                  <a:pt x="102" y="2484"/>
                </a:lnTo>
                <a:lnTo>
                  <a:pt x="108" y="2474"/>
                </a:lnTo>
                <a:lnTo>
                  <a:pt x="117" y="2466"/>
                </a:lnTo>
                <a:lnTo>
                  <a:pt x="125" y="2458"/>
                </a:lnTo>
                <a:lnTo>
                  <a:pt x="131" y="2448"/>
                </a:lnTo>
                <a:lnTo>
                  <a:pt x="137" y="2436"/>
                </a:lnTo>
                <a:lnTo>
                  <a:pt x="140" y="2422"/>
                </a:lnTo>
                <a:lnTo>
                  <a:pt x="143" y="2414"/>
                </a:lnTo>
                <a:lnTo>
                  <a:pt x="146" y="2405"/>
                </a:lnTo>
                <a:lnTo>
                  <a:pt x="150" y="2397"/>
                </a:lnTo>
                <a:lnTo>
                  <a:pt x="155" y="2389"/>
                </a:lnTo>
                <a:lnTo>
                  <a:pt x="165" y="2372"/>
                </a:lnTo>
                <a:lnTo>
                  <a:pt x="175" y="2358"/>
                </a:lnTo>
                <a:lnTo>
                  <a:pt x="184" y="2342"/>
                </a:lnTo>
                <a:lnTo>
                  <a:pt x="194" y="2326"/>
                </a:lnTo>
                <a:lnTo>
                  <a:pt x="201" y="2308"/>
                </a:lnTo>
                <a:lnTo>
                  <a:pt x="208" y="2291"/>
                </a:lnTo>
                <a:lnTo>
                  <a:pt x="215" y="2275"/>
                </a:lnTo>
                <a:lnTo>
                  <a:pt x="220" y="2260"/>
                </a:lnTo>
                <a:lnTo>
                  <a:pt x="222" y="2247"/>
                </a:lnTo>
                <a:lnTo>
                  <a:pt x="222" y="2237"/>
                </a:lnTo>
                <a:lnTo>
                  <a:pt x="222" y="2232"/>
                </a:lnTo>
                <a:lnTo>
                  <a:pt x="220" y="2228"/>
                </a:lnTo>
                <a:lnTo>
                  <a:pt x="218" y="2226"/>
                </a:lnTo>
                <a:lnTo>
                  <a:pt x="214" y="2224"/>
                </a:lnTo>
                <a:lnTo>
                  <a:pt x="211" y="2222"/>
                </a:lnTo>
                <a:lnTo>
                  <a:pt x="206" y="2221"/>
                </a:lnTo>
                <a:lnTo>
                  <a:pt x="200" y="2220"/>
                </a:lnTo>
                <a:lnTo>
                  <a:pt x="194" y="2220"/>
                </a:lnTo>
                <a:lnTo>
                  <a:pt x="181" y="2220"/>
                </a:lnTo>
                <a:lnTo>
                  <a:pt x="173" y="2219"/>
                </a:lnTo>
                <a:lnTo>
                  <a:pt x="169" y="2218"/>
                </a:lnTo>
                <a:lnTo>
                  <a:pt x="167" y="2216"/>
                </a:lnTo>
                <a:lnTo>
                  <a:pt x="165" y="2214"/>
                </a:lnTo>
                <a:lnTo>
                  <a:pt x="164" y="2210"/>
                </a:lnTo>
                <a:lnTo>
                  <a:pt x="165" y="2208"/>
                </a:lnTo>
                <a:lnTo>
                  <a:pt x="167" y="2206"/>
                </a:lnTo>
                <a:lnTo>
                  <a:pt x="173" y="2202"/>
                </a:lnTo>
                <a:lnTo>
                  <a:pt x="178" y="2200"/>
                </a:lnTo>
                <a:lnTo>
                  <a:pt x="183" y="2196"/>
                </a:lnTo>
                <a:lnTo>
                  <a:pt x="186" y="2194"/>
                </a:lnTo>
                <a:lnTo>
                  <a:pt x="186" y="2193"/>
                </a:lnTo>
                <a:lnTo>
                  <a:pt x="186" y="2190"/>
                </a:lnTo>
                <a:lnTo>
                  <a:pt x="184" y="2188"/>
                </a:lnTo>
                <a:lnTo>
                  <a:pt x="182" y="2187"/>
                </a:lnTo>
                <a:lnTo>
                  <a:pt x="171" y="2177"/>
                </a:lnTo>
                <a:lnTo>
                  <a:pt x="159" y="2169"/>
                </a:lnTo>
                <a:lnTo>
                  <a:pt x="154" y="2163"/>
                </a:lnTo>
                <a:lnTo>
                  <a:pt x="149" y="2157"/>
                </a:lnTo>
                <a:lnTo>
                  <a:pt x="143" y="2149"/>
                </a:lnTo>
                <a:lnTo>
                  <a:pt x="138" y="2139"/>
                </a:lnTo>
                <a:lnTo>
                  <a:pt x="131" y="2118"/>
                </a:lnTo>
                <a:lnTo>
                  <a:pt x="125" y="2098"/>
                </a:lnTo>
                <a:lnTo>
                  <a:pt x="123" y="2089"/>
                </a:lnTo>
                <a:lnTo>
                  <a:pt x="120" y="2081"/>
                </a:lnTo>
                <a:lnTo>
                  <a:pt x="117" y="2075"/>
                </a:lnTo>
                <a:lnTo>
                  <a:pt x="113" y="2069"/>
                </a:lnTo>
                <a:lnTo>
                  <a:pt x="107" y="2062"/>
                </a:lnTo>
                <a:lnTo>
                  <a:pt x="104" y="2054"/>
                </a:lnTo>
                <a:lnTo>
                  <a:pt x="102" y="2050"/>
                </a:lnTo>
                <a:lnTo>
                  <a:pt x="102" y="2046"/>
                </a:lnTo>
                <a:lnTo>
                  <a:pt x="102" y="2043"/>
                </a:lnTo>
                <a:lnTo>
                  <a:pt x="104" y="2038"/>
                </a:lnTo>
                <a:lnTo>
                  <a:pt x="105" y="2035"/>
                </a:lnTo>
                <a:lnTo>
                  <a:pt x="105" y="2031"/>
                </a:lnTo>
                <a:lnTo>
                  <a:pt x="105" y="2027"/>
                </a:lnTo>
                <a:lnTo>
                  <a:pt x="102" y="2026"/>
                </a:lnTo>
                <a:lnTo>
                  <a:pt x="100" y="2025"/>
                </a:lnTo>
                <a:lnTo>
                  <a:pt x="98" y="2025"/>
                </a:lnTo>
                <a:lnTo>
                  <a:pt x="94" y="2025"/>
                </a:lnTo>
                <a:lnTo>
                  <a:pt x="91" y="2027"/>
                </a:lnTo>
                <a:lnTo>
                  <a:pt x="83" y="2031"/>
                </a:lnTo>
                <a:lnTo>
                  <a:pt x="77" y="2032"/>
                </a:lnTo>
                <a:lnTo>
                  <a:pt x="75" y="2031"/>
                </a:lnTo>
                <a:lnTo>
                  <a:pt x="73" y="2030"/>
                </a:lnTo>
                <a:lnTo>
                  <a:pt x="70" y="2027"/>
                </a:lnTo>
                <a:lnTo>
                  <a:pt x="68" y="2025"/>
                </a:lnTo>
                <a:lnTo>
                  <a:pt x="66" y="2018"/>
                </a:lnTo>
                <a:lnTo>
                  <a:pt x="63" y="2013"/>
                </a:lnTo>
                <a:lnTo>
                  <a:pt x="61" y="2011"/>
                </a:lnTo>
                <a:lnTo>
                  <a:pt x="57" y="2010"/>
                </a:lnTo>
                <a:lnTo>
                  <a:pt x="52" y="2008"/>
                </a:lnTo>
                <a:lnTo>
                  <a:pt x="47" y="2008"/>
                </a:lnTo>
                <a:lnTo>
                  <a:pt x="38" y="2008"/>
                </a:lnTo>
                <a:lnTo>
                  <a:pt x="32" y="2007"/>
                </a:lnTo>
                <a:lnTo>
                  <a:pt x="26" y="2005"/>
                </a:lnTo>
                <a:lnTo>
                  <a:pt x="20" y="2001"/>
                </a:lnTo>
                <a:lnTo>
                  <a:pt x="17" y="1998"/>
                </a:lnTo>
                <a:lnTo>
                  <a:pt x="13" y="1993"/>
                </a:lnTo>
                <a:lnTo>
                  <a:pt x="11" y="1987"/>
                </a:lnTo>
                <a:lnTo>
                  <a:pt x="10" y="1980"/>
                </a:lnTo>
                <a:lnTo>
                  <a:pt x="7" y="1967"/>
                </a:lnTo>
                <a:lnTo>
                  <a:pt x="7" y="1954"/>
                </a:lnTo>
                <a:lnTo>
                  <a:pt x="5" y="1943"/>
                </a:lnTo>
                <a:lnTo>
                  <a:pt x="3" y="1934"/>
                </a:lnTo>
                <a:lnTo>
                  <a:pt x="0" y="1928"/>
                </a:lnTo>
                <a:lnTo>
                  <a:pt x="0" y="1923"/>
                </a:lnTo>
                <a:lnTo>
                  <a:pt x="1" y="1917"/>
                </a:lnTo>
                <a:lnTo>
                  <a:pt x="4" y="1911"/>
                </a:lnTo>
                <a:lnTo>
                  <a:pt x="7" y="1900"/>
                </a:lnTo>
                <a:lnTo>
                  <a:pt x="11" y="1891"/>
                </a:lnTo>
                <a:lnTo>
                  <a:pt x="11" y="1881"/>
                </a:lnTo>
                <a:lnTo>
                  <a:pt x="10" y="1869"/>
                </a:lnTo>
                <a:lnTo>
                  <a:pt x="10" y="1857"/>
                </a:lnTo>
                <a:lnTo>
                  <a:pt x="10" y="1847"/>
                </a:lnTo>
                <a:lnTo>
                  <a:pt x="11" y="1842"/>
                </a:lnTo>
                <a:lnTo>
                  <a:pt x="12" y="1837"/>
                </a:lnTo>
                <a:lnTo>
                  <a:pt x="13" y="1833"/>
                </a:lnTo>
                <a:lnTo>
                  <a:pt x="16" y="1828"/>
                </a:lnTo>
                <a:lnTo>
                  <a:pt x="19" y="1824"/>
                </a:lnTo>
                <a:lnTo>
                  <a:pt x="23" y="1821"/>
                </a:lnTo>
                <a:lnTo>
                  <a:pt x="28" y="1819"/>
                </a:lnTo>
                <a:lnTo>
                  <a:pt x="32" y="1818"/>
                </a:lnTo>
                <a:lnTo>
                  <a:pt x="41" y="1817"/>
                </a:lnTo>
                <a:lnTo>
                  <a:pt x="47" y="1815"/>
                </a:lnTo>
                <a:lnTo>
                  <a:pt x="49" y="1811"/>
                </a:lnTo>
                <a:lnTo>
                  <a:pt x="52" y="1804"/>
                </a:lnTo>
                <a:lnTo>
                  <a:pt x="55" y="1796"/>
                </a:lnTo>
                <a:lnTo>
                  <a:pt x="60" y="1789"/>
                </a:lnTo>
                <a:lnTo>
                  <a:pt x="63" y="1785"/>
                </a:lnTo>
                <a:lnTo>
                  <a:pt x="68" y="1783"/>
                </a:lnTo>
                <a:lnTo>
                  <a:pt x="73" y="1780"/>
                </a:lnTo>
                <a:lnTo>
                  <a:pt x="80" y="1779"/>
                </a:lnTo>
                <a:lnTo>
                  <a:pt x="86" y="1777"/>
                </a:lnTo>
                <a:lnTo>
                  <a:pt x="92" y="1773"/>
                </a:lnTo>
                <a:lnTo>
                  <a:pt x="95" y="1768"/>
                </a:lnTo>
                <a:lnTo>
                  <a:pt x="98" y="1761"/>
                </a:lnTo>
                <a:lnTo>
                  <a:pt x="99" y="1755"/>
                </a:lnTo>
                <a:lnTo>
                  <a:pt x="100" y="1749"/>
                </a:lnTo>
                <a:lnTo>
                  <a:pt x="100" y="1743"/>
                </a:lnTo>
                <a:lnTo>
                  <a:pt x="99" y="1737"/>
                </a:lnTo>
                <a:lnTo>
                  <a:pt x="98" y="1734"/>
                </a:lnTo>
                <a:lnTo>
                  <a:pt x="95" y="1728"/>
                </a:lnTo>
                <a:lnTo>
                  <a:pt x="92" y="1723"/>
                </a:lnTo>
                <a:lnTo>
                  <a:pt x="88" y="1718"/>
                </a:lnTo>
                <a:lnTo>
                  <a:pt x="80" y="1708"/>
                </a:lnTo>
                <a:lnTo>
                  <a:pt x="73" y="1701"/>
                </a:lnTo>
                <a:lnTo>
                  <a:pt x="71" y="1697"/>
                </a:lnTo>
                <a:lnTo>
                  <a:pt x="69" y="1692"/>
                </a:lnTo>
                <a:lnTo>
                  <a:pt x="68" y="1685"/>
                </a:lnTo>
                <a:lnTo>
                  <a:pt x="68" y="1679"/>
                </a:lnTo>
                <a:lnTo>
                  <a:pt x="69" y="1671"/>
                </a:lnTo>
                <a:lnTo>
                  <a:pt x="71" y="1664"/>
                </a:lnTo>
                <a:lnTo>
                  <a:pt x="75" y="1658"/>
                </a:lnTo>
                <a:lnTo>
                  <a:pt x="80" y="1652"/>
                </a:lnTo>
                <a:lnTo>
                  <a:pt x="94" y="1639"/>
                </a:lnTo>
                <a:lnTo>
                  <a:pt x="110" y="1623"/>
                </a:lnTo>
                <a:lnTo>
                  <a:pt x="124" y="1610"/>
                </a:lnTo>
                <a:lnTo>
                  <a:pt x="136" y="1601"/>
                </a:lnTo>
                <a:lnTo>
                  <a:pt x="140" y="1598"/>
                </a:lnTo>
                <a:lnTo>
                  <a:pt x="145" y="1597"/>
                </a:lnTo>
                <a:lnTo>
                  <a:pt x="150" y="1598"/>
                </a:lnTo>
                <a:lnTo>
                  <a:pt x="155" y="1600"/>
                </a:lnTo>
                <a:lnTo>
                  <a:pt x="158" y="1602"/>
                </a:lnTo>
                <a:lnTo>
                  <a:pt x="163" y="1606"/>
                </a:lnTo>
                <a:lnTo>
                  <a:pt x="167" y="1609"/>
                </a:lnTo>
                <a:lnTo>
                  <a:pt x="170" y="1614"/>
                </a:lnTo>
                <a:lnTo>
                  <a:pt x="174" y="1620"/>
                </a:lnTo>
                <a:lnTo>
                  <a:pt x="178" y="1623"/>
                </a:lnTo>
                <a:lnTo>
                  <a:pt x="183" y="1627"/>
                </a:lnTo>
                <a:lnTo>
                  <a:pt x="189" y="1630"/>
                </a:lnTo>
                <a:lnTo>
                  <a:pt x="195" y="1632"/>
                </a:lnTo>
                <a:lnTo>
                  <a:pt x="202" y="1633"/>
                </a:lnTo>
                <a:lnTo>
                  <a:pt x="209" y="1632"/>
                </a:lnTo>
                <a:lnTo>
                  <a:pt x="215" y="1630"/>
                </a:lnTo>
                <a:lnTo>
                  <a:pt x="221" y="1627"/>
                </a:lnTo>
                <a:lnTo>
                  <a:pt x="226" y="1622"/>
                </a:lnTo>
                <a:lnTo>
                  <a:pt x="230" y="1617"/>
                </a:lnTo>
                <a:lnTo>
                  <a:pt x="233" y="1613"/>
                </a:lnTo>
                <a:lnTo>
                  <a:pt x="236" y="1608"/>
                </a:lnTo>
                <a:lnTo>
                  <a:pt x="239" y="1604"/>
                </a:lnTo>
                <a:lnTo>
                  <a:pt x="243" y="1603"/>
                </a:lnTo>
                <a:lnTo>
                  <a:pt x="247" y="1602"/>
                </a:lnTo>
                <a:lnTo>
                  <a:pt x="253" y="1602"/>
                </a:lnTo>
                <a:lnTo>
                  <a:pt x="257" y="1602"/>
                </a:lnTo>
                <a:lnTo>
                  <a:pt x="261" y="1602"/>
                </a:lnTo>
                <a:lnTo>
                  <a:pt x="263" y="1600"/>
                </a:lnTo>
                <a:lnTo>
                  <a:pt x="265" y="1596"/>
                </a:lnTo>
                <a:lnTo>
                  <a:pt x="268" y="1589"/>
                </a:lnTo>
                <a:lnTo>
                  <a:pt x="268" y="1585"/>
                </a:lnTo>
                <a:lnTo>
                  <a:pt x="270" y="1582"/>
                </a:lnTo>
                <a:lnTo>
                  <a:pt x="272" y="1578"/>
                </a:lnTo>
                <a:lnTo>
                  <a:pt x="275" y="1576"/>
                </a:lnTo>
                <a:lnTo>
                  <a:pt x="281" y="1571"/>
                </a:lnTo>
                <a:lnTo>
                  <a:pt x="288" y="1570"/>
                </a:lnTo>
                <a:lnTo>
                  <a:pt x="291" y="1569"/>
                </a:lnTo>
                <a:lnTo>
                  <a:pt x="295" y="1567"/>
                </a:lnTo>
                <a:lnTo>
                  <a:pt x="296" y="1566"/>
                </a:lnTo>
                <a:lnTo>
                  <a:pt x="299" y="1564"/>
                </a:lnTo>
                <a:lnTo>
                  <a:pt x="299" y="1560"/>
                </a:lnTo>
                <a:lnTo>
                  <a:pt x="299" y="1557"/>
                </a:lnTo>
                <a:lnTo>
                  <a:pt x="297" y="1552"/>
                </a:lnTo>
                <a:lnTo>
                  <a:pt x="295" y="1547"/>
                </a:lnTo>
                <a:lnTo>
                  <a:pt x="293" y="1535"/>
                </a:lnTo>
                <a:lnTo>
                  <a:pt x="290" y="1525"/>
                </a:lnTo>
                <a:lnTo>
                  <a:pt x="291" y="1515"/>
                </a:lnTo>
                <a:lnTo>
                  <a:pt x="293" y="1506"/>
                </a:lnTo>
                <a:lnTo>
                  <a:pt x="294" y="1496"/>
                </a:lnTo>
                <a:lnTo>
                  <a:pt x="294" y="1484"/>
                </a:lnTo>
                <a:lnTo>
                  <a:pt x="295" y="1472"/>
                </a:lnTo>
                <a:lnTo>
                  <a:pt x="299" y="1458"/>
                </a:lnTo>
                <a:lnTo>
                  <a:pt x="303" y="1447"/>
                </a:lnTo>
                <a:lnTo>
                  <a:pt x="307" y="1438"/>
                </a:lnTo>
                <a:lnTo>
                  <a:pt x="309" y="1433"/>
                </a:lnTo>
                <a:lnTo>
                  <a:pt x="310" y="1428"/>
                </a:lnTo>
                <a:lnTo>
                  <a:pt x="312" y="1422"/>
                </a:lnTo>
                <a:lnTo>
                  <a:pt x="312" y="1417"/>
                </a:lnTo>
                <a:lnTo>
                  <a:pt x="310" y="1403"/>
                </a:lnTo>
                <a:lnTo>
                  <a:pt x="307" y="1393"/>
                </a:lnTo>
                <a:lnTo>
                  <a:pt x="304" y="1388"/>
                </a:lnTo>
                <a:lnTo>
                  <a:pt x="301" y="1383"/>
                </a:lnTo>
                <a:lnTo>
                  <a:pt x="297" y="1380"/>
                </a:lnTo>
                <a:lnTo>
                  <a:pt x="293" y="1376"/>
                </a:lnTo>
                <a:lnTo>
                  <a:pt x="282" y="1368"/>
                </a:lnTo>
                <a:lnTo>
                  <a:pt x="275" y="1361"/>
                </a:lnTo>
                <a:lnTo>
                  <a:pt x="271" y="1356"/>
                </a:lnTo>
                <a:lnTo>
                  <a:pt x="269" y="1351"/>
                </a:lnTo>
                <a:lnTo>
                  <a:pt x="268" y="1345"/>
                </a:lnTo>
                <a:lnTo>
                  <a:pt x="268" y="1338"/>
                </a:lnTo>
                <a:lnTo>
                  <a:pt x="269" y="1321"/>
                </a:lnTo>
                <a:lnTo>
                  <a:pt x="269" y="1302"/>
                </a:lnTo>
                <a:lnTo>
                  <a:pt x="268" y="1294"/>
                </a:lnTo>
                <a:lnTo>
                  <a:pt x="268" y="1286"/>
                </a:lnTo>
                <a:lnTo>
                  <a:pt x="266" y="1279"/>
                </a:lnTo>
                <a:lnTo>
                  <a:pt x="265" y="1274"/>
                </a:lnTo>
                <a:lnTo>
                  <a:pt x="262" y="1269"/>
                </a:lnTo>
                <a:lnTo>
                  <a:pt x="258" y="1267"/>
                </a:lnTo>
                <a:lnTo>
                  <a:pt x="255" y="1266"/>
                </a:lnTo>
                <a:lnTo>
                  <a:pt x="250" y="1264"/>
                </a:lnTo>
                <a:lnTo>
                  <a:pt x="240" y="1264"/>
                </a:lnTo>
                <a:lnTo>
                  <a:pt x="231" y="1266"/>
                </a:lnTo>
                <a:lnTo>
                  <a:pt x="220" y="1266"/>
                </a:lnTo>
                <a:lnTo>
                  <a:pt x="208" y="1266"/>
                </a:lnTo>
                <a:lnTo>
                  <a:pt x="194" y="1263"/>
                </a:lnTo>
                <a:lnTo>
                  <a:pt x="178" y="1258"/>
                </a:lnTo>
                <a:lnTo>
                  <a:pt x="164" y="1251"/>
                </a:lnTo>
                <a:lnTo>
                  <a:pt x="154" y="1243"/>
                </a:lnTo>
                <a:lnTo>
                  <a:pt x="149" y="1239"/>
                </a:lnTo>
                <a:lnTo>
                  <a:pt x="145" y="1235"/>
                </a:lnTo>
                <a:lnTo>
                  <a:pt x="143" y="1231"/>
                </a:lnTo>
                <a:lnTo>
                  <a:pt x="140" y="1226"/>
                </a:lnTo>
                <a:lnTo>
                  <a:pt x="137" y="1219"/>
                </a:lnTo>
                <a:lnTo>
                  <a:pt x="134" y="1216"/>
                </a:lnTo>
                <a:lnTo>
                  <a:pt x="130" y="1214"/>
                </a:lnTo>
                <a:lnTo>
                  <a:pt x="121" y="1214"/>
                </a:lnTo>
                <a:lnTo>
                  <a:pt x="117" y="1214"/>
                </a:lnTo>
                <a:lnTo>
                  <a:pt x="113" y="1213"/>
                </a:lnTo>
                <a:lnTo>
                  <a:pt x="111" y="1212"/>
                </a:lnTo>
                <a:lnTo>
                  <a:pt x="108" y="1211"/>
                </a:lnTo>
                <a:lnTo>
                  <a:pt x="108" y="1209"/>
                </a:lnTo>
                <a:lnTo>
                  <a:pt x="108" y="1206"/>
                </a:lnTo>
                <a:lnTo>
                  <a:pt x="110" y="1203"/>
                </a:lnTo>
                <a:lnTo>
                  <a:pt x="112" y="1199"/>
                </a:lnTo>
                <a:lnTo>
                  <a:pt x="115" y="1195"/>
                </a:lnTo>
                <a:lnTo>
                  <a:pt x="118" y="1192"/>
                </a:lnTo>
                <a:lnTo>
                  <a:pt x="119" y="1188"/>
                </a:lnTo>
                <a:lnTo>
                  <a:pt x="119" y="1185"/>
                </a:lnTo>
                <a:lnTo>
                  <a:pt x="120" y="1178"/>
                </a:lnTo>
                <a:lnTo>
                  <a:pt x="120" y="1172"/>
                </a:lnTo>
                <a:lnTo>
                  <a:pt x="121" y="1169"/>
                </a:lnTo>
                <a:lnTo>
                  <a:pt x="121" y="1167"/>
                </a:lnTo>
                <a:lnTo>
                  <a:pt x="124" y="1166"/>
                </a:lnTo>
                <a:lnTo>
                  <a:pt x="125" y="1165"/>
                </a:lnTo>
                <a:lnTo>
                  <a:pt x="130" y="1166"/>
                </a:lnTo>
                <a:lnTo>
                  <a:pt x="136" y="1170"/>
                </a:lnTo>
                <a:lnTo>
                  <a:pt x="139" y="1173"/>
                </a:lnTo>
                <a:lnTo>
                  <a:pt x="143" y="1174"/>
                </a:lnTo>
                <a:lnTo>
                  <a:pt x="146" y="1174"/>
                </a:lnTo>
                <a:lnTo>
                  <a:pt x="149" y="1173"/>
                </a:lnTo>
                <a:lnTo>
                  <a:pt x="152" y="1172"/>
                </a:lnTo>
                <a:lnTo>
                  <a:pt x="155" y="1169"/>
                </a:lnTo>
                <a:lnTo>
                  <a:pt x="156" y="1165"/>
                </a:lnTo>
                <a:lnTo>
                  <a:pt x="156" y="1161"/>
                </a:lnTo>
                <a:lnTo>
                  <a:pt x="154" y="1150"/>
                </a:lnTo>
                <a:lnTo>
                  <a:pt x="151" y="1140"/>
                </a:lnTo>
                <a:lnTo>
                  <a:pt x="151" y="1135"/>
                </a:lnTo>
                <a:lnTo>
                  <a:pt x="152" y="1130"/>
                </a:lnTo>
                <a:lnTo>
                  <a:pt x="155" y="1128"/>
                </a:lnTo>
                <a:lnTo>
                  <a:pt x="159" y="1125"/>
                </a:lnTo>
                <a:lnTo>
                  <a:pt x="169" y="1124"/>
                </a:lnTo>
                <a:lnTo>
                  <a:pt x="177" y="1123"/>
                </a:lnTo>
                <a:lnTo>
                  <a:pt x="184" y="1121"/>
                </a:lnTo>
                <a:lnTo>
                  <a:pt x="193" y="1116"/>
                </a:lnTo>
                <a:lnTo>
                  <a:pt x="200" y="1110"/>
                </a:lnTo>
                <a:lnTo>
                  <a:pt x="208" y="1105"/>
                </a:lnTo>
                <a:lnTo>
                  <a:pt x="219" y="1102"/>
                </a:lnTo>
                <a:lnTo>
                  <a:pt x="234" y="1098"/>
                </a:lnTo>
                <a:lnTo>
                  <a:pt x="252" y="1096"/>
                </a:lnTo>
                <a:lnTo>
                  <a:pt x="268" y="1091"/>
                </a:lnTo>
                <a:lnTo>
                  <a:pt x="274" y="1087"/>
                </a:lnTo>
                <a:lnTo>
                  <a:pt x="280" y="1084"/>
                </a:lnTo>
                <a:lnTo>
                  <a:pt x="284" y="1080"/>
                </a:lnTo>
                <a:lnTo>
                  <a:pt x="288" y="1077"/>
                </a:lnTo>
                <a:lnTo>
                  <a:pt x="293" y="1067"/>
                </a:lnTo>
                <a:lnTo>
                  <a:pt x="296" y="1060"/>
                </a:lnTo>
                <a:lnTo>
                  <a:pt x="296" y="1056"/>
                </a:lnTo>
                <a:lnTo>
                  <a:pt x="296" y="1053"/>
                </a:lnTo>
                <a:lnTo>
                  <a:pt x="295" y="1050"/>
                </a:lnTo>
                <a:lnTo>
                  <a:pt x="293" y="1047"/>
                </a:lnTo>
                <a:lnTo>
                  <a:pt x="290" y="1044"/>
                </a:lnTo>
                <a:lnTo>
                  <a:pt x="288" y="1043"/>
                </a:lnTo>
                <a:lnTo>
                  <a:pt x="284" y="1043"/>
                </a:lnTo>
                <a:lnTo>
                  <a:pt x="280" y="1044"/>
                </a:lnTo>
                <a:lnTo>
                  <a:pt x="271" y="1046"/>
                </a:lnTo>
                <a:lnTo>
                  <a:pt x="263" y="1049"/>
                </a:lnTo>
                <a:lnTo>
                  <a:pt x="258" y="1049"/>
                </a:lnTo>
                <a:lnTo>
                  <a:pt x="253" y="1049"/>
                </a:lnTo>
                <a:lnTo>
                  <a:pt x="247" y="1049"/>
                </a:lnTo>
                <a:lnTo>
                  <a:pt x="241" y="1047"/>
                </a:lnTo>
                <a:lnTo>
                  <a:pt x="236" y="1044"/>
                </a:lnTo>
                <a:lnTo>
                  <a:pt x="230" y="1042"/>
                </a:lnTo>
                <a:lnTo>
                  <a:pt x="225" y="1040"/>
                </a:lnTo>
                <a:lnTo>
                  <a:pt x="221" y="1036"/>
                </a:lnTo>
                <a:lnTo>
                  <a:pt x="219" y="1031"/>
                </a:lnTo>
                <a:lnTo>
                  <a:pt x="217" y="1025"/>
                </a:lnTo>
                <a:lnTo>
                  <a:pt x="215" y="1017"/>
                </a:lnTo>
                <a:lnTo>
                  <a:pt x="214" y="1010"/>
                </a:lnTo>
                <a:lnTo>
                  <a:pt x="212" y="992"/>
                </a:lnTo>
                <a:lnTo>
                  <a:pt x="209" y="976"/>
                </a:lnTo>
                <a:lnTo>
                  <a:pt x="208" y="967"/>
                </a:lnTo>
                <a:lnTo>
                  <a:pt x="206" y="960"/>
                </a:lnTo>
                <a:lnTo>
                  <a:pt x="203" y="954"/>
                </a:lnTo>
                <a:lnTo>
                  <a:pt x="200" y="947"/>
                </a:lnTo>
                <a:lnTo>
                  <a:pt x="193" y="936"/>
                </a:lnTo>
                <a:lnTo>
                  <a:pt x="183" y="927"/>
                </a:lnTo>
                <a:lnTo>
                  <a:pt x="175" y="917"/>
                </a:lnTo>
                <a:lnTo>
                  <a:pt x="167" y="904"/>
                </a:lnTo>
                <a:lnTo>
                  <a:pt x="163" y="898"/>
                </a:lnTo>
                <a:lnTo>
                  <a:pt x="159" y="891"/>
                </a:lnTo>
                <a:lnTo>
                  <a:pt x="157" y="884"/>
                </a:lnTo>
                <a:lnTo>
                  <a:pt x="156" y="876"/>
                </a:lnTo>
                <a:lnTo>
                  <a:pt x="154" y="869"/>
                </a:lnTo>
                <a:lnTo>
                  <a:pt x="150" y="858"/>
                </a:lnTo>
                <a:lnTo>
                  <a:pt x="145" y="848"/>
                </a:lnTo>
                <a:lnTo>
                  <a:pt x="139" y="836"/>
                </a:lnTo>
                <a:lnTo>
                  <a:pt x="127" y="815"/>
                </a:lnTo>
                <a:lnTo>
                  <a:pt x="117" y="797"/>
                </a:lnTo>
                <a:lnTo>
                  <a:pt x="106" y="783"/>
                </a:lnTo>
                <a:lnTo>
                  <a:pt x="96" y="770"/>
                </a:lnTo>
                <a:lnTo>
                  <a:pt x="87" y="758"/>
                </a:lnTo>
                <a:lnTo>
                  <a:pt x="77" y="750"/>
                </a:lnTo>
                <a:lnTo>
                  <a:pt x="73" y="745"/>
                </a:lnTo>
                <a:lnTo>
                  <a:pt x="69" y="740"/>
                </a:lnTo>
                <a:lnTo>
                  <a:pt x="66" y="735"/>
                </a:lnTo>
                <a:lnTo>
                  <a:pt x="64" y="730"/>
                </a:lnTo>
                <a:lnTo>
                  <a:pt x="63" y="724"/>
                </a:lnTo>
                <a:lnTo>
                  <a:pt x="63" y="718"/>
                </a:lnTo>
                <a:lnTo>
                  <a:pt x="66" y="712"/>
                </a:lnTo>
                <a:lnTo>
                  <a:pt x="68" y="706"/>
                </a:lnTo>
                <a:lnTo>
                  <a:pt x="73" y="700"/>
                </a:lnTo>
                <a:lnTo>
                  <a:pt x="76" y="696"/>
                </a:lnTo>
                <a:lnTo>
                  <a:pt x="80" y="693"/>
                </a:lnTo>
                <a:lnTo>
                  <a:pt x="83" y="690"/>
                </a:lnTo>
                <a:lnTo>
                  <a:pt x="92" y="688"/>
                </a:lnTo>
                <a:lnTo>
                  <a:pt x="100" y="686"/>
                </a:lnTo>
                <a:lnTo>
                  <a:pt x="104" y="684"/>
                </a:lnTo>
                <a:lnTo>
                  <a:pt x="107" y="682"/>
                </a:lnTo>
                <a:lnTo>
                  <a:pt x="110" y="677"/>
                </a:lnTo>
                <a:lnTo>
                  <a:pt x="111" y="674"/>
                </a:lnTo>
                <a:lnTo>
                  <a:pt x="111" y="669"/>
                </a:lnTo>
                <a:lnTo>
                  <a:pt x="110" y="664"/>
                </a:lnTo>
                <a:lnTo>
                  <a:pt x="107" y="659"/>
                </a:lnTo>
                <a:lnTo>
                  <a:pt x="102" y="656"/>
                </a:lnTo>
                <a:lnTo>
                  <a:pt x="94" y="649"/>
                </a:lnTo>
                <a:lnTo>
                  <a:pt x="87" y="640"/>
                </a:lnTo>
                <a:lnTo>
                  <a:pt x="85" y="637"/>
                </a:lnTo>
                <a:lnTo>
                  <a:pt x="83" y="631"/>
                </a:lnTo>
                <a:lnTo>
                  <a:pt x="83" y="626"/>
                </a:lnTo>
                <a:lnTo>
                  <a:pt x="86" y="620"/>
                </a:lnTo>
                <a:lnTo>
                  <a:pt x="87" y="615"/>
                </a:lnTo>
                <a:lnTo>
                  <a:pt x="87" y="611"/>
                </a:lnTo>
                <a:lnTo>
                  <a:pt x="86" y="606"/>
                </a:lnTo>
                <a:lnTo>
                  <a:pt x="85" y="601"/>
                </a:lnTo>
                <a:lnTo>
                  <a:pt x="79" y="594"/>
                </a:lnTo>
                <a:lnTo>
                  <a:pt x="74" y="586"/>
                </a:lnTo>
                <a:lnTo>
                  <a:pt x="73" y="581"/>
                </a:lnTo>
                <a:lnTo>
                  <a:pt x="71" y="576"/>
                </a:lnTo>
                <a:lnTo>
                  <a:pt x="73" y="570"/>
                </a:lnTo>
                <a:lnTo>
                  <a:pt x="75" y="564"/>
                </a:lnTo>
                <a:lnTo>
                  <a:pt x="79" y="558"/>
                </a:lnTo>
                <a:lnTo>
                  <a:pt x="82" y="554"/>
                </a:lnTo>
                <a:lnTo>
                  <a:pt x="87" y="548"/>
                </a:lnTo>
                <a:lnTo>
                  <a:pt x="93" y="543"/>
                </a:lnTo>
                <a:lnTo>
                  <a:pt x="99" y="539"/>
                </a:lnTo>
                <a:lnTo>
                  <a:pt x="105" y="537"/>
                </a:lnTo>
                <a:lnTo>
                  <a:pt x="110" y="536"/>
                </a:lnTo>
                <a:lnTo>
                  <a:pt x="115" y="535"/>
                </a:lnTo>
                <a:lnTo>
                  <a:pt x="129" y="535"/>
                </a:lnTo>
                <a:lnTo>
                  <a:pt x="148" y="537"/>
                </a:lnTo>
                <a:lnTo>
                  <a:pt x="164" y="539"/>
                </a:lnTo>
                <a:lnTo>
                  <a:pt x="174" y="539"/>
                </a:lnTo>
                <a:lnTo>
                  <a:pt x="176" y="537"/>
                </a:lnTo>
                <a:lnTo>
                  <a:pt x="177" y="535"/>
                </a:lnTo>
                <a:lnTo>
                  <a:pt x="177" y="530"/>
                </a:lnTo>
                <a:lnTo>
                  <a:pt x="177" y="525"/>
                </a:lnTo>
                <a:lnTo>
                  <a:pt x="175" y="506"/>
                </a:lnTo>
                <a:lnTo>
                  <a:pt x="171" y="481"/>
                </a:lnTo>
                <a:lnTo>
                  <a:pt x="168" y="456"/>
                </a:lnTo>
                <a:lnTo>
                  <a:pt x="167" y="440"/>
                </a:lnTo>
                <a:lnTo>
                  <a:pt x="167" y="425"/>
                </a:lnTo>
                <a:lnTo>
                  <a:pt x="170" y="407"/>
                </a:lnTo>
                <a:lnTo>
                  <a:pt x="174" y="390"/>
                </a:lnTo>
                <a:lnTo>
                  <a:pt x="180" y="373"/>
                </a:lnTo>
                <a:lnTo>
                  <a:pt x="184" y="366"/>
                </a:lnTo>
                <a:lnTo>
                  <a:pt x="188" y="360"/>
                </a:lnTo>
                <a:lnTo>
                  <a:pt x="193" y="354"/>
                </a:lnTo>
                <a:lnTo>
                  <a:pt x="199" y="350"/>
                </a:lnTo>
                <a:lnTo>
                  <a:pt x="205" y="347"/>
                </a:lnTo>
                <a:lnTo>
                  <a:pt x="211" y="344"/>
                </a:lnTo>
                <a:lnTo>
                  <a:pt x="217" y="343"/>
                </a:lnTo>
                <a:lnTo>
                  <a:pt x="224" y="342"/>
                </a:lnTo>
                <a:lnTo>
                  <a:pt x="236" y="340"/>
                </a:lnTo>
                <a:lnTo>
                  <a:pt x="244" y="336"/>
                </a:lnTo>
                <a:lnTo>
                  <a:pt x="247" y="334"/>
                </a:lnTo>
                <a:lnTo>
                  <a:pt x="250" y="330"/>
                </a:lnTo>
                <a:lnTo>
                  <a:pt x="252" y="327"/>
                </a:lnTo>
                <a:lnTo>
                  <a:pt x="252" y="322"/>
                </a:lnTo>
                <a:lnTo>
                  <a:pt x="252" y="310"/>
                </a:lnTo>
                <a:lnTo>
                  <a:pt x="252" y="296"/>
                </a:lnTo>
                <a:lnTo>
                  <a:pt x="252" y="289"/>
                </a:lnTo>
                <a:lnTo>
                  <a:pt x="253" y="283"/>
                </a:lnTo>
                <a:lnTo>
                  <a:pt x="256" y="277"/>
                </a:lnTo>
                <a:lnTo>
                  <a:pt x="258" y="272"/>
                </a:lnTo>
                <a:lnTo>
                  <a:pt x="263" y="270"/>
                </a:lnTo>
                <a:lnTo>
                  <a:pt x="268" y="266"/>
                </a:lnTo>
                <a:lnTo>
                  <a:pt x="274" y="265"/>
                </a:lnTo>
                <a:lnTo>
                  <a:pt x="280" y="264"/>
                </a:lnTo>
                <a:lnTo>
                  <a:pt x="291" y="262"/>
                </a:lnTo>
                <a:lnTo>
                  <a:pt x="303" y="264"/>
                </a:lnTo>
                <a:lnTo>
                  <a:pt x="315" y="266"/>
                </a:lnTo>
                <a:lnTo>
                  <a:pt x="326" y="266"/>
                </a:lnTo>
                <a:lnTo>
                  <a:pt x="331" y="265"/>
                </a:lnTo>
                <a:lnTo>
                  <a:pt x="335" y="264"/>
                </a:lnTo>
                <a:lnTo>
                  <a:pt x="339" y="261"/>
                </a:lnTo>
                <a:lnTo>
                  <a:pt x="344" y="259"/>
                </a:lnTo>
                <a:lnTo>
                  <a:pt x="351" y="252"/>
                </a:lnTo>
                <a:lnTo>
                  <a:pt x="357" y="247"/>
                </a:lnTo>
                <a:lnTo>
                  <a:pt x="359" y="246"/>
                </a:lnTo>
                <a:lnTo>
                  <a:pt x="363" y="245"/>
                </a:lnTo>
                <a:lnTo>
                  <a:pt x="365" y="246"/>
                </a:lnTo>
                <a:lnTo>
                  <a:pt x="367" y="247"/>
                </a:lnTo>
                <a:lnTo>
                  <a:pt x="370" y="249"/>
                </a:lnTo>
                <a:lnTo>
                  <a:pt x="371" y="252"/>
                </a:lnTo>
                <a:lnTo>
                  <a:pt x="372" y="255"/>
                </a:lnTo>
                <a:lnTo>
                  <a:pt x="371" y="258"/>
                </a:lnTo>
                <a:lnTo>
                  <a:pt x="369" y="265"/>
                </a:lnTo>
                <a:lnTo>
                  <a:pt x="365" y="271"/>
                </a:lnTo>
                <a:lnTo>
                  <a:pt x="364" y="274"/>
                </a:lnTo>
                <a:lnTo>
                  <a:pt x="363" y="278"/>
                </a:lnTo>
                <a:lnTo>
                  <a:pt x="363" y="284"/>
                </a:lnTo>
                <a:lnTo>
                  <a:pt x="363" y="289"/>
                </a:lnTo>
                <a:lnTo>
                  <a:pt x="364" y="300"/>
                </a:lnTo>
                <a:lnTo>
                  <a:pt x="367" y="310"/>
                </a:lnTo>
                <a:lnTo>
                  <a:pt x="372" y="321"/>
                </a:lnTo>
                <a:lnTo>
                  <a:pt x="377" y="331"/>
                </a:lnTo>
                <a:lnTo>
                  <a:pt x="382" y="343"/>
                </a:lnTo>
                <a:lnTo>
                  <a:pt x="385" y="356"/>
                </a:lnTo>
                <a:lnTo>
                  <a:pt x="387" y="369"/>
                </a:lnTo>
                <a:lnTo>
                  <a:pt x="385" y="380"/>
                </a:lnTo>
                <a:lnTo>
                  <a:pt x="384" y="388"/>
                </a:lnTo>
                <a:lnTo>
                  <a:pt x="383" y="397"/>
                </a:lnTo>
                <a:lnTo>
                  <a:pt x="382" y="409"/>
                </a:lnTo>
                <a:lnTo>
                  <a:pt x="382" y="422"/>
                </a:lnTo>
                <a:lnTo>
                  <a:pt x="382" y="435"/>
                </a:lnTo>
                <a:lnTo>
                  <a:pt x="382" y="444"/>
                </a:lnTo>
                <a:lnTo>
                  <a:pt x="382" y="461"/>
                </a:lnTo>
                <a:lnTo>
                  <a:pt x="382" y="479"/>
                </a:lnTo>
                <a:lnTo>
                  <a:pt x="382" y="482"/>
                </a:lnTo>
                <a:lnTo>
                  <a:pt x="383" y="486"/>
                </a:lnTo>
                <a:lnTo>
                  <a:pt x="384" y="487"/>
                </a:lnTo>
                <a:lnTo>
                  <a:pt x="387" y="488"/>
                </a:lnTo>
                <a:lnTo>
                  <a:pt x="392" y="489"/>
                </a:lnTo>
                <a:lnTo>
                  <a:pt x="402" y="488"/>
                </a:lnTo>
                <a:lnTo>
                  <a:pt x="419" y="486"/>
                </a:lnTo>
                <a:lnTo>
                  <a:pt x="440" y="483"/>
                </a:lnTo>
                <a:lnTo>
                  <a:pt x="451" y="482"/>
                </a:lnTo>
                <a:lnTo>
                  <a:pt x="461" y="482"/>
                </a:lnTo>
                <a:lnTo>
                  <a:pt x="471" y="483"/>
                </a:lnTo>
                <a:lnTo>
                  <a:pt x="477" y="486"/>
                </a:lnTo>
                <a:lnTo>
                  <a:pt x="483" y="488"/>
                </a:lnTo>
                <a:lnTo>
                  <a:pt x="486" y="491"/>
                </a:lnTo>
                <a:lnTo>
                  <a:pt x="490" y="492"/>
                </a:lnTo>
                <a:lnTo>
                  <a:pt x="494" y="492"/>
                </a:lnTo>
                <a:lnTo>
                  <a:pt x="496" y="491"/>
                </a:lnTo>
                <a:lnTo>
                  <a:pt x="498" y="488"/>
                </a:lnTo>
                <a:lnTo>
                  <a:pt x="499" y="485"/>
                </a:lnTo>
                <a:lnTo>
                  <a:pt x="502" y="481"/>
                </a:lnTo>
                <a:lnTo>
                  <a:pt x="504" y="472"/>
                </a:lnTo>
                <a:lnTo>
                  <a:pt x="507" y="466"/>
                </a:lnTo>
                <a:lnTo>
                  <a:pt x="509" y="463"/>
                </a:lnTo>
                <a:lnTo>
                  <a:pt x="511" y="462"/>
                </a:lnTo>
                <a:lnTo>
                  <a:pt x="515" y="461"/>
                </a:lnTo>
                <a:lnTo>
                  <a:pt x="518" y="461"/>
                </a:lnTo>
                <a:lnTo>
                  <a:pt x="523" y="461"/>
                </a:lnTo>
                <a:lnTo>
                  <a:pt x="527" y="460"/>
                </a:lnTo>
                <a:lnTo>
                  <a:pt x="529" y="459"/>
                </a:lnTo>
                <a:lnTo>
                  <a:pt x="532" y="455"/>
                </a:lnTo>
                <a:lnTo>
                  <a:pt x="532" y="453"/>
                </a:lnTo>
                <a:lnTo>
                  <a:pt x="532" y="449"/>
                </a:lnTo>
                <a:lnTo>
                  <a:pt x="530" y="447"/>
                </a:lnTo>
                <a:lnTo>
                  <a:pt x="529" y="443"/>
                </a:lnTo>
                <a:lnTo>
                  <a:pt x="527" y="441"/>
                </a:lnTo>
                <a:lnTo>
                  <a:pt x="524" y="437"/>
                </a:lnTo>
                <a:lnTo>
                  <a:pt x="524" y="435"/>
                </a:lnTo>
                <a:lnTo>
                  <a:pt x="523" y="431"/>
                </a:lnTo>
                <a:lnTo>
                  <a:pt x="524" y="429"/>
                </a:lnTo>
                <a:lnTo>
                  <a:pt x="527" y="426"/>
                </a:lnTo>
                <a:lnTo>
                  <a:pt x="530" y="425"/>
                </a:lnTo>
                <a:lnTo>
                  <a:pt x="535" y="423"/>
                </a:lnTo>
                <a:lnTo>
                  <a:pt x="542" y="422"/>
                </a:lnTo>
                <a:lnTo>
                  <a:pt x="549" y="418"/>
                </a:lnTo>
                <a:lnTo>
                  <a:pt x="559" y="413"/>
                </a:lnTo>
                <a:lnTo>
                  <a:pt x="568" y="409"/>
                </a:lnTo>
                <a:lnTo>
                  <a:pt x="589" y="396"/>
                </a:lnTo>
                <a:lnTo>
                  <a:pt x="606" y="382"/>
                </a:lnTo>
                <a:lnTo>
                  <a:pt x="622" y="369"/>
                </a:lnTo>
                <a:lnTo>
                  <a:pt x="637" y="356"/>
                </a:lnTo>
                <a:lnTo>
                  <a:pt x="652" y="344"/>
                </a:lnTo>
                <a:lnTo>
                  <a:pt x="665" y="336"/>
                </a:lnTo>
                <a:lnTo>
                  <a:pt x="671" y="333"/>
                </a:lnTo>
                <a:lnTo>
                  <a:pt x="677" y="330"/>
                </a:lnTo>
                <a:lnTo>
                  <a:pt x="683" y="329"/>
                </a:lnTo>
                <a:lnTo>
                  <a:pt x="688" y="329"/>
                </a:lnTo>
                <a:lnTo>
                  <a:pt x="693" y="330"/>
                </a:lnTo>
                <a:lnTo>
                  <a:pt x="698" y="333"/>
                </a:lnTo>
                <a:lnTo>
                  <a:pt x="702" y="337"/>
                </a:lnTo>
                <a:lnTo>
                  <a:pt x="705" y="343"/>
                </a:lnTo>
                <a:lnTo>
                  <a:pt x="711" y="355"/>
                </a:lnTo>
                <a:lnTo>
                  <a:pt x="715" y="366"/>
                </a:lnTo>
                <a:lnTo>
                  <a:pt x="718" y="374"/>
                </a:lnTo>
                <a:lnTo>
                  <a:pt x="722" y="384"/>
                </a:lnTo>
                <a:lnTo>
                  <a:pt x="725" y="387"/>
                </a:lnTo>
                <a:lnTo>
                  <a:pt x="729" y="390"/>
                </a:lnTo>
                <a:lnTo>
                  <a:pt x="734" y="391"/>
                </a:lnTo>
                <a:lnTo>
                  <a:pt x="740" y="391"/>
                </a:lnTo>
                <a:lnTo>
                  <a:pt x="744" y="390"/>
                </a:lnTo>
                <a:lnTo>
                  <a:pt x="750" y="386"/>
                </a:lnTo>
                <a:lnTo>
                  <a:pt x="755" y="382"/>
                </a:lnTo>
                <a:lnTo>
                  <a:pt x="760" y="378"/>
                </a:lnTo>
                <a:lnTo>
                  <a:pt x="767" y="367"/>
                </a:lnTo>
                <a:lnTo>
                  <a:pt x="774" y="357"/>
                </a:lnTo>
                <a:lnTo>
                  <a:pt x="782" y="349"/>
                </a:lnTo>
                <a:lnTo>
                  <a:pt x="790" y="342"/>
                </a:lnTo>
                <a:lnTo>
                  <a:pt x="793" y="338"/>
                </a:lnTo>
                <a:lnTo>
                  <a:pt x="797" y="333"/>
                </a:lnTo>
                <a:lnTo>
                  <a:pt x="800" y="325"/>
                </a:lnTo>
                <a:lnTo>
                  <a:pt x="804" y="317"/>
                </a:lnTo>
                <a:lnTo>
                  <a:pt x="807" y="309"/>
                </a:lnTo>
                <a:lnTo>
                  <a:pt x="811" y="300"/>
                </a:lnTo>
                <a:lnTo>
                  <a:pt x="816" y="293"/>
                </a:lnTo>
                <a:lnTo>
                  <a:pt x="820" y="287"/>
                </a:lnTo>
                <a:lnTo>
                  <a:pt x="826" y="281"/>
                </a:lnTo>
                <a:lnTo>
                  <a:pt x="832" y="279"/>
                </a:lnTo>
                <a:lnTo>
                  <a:pt x="838" y="277"/>
                </a:lnTo>
                <a:lnTo>
                  <a:pt x="843" y="278"/>
                </a:lnTo>
                <a:lnTo>
                  <a:pt x="847" y="279"/>
                </a:lnTo>
                <a:lnTo>
                  <a:pt x="850" y="283"/>
                </a:lnTo>
                <a:lnTo>
                  <a:pt x="853" y="286"/>
                </a:lnTo>
                <a:lnTo>
                  <a:pt x="854" y="292"/>
                </a:lnTo>
                <a:lnTo>
                  <a:pt x="855" y="303"/>
                </a:lnTo>
                <a:lnTo>
                  <a:pt x="857" y="311"/>
                </a:lnTo>
                <a:lnTo>
                  <a:pt x="860" y="312"/>
                </a:lnTo>
                <a:lnTo>
                  <a:pt x="862" y="312"/>
                </a:lnTo>
                <a:lnTo>
                  <a:pt x="864" y="311"/>
                </a:lnTo>
                <a:lnTo>
                  <a:pt x="867" y="309"/>
                </a:lnTo>
                <a:lnTo>
                  <a:pt x="870" y="305"/>
                </a:lnTo>
                <a:lnTo>
                  <a:pt x="873" y="303"/>
                </a:lnTo>
                <a:lnTo>
                  <a:pt x="875" y="300"/>
                </a:lnTo>
                <a:lnTo>
                  <a:pt x="879" y="299"/>
                </a:lnTo>
                <a:lnTo>
                  <a:pt x="882" y="299"/>
                </a:lnTo>
                <a:lnTo>
                  <a:pt x="886" y="300"/>
                </a:lnTo>
                <a:lnTo>
                  <a:pt x="889" y="302"/>
                </a:lnTo>
                <a:lnTo>
                  <a:pt x="894" y="303"/>
                </a:lnTo>
                <a:lnTo>
                  <a:pt x="900" y="305"/>
                </a:lnTo>
                <a:lnTo>
                  <a:pt x="906" y="306"/>
                </a:lnTo>
                <a:lnTo>
                  <a:pt x="912" y="306"/>
                </a:lnTo>
                <a:lnTo>
                  <a:pt x="918" y="306"/>
                </a:lnTo>
                <a:lnTo>
                  <a:pt x="931" y="304"/>
                </a:lnTo>
                <a:lnTo>
                  <a:pt x="944" y="302"/>
                </a:lnTo>
                <a:lnTo>
                  <a:pt x="956" y="298"/>
                </a:lnTo>
                <a:lnTo>
                  <a:pt x="967" y="292"/>
                </a:lnTo>
                <a:lnTo>
                  <a:pt x="976" y="285"/>
                </a:lnTo>
                <a:lnTo>
                  <a:pt x="986" y="279"/>
                </a:lnTo>
                <a:lnTo>
                  <a:pt x="995" y="274"/>
                </a:lnTo>
                <a:lnTo>
                  <a:pt x="1003" y="268"/>
                </a:lnTo>
                <a:lnTo>
                  <a:pt x="1006" y="265"/>
                </a:lnTo>
                <a:lnTo>
                  <a:pt x="1007" y="261"/>
                </a:lnTo>
                <a:lnTo>
                  <a:pt x="1007" y="256"/>
                </a:lnTo>
                <a:lnTo>
                  <a:pt x="1005" y="251"/>
                </a:lnTo>
                <a:lnTo>
                  <a:pt x="999" y="239"/>
                </a:lnTo>
                <a:lnTo>
                  <a:pt x="992" y="227"/>
                </a:lnTo>
                <a:lnTo>
                  <a:pt x="986" y="214"/>
                </a:lnTo>
                <a:lnTo>
                  <a:pt x="981" y="201"/>
                </a:lnTo>
                <a:lnTo>
                  <a:pt x="980" y="195"/>
                </a:lnTo>
                <a:lnTo>
                  <a:pt x="979" y="190"/>
                </a:lnTo>
                <a:lnTo>
                  <a:pt x="979" y="186"/>
                </a:lnTo>
                <a:lnTo>
                  <a:pt x="980" y="184"/>
                </a:lnTo>
                <a:lnTo>
                  <a:pt x="982" y="183"/>
                </a:lnTo>
                <a:lnTo>
                  <a:pt x="984" y="182"/>
                </a:lnTo>
                <a:lnTo>
                  <a:pt x="988" y="183"/>
                </a:lnTo>
                <a:lnTo>
                  <a:pt x="993" y="184"/>
                </a:lnTo>
                <a:lnTo>
                  <a:pt x="996" y="186"/>
                </a:lnTo>
                <a:lnTo>
                  <a:pt x="1001" y="188"/>
                </a:lnTo>
                <a:lnTo>
                  <a:pt x="1005" y="188"/>
                </a:lnTo>
                <a:lnTo>
                  <a:pt x="1007" y="186"/>
                </a:lnTo>
                <a:lnTo>
                  <a:pt x="1009" y="185"/>
                </a:lnTo>
                <a:lnTo>
                  <a:pt x="1011" y="183"/>
                </a:lnTo>
                <a:lnTo>
                  <a:pt x="1012" y="179"/>
                </a:lnTo>
                <a:lnTo>
                  <a:pt x="1011" y="173"/>
                </a:lnTo>
                <a:lnTo>
                  <a:pt x="1007" y="163"/>
                </a:lnTo>
                <a:lnTo>
                  <a:pt x="1003" y="152"/>
                </a:lnTo>
                <a:lnTo>
                  <a:pt x="1000" y="140"/>
                </a:lnTo>
                <a:lnTo>
                  <a:pt x="999" y="123"/>
                </a:lnTo>
                <a:lnTo>
                  <a:pt x="1000" y="114"/>
                </a:lnTo>
                <a:lnTo>
                  <a:pt x="1002" y="107"/>
                </a:lnTo>
                <a:lnTo>
                  <a:pt x="1005" y="101"/>
                </a:lnTo>
                <a:lnTo>
                  <a:pt x="1009" y="96"/>
                </a:lnTo>
                <a:lnTo>
                  <a:pt x="1020" y="88"/>
                </a:lnTo>
                <a:lnTo>
                  <a:pt x="1032" y="79"/>
                </a:lnTo>
                <a:lnTo>
                  <a:pt x="1039" y="76"/>
                </a:lnTo>
                <a:lnTo>
                  <a:pt x="1045" y="73"/>
                </a:lnTo>
                <a:lnTo>
                  <a:pt x="1051" y="71"/>
                </a:lnTo>
                <a:lnTo>
                  <a:pt x="1058" y="70"/>
                </a:lnTo>
                <a:lnTo>
                  <a:pt x="1074" y="67"/>
                </a:lnTo>
                <a:lnTo>
                  <a:pt x="1093" y="69"/>
                </a:lnTo>
                <a:lnTo>
                  <a:pt x="1103" y="69"/>
                </a:lnTo>
                <a:lnTo>
                  <a:pt x="1116" y="69"/>
                </a:lnTo>
                <a:lnTo>
                  <a:pt x="1128" y="67"/>
                </a:lnTo>
                <a:lnTo>
                  <a:pt x="1140" y="65"/>
                </a:lnTo>
                <a:lnTo>
                  <a:pt x="1151" y="63"/>
                </a:lnTo>
                <a:lnTo>
                  <a:pt x="1160" y="59"/>
                </a:lnTo>
                <a:lnTo>
                  <a:pt x="1164" y="57"/>
                </a:lnTo>
                <a:lnTo>
                  <a:pt x="1168" y="54"/>
                </a:lnTo>
                <a:lnTo>
                  <a:pt x="1170" y="52"/>
                </a:lnTo>
                <a:lnTo>
                  <a:pt x="1171" y="50"/>
                </a:lnTo>
                <a:lnTo>
                  <a:pt x="1172" y="39"/>
                </a:lnTo>
                <a:lnTo>
                  <a:pt x="1175" y="28"/>
                </a:lnTo>
                <a:lnTo>
                  <a:pt x="1176" y="23"/>
                </a:lnTo>
                <a:lnTo>
                  <a:pt x="1178" y="20"/>
                </a:lnTo>
                <a:lnTo>
                  <a:pt x="1182" y="16"/>
                </a:lnTo>
                <a:lnTo>
                  <a:pt x="1188" y="15"/>
                </a:lnTo>
                <a:lnTo>
                  <a:pt x="1201" y="14"/>
                </a:lnTo>
                <a:lnTo>
                  <a:pt x="1214" y="13"/>
                </a:lnTo>
                <a:lnTo>
                  <a:pt x="1221" y="13"/>
                </a:lnTo>
                <a:lnTo>
                  <a:pt x="1229" y="10"/>
                </a:lnTo>
                <a:lnTo>
                  <a:pt x="1238" y="8"/>
                </a:lnTo>
                <a:lnTo>
                  <a:pt x="1250" y="4"/>
                </a:lnTo>
                <a:lnTo>
                  <a:pt x="1260" y="1"/>
                </a:lnTo>
                <a:lnTo>
                  <a:pt x="1270" y="0"/>
                </a:lnTo>
                <a:lnTo>
                  <a:pt x="1278" y="0"/>
                </a:lnTo>
                <a:lnTo>
                  <a:pt x="1285" y="0"/>
                </a:lnTo>
                <a:lnTo>
                  <a:pt x="1291" y="3"/>
                </a:lnTo>
                <a:lnTo>
                  <a:pt x="1296" y="7"/>
                </a:lnTo>
                <a:lnTo>
                  <a:pt x="1301" y="12"/>
                </a:lnTo>
                <a:lnTo>
                  <a:pt x="1304" y="18"/>
                </a:lnTo>
                <a:lnTo>
                  <a:pt x="1314" y="33"/>
                </a:lnTo>
                <a:lnTo>
                  <a:pt x="1324" y="48"/>
                </a:lnTo>
                <a:lnTo>
                  <a:pt x="1336" y="64"/>
                </a:lnTo>
                <a:lnTo>
                  <a:pt x="1348" y="78"/>
                </a:lnTo>
                <a:lnTo>
                  <a:pt x="1354" y="84"/>
                </a:lnTo>
                <a:lnTo>
                  <a:pt x="1358" y="89"/>
                </a:lnTo>
                <a:lnTo>
                  <a:pt x="1361" y="95"/>
                </a:lnTo>
                <a:lnTo>
                  <a:pt x="1365" y="100"/>
                </a:lnTo>
                <a:lnTo>
                  <a:pt x="1366" y="106"/>
                </a:lnTo>
                <a:lnTo>
                  <a:pt x="1367" y="110"/>
                </a:lnTo>
                <a:lnTo>
                  <a:pt x="1368" y="116"/>
                </a:lnTo>
                <a:lnTo>
                  <a:pt x="1368" y="121"/>
                </a:lnTo>
                <a:lnTo>
                  <a:pt x="1367" y="126"/>
                </a:lnTo>
                <a:lnTo>
                  <a:pt x="1366" y="129"/>
                </a:lnTo>
                <a:lnTo>
                  <a:pt x="1364" y="133"/>
                </a:lnTo>
                <a:lnTo>
                  <a:pt x="1362" y="135"/>
                </a:lnTo>
                <a:lnTo>
                  <a:pt x="1357" y="141"/>
                </a:lnTo>
                <a:lnTo>
                  <a:pt x="1353" y="147"/>
                </a:lnTo>
                <a:lnTo>
                  <a:pt x="1351" y="149"/>
                </a:lnTo>
                <a:lnTo>
                  <a:pt x="1351" y="152"/>
                </a:lnTo>
                <a:lnTo>
                  <a:pt x="1352" y="154"/>
                </a:lnTo>
                <a:lnTo>
                  <a:pt x="1354" y="155"/>
                </a:lnTo>
                <a:lnTo>
                  <a:pt x="1360" y="159"/>
                </a:lnTo>
                <a:lnTo>
                  <a:pt x="1367" y="161"/>
                </a:lnTo>
                <a:lnTo>
                  <a:pt x="1376" y="166"/>
                </a:lnTo>
                <a:lnTo>
                  <a:pt x="1384" y="173"/>
                </a:lnTo>
                <a:lnTo>
                  <a:pt x="1387" y="178"/>
                </a:lnTo>
                <a:lnTo>
                  <a:pt x="1392" y="183"/>
                </a:lnTo>
                <a:lnTo>
                  <a:pt x="1395" y="190"/>
                </a:lnTo>
                <a:lnTo>
                  <a:pt x="1397" y="196"/>
                </a:lnTo>
                <a:lnTo>
                  <a:pt x="1399" y="203"/>
                </a:lnTo>
                <a:lnTo>
                  <a:pt x="1403" y="209"/>
                </a:lnTo>
                <a:lnTo>
                  <a:pt x="1406" y="212"/>
                </a:lnTo>
                <a:lnTo>
                  <a:pt x="1410" y="216"/>
                </a:lnTo>
                <a:lnTo>
                  <a:pt x="1415" y="218"/>
                </a:lnTo>
                <a:lnTo>
                  <a:pt x="1420" y="218"/>
                </a:lnTo>
                <a:lnTo>
                  <a:pt x="1424" y="217"/>
                </a:lnTo>
                <a:lnTo>
                  <a:pt x="1429" y="215"/>
                </a:lnTo>
                <a:lnTo>
                  <a:pt x="1435" y="212"/>
                </a:lnTo>
                <a:lnTo>
                  <a:pt x="1440" y="211"/>
                </a:lnTo>
                <a:lnTo>
                  <a:pt x="1445" y="211"/>
                </a:lnTo>
                <a:lnTo>
                  <a:pt x="1449" y="214"/>
                </a:lnTo>
                <a:lnTo>
                  <a:pt x="1453" y="216"/>
                </a:lnTo>
                <a:lnTo>
                  <a:pt x="1456" y="221"/>
                </a:lnTo>
                <a:lnTo>
                  <a:pt x="1460" y="227"/>
                </a:lnTo>
                <a:lnTo>
                  <a:pt x="1461" y="234"/>
                </a:lnTo>
                <a:lnTo>
                  <a:pt x="1462" y="247"/>
                </a:lnTo>
                <a:lnTo>
                  <a:pt x="1464" y="256"/>
                </a:lnTo>
                <a:lnTo>
                  <a:pt x="1462" y="265"/>
                </a:lnTo>
                <a:lnTo>
                  <a:pt x="1462" y="273"/>
                </a:lnTo>
                <a:lnTo>
                  <a:pt x="1462" y="281"/>
                </a:lnTo>
                <a:lnTo>
                  <a:pt x="1465" y="289"/>
                </a:lnTo>
                <a:lnTo>
                  <a:pt x="1467" y="294"/>
                </a:lnTo>
                <a:lnTo>
                  <a:pt x="1471" y="300"/>
                </a:lnTo>
                <a:lnTo>
                  <a:pt x="1473" y="304"/>
                </a:lnTo>
                <a:lnTo>
                  <a:pt x="1473" y="308"/>
                </a:lnTo>
                <a:lnTo>
                  <a:pt x="1474" y="314"/>
                </a:lnTo>
                <a:lnTo>
                  <a:pt x="1473" y="318"/>
                </a:lnTo>
                <a:lnTo>
                  <a:pt x="1472" y="329"/>
                </a:lnTo>
                <a:lnTo>
                  <a:pt x="1468" y="338"/>
                </a:lnTo>
                <a:lnTo>
                  <a:pt x="1466" y="341"/>
                </a:lnTo>
                <a:lnTo>
                  <a:pt x="1462" y="343"/>
                </a:lnTo>
                <a:lnTo>
                  <a:pt x="1460" y="344"/>
                </a:lnTo>
                <a:lnTo>
                  <a:pt x="1456" y="344"/>
                </a:lnTo>
                <a:lnTo>
                  <a:pt x="1448" y="341"/>
                </a:lnTo>
                <a:lnTo>
                  <a:pt x="1440" y="336"/>
                </a:lnTo>
                <a:lnTo>
                  <a:pt x="1433" y="331"/>
                </a:lnTo>
                <a:lnTo>
                  <a:pt x="1424" y="329"/>
                </a:lnTo>
                <a:lnTo>
                  <a:pt x="1421" y="329"/>
                </a:lnTo>
                <a:lnTo>
                  <a:pt x="1418" y="330"/>
                </a:lnTo>
                <a:lnTo>
                  <a:pt x="1415" y="333"/>
                </a:lnTo>
                <a:lnTo>
                  <a:pt x="1412" y="336"/>
                </a:lnTo>
                <a:lnTo>
                  <a:pt x="1410" y="341"/>
                </a:lnTo>
                <a:lnTo>
                  <a:pt x="1410" y="347"/>
                </a:lnTo>
                <a:lnTo>
                  <a:pt x="1410" y="353"/>
                </a:lnTo>
                <a:lnTo>
                  <a:pt x="1411" y="359"/>
                </a:lnTo>
                <a:lnTo>
                  <a:pt x="1414" y="365"/>
                </a:lnTo>
                <a:lnTo>
                  <a:pt x="1416" y="371"/>
                </a:lnTo>
                <a:lnTo>
                  <a:pt x="1420" y="377"/>
                </a:lnTo>
                <a:lnTo>
                  <a:pt x="1424" y="381"/>
                </a:lnTo>
                <a:lnTo>
                  <a:pt x="1434" y="391"/>
                </a:lnTo>
                <a:lnTo>
                  <a:pt x="1446" y="403"/>
                </a:lnTo>
                <a:lnTo>
                  <a:pt x="1458" y="415"/>
                </a:lnTo>
                <a:lnTo>
                  <a:pt x="1468" y="428"/>
                </a:lnTo>
                <a:lnTo>
                  <a:pt x="1472" y="434"/>
                </a:lnTo>
                <a:lnTo>
                  <a:pt x="1475" y="440"/>
                </a:lnTo>
                <a:lnTo>
                  <a:pt x="1477" y="444"/>
                </a:lnTo>
                <a:lnTo>
                  <a:pt x="1478" y="449"/>
                </a:lnTo>
                <a:lnTo>
                  <a:pt x="1478" y="459"/>
                </a:lnTo>
                <a:lnTo>
                  <a:pt x="1477" y="467"/>
                </a:lnTo>
                <a:lnTo>
                  <a:pt x="1475" y="475"/>
                </a:lnTo>
                <a:lnTo>
                  <a:pt x="1475" y="482"/>
                </a:lnTo>
                <a:lnTo>
                  <a:pt x="1477" y="485"/>
                </a:lnTo>
                <a:lnTo>
                  <a:pt x="1479" y="487"/>
                </a:lnTo>
                <a:lnTo>
                  <a:pt x="1481" y="489"/>
                </a:lnTo>
                <a:lnTo>
                  <a:pt x="1485" y="492"/>
                </a:lnTo>
                <a:lnTo>
                  <a:pt x="1492" y="497"/>
                </a:lnTo>
                <a:lnTo>
                  <a:pt x="1496" y="501"/>
                </a:lnTo>
                <a:lnTo>
                  <a:pt x="1497" y="507"/>
                </a:lnTo>
                <a:lnTo>
                  <a:pt x="1497" y="517"/>
                </a:lnTo>
                <a:lnTo>
                  <a:pt x="1498" y="526"/>
                </a:lnTo>
                <a:lnTo>
                  <a:pt x="1499" y="535"/>
                </a:lnTo>
                <a:lnTo>
                  <a:pt x="1500" y="538"/>
                </a:lnTo>
                <a:lnTo>
                  <a:pt x="1503" y="541"/>
                </a:lnTo>
                <a:lnTo>
                  <a:pt x="1505" y="542"/>
                </a:lnTo>
                <a:lnTo>
                  <a:pt x="1508" y="543"/>
                </a:lnTo>
                <a:lnTo>
                  <a:pt x="1511" y="543"/>
                </a:lnTo>
                <a:lnTo>
                  <a:pt x="1515" y="541"/>
                </a:lnTo>
                <a:lnTo>
                  <a:pt x="1518" y="538"/>
                </a:lnTo>
                <a:lnTo>
                  <a:pt x="1523" y="535"/>
                </a:lnTo>
                <a:lnTo>
                  <a:pt x="1528" y="531"/>
                </a:lnTo>
                <a:lnTo>
                  <a:pt x="1532" y="529"/>
                </a:lnTo>
                <a:lnTo>
                  <a:pt x="1538" y="526"/>
                </a:lnTo>
                <a:lnTo>
                  <a:pt x="1544" y="524"/>
                </a:lnTo>
                <a:lnTo>
                  <a:pt x="1557" y="523"/>
                </a:lnTo>
                <a:lnTo>
                  <a:pt x="1571" y="523"/>
                </a:lnTo>
                <a:lnTo>
                  <a:pt x="1585" y="523"/>
                </a:lnTo>
                <a:lnTo>
                  <a:pt x="1601" y="523"/>
                </a:lnTo>
                <a:lnTo>
                  <a:pt x="1622" y="520"/>
                </a:lnTo>
                <a:lnTo>
                  <a:pt x="1638" y="518"/>
                </a:lnTo>
                <a:lnTo>
                  <a:pt x="1647" y="517"/>
                </a:lnTo>
                <a:lnTo>
                  <a:pt x="1654" y="517"/>
                </a:lnTo>
                <a:lnTo>
                  <a:pt x="1660" y="518"/>
                </a:lnTo>
                <a:lnTo>
                  <a:pt x="1666" y="522"/>
                </a:lnTo>
                <a:lnTo>
                  <a:pt x="1672" y="526"/>
                </a:lnTo>
                <a:lnTo>
                  <a:pt x="1679" y="530"/>
                </a:lnTo>
                <a:lnTo>
                  <a:pt x="1686" y="532"/>
                </a:lnTo>
                <a:lnTo>
                  <a:pt x="1693" y="533"/>
                </a:lnTo>
                <a:lnTo>
                  <a:pt x="1701" y="535"/>
                </a:lnTo>
                <a:lnTo>
                  <a:pt x="1711" y="535"/>
                </a:lnTo>
                <a:lnTo>
                  <a:pt x="1720" y="535"/>
                </a:lnTo>
                <a:lnTo>
                  <a:pt x="1731" y="532"/>
                </a:lnTo>
                <a:lnTo>
                  <a:pt x="1749" y="529"/>
                </a:lnTo>
                <a:lnTo>
                  <a:pt x="1763" y="524"/>
                </a:lnTo>
                <a:lnTo>
                  <a:pt x="1769" y="523"/>
                </a:lnTo>
                <a:lnTo>
                  <a:pt x="1773" y="522"/>
                </a:lnTo>
                <a:lnTo>
                  <a:pt x="1776" y="522"/>
                </a:lnTo>
                <a:lnTo>
                  <a:pt x="1779" y="524"/>
                </a:lnTo>
                <a:lnTo>
                  <a:pt x="1779" y="527"/>
                </a:lnTo>
                <a:lnTo>
                  <a:pt x="1777" y="533"/>
                </a:lnTo>
                <a:lnTo>
                  <a:pt x="1774" y="543"/>
                </a:lnTo>
                <a:lnTo>
                  <a:pt x="1769" y="556"/>
                </a:lnTo>
                <a:lnTo>
                  <a:pt x="1764" y="571"/>
                </a:lnTo>
                <a:lnTo>
                  <a:pt x="1758" y="588"/>
                </a:lnTo>
                <a:lnTo>
                  <a:pt x="1755" y="598"/>
                </a:lnTo>
                <a:lnTo>
                  <a:pt x="1751" y="605"/>
                </a:lnTo>
                <a:lnTo>
                  <a:pt x="1748" y="611"/>
                </a:lnTo>
                <a:lnTo>
                  <a:pt x="1744" y="615"/>
                </a:lnTo>
                <a:lnTo>
                  <a:pt x="1738" y="617"/>
                </a:lnTo>
                <a:lnTo>
                  <a:pt x="1731" y="618"/>
                </a:lnTo>
                <a:lnTo>
                  <a:pt x="1724" y="619"/>
                </a:lnTo>
                <a:lnTo>
                  <a:pt x="1714" y="619"/>
                </a:lnTo>
                <a:lnTo>
                  <a:pt x="1707" y="620"/>
                </a:lnTo>
                <a:lnTo>
                  <a:pt x="1700" y="623"/>
                </a:lnTo>
                <a:lnTo>
                  <a:pt x="1697" y="624"/>
                </a:lnTo>
                <a:lnTo>
                  <a:pt x="1694" y="625"/>
                </a:lnTo>
                <a:lnTo>
                  <a:pt x="1692" y="627"/>
                </a:lnTo>
                <a:lnTo>
                  <a:pt x="1691" y="631"/>
                </a:lnTo>
                <a:lnTo>
                  <a:pt x="1691" y="633"/>
                </a:lnTo>
                <a:lnTo>
                  <a:pt x="1691" y="636"/>
                </a:lnTo>
                <a:lnTo>
                  <a:pt x="1693" y="638"/>
                </a:lnTo>
                <a:lnTo>
                  <a:pt x="1695" y="642"/>
                </a:lnTo>
                <a:lnTo>
                  <a:pt x="1701" y="646"/>
                </a:lnTo>
                <a:lnTo>
                  <a:pt x="1710" y="652"/>
                </a:lnTo>
                <a:lnTo>
                  <a:pt x="1717" y="658"/>
                </a:lnTo>
                <a:lnTo>
                  <a:pt x="1724" y="664"/>
                </a:lnTo>
                <a:lnTo>
                  <a:pt x="1726" y="669"/>
                </a:lnTo>
                <a:lnTo>
                  <a:pt x="1727" y="672"/>
                </a:lnTo>
                <a:lnTo>
                  <a:pt x="1729" y="677"/>
                </a:lnTo>
                <a:lnTo>
                  <a:pt x="1727" y="682"/>
                </a:lnTo>
                <a:lnTo>
                  <a:pt x="1726" y="684"/>
                </a:lnTo>
                <a:lnTo>
                  <a:pt x="1721" y="687"/>
                </a:lnTo>
                <a:lnTo>
                  <a:pt x="1716" y="689"/>
                </a:lnTo>
                <a:lnTo>
                  <a:pt x="1710" y="690"/>
                </a:lnTo>
                <a:lnTo>
                  <a:pt x="1697" y="694"/>
                </a:lnTo>
                <a:lnTo>
                  <a:pt x="1688" y="697"/>
                </a:lnTo>
                <a:lnTo>
                  <a:pt x="1683" y="703"/>
                </a:lnTo>
                <a:lnTo>
                  <a:pt x="1680" y="709"/>
                </a:lnTo>
                <a:lnTo>
                  <a:pt x="1677" y="715"/>
                </a:lnTo>
                <a:lnTo>
                  <a:pt x="1676" y="722"/>
                </a:lnTo>
                <a:lnTo>
                  <a:pt x="1676" y="728"/>
                </a:lnTo>
                <a:lnTo>
                  <a:pt x="1676" y="734"/>
                </a:lnTo>
                <a:lnTo>
                  <a:pt x="1677" y="740"/>
                </a:lnTo>
                <a:lnTo>
                  <a:pt x="1680" y="746"/>
                </a:lnTo>
                <a:lnTo>
                  <a:pt x="1682" y="752"/>
                </a:lnTo>
                <a:lnTo>
                  <a:pt x="1687" y="759"/>
                </a:lnTo>
                <a:lnTo>
                  <a:pt x="1693" y="766"/>
                </a:lnTo>
                <a:lnTo>
                  <a:pt x="1700" y="773"/>
                </a:lnTo>
                <a:lnTo>
                  <a:pt x="1716" y="788"/>
                </a:lnTo>
                <a:lnTo>
                  <a:pt x="1730" y="800"/>
                </a:lnTo>
                <a:lnTo>
                  <a:pt x="1737" y="803"/>
                </a:lnTo>
                <a:lnTo>
                  <a:pt x="1743" y="806"/>
                </a:lnTo>
                <a:lnTo>
                  <a:pt x="1748" y="807"/>
                </a:lnTo>
                <a:lnTo>
                  <a:pt x="1752" y="807"/>
                </a:lnTo>
                <a:lnTo>
                  <a:pt x="1760" y="806"/>
                </a:lnTo>
                <a:lnTo>
                  <a:pt x="1768" y="802"/>
                </a:lnTo>
                <a:lnTo>
                  <a:pt x="1771" y="800"/>
                </a:lnTo>
                <a:lnTo>
                  <a:pt x="1775" y="798"/>
                </a:lnTo>
                <a:lnTo>
                  <a:pt x="1777" y="798"/>
                </a:lnTo>
                <a:lnTo>
                  <a:pt x="1779" y="800"/>
                </a:lnTo>
                <a:lnTo>
                  <a:pt x="1780" y="804"/>
                </a:lnTo>
                <a:lnTo>
                  <a:pt x="1780" y="814"/>
                </a:lnTo>
                <a:lnTo>
                  <a:pt x="1781" y="820"/>
                </a:lnTo>
                <a:lnTo>
                  <a:pt x="1783" y="825"/>
                </a:lnTo>
                <a:lnTo>
                  <a:pt x="1787" y="831"/>
                </a:lnTo>
                <a:lnTo>
                  <a:pt x="1792" y="836"/>
                </a:lnTo>
                <a:lnTo>
                  <a:pt x="1798" y="842"/>
                </a:lnTo>
                <a:lnTo>
                  <a:pt x="1804" y="847"/>
                </a:lnTo>
                <a:lnTo>
                  <a:pt x="1811" y="852"/>
                </a:lnTo>
                <a:lnTo>
                  <a:pt x="1818" y="856"/>
                </a:lnTo>
                <a:lnTo>
                  <a:pt x="1824" y="859"/>
                </a:lnTo>
                <a:lnTo>
                  <a:pt x="1830" y="860"/>
                </a:lnTo>
                <a:lnTo>
                  <a:pt x="1836" y="861"/>
                </a:lnTo>
                <a:lnTo>
                  <a:pt x="1840" y="860"/>
                </a:lnTo>
                <a:lnTo>
                  <a:pt x="1851" y="858"/>
                </a:lnTo>
                <a:lnTo>
                  <a:pt x="1863" y="853"/>
                </a:lnTo>
                <a:lnTo>
                  <a:pt x="1870" y="850"/>
                </a:lnTo>
                <a:lnTo>
                  <a:pt x="1878" y="847"/>
                </a:lnTo>
                <a:lnTo>
                  <a:pt x="1887" y="846"/>
                </a:lnTo>
                <a:lnTo>
                  <a:pt x="1896" y="846"/>
                </a:lnTo>
                <a:lnTo>
                  <a:pt x="1906" y="847"/>
                </a:lnTo>
                <a:lnTo>
                  <a:pt x="1914" y="851"/>
                </a:lnTo>
                <a:lnTo>
                  <a:pt x="1918" y="853"/>
                </a:lnTo>
                <a:lnTo>
                  <a:pt x="1921" y="856"/>
                </a:lnTo>
                <a:lnTo>
                  <a:pt x="1924" y="859"/>
                </a:lnTo>
                <a:lnTo>
                  <a:pt x="1927" y="864"/>
                </a:lnTo>
                <a:lnTo>
                  <a:pt x="1931" y="872"/>
                </a:lnTo>
                <a:lnTo>
                  <a:pt x="1933" y="880"/>
                </a:lnTo>
                <a:lnTo>
                  <a:pt x="1933" y="889"/>
                </a:lnTo>
                <a:lnTo>
                  <a:pt x="1933" y="897"/>
                </a:lnTo>
                <a:lnTo>
                  <a:pt x="1932" y="913"/>
                </a:lnTo>
                <a:lnTo>
                  <a:pt x="1932" y="928"/>
                </a:lnTo>
                <a:lnTo>
                  <a:pt x="1933" y="936"/>
                </a:lnTo>
                <a:lnTo>
                  <a:pt x="1937" y="945"/>
                </a:lnTo>
                <a:lnTo>
                  <a:pt x="1943" y="952"/>
                </a:lnTo>
                <a:lnTo>
                  <a:pt x="1947" y="959"/>
                </a:lnTo>
                <a:lnTo>
                  <a:pt x="1963" y="970"/>
                </a:lnTo>
                <a:lnTo>
                  <a:pt x="1981" y="983"/>
                </a:lnTo>
                <a:lnTo>
                  <a:pt x="1988" y="989"/>
                </a:lnTo>
                <a:lnTo>
                  <a:pt x="1993" y="995"/>
                </a:lnTo>
                <a:lnTo>
                  <a:pt x="1997" y="1002"/>
                </a:lnTo>
                <a:lnTo>
                  <a:pt x="2002" y="1012"/>
                </a:lnTo>
                <a:lnTo>
                  <a:pt x="2003" y="1018"/>
                </a:lnTo>
                <a:lnTo>
                  <a:pt x="2006" y="1025"/>
                </a:lnTo>
                <a:lnTo>
                  <a:pt x="2007" y="1028"/>
                </a:lnTo>
                <a:lnTo>
                  <a:pt x="2008" y="1031"/>
                </a:lnTo>
                <a:lnTo>
                  <a:pt x="2009" y="1033"/>
                </a:lnTo>
                <a:lnTo>
                  <a:pt x="2012" y="1034"/>
                </a:lnTo>
                <a:lnTo>
                  <a:pt x="2019" y="1033"/>
                </a:lnTo>
                <a:lnTo>
                  <a:pt x="2027" y="1034"/>
                </a:lnTo>
                <a:lnTo>
                  <a:pt x="2031" y="1034"/>
                </a:lnTo>
                <a:lnTo>
                  <a:pt x="2033" y="1035"/>
                </a:lnTo>
                <a:lnTo>
                  <a:pt x="2035" y="1036"/>
                </a:lnTo>
                <a:lnTo>
                  <a:pt x="2038" y="1039"/>
                </a:lnTo>
                <a:lnTo>
                  <a:pt x="2041" y="1053"/>
                </a:lnTo>
                <a:lnTo>
                  <a:pt x="2047" y="1072"/>
                </a:lnTo>
                <a:lnTo>
                  <a:pt x="2038" y="1080"/>
                </a:lnTo>
                <a:lnTo>
                  <a:pt x="2029" y="1090"/>
                </a:lnTo>
                <a:lnTo>
                  <a:pt x="2013" y="1100"/>
                </a:lnTo>
                <a:lnTo>
                  <a:pt x="1995" y="1109"/>
                </a:lnTo>
                <a:lnTo>
                  <a:pt x="1977" y="1117"/>
                </a:lnTo>
                <a:lnTo>
                  <a:pt x="1957" y="1124"/>
                </a:lnTo>
                <a:lnTo>
                  <a:pt x="1949" y="1128"/>
                </a:lnTo>
                <a:lnTo>
                  <a:pt x="1943" y="1132"/>
                </a:lnTo>
                <a:lnTo>
                  <a:pt x="1939" y="1136"/>
                </a:lnTo>
                <a:lnTo>
                  <a:pt x="1937" y="1141"/>
                </a:lnTo>
                <a:lnTo>
                  <a:pt x="1937" y="1146"/>
                </a:lnTo>
                <a:lnTo>
                  <a:pt x="1938" y="1150"/>
                </a:lnTo>
                <a:lnTo>
                  <a:pt x="1939" y="1156"/>
                </a:lnTo>
                <a:lnTo>
                  <a:pt x="1941" y="1161"/>
                </a:lnTo>
                <a:lnTo>
                  <a:pt x="1943" y="1165"/>
                </a:lnTo>
                <a:lnTo>
                  <a:pt x="1944" y="1168"/>
                </a:lnTo>
                <a:lnTo>
                  <a:pt x="1943" y="1172"/>
                </a:lnTo>
                <a:lnTo>
                  <a:pt x="1940" y="1174"/>
                </a:lnTo>
                <a:lnTo>
                  <a:pt x="1930" y="1178"/>
                </a:lnTo>
                <a:lnTo>
                  <a:pt x="1914" y="1181"/>
                </a:lnTo>
                <a:lnTo>
                  <a:pt x="1909" y="1182"/>
                </a:lnTo>
                <a:lnTo>
                  <a:pt x="1905" y="1185"/>
                </a:lnTo>
                <a:lnTo>
                  <a:pt x="1901" y="1187"/>
                </a:lnTo>
                <a:lnTo>
                  <a:pt x="1897" y="1191"/>
                </a:lnTo>
                <a:lnTo>
                  <a:pt x="1890" y="1198"/>
                </a:lnTo>
                <a:lnTo>
                  <a:pt x="1886" y="1207"/>
                </a:lnTo>
                <a:lnTo>
                  <a:pt x="1882" y="1217"/>
                </a:lnTo>
                <a:lnTo>
                  <a:pt x="1878" y="1225"/>
                </a:lnTo>
                <a:lnTo>
                  <a:pt x="1877" y="1233"/>
                </a:lnTo>
                <a:lnTo>
                  <a:pt x="1877" y="1239"/>
                </a:lnTo>
                <a:lnTo>
                  <a:pt x="1877" y="1249"/>
                </a:lnTo>
                <a:lnTo>
                  <a:pt x="1875" y="1257"/>
                </a:lnTo>
                <a:lnTo>
                  <a:pt x="1872" y="1261"/>
                </a:lnTo>
                <a:lnTo>
                  <a:pt x="1870" y="1264"/>
                </a:lnTo>
                <a:lnTo>
                  <a:pt x="1867" y="1267"/>
                </a:lnTo>
                <a:lnTo>
                  <a:pt x="1861" y="1269"/>
                </a:lnTo>
                <a:lnTo>
                  <a:pt x="1852" y="1273"/>
                </a:lnTo>
                <a:lnTo>
                  <a:pt x="1846" y="1276"/>
                </a:lnTo>
                <a:lnTo>
                  <a:pt x="1845" y="1279"/>
                </a:lnTo>
                <a:lnTo>
                  <a:pt x="1846" y="1280"/>
                </a:lnTo>
                <a:lnTo>
                  <a:pt x="1847" y="1281"/>
                </a:lnTo>
                <a:lnTo>
                  <a:pt x="1851" y="1281"/>
                </a:lnTo>
                <a:lnTo>
                  <a:pt x="1857" y="1281"/>
                </a:lnTo>
                <a:lnTo>
                  <a:pt x="1863" y="1282"/>
                </a:lnTo>
                <a:lnTo>
                  <a:pt x="1865" y="1283"/>
                </a:lnTo>
                <a:lnTo>
                  <a:pt x="1867" y="1285"/>
                </a:lnTo>
                <a:lnTo>
                  <a:pt x="1868" y="1287"/>
                </a:lnTo>
                <a:lnTo>
                  <a:pt x="1868" y="1289"/>
                </a:lnTo>
                <a:lnTo>
                  <a:pt x="1867" y="1296"/>
                </a:lnTo>
                <a:lnTo>
                  <a:pt x="1865" y="1305"/>
                </a:lnTo>
                <a:lnTo>
                  <a:pt x="1863" y="1315"/>
                </a:lnTo>
                <a:lnTo>
                  <a:pt x="1863" y="1327"/>
                </a:lnTo>
                <a:lnTo>
                  <a:pt x="1862" y="1338"/>
                </a:lnTo>
                <a:lnTo>
                  <a:pt x="1859" y="1348"/>
                </a:lnTo>
                <a:lnTo>
                  <a:pt x="1857" y="1354"/>
                </a:lnTo>
                <a:lnTo>
                  <a:pt x="1853" y="1359"/>
                </a:lnTo>
                <a:lnTo>
                  <a:pt x="1849" y="1367"/>
                </a:lnTo>
                <a:lnTo>
                  <a:pt x="1842" y="1375"/>
                </a:lnTo>
                <a:lnTo>
                  <a:pt x="1834" y="1386"/>
                </a:lnTo>
                <a:lnTo>
                  <a:pt x="1828" y="1396"/>
                </a:lnTo>
                <a:lnTo>
                  <a:pt x="1824" y="1407"/>
                </a:lnTo>
                <a:lnTo>
                  <a:pt x="1820" y="1419"/>
                </a:lnTo>
                <a:lnTo>
                  <a:pt x="1813" y="1439"/>
                </a:lnTo>
                <a:lnTo>
                  <a:pt x="1806" y="1455"/>
                </a:lnTo>
                <a:lnTo>
                  <a:pt x="1802" y="1460"/>
                </a:lnTo>
                <a:lnTo>
                  <a:pt x="1798" y="1466"/>
                </a:lnTo>
                <a:lnTo>
                  <a:pt x="1792" y="1472"/>
                </a:lnTo>
                <a:lnTo>
                  <a:pt x="1786" y="1478"/>
                </a:lnTo>
                <a:lnTo>
                  <a:pt x="1780" y="1483"/>
                </a:lnTo>
                <a:lnTo>
                  <a:pt x="1774" y="1488"/>
                </a:lnTo>
                <a:lnTo>
                  <a:pt x="1769" y="1490"/>
                </a:lnTo>
                <a:lnTo>
                  <a:pt x="1764" y="1491"/>
                </a:lnTo>
                <a:lnTo>
                  <a:pt x="1762" y="1491"/>
                </a:lnTo>
                <a:lnTo>
                  <a:pt x="1760" y="1490"/>
                </a:lnTo>
                <a:lnTo>
                  <a:pt x="1758" y="1489"/>
                </a:lnTo>
                <a:lnTo>
                  <a:pt x="1758" y="1487"/>
                </a:lnTo>
                <a:lnTo>
                  <a:pt x="1758" y="1484"/>
                </a:lnTo>
                <a:lnTo>
                  <a:pt x="1761" y="1482"/>
                </a:lnTo>
                <a:lnTo>
                  <a:pt x="1762" y="1478"/>
                </a:lnTo>
                <a:lnTo>
                  <a:pt x="1765" y="1476"/>
                </a:lnTo>
                <a:lnTo>
                  <a:pt x="1773" y="1470"/>
                </a:lnTo>
                <a:lnTo>
                  <a:pt x="1780" y="1463"/>
                </a:lnTo>
                <a:lnTo>
                  <a:pt x="1781" y="1459"/>
                </a:lnTo>
                <a:lnTo>
                  <a:pt x="1782" y="1457"/>
                </a:lnTo>
                <a:lnTo>
                  <a:pt x="1782" y="1455"/>
                </a:lnTo>
                <a:lnTo>
                  <a:pt x="1780" y="1455"/>
                </a:lnTo>
                <a:lnTo>
                  <a:pt x="1764" y="1460"/>
                </a:lnTo>
                <a:lnTo>
                  <a:pt x="1748" y="1468"/>
                </a:lnTo>
                <a:lnTo>
                  <a:pt x="1739" y="1471"/>
                </a:lnTo>
                <a:lnTo>
                  <a:pt x="1729" y="1478"/>
                </a:lnTo>
                <a:lnTo>
                  <a:pt x="1721" y="1482"/>
                </a:lnTo>
                <a:lnTo>
                  <a:pt x="1716" y="1485"/>
                </a:lnTo>
                <a:lnTo>
                  <a:pt x="1711" y="1489"/>
                </a:lnTo>
                <a:lnTo>
                  <a:pt x="1705" y="1490"/>
                </a:lnTo>
                <a:lnTo>
                  <a:pt x="1693" y="1489"/>
                </a:lnTo>
                <a:lnTo>
                  <a:pt x="1680" y="1485"/>
                </a:lnTo>
                <a:lnTo>
                  <a:pt x="1673" y="1483"/>
                </a:lnTo>
                <a:lnTo>
                  <a:pt x="1666" y="1482"/>
                </a:lnTo>
                <a:lnTo>
                  <a:pt x="1661" y="1481"/>
                </a:lnTo>
                <a:lnTo>
                  <a:pt x="1655" y="1482"/>
                </a:lnTo>
                <a:lnTo>
                  <a:pt x="1651" y="1483"/>
                </a:lnTo>
                <a:lnTo>
                  <a:pt x="1645" y="1488"/>
                </a:lnTo>
                <a:lnTo>
                  <a:pt x="1639" y="1493"/>
                </a:lnTo>
                <a:lnTo>
                  <a:pt x="1634" y="1499"/>
                </a:lnTo>
                <a:lnTo>
                  <a:pt x="1619" y="1513"/>
                </a:lnTo>
                <a:lnTo>
                  <a:pt x="1605" y="1527"/>
                </a:lnTo>
                <a:lnTo>
                  <a:pt x="1598" y="1533"/>
                </a:lnTo>
                <a:lnTo>
                  <a:pt x="1591" y="1538"/>
                </a:lnTo>
                <a:lnTo>
                  <a:pt x="1584" y="1541"/>
                </a:lnTo>
                <a:lnTo>
                  <a:pt x="1576" y="1544"/>
                </a:lnTo>
                <a:lnTo>
                  <a:pt x="1571" y="1546"/>
                </a:lnTo>
                <a:lnTo>
                  <a:pt x="1563" y="1546"/>
                </a:lnTo>
                <a:lnTo>
                  <a:pt x="1557" y="1545"/>
                </a:lnTo>
                <a:lnTo>
                  <a:pt x="1553" y="1541"/>
                </a:lnTo>
                <a:lnTo>
                  <a:pt x="1548" y="1538"/>
                </a:lnTo>
                <a:lnTo>
                  <a:pt x="1543" y="1534"/>
                </a:lnTo>
                <a:lnTo>
                  <a:pt x="1538" y="1528"/>
                </a:lnTo>
                <a:lnTo>
                  <a:pt x="1535" y="1522"/>
                </a:lnTo>
                <a:lnTo>
                  <a:pt x="1527" y="1510"/>
                </a:lnTo>
                <a:lnTo>
                  <a:pt x="1521" y="1497"/>
                </a:lnTo>
                <a:lnTo>
                  <a:pt x="1517" y="1490"/>
                </a:lnTo>
                <a:lnTo>
                  <a:pt x="1513" y="1485"/>
                </a:lnTo>
                <a:lnTo>
                  <a:pt x="1509" y="1481"/>
                </a:lnTo>
                <a:lnTo>
                  <a:pt x="1504" y="1477"/>
                </a:lnTo>
                <a:lnTo>
                  <a:pt x="1498" y="1475"/>
                </a:lnTo>
                <a:lnTo>
                  <a:pt x="1491" y="1474"/>
                </a:lnTo>
                <a:lnTo>
                  <a:pt x="1484" y="1472"/>
                </a:lnTo>
                <a:lnTo>
                  <a:pt x="1474" y="1472"/>
                </a:lnTo>
                <a:lnTo>
                  <a:pt x="1473" y="1472"/>
                </a:lnTo>
                <a:lnTo>
                  <a:pt x="1471" y="1474"/>
                </a:lnTo>
                <a:lnTo>
                  <a:pt x="1472" y="1472"/>
                </a:lnTo>
                <a:lnTo>
                  <a:pt x="1473" y="1472"/>
                </a:lnTo>
                <a:lnTo>
                  <a:pt x="1477" y="1463"/>
                </a:lnTo>
                <a:lnTo>
                  <a:pt x="1478" y="1453"/>
                </a:lnTo>
                <a:lnTo>
                  <a:pt x="1479" y="1443"/>
                </a:lnTo>
                <a:lnTo>
                  <a:pt x="1479" y="1433"/>
                </a:lnTo>
                <a:lnTo>
                  <a:pt x="1477" y="1424"/>
                </a:lnTo>
                <a:lnTo>
                  <a:pt x="1472" y="1414"/>
                </a:lnTo>
                <a:lnTo>
                  <a:pt x="1466" y="1405"/>
                </a:lnTo>
                <a:lnTo>
                  <a:pt x="1456" y="1396"/>
                </a:lnTo>
                <a:lnTo>
                  <a:pt x="1446" y="1389"/>
                </a:lnTo>
                <a:lnTo>
                  <a:pt x="1437" y="1386"/>
                </a:lnTo>
                <a:lnTo>
                  <a:pt x="1431" y="1383"/>
                </a:lnTo>
                <a:lnTo>
                  <a:pt x="1427" y="1382"/>
                </a:lnTo>
                <a:lnTo>
                  <a:pt x="1422" y="1382"/>
                </a:lnTo>
                <a:lnTo>
                  <a:pt x="1420" y="1382"/>
                </a:lnTo>
                <a:lnTo>
                  <a:pt x="1417" y="1380"/>
                </a:lnTo>
                <a:lnTo>
                  <a:pt x="1416" y="1376"/>
                </a:lnTo>
                <a:lnTo>
                  <a:pt x="1416" y="1370"/>
                </a:lnTo>
                <a:lnTo>
                  <a:pt x="1418" y="1362"/>
                </a:lnTo>
                <a:lnTo>
                  <a:pt x="1421" y="1352"/>
                </a:lnTo>
                <a:lnTo>
                  <a:pt x="1424" y="1343"/>
                </a:lnTo>
                <a:lnTo>
                  <a:pt x="1425" y="1333"/>
                </a:lnTo>
                <a:lnTo>
                  <a:pt x="1425" y="1325"/>
                </a:lnTo>
                <a:lnTo>
                  <a:pt x="1425" y="1321"/>
                </a:lnTo>
                <a:lnTo>
                  <a:pt x="1423" y="1319"/>
                </a:lnTo>
                <a:lnTo>
                  <a:pt x="1420" y="1318"/>
                </a:lnTo>
                <a:lnTo>
                  <a:pt x="1416" y="1317"/>
                </a:lnTo>
                <a:lnTo>
                  <a:pt x="1406" y="1317"/>
                </a:lnTo>
                <a:lnTo>
                  <a:pt x="1397" y="1319"/>
                </a:lnTo>
                <a:lnTo>
                  <a:pt x="1387" y="1323"/>
                </a:lnTo>
                <a:lnTo>
                  <a:pt x="1379" y="1326"/>
                </a:lnTo>
                <a:lnTo>
                  <a:pt x="1370" y="1331"/>
                </a:lnTo>
                <a:lnTo>
                  <a:pt x="1362" y="1333"/>
                </a:lnTo>
                <a:lnTo>
                  <a:pt x="1359" y="1335"/>
                </a:lnTo>
                <a:lnTo>
                  <a:pt x="1355" y="1335"/>
                </a:lnTo>
                <a:lnTo>
                  <a:pt x="1353" y="1335"/>
                </a:lnTo>
                <a:lnTo>
                  <a:pt x="1351" y="1333"/>
                </a:lnTo>
                <a:lnTo>
                  <a:pt x="1346" y="1331"/>
                </a:lnTo>
                <a:lnTo>
                  <a:pt x="1342" y="1327"/>
                </a:lnTo>
                <a:lnTo>
                  <a:pt x="1340" y="1323"/>
                </a:lnTo>
                <a:lnTo>
                  <a:pt x="1339" y="1318"/>
                </a:lnTo>
                <a:lnTo>
                  <a:pt x="1336" y="1307"/>
                </a:lnTo>
                <a:lnTo>
                  <a:pt x="1335" y="1295"/>
                </a:lnTo>
                <a:lnTo>
                  <a:pt x="1333" y="1288"/>
                </a:lnTo>
                <a:lnTo>
                  <a:pt x="1330" y="1282"/>
                </a:lnTo>
                <a:lnTo>
                  <a:pt x="1328" y="1277"/>
                </a:lnTo>
                <a:lnTo>
                  <a:pt x="1323" y="1272"/>
                </a:lnTo>
                <a:lnTo>
                  <a:pt x="1315" y="1261"/>
                </a:lnTo>
                <a:lnTo>
                  <a:pt x="1304" y="1248"/>
                </a:lnTo>
                <a:lnTo>
                  <a:pt x="1295" y="1232"/>
                </a:lnTo>
                <a:lnTo>
                  <a:pt x="1284" y="1218"/>
                </a:lnTo>
                <a:lnTo>
                  <a:pt x="1279" y="1211"/>
                </a:lnTo>
                <a:lnTo>
                  <a:pt x="1276" y="1203"/>
                </a:lnTo>
                <a:lnTo>
                  <a:pt x="1273" y="1193"/>
                </a:lnTo>
                <a:lnTo>
                  <a:pt x="1273" y="1182"/>
                </a:lnTo>
                <a:lnTo>
                  <a:pt x="1273" y="1173"/>
                </a:lnTo>
                <a:lnTo>
                  <a:pt x="1276" y="1165"/>
                </a:lnTo>
                <a:lnTo>
                  <a:pt x="1280" y="1159"/>
                </a:lnTo>
                <a:lnTo>
                  <a:pt x="1285" y="1154"/>
                </a:lnTo>
                <a:lnTo>
                  <a:pt x="1292" y="1151"/>
                </a:lnTo>
                <a:lnTo>
                  <a:pt x="1301" y="1149"/>
                </a:lnTo>
                <a:lnTo>
                  <a:pt x="1310" y="1148"/>
                </a:lnTo>
                <a:lnTo>
                  <a:pt x="1320" y="1147"/>
                </a:lnTo>
                <a:lnTo>
                  <a:pt x="1326" y="1147"/>
                </a:lnTo>
                <a:lnTo>
                  <a:pt x="1330" y="1147"/>
                </a:lnTo>
                <a:lnTo>
                  <a:pt x="1334" y="1144"/>
                </a:lnTo>
                <a:lnTo>
                  <a:pt x="1338" y="1143"/>
                </a:lnTo>
                <a:lnTo>
                  <a:pt x="1343" y="1138"/>
                </a:lnTo>
                <a:lnTo>
                  <a:pt x="1347" y="1132"/>
                </a:lnTo>
                <a:lnTo>
                  <a:pt x="1349" y="1127"/>
                </a:lnTo>
                <a:lnTo>
                  <a:pt x="1349" y="1122"/>
                </a:lnTo>
                <a:lnTo>
                  <a:pt x="1347" y="1116"/>
                </a:lnTo>
                <a:lnTo>
                  <a:pt x="1343" y="1112"/>
                </a:lnTo>
                <a:lnTo>
                  <a:pt x="1333" y="1104"/>
                </a:lnTo>
                <a:lnTo>
                  <a:pt x="1320" y="1092"/>
                </a:lnTo>
                <a:lnTo>
                  <a:pt x="1313" y="1086"/>
                </a:lnTo>
                <a:lnTo>
                  <a:pt x="1307" y="1079"/>
                </a:lnTo>
                <a:lnTo>
                  <a:pt x="1302" y="1071"/>
                </a:lnTo>
                <a:lnTo>
                  <a:pt x="1298" y="1062"/>
                </a:lnTo>
                <a:lnTo>
                  <a:pt x="1296" y="1059"/>
                </a:lnTo>
                <a:lnTo>
                  <a:pt x="1294" y="1056"/>
                </a:lnTo>
                <a:lnTo>
                  <a:pt x="1290" y="1054"/>
                </a:lnTo>
                <a:lnTo>
                  <a:pt x="1286" y="1052"/>
                </a:lnTo>
                <a:lnTo>
                  <a:pt x="1278" y="1049"/>
                </a:lnTo>
                <a:lnTo>
                  <a:pt x="1270" y="1049"/>
                </a:lnTo>
                <a:lnTo>
                  <a:pt x="1250" y="1052"/>
                </a:lnTo>
                <a:lnTo>
                  <a:pt x="1233" y="1053"/>
                </a:lnTo>
                <a:lnTo>
                  <a:pt x="1227" y="1053"/>
                </a:lnTo>
                <a:lnTo>
                  <a:pt x="1223" y="1055"/>
                </a:lnTo>
                <a:lnTo>
                  <a:pt x="1222" y="1059"/>
                </a:lnTo>
                <a:lnTo>
                  <a:pt x="1221" y="1062"/>
                </a:lnTo>
                <a:lnTo>
                  <a:pt x="1220" y="1071"/>
                </a:lnTo>
                <a:lnTo>
                  <a:pt x="1217" y="1080"/>
                </a:lnTo>
                <a:lnTo>
                  <a:pt x="1217" y="1074"/>
                </a:lnTo>
                <a:lnTo>
                  <a:pt x="1217" y="1067"/>
                </a:lnTo>
                <a:lnTo>
                  <a:pt x="1217" y="1060"/>
                </a:lnTo>
                <a:lnTo>
                  <a:pt x="1216" y="1052"/>
                </a:lnTo>
                <a:lnTo>
                  <a:pt x="1213" y="1039"/>
                </a:lnTo>
                <a:lnTo>
                  <a:pt x="1209" y="1030"/>
                </a:lnTo>
                <a:lnTo>
                  <a:pt x="1200" y="1020"/>
                </a:lnTo>
                <a:lnTo>
                  <a:pt x="1190" y="1006"/>
                </a:lnTo>
                <a:lnTo>
                  <a:pt x="1187" y="999"/>
                </a:lnTo>
                <a:lnTo>
                  <a:pt x="1183" y="993"/>
                </a:lnTo>
                <a:lnTo>
                  <a:pt x="1182" y="987"/>
                </a:lnTo>
                <a:lnTo>
                  <a:pt x="1181" y="981"/>
                </a:lnTo>
                <a:lnTo>
                  <a:pt x="1192" y="970"/>
                </a:lnTo>
                <a:lnTo>
                  <a:pt x="1204" y="961"/>
                </a:lnTo>
                <a:lnTo>
                  <a:pt x="1204" y="957"/>
                </a:lnTo>
                <a:lnTo>
                  <a:pt x="1202" y="954"/>
                </a:lnTo>
                <a:lnTo>
                  <a:pt x="1201" y="952"/>
                </a:lnTo>
                <a:lnTo>
                  <a:pt x="1198" y="949"/>
                </a:lnTo>
                <a:lnTo>
                  <a:pt x="1195" y="949"/>
                </a:lnTo>
                <a:lnTo>
                  <a:pt x="1191" y="949"/>
                </a:lnTo>
                <a:lnTo>
                  <a:pt x="1187" y="951"/>
                </a:lnTo>
                <a:lnTo>
                  <a:pt x="1183" y="952"/>
                </a:lnTo>
                <a:lnTo>
                  <a:pt x="1178" y="954"/>
                </a:lnTo>
                <a:lnTo>
                  <a:pt x="1175" y="953"/>
                </a:lnTo>
                <a:lnTo>
                  <a:pt x="1172" y="952"/>
                </a:lnTo>
                <a:lnTo>
                  <a:pt x="1169" y="948"/>
                </a:lnTo>
                <a:lnTo>
                  <a:pt x="1168" y="945"/>
                </a:lnTo>
                <a:lnTo>
                  <a:pt x="1166" y="939"/>
                </a:lnTo>
                <a:lnTo>
                  <a:pt x="1166" y="933"/>
                </a:lnTo>
                <a:lnTo>
                  <a:pt x="1166" y="927"/>
                </a:lnTo>
                <a:lnTo>
                  <a:pt x="1168" y="921"/>
                </a:lnTo>
                <a:lnTo>
                  <a:pt x="1170" y="915"/>
                </a:lnTo>
                <a:lnTo>
                  <a:pt x="1173" y="910"/>
                </a:lnTo>
                <a:lnTo>
                  <a:pt x="1177" y="907"/>
                </a:lnTo>
                <a:lnTo>
                  <a:pt x="1182" y="903"/>
                </a:lnTo>
                <a:lnTo>
                  <a:pt x="1185" y="901"/>
                </a:lnTo>
                <a:lnTo>
                  <a:pt x="1190" y="899"/>
                </a:lnTo>
                <a:lnTo>
                  <a:pt x="1195" y="899"/>
                </a:lnTo>
                <a:lnTo>
                  <a:pt x="1204" y="899"/>
                </a:lnTo>
                <a:lnTo>
                  <a:pt x="1213" y="898"/>
                </a:lnTo>
                <a:lnTo>
                  <a:pt x="1217" y="898"/>
                </a:lnTo>
                <a:lnTo>
                  <a:pt x="1221" y="896"/>
                </a:lnTo>
                <a:lnTo>
                  <a:pt x="1225" y="895"/>
                </a:lnTo>
                <a:lnTo>
                  <a:pt x="1227" y="891"/>
                </a:lnTo>
                <a:lnTo>
                  <a:pt x="1231" y="884"/>
                </a:lnTo>
                <a:lnTo>
                  <a:pt x="1233" y="877"/>
                </a:lnTo>
                <a:lnTo>
                  <a:pt x="1234" y="871"/>
                </a:lnTo>
                <a:lnTo>
                  <a:pt x="1233" y="866"/>
                </a:lnTo>
                <a:lnTo>
                  <a:pt x="1231" y="861"/>
                </a:lnTo>
                <a:lnTo>
                  <a:pt x="1226" y="858"/>
                </a:lnTo>
                <a:lnTo>
                  <a:pt x="1220" y="854"/>
                </a:lnTo>
                <a:lnTo>
                  <a:pt x="1213" y="852"/>
                </a:lnTo>
                <a:lnTo>
                  <a:pt x="1190" y="848"/>
                </a:lnTo>
                <a:lnTo>
                  <a:pt x="1165" y="847"/>
                </a:lnTo>
                <a:lnTo>
                  <a:pt x="1143" y="847"/>
                </a:lnTo>
                <a:lnTo>
                  <a:pt x="1128" y="848"/>
                </a:lnTo>
                <a:lnTo>
                  <a:pt x="1116" y="850"/>
                </a:lnTo>
                <a:lnTo>
                  <a:pt x="1106" y="851"/>
                </a:lnTo>
                <a:lnTo>
                  <a:pt x="1096" y="851"/>
                </a:lnTo>
                <a:lnTo>
                  <a:pt x="1084" y="847"/>
                </a:lnTo>
                <a:lnTo>
                  <a:pt x="1072" y="842"/>
                </a:lnTo>
                <a:lnTo>
                  <a:pt x="1062" y="835"/>
                </a:lnTo>
                <a:lnTo>
                  <a:pt x="1052" y="827"/>
                </a:lnTo>
                <a:lnTo>
                  <a:pt x="1046" y="817"/>
                </a:lnTo>
                <a:lnTo>
                  <a:pt x="1040" y="809"/>
                </a:lnTo>
                <a:lnTo>
                  <a:pt x="1034" y="801"/>
                </a:lnTo>
                <a:lnTo>
                  <a:pt x="1027" y="794"/>
                </a:lnTo>
                <a:lnTo>
                  <a:pt x="1019" y="787"/>
                </a:lnTo>
                <a:lnTo>
                  <a:pt x="1011" y="781"/>
                </a:lnTo>
                <a:lnTo>
                  <a:pt x="1002" y="773"/>
                </a:lnTo>
                <a:lnTo>
                  <a:pt x="994" y="768"/>
                </a:lnTo>
                <a:lnTo>
                  <a:pt x="986" y="759"/>
                </a:lnTo>
                <a:lnTo>
                  <a:pt x="980" y="750"/>
                </a:lnTo>
                <a:lnTo>
                  <a:pt x="975" y="740"/>
                </a:lnTo>
                <a:lnTo>
                  <a:pt x="971" y="731"/>
                </a:lnTo>
                <a:lnTo>
                  <a:pt x="969" y="721"/>
                </a:lnTo>
                <a:lnTo>
                  <a:pt x="968" y="713"/>
                </a:lnTo>
                <a:lnTo>
                  <a:pt x="965" y="706"/>
                </a:lnTo>
                <a:lnTo>
                  <a:pt x="964" y="703"/>
                </a:lnTo>
                <a:lnTo>
                  <a:pt x="962" y="701"/>
                </a:lnTo>
                <a:lnTo>
                  <a:pt x="959" y="700"/>
                </a:lnTo>
                <a:lnTo>
                  <a:pt x="957" y="700"/>
                </a:lnTo>
                <a:lnTo>
                  <a:pt x="955" y="701"/>
                </a:lnTo>
                <a:lnTo>
                  <a:pt x="952" y="702"/>
                </a:lnTo>
                <a:lnTo>
                  <a:pt x="951" y="703"/>
                </a:lnTo>
                <a:lnTo>
                  <a:pt x="950" y="706"/>
                </a:lnTo>
                <a:lnTo>
                  <a:pt x="948" y="710"/>
                </a:lnTo>
                <a:lnTo>
                  <a:pt x="946" y="716"/>
                </a:lnTo>
                <a:lnTo>
                  <a:pt x="944" y="722"/>
                </a:lnTo>
                <a:lnTo>
                  <a:pt x="940" y="727"/>
                </a:lnTo>
                <a:lnTo>
                  <a:pt x="938" y="730"/>
                </a:lnTo>
                <a:lnTo>
                  <a:pt x="935" y="731"/>
                </a:lnTo>
                <a:lnTo>
                  <a:pt x="929" y="731"/>
                </a:lnTo>
                <a:lnTo>
                  <a:pt x="923" y="732"/>
                </a:lnTo>
                <a:lnTo>
                  <a:pt x="916" y="732"/>
                </a:lnTo>
                <a:lnTo>
                  <a:pt x="910" y="733"/>
                </a:lnTo>
                <a:lnTo>
                  <a:pt x="906" y="734"/>
                </a:lnTo>
                <a:lnTo>
                  <a:pt x="902" y="737"/>
                </a:lnTo>
                <a:lnTo>
                  <a:pt x="900" y="738"/>
                </a:lnTo>
                <a:lnTo>
                  <a:pt x="899" y="741"/>
                </a:lnTo>
                <a:lnTo>
                  <a:pt x="899" y="744"/>
                </a:lnTo>
                <a:lnTo>
                  <a:pt x="899" y="747"/>
                </a:lnTo>
                <a:lnTo>
                  <a:pt x="898" y="751"/>
                </a:lnTo>
                <a:lnTo>
                  <a:pt x="898" y="754"/>
                </a:lnTo>
                <a:lnTo>
                  <a:pt x="895" y="757"/>
                </a:lnTo>
                <a:lnTo>
                  <a:pt x="894" y="759"/>
                </a:lnTo>
                <a:lnTo>
                  <a:pt x="892" y="762"/>
                </a:lnTo>
                <a:lnTo>
                  <a:pt x="888" y="763"/>
                </a:lnTo>
                <a:lnTo>
                  <a:pt x="886" y="764"/>
                </a:lnTo>
                <a:lnTo>
                  <a:pt x="882" y="764"/>
                </a:lnTo>
                <a:lnTo>
                  <a:pt x="874" y="764"/>
                </a:lnTo>
                <a:lnTo>
                  <a:pt x="868" y="765"/>
                </a:lnTo>
                <a:lnTo>
                  <a:pt x="866" y="768"/>
                </a:lnTo>
                <a:lnTo>
                  <a:pt x="864" y="770"/>
                </a:lnTo>
                <a:lnTo>
                  <a:pt x="864" y="773"/>
                </a:lnTo>
                <a:lnTo>
                  <a:pt x="866" y="777"/>
                </a:lnTo>
                <a:lnTo>
                  <a:pt x="870" y="785"/>
                </a:lnTo>
                <a:lnTo>
                  <a:pt x="877" y="794"/>
                </a:lnTo>
                <a:lnTo>
                  <a:pt x="885" y="801"/>
                </a:lnTo>
                <a:lnTo>
                  <a:pt x="893" y="807"/>
                </a:lnTo>
                <a:lnTo>
                  <a:pt x="896" y="809"/>
                </a:lnTo>
                <a:lnTo>
                  <a:pt x="899" y="813"/>
                </a:lnTo>
                <a:lnTo>
                  <a:pt x="901" y="816"/>
                </a:lnTo>
                <a:lnTo>
                  <a:pt x="902" y="820"/>
                </a:lnTo>
                <a:lnTo>
                  <a:pt x="902" y="823"/>
                </a:lnTo>
                <a:lnTo>
                  <a:pt x="902" y="827"/>
                </a:lnTo>
                <a:lnTo>
                  <a:pt x="900" y="829"/>
                </a:lnTo>
                <a:lnTo>
                  <a:pt x="898" y="831"/>
                </a:lnTo>
                <a:lnTo>
                  <a:pt x="880" y="833"/>
                </a:lnTo>
                <a:lnTo>
                  <a:pt x="864" y="836"/>
                </a:lnTo>
                <a:lnTo>
                  <a:pt x="860" y="839"/>
                </a:lnTo>
                <a:lnTo>
                  <a:pt x="853" y="839"/>
                </a:lnTo>
                <a:lnTo>
                  <a:pt x="849" y="839"/>
                </a:lnTo>
                <a:lnTo>
                  <a:pt x="847" y="838"/>
                </a:lnTo>
                <a:lnTo>
                  <a:pt x="843" y="836"/>
                </a:lnTo>
                <a:lnTo>
                  <a:pt x="841" y="834"/>
                </a:lnTo>
                <a:lnTo>
                  <a:pt x="836" y="829"/>
                </a:lnTo>
                <a:lnTo>
                  <a:pt x="832" y="828"/>
                </a:lnTo>
                <a:lnTo>
                  <a:pt x="831" y="831"/>
                </a:lnTo>
                <a:lnTo>
                  <a:pt x="830" y="838"/>
                </a:lnTo>
                <a:lnTo>
                  <a:pt x="830" y="846"/>
                </a:lnTo>
                <a:lnTo>
                  <a:pt x="828" y="853"/>
                </a:lnTo>
                <a:lnTo>
                  <a:pt x="825" y="859"/>
                </a:lnTo>
                <a:lnTo>
                  <a:pt x="820" y="865"/>
                </a:lnTo>
                <a:lnTo>
                  <a:pt x="814" y="873"/>
                </a:lnTo>
                <a:lnTo>
                  <a:pt x="810" y="883"/>
                </a:lnTo>
                <a:lnTo>
                  <a:pt x="803" y="894"/>
                </a:lnTo>
                <a:lnTo>
                  <a:pt x="792" y="905"/>
                </a:lnTo>
                <a:lnTo>
                  <a:pt x="785" y="911"/>
                </a:lnTo>
                <a:lnTo>
                  <a:pt x="779" y="915"/>
                </a:lnTo>
                <a:lnTo>
                  <a:pt x="774" y="917"/>
                </a:lnTo>
                <a:lnTo>
                  <a:pt x="768" y="919"/>
                </a:lnTo>
                <a:lnTo>
                  <a:pt x="763" y="919"/>
                </a:lnTo>
                <a:lnTo>
                  <a:pt x="759" y="917"/>
                </a:lnTo>
                <a:lnTo>
                  <a:pt x="754" y="915"/>
                </a:lnTo>
                <a:lnTo>
                  <a:pt x="748" y="911"/>
                </a:lnTo>
                <a:lnTo>
                  <a:pt x="742" y="909"/>
                </a:lnTo>
                <a:lnTo>
                  <a:pt x="736" y="909"/>
                </a:lnTo>
                <a:lnTo>
                  <a:pt x="729" y="910"/>
                </a:lnTo>
                <a:lnTo>
                  <a:pt x="723" y="913"/>
                </a:lnTo>
                <a:lnTo>
                  <a:pt x="716" y="916"/>
                </a:lnTo>
                <a:lnTo>
                  <a:pt x="710" y="921"/>
                </a:lnTo>
                <a:lnTo>
                  <a:pt x="704" y="927"/>
                </a:lnTo>
                <a:lnTo>
                  <a:pt x="699" y="933"/>
                </a:lnTo>
                <a:lnTo>
                  <a:pt x="696" y="939"/>
                </a:lnTo>
                <a:lnTo>
                  <a:pt x="692" y="947"/>
                </a:lnTo>
                <a:lnTo>
                  <a:pt x="690" y="954"/>
                </a:lnTo>
                <a:lnTo>
                  <a:pt x="688" y="964"/>
                </a:lnTo>
                <a:lnTo>
                  <a:pt x="688" y="971"/>
                </a:lnTo>
                <a:lnTo>
                  <a:pt x="690" y="979"/>
                </a:lnTo>
                <a:lnTo>
                  <a:pt x="692" y="985"/>
                </a:lnTo>
                <a:lnTo>
                  <a:pt x="697" y="990"/>
                </a:lnTo>
                <a:lnTo>
                  <a:pt x="710" y="1001"/>
                </a:lnTo>
                <a:lnTo>
                  <a:pt x="726" y="1014"/>
                </a:lnTo>
                <a:lnTo>
                  <a:pt x="735" y="1018"/>
                </a:lnTo>
                <a:lnTo>
                  <a:pt x="740" y="1023"/>
                </a:lnTo>
                <a:lnTo>
                  <a:pt x="743" y="1029"/>
                </a:lnTo>
                <a:lnTo>
                  <a:pt x="746" y="1037"/>
                </a:lnTo>
                <a:lnTo>
                  <a:pt x="746" y="1049"/>
                </a:lnTo>
                <a:lnTo>
                  <a:pt x="746" y="1062"/>
                </a:lnTo>
                <a:lnTo>
                  <a:pt x="743" y="1074"/>
                </a:lnTo>
                <a:lnTo>
                  <a:pt x="740" y="1086"/>
                </a:lnTo>
                <a:lnTo>
                  <a:pt x="735" y="1096"/>
                </a:lnTo>
                <a:lnTo>
                  <a:pt x="730" y="1104"/>
                </a:lnTo>
                <a:lnTo>
                  <a:pt x="724" y="1110"/>
                </a:lnTo>
                <a:lnTo>
                  <a:pt x="719" y="1113"/>
                </a:lnTo>
                <a:lnTo>
                  <a:pt x="713" y="1116"/>
                </a:lnTo>
                <a:lnTo>
                  <a:pt x="709" y="1117"/>
                </a:lnTo>
                <a:lnTo>
                  <a:pt x="702" y="1117"/>
                </a:lnTo>
                <a:lnTo>
                  <a:pt x="693" y="1118"/>
                </a:lnTo>
                <a:lnTo>
                  <a:pt x="685" y="1121"/>
                </a:lnTo>
                <a:lnTo>
                  <a:pt x="674" y="1124"/>
                </a:lnTo>
                <a:lnTo>
                  <a:pt x="661" y="1132"/>
                </a:lnTo>
                <a:lnTo>
                  <a:pt x="642" y="1144"/>
                </a:lnTo>
                <a:lnTo>
                  <a:pt x="624" y="1156"/>
                </a:lnTo>
                <a:lnTo>
                  <a:pt x="609" y="1167"/>
                </a:lnTo>
                <a:lnTo>
                  <a:pt x="604" y="1170"/>
                </a:lnTo>
                <a:lnTo>
                  <a:pt x="600" y="1176"/>
                </a:lnTo>
                <a:lnTo>
                  <a:pt x="598" y="1181"/>
                </a:lnTo>
                <a:lnTo>
                  <a:pt x="597" y="1186"/>
                </a:lnTo>
                <a:lnTo>
                  <a:pt x="597" y="1192"/>
                </a:lnTo>
                <a:lnTo>
                  <a:pt x="598" y="1197"/>
                </a:lnTo>
                <a:lnTo>
                  <a:pt x="599" y="1201"/>
                </a:lnTo>
                <a:lnTo>
                  <a:pt x="602" y="1206"/>
                </a:lnTo>
                <a:lnTo>
                  <a:pt x="608" y="1216"/>
                </a:lnTo>
                <a:lnTo>
                  <a:pt x="617" y="1228"/>
                </a:lnTo>
                <a:lnTo>
                  <a:pt x="627" y="1239"/>
                </a:lnTo>
                <a:lnTo>
                  <a:pt x="633" y="1249"/>
                </a:lnTo>
                <a:lnTo>
                  <a:pt x="636" y="1257"/>
                </a:lnTo>
                <a:lnTo>
                  <a:pt x="639" y="1263"/>
                </a:lnTo>
                <a:lnTo>
                  <a:pt x="637" y="1266"/>
                </a:lnTo>
                <a:lnTo>
                  <a:pt x="636" y="1268"/>
                </a:lnTo>
                <a:lnTo>
                  <a:pt x="635" y="1269"/>
                </a:lnTo>
                <a:lnTo>
                  <a:pt x="631" y="1270"/>
                </a:lnTo>
                <a:lnTo>
                  <a:pt x="623" y="1272"/>
                </a:lnTo>
                <a:lnTo>
                  <a:pt x="617" y="1274"/>
                </a:lnTo>
                <a:lnTo>
                  <a:pt x="614" y="1276"/>
                </a:lnTo>
                <a:lnTo>
                  <a:pt x="612" y="1279"/>
                </a:lnTo>
                <a:lnTo>
                  <a:pt x="611" y="1281"/>
                </a:lnTo>
                <a:lnTo>
                  <a:pt x="611" y="1286"/>
                </a:lnTo>
                <a:lnTo>
                  <a:pt x="614" y="1294"/>
                </a:lnTo>
                <a:lnTo>
                  <a:pt x="620" y="1302"/>
                </a:lnTo>
                <a:lnTo>
                  <a:pt x="623" y="1307"/>
                </a:lnTo>
                <a:lnTo>
                  <a:pt x="625" y="1312"/>
                </a:lnTo>
                <a:lnTo>
                  <a:pt x="628" y="1317"/>
                </a:lnTo>
                <a:lnTo>
                  <a:pt x="629" y="1321"/>
                </a:lnTo>
                <a:lnTo>
                  <a:pt x="631" y="1331"/>
                </a:lnTo>
                <a:lnTo>
                  <a:pt x="633" y="1342"/>
                </a:lnTo>
                <a:lnTo>
                  <a:pt x="635" y="1348"/>
                </a:lnTo>
                <a:lnTo>
                  <a:pt x="637" y="1351"/>
                </a:lnTo>
                <a:lnTo>
                  <a:pt x="640" y="1356"/>
                </a:lnTo>
                <a:lnTo>
                  <a:pt x="643" y="1358"/>
                </a:lnTo>
                <a:lnTo>
                  <a:pt x="648" y="1359"/>
                </a:lnTo>
                <a:lnTo>
                  <a:pt x="654" y="1361"/>
                </a:lnTo>
                <a:lnTo>
                  <a:pt x="662" y="1362"/>
                </a:lnTo>
                <a:lnTo>
                  <a:pt x="669" y="1362"/>
                </a:lnTo>
                <a:lnTo>
                  <a:pt x="677" y="1361"/>
                </a:lnTo>
                <a:lnTo>
                  <a:pt x="684" y="1361"/>
                </a:lnTo>
                <a:lnTo>
                  <a:pt x="686" y="1361"/>
                </a:lnTo>
                <a:lnTo>
                  <a:pt x="688" y="1362"/>
                </a:lnTo>
                <a:lnTo>
                  <a:pt x="691" y="1363"/>
                </a:lnTo>
                <a:lnTo>
                  <a:pt x="693" y="1367"/>
                </a:lnTo>
                <a:lnTo>
                  <a:pt x="697" y="1371"/>
                </a:lnTo>
                <a:lnTo>
                  <a:pt x="700" y="1377"/>
                </a:lnTo>
                <a:lnTo>
                  <a:pt x="705" y="1382"/>
                </a:lnTo>
                <a:lnTo>
                  <a:pt x="710" y="1387"/>
                </a:lnTo>
                <a:lnTo>
                  <a:pt x="716" y="1389"/>
                </a:lnTo>
                <a:lnTo>
                  <a:pt x="721" y="1389"/>
                </a:lnTo>
                <a:lnTo>
                  <a:pt x="726" y="1389"/>
                </a:lnTo>
                <a:lnTo>
                  <a:pt x="732" y="1388"/>
                </a:lnTo>
                <a:lnTo>
                  <a:pt x="742" y="1384"/>
                </a:lnTo>
                <a:lnTo>
                  <a:pt x="748" y="1381"/>
                </a:lnTo>
                <a:lnTo>
                  <a:pt x="755" y="1375"/>
                </a:lnTo>
                <a:lnTo>
                  <a:pt x="761" y="1370"/>
                </a:lnTo>
                <a:lnTo>
                  <a:pt x="769" y="1363"/>
                </a:lnTo>
                <a:lnTo>
                  <a:pt x="778" y="1357"/>
                </a:lnTo>
                <a:lnTo>
                  <a:pt x="785" y="1354"/>
                </a:lnTo>
                <a:lnTo>
                  <a:pt x="792" y="1351"/>
                </a:lnTo>
                <a:lnTo>
                  <a:pt x="799" y="1350"/>
                </a:lnTo>
                <a:lnTo>
                  <a:pt x="811" y="1349"/>
                </a:lnTo>
                <a:lnTo>
                  <a:pt x="823" y="1348"/>
                </a:lnTo>
                <a:lnTo>
                  <a:pt x="835" y="1346"/>
                </a:lnTo>
                <a:lnTo>
                  <a:pt x="843" y="1346"/>
                </a:lnTo>
                <a:lnTo>
                  <a:pt x="849" y="1346"/>
                </a:lnTo>
                <a:lnTo>
                  <a:pt x="855" y="1346"/>
                </a:lnTo>
                <a:lnTo>
                  <a:pt x="860" y="1349"/>
                </a:lnTo>
                <a:lnTo>
                  <a:pt x="862" y="1351"/>
                </a:lnTo>
                <a:lnTo>
                  <a:pt x="866" y="1355"/>
                </a:lnTo>
                <a:lnTo>
                  <a:pt x="868" y="1361"/>
                </a:lnTo>
                <a:lnTo>
                  <a:pt x="870" y="1368"/>
                </a:lnTo>
                <a:lnTo>
                  <a:pt x="873" y="1378"/>
                </a:lnTo>
                <a:lnTo>
                  <a:pt x="877" y="1389"/>
                </a:lnTo>
                <a:lnTo>
                  <a:pt x="880" y="1395"/>
                </a:lnTo>
                <a:lnTo>
                  <a:pt x="883" y="1400"/>
                </a:lnTo>
                <a:lnTo>
                  <a:pt x="886" y="1403"/>
                </a:lnTo>
                <a:lnTo>
                  <a:pt x="889" y="1407"/>
                </a:lnTo>
                <a:lnTo>
                  <a:pt x="894" y="1409"/>
                </a:lnTo>
                <a:lnTo>
                  <a:pt x="898" y="1411"/>
                </a:lnTo>
                <a:lnTo>
                  <a:pt x="901" y="1411"/>
                </a:lnTo>
                <a:lnTo>
                  <a:pt x="906" y="1411"/>
                </a:lnTo>
                <a:lnTo>
                  <a:pt x="910" y="1411"/>
                </a:lnTo>
                <a:lnTo>
                  <a:pt x="913" y="1409"/>
                </a:lnTo>
                <a:lnTo>
                  <a:pt x="917" y="1407"/>
                </a:lnTo>
                <a:lnTo>
                  <a:pt x="919" y="1403"/>
                </a:lnTo>
                <a:lnTo>
                  <a:pt x="923" y="1398"/>
                </a:lnTo>
                <a:lnTo>
                  <a:pt x="929" y="1389"/>
                </a:lnTo>
                <a:lnTo>
                  <a:pt x="935" y="1382"/>
                </a:lnTo>
                <a:lnTo>
                  <a:pt x="942" y="1375"/>
                </a:lnTo>
                <a:lnTo>
                  <a:pt x="952" y="1365"/>
                </a:lnTo>
                <a:lnTo>
                  <a:pt x="962" y="1356"/>
                </a:lnTo>
                <a:lnTo>
                  <a:pt x="970" y="1346"/>
                </a:lnTo>
                <a:lnTo>
                  <a:pt x="977" y="1339"/>
                </a:lnTo>
                <a:lnTo>
                  <a:pt x="981" y="1337"/>
                </a:lnTo>
                <a:lnTo>
                  <a:pt x="984" y="1336"/>
                </a:lnTo>
                <a:lnTo>
                  <a:pt x="988" y="1335"/>
                </a:lnTo>
                <a:lnTo>
                  <a:pt x="992" y="1333"/>
                </a:lnTo>
                <a:lnTo>
                  <a:pt x="999" y="1333"/>
                </a:lnTo>
                <a:lnTo>
                  <a:pt x="1007" y="1336"/>
                </a:lnTo>
                <a:lnTo>
                  <a:pt x="1011" y="1337"/>
                </a:lnTo>
                <a:lnTo>
                  <a:pt x="1014" y="1337"/>
                </a:lnTo>
                <a:lnTo>
                  <a:pt x="1018" y="1337"/>
                </a:lnTo>
                <a:lnTo>
                  <a:pt x="1020" y="1336"/>
                </a:lnTo>
                <a:lnTo>
                  <a:pt x="1026" y="1331"/>
                </a:lnTo>
                <a:lnTo>
                  <a:pt x="1032" y="1325"/>
                </a:lnTo>
                <a:lnTo>
                  <a:pt x="1034" y="1323"/>
                </a:lnTo>
                <a:lnTo>
                  <a:pt x="1037" y="1321"/>
                </a:lnTo>
                <a:lnTo>
                  <a:pt x="1039" y="1321"/>
                </a:lnTo>
                <a:lnTo>
                  <a:pt x="1042" y="1323"/>
                </a:lnTo>
                <a:lnTo>
                  <a:pt x="1046" y="1326"/>
                </a:lnTo>
                <a:lnTo>
                  <a:pt x="1051" y="1331"/>
                </a:lnTo>
                <a:lnTo>
                  <a:pt x="1055" y="1333"/>
                </a:lnTo>
                <a:lnTo>
                  <a:pt x="1058" y="1333"/>
                </a:lnTo>
                <a:lnTo>
                  <a:pt x="1063" y="1332"/>
                </a:lnTo>
                <a:lnTo>
                  <a:pt x="1066" y="1329"/>
                </a:lnTo>
                <a:lnTo>
                  <a:pt x="1065" y="1331"/>
                </a:lnTo>
                <a:lnTo>
                  <a:pt x="1065" y="1335"/>
                </a:lnTo>
                <a:lnTo>
                  <a:pt x="1065" y="1340"/>
                </a:lnTo>
                <a:lnTo>
                  <a:pt x="1065" y="1346"/>
                </a:lnTo>
                <a:lnTo>
                  <a:pt x="1070" y="1373"/>
                </a:lnTo>
                <a:lnTo>
                  <a:pt x="1074" y="1406"/>
                </a:lnTo>
                <a:lnTo>
                  <a:pt x="1078" y="1443"/>
                </a:lnTo>
                <a:lnTo>
                  <a:pt x="1082" y="1480"/>
                </a:lnTo>
                <a:lnTo>
                  <a:pt x="1087" y="1509"/>
                </a:lnTo>
                <a:lnTo>
                  <a:pt x="1091" y="1537"/>
                </a:lnTo>
                <a:lnTo>
                  <a:pt x="1093" y="1548"/>
                </a:lnTo>
                <a:lnTo>
                  <a:pt x="1094" y="1559"/>
                </a:lnTo>
                <a:lnTo>
                  <a:pt x="1094" y="1567"/>
                </a:lnTo>
                <a:lnTo>
                  <a:pt x="1091" y="1573"/>
                </a:lnTo>
                <a:lnTo>
                  <a:pt x="1090" y="1577"/>
                </a:lnTo>
                <a:lnTo>
                  <a:pt x="1087" y="1578"/>
                </a:lnTo>
                <a:lnTo>
                  <a:pt x="1083" y="1581"/>
                </a:lnTo>
                <a:lnTo>
                  <a:pt x="1078" y="1581"/>
                </a:lnTo>
                <a:lnTo>
                  <a:pt x="1069" y="1582"/>
                </a:lnTo>
                <a:lnTo>
                  <a:pt x="1059" y="1582"/>
                </a:lnTo>
                <a:lnTo>
                  <a:pt x="1055" y="1583"/>
                </a:lnTo>
                <a:lnTo>
                  <a:pt x="1051" y="1584"/>
                </a:lnTo>
                <a:lnTo>
                  <a:pt x="1050" y="1585"/>
                </a:lnTo>
                <a:lnTo>
                  <a:pt x="1049" y="1588"/>
                </a:lnTo>
                <a:lnTo>
                  <a:pt x="1049" y="1595"/>
                </a:lnTo>
                <a:lnTo>
                  <a:pt x="1050" y="1603"/>
                </a:lnTo>
                <a:lnTo>
                  <a:pt x="1051" y="1614"/>
                </a:lnTo>
                <a:lnTo>
                  <a:pt x="1052" y="1627"/>
                </a:lnTo>
                <a:lnTo>
                  <a:pt x="1052" y="1640"/>
                </a:lnTo>
                <a:lnTo>
                  <a:pt x="1053" y="1654"/>
                </a:lnTo>
                <a:lnTo>
                  <a:pt x="1053" y="1664"/>
                </a:lnTo>
                <a:lnTo>
                  <a:pt x="1055" y="1674"/>
                </a:lnTo>
                <a:lnTo>
                  <a:pt x="1057" y="1684"/>
                </a:lnTo>
                <a:lnTo>
                  <a:pt x="1059" y="1693"/>
                </a:lnTo>
                <a:lnTo>
                  <a:pt x="1063" y="1703"/>
                </a:lnTo>
                <a:lnTo>
                  <a:pt x="1068" y="1710"/>
                </a:lnTo>
                <a:lnTo>
                  <a:pt x="1074" y="1716"/>
                </a:lnTo>
                <a:lnTo>
                  <a:pt x="1081" y="1721"/>
                </a:lnTo>
                <a:lnTo>
                  <a:pt x="1091" y="1723"/>
                </a:lnTo>
                <a:lnTo>
                  <a:pt x="1103" y="1724"/>
                </a:lnTo>
                <a:lnTo>
                  <a:pt x="1116" y="1724"/>
                </a:lnTo>
                <a:lnTo>
                  <a:pt x="1131" y="1723"/>
                </a:lnTo>
                <a:lnTo>
                  <a:pt x="1144" y="1723"/>
                </a:lnTo>
                <a:lnTo>
                  <a:pt x="1154" y="1724"/>
                </a:lnTo>
                <a:lnTo>
                  <a:pt x="1158" y="1724"/>
                </a:lnTo>
                <a:lnTo>
                  <a:pt x="1162" y="1727"/>
                </a:lnTo>
                <a:lnTo>
                  <a:pt x="1164" y="1728"/>
                </a:lnTo>
                <a:lnTo>
                  <a:pt x="1165" y="1731"/>
                </a:lnTo>
                <a:lnTo>
                  <a:pt x="1169" y="1748"/>
                </a:lnTo>
                <a:lnTo>
                  <a:pt x="1173" y="1765"/>
                </a:lnTo>
                <a:lnTo>
                  <a:pt x="1176" y="1771"/>
                </a:lnTo>
                <a:lnTo>
                  <a:pt x="1179" y="1774"/>
                </a:lnTo>
                <a:lnTo>
                  <a:pt x="1182" y="1775"/>
                </a:lnTo>
                <a:lnTo>
                  <a:pt x="1184" y="1775"/>
                </a:lnTo>
                <a:lnTo>
                  <a:pt x="1187" y="1775"/>
                </a:lnTo>
                <a:lnTo>
                  <a:pt x="1190" y="1773"/>
                </a:lnTo>
                <a:lnTo>
                  <a:pt x="1196" y="1770"/>
                </a:lnTo>
                <a:lnTo>
                  <a:pt x="1202" y="1765"/>
                </a:lnTo>
                <a:lnTo>
                  <a:pt x="1208" y="1760"/>
                </a:lnTo>
                <a:lnTo>
                  <a:pt x="1215" y="1759"/>
                </a:lnTo>
                <a:lnTo>
                  <a:pt x="1221" y="1758"/>
                </a:lnTo>
                <a:lnTo>
                  <a:pt x="1227" y="1759"/>
                </a:lnTo>
                <a:lnTo>
                  <a:pt x="1231" y="1760"/>
                </a:lnTo>
                <a:lnTo>
                  <a:pt x="1233" y="1762"/>
                </a:lnTo>
                <a:lnTo>
                  <a:pt x="1235" y="1765"/>
                </a:lnTo>
                <a:lnTo>
                  <a:pt x="1238" y="1768"/>
                </a:lnTo>
                <a:lnTo>
                  <a:pt x="1239" y="1771"/>
                </a:lnTo>
                <a:lnTo>
                  <a:pt x="1241" y="1772"/>
                </a:lnTo>
                <a:lnTo>
                  <a:pt x="1244" y="1773"/>
                </a:lnTo>
                <a:lnTo>
                  <a:pt x="1246" y="1774"/>
                </a:lnTo>
                <a:lnTo>
                  <a:pt x="1252" y="1773"/>
                </a:lnTo>
                <a:lnTo>
                  <a:pt x="1259" y="1772"/>
                </a:lnTo>
                <a:lnTo>
                  <a:pt x="1272" y="1765"/>
                </a:lnTo>
                <a:lnTo>
                  <a:pt x="1284" y="1759"/>
                </a:lnTo>
                <a:lnTo>
                  <a:pt x="1294" y="1754"/>
                </a:lnTo>
                <a:lnTo>
                  <a:pt x="1304" y="1751"/>
                </a:lnTo>
                <a:lnTo>
                  <a:pt x="1316" y="1746"/>
                </a:lnTo>
                <a:lnTo>
                  <a:pt x="1328" y="1743"/>
                </a:lnTo>
                <a:lnTo>
                  <a:pt x="1328" y="1742"/>
                </a:lnTo>
                <a:lnTo>
                  <a:pt x="1328" y="1741"/>
                </a:lnTo>
                <a:lnTo>
                  <a:pt x="1329" y="1749"/>
                </a:lnTo>
                <a:lnTo>
                  <a:pt x="1330" y="1758"/>
                </a:lnTo>
                <a:lnTo>
                  <a:pt x="1334" y="1762"/>
                </a:lnTo>
                <a:lnTo>
                  <a:pt x="1339" y="1766"/>
                </a:lnTo>
                <a:lnTo>
                  <a:pt x="1345" y="1771"/>
                </a:lnTo>
                <a:lnTo>
                  <a:pt x="1351" y="1778"/>
                </a:lnTo>
                <a:lnTo>
                  <a:pt x="1357" y="1789"/>
                </a:lnTo>
                <a:lnTo>
                  <a:pt x="1364" y="1803"/>
                </a:lnTo>
                <a:lnTo>
                  <a:pt x="1374" y="1821"/>
                </a:lnTo>
                <a:lnTo>
                  <a:pt x="1387" y="1840"/>
                </a:lnTo>
                <a:lnTo>
                  <a:pt x="1401" y="1856"/>
                </a:lnTo>
                <a:lnTo>
                  <a:pt x="1412" y="1871"/>
                </a:lnTo>
                <a:lnTo>
                  <a:pt x="1417" y="1877"/>
                </a:lnTo>
                <a:lnTo>
                  <a:pt x="1421" y="1882"/>
                </a:lnTo>
                <a:lnTo>
                  <a:pt x="1422" y="1887"/>
                </a:lnTo>
                <a:lnTo>
                  <a:pt x="1422" y="1893"/>
                </a:lnTo>
                <a:lnTo>
                  <a:pt x="1421" y="1897"/>
                </a:lnTo>
                <a:lnTo>
                  <a:pt x="1418" y="1901"/>
                </a:lnTo>
                <a:lnTo>
                  <a:pt x="1414" y="1904"/>
                </a:lnTo>
                <a:lnTo>
                  <a:pt x="1408" y="1906"/>
                </a:lnTo>
                <a:lnTo>
                  <a:pt x="1402" y="1909"/>
                </a:lnTo>
                <a:lnTo>
                  <a:pt x="1396" y="1911"/>
                </a:lnTo>
                <a:lnTo>
                  <a:pt x="1392" y="1915"/>
                </a:lnTo>
                <a:lnTo>
                  <a:pt x="1390" y="1918"/>
                </a:lnTo>
                <a:lnTo>
                  <a:pt x="1387" y="1920"/>
                </a:lnTo>
                <a:lnTo>
                  <a:pt x="1387" y="1923"/>
                </a:lnTo>
                <a:lnTo>
                  <a:pt x="1389" y="1925"/>
                </a:lnTo>
                <a:lnTo>
                  <a:pt x="1391" y="1925"/>
                </a:lnTo>
                <a:lnTo>
                  <a:pt x="1402" y="1920"/>
                </a:lnTo>
                <a:lnTo>
                  <a:pt x="1417" y="1913"/>
                </a:lnTo>
                <a:lnTo>
                  <a:pt x="1420" y="1913"/>
                </a:lnTo>
                <a:lnTo>
                  <a:pt x="1422" y="1913"/>
                </a:lnTo>
                <a:close/>
                <a:moveTo>
                  <a:pt x="1203" y="1091"/>
                </a:moveTo>
                <a:lnTo>
                  <a:pt x="1198" y="1092"/>
                </a:lnTo>
                <a:lnTo>
                  <a:pt x="1195" y="1092"/>
                </a:lnTo>
                <a:lnTo>
                  <a:pt x="1198" y="1091"/>
                </a:lnTo>
                <a:lnTo>
                  <a:pt x="1202" y="1091"/>
                </a:lnTo>
                <a:lnTo>
                  <a:pt x="1203" y="1091"/>
                </a:lnTo>
                <a:lnTo>
                  <a:pt x="1203" y="1091"/>
                </a:lnTo>
                <a:close/>
                <a:moveTo>
                  <a:pt x="1169" y="1116"/>
                </a:moveTo>
                <a:lnTo>
                  <a:pt x="1169" y="1116"/>
                </a:lnTo>
                <a:lnTo>
                  <a:pt x="1168" y="1117"/>
                </a:lnTo>
                <a:lnTo>
                  <a:pt x="1169" y="1121"/>
                </a:lnTo>
                <a:lnTo>
                  <a:pt x="1170" y="1129"/>
                </a:lnTo>
                <a:lnTo>
                  <a:pt x="1171" y="1134"/>
                </a:lnTo>
                <a:lnTo>
                  <a:pt x="1171" y="1140"/>
                </a:lnTo>
                <a:lnTo>
                  <a:pt x="1171" y="1147"/>
                </a:lnTo>
                <a:lnTo>
                  <a:pt x="1170" y="1153"/>
                </a:lnTo>
                <a:lnTo>
                  <a:pt x="1163" y="1173"/>
                </a:lnTo>
                <a:lnTo>
                  <a:pt x="1159" y="1180"/>
                </a:lnTo>
                <a:lnTo>
                  <a:pt x="1159" y="1182"/>
                </a:lnTo>
                <a:lnTo>
                  <a:pt x="1159" y="1187"/>
                </a:lnTo>
                <a:lnTo>
                  <a:pt x="1159" y="1191"/>
                </a:lnTo>
                <a:lnTo>
                  <a:pt x="1160" y="1193"/>
                </a:lnTo>
                <a:lnTo>
                  <a:pt x="1163" y="1195"/>
                </a:lnTo>
                <a:lnTo>
                  <a:pt x="1165" y="1198"/>
                </a:lnTo>
                <a:lnTo>
                  <a:pt x="1173" y="1203"/>
                </a:lnTo>
                <a:lnTo>
                  <a:pt x="1183" y="1209"/>
                </a:lnTo>
                <a:lnTo>
                  <a:pt x="1187" y="1212"/>
                </a:lnTo>
                <a:lnTo>
                  <a:pt x="1189" y="1214"/>
                </a:lnTo>
                <a:lnTo>
                  <a:pt x="1191" y="1217"/>
                </a:lnTo>
                <a:lnTo>
                  <a:pt x="1190" y="1217"/>
                </a:lnTo>
                <a:lnTo>
                  <a:pt x="1185" y="1219"/>
                </a:lnTo>
                <a:lnTo>
                  <a:pt x="1181" y="1222"/>
                </a:lnTo>
                <a:lnTo>
                  <a:pt x="1178" y="1223"/>
                </a:lnTo>
                <a:lnTo>
                  <a:pt x="1176" y="1225"/>
                </a:lnTo>
                <a:lnTo>
                  <a:pt x="1175" y="1226"/>
                </a:lnTo>
                <a:lnTo>
                  <a:pt x="1175" y="1229"/>
                </a:lnTo>
                <a:lnTo>
                  <a:pt x="1175" y="1237"/>
                </a:lnTo>
                <a:lnTo>
                  <a:pt x="1177" y="1249"/>
                </a:lnTo>
                <a:lnTo>
                  <a:pt x="1178" y="1263"/>
                </a:lnTo>
                <a:lnTo>
                  <a:pt x="1179" y="1274"/>
                </a:lnTo>
                <a:lnTo>
                  <a:pt x="1179" y="1285"/>
                </a:lnTo>
                <a:lnTo>
                  <a:pt x="1177" y="1296"/>
                </a:lnTo>
                <a:lnTo>
                  <a:pt x="1175" y="1302"/>
                </a:lnTo>
                <a:lnTo>
                  <a:pt x="1172" y="1307"/>
                </a:lnTo>
                <a:lnTo>
                  <a:pt x="1170" y="1311"/>
                </a:lnTo>
                <a:lnTo>
                  <a:pt x="1166" y="1314"/>
                </a:lnTo>
                <a:lnTo>
                  <a:pt x="1162" y="1317"/>
                </a:lnTo>
                <a:lnTo>
                  <a:pt x="1157" y="1319"/>
                </a:lnTo>
                <a:lnTo>
                  <a:pt x="1150" y="1321"/>
                </a:lnTo>
                <a:lnTo>
                  <a:pt x="1143" y="1323"/>
                </a:lnTo>
                <a:lnTo>
                  <a:pt x="1129" y="1325"/>
                </a:lnTo>
                <a:lnTo>
                  <a:pt x="1119" y="1327"/>
                </a:lnTo>
                <a:lnTo>
                  <a:pt x="1113" y="1329"/>
                </a:lnTo>
                <a:lnTo>
                  <a:pt x="1107" y="1329"/>
                </a:lnTo>
                <a:lnTo>
                  <a:pt x="1105" y="1327"/>
                </a:lnTo>
                <a:lnTo>
                  <a:pt x="1103" y="1326"/>
                </a:lnTo>
                <a:lnTo>
                  <a:pt x="1101" y="1324"/>
                </a:lnTo>
                <a:lnTo>
                  <a:pt x="1100" y="1320"/>
                </a:lnTo>
                <a:lnTo>
                  <a:pt x="1096" y="1315"/>
                </a:lnTo>
                <a:lnTo>
                  <a:pt x="1094" y="1311"/>
                </a:lnTo>
                <a:lnTo>
                  <a:pt x="1090" y="1308"/>
                </a:lnTo>
                <a:lnTo>
                  <a:pt x="1085" y="1308"/>
                </a:lnTo>
                <a:lnTo>
                  <a:pt x="1078" y="1308"/>
                </a:lnTo>
                <a:lnTo>
                  <a:pt x="1076" y="1310"/>
                </a:lnTo>
                <a:lnTo>
                  <a:pt x="1076" y="1310"/>
                </a:lnTo>
                <a:lnTo>
                  <a:pt x="1076" y="1308"/>
                </a:lnTo>
                <a:lnTo>
                  <a:pt x="1077" y="1293"/>
                </a:lnTo>
                <a:lnTo>
                  <a:pt x="1080" y="1280"/>
                </a:lnTo>
                <a:lnTo>
                  <a:pt x="1084" y="1268"/>
                </a:lnTo>
                <a:lnTo>
                  <a:pt x="1090" y="1256"/>
                </a:lnTo>
                <a:lnTo>
                  <a:pt x="1097" y="1248"/>
                </a:lnTo>
                <a:lnTo>
                  <a:pt x="1101" y="1242"/>
                </a:lnTo>
                <a:lnTo>
                  <a:pt x="1100" y="1239"/>
                </a:lnTo>
                <a:lnTo>
                  <a:pt x="1099" y="1237"/>
                </a:lnTo>
                <a:lnTo>
                  <a:pt x="1094" y="1235"/>
                </a:lnTo>
                <a:lnTo>
                  <a:pt x="1087" y="1232"/>
                </a:lnTo>
                <a:lnTo>
                  <a:pt x="1076" y="1228"/>
                </a:lnTo>
                <a:lnTo>
                  <a:pt x="1065" y="1224"/>
                </a:lnTo>
                <a:lnTo>
                  <a:pt x="1056" y="1220"/>
                </a:lnTo>
                <a:lnTo>
                  <a:pt x="1047" y="1217"/>
                </a:lnTo>
                <a:lnTo>
                  <a:pt x="1044" y="1213"/>
                </a:lnTo>
                <a:lnTo>
                  <a:pt x="1040" y="1210"/>
                </a:lnTo>
                <a:lnTo>
                  <a:pt x="1038" y="1205"/>
                </a:lnTo>
                <a:lnTo>
                  <a:pt x="1036" y="1199"/>
                </a:lnTo>
                <a:lnTo>
                  <a:pt x="1033" y="1188"/>
                </a:lnTo>
                <a:lnTo>
                  <a:pt x="1033" y="1179"/>
                </a:lnTo>
                <a:lnTo>
                  <a:pt x="1032" y="1170"/>
                </a:lnTo>
                <a:lnTo>
                  <a:pt x="1032" y="1160"/>
                </a:lnTo>
                <a:lnTo>
                  <a:pt x="1032" y="1155"/>
                </a:lnTo>
                <a:lnTo>
                  <a:pt x="1033" y="1151"/>
                </a:lnTo>
                <a:lnTo>
                  <a:pt x="1034" y="1148"/>
                </a:lnTo>
                <a:lnTo>
                  <a:pt x="1038" y="1144"/>
                </a:lnTo>
                <a:lnTo>
                  <a:pt x="1044" y="1141"/>
                </a:lnTo>
                <a:lnTo>
                  <a:pt x="1052" y="1137"/>
                </a:lnTo>
                <a:lnTo>
                  <a:pt x="1058" y="1135"/>
                </a:lnTo>
                <a:lnTo>
                  <a:pt x="1063" y="1135"/>
                </a:lnTo>
                <a:lnTo>
                  <a:pt x="1070" y="1135"/>
                </a:lnTo>
                <a:lnTo>
                  <a:pt x="1078" y="1135"/>
                </a:lnTo>
                <a:lnTo>
                  <a:pt x="1094" y="1136"/>
                </a:lnTo>
                <a:lnTo>
                  <a:pt x="1108" y="1136"/>
                </a:lnTo>
                <a:lnTo>
                  <a:pt x="1120" y="1132"/>
                </a:lnTo>
                <a:lnTo>
                  <a:pt x="1132" y="1128"/>
                </a:lnTo>
                <a:lnTo>
                  <a:pt x="1140" y="1124"/>
                </a:lnTo>
                <a:lnTo>
                  <a:pt x="1150" y="1122"/>
                </a:lnTo>
                <a:lnTo>
                  <a:pt x="1159" y="1119"/>
                </a:lnTo>
                <a:lnTo>
                  <a:pt x="1169" y="1116"/>
                </a:lnTo>
                <a:close/>
                <a:moveTo>
                  <a:pt x="1071" y="1323"/>
                </a:moveTo>
                <a:lnTo>
                  <a:pt x="1071" y="1324"/>
                </a:lnTo>
                <a:lnTo>
                  <a:pt x="1070" y="1324"/>
                </a:lnTo>
                <a:lnTo>
                  <a:pt x="1071" y="1324"/>
                </a:lnTo>
                <a:lnTo>
                  <a:pt x="1071" y="1323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29" name="内蒙古"/>
          <p:cNvSpPr/>
          <p:nvPr/>
        </p:nvSpPr>
        <p:spPr bwMode="auto">
          <a:xfrm>
            <a:off x="4574540" y="290195"/>
            <a:ext cx="3506470" cy="2897505"/>
          </a:xfrm>
          <a:custGeom>
            <a:avLst/>
            <a:gdLst>
              <a:gd name="T0" fmla="*/ 3037 w 8497"/>
              <a:gd name="T1" fmla="*/ 6400 h 7037"/>
              <a:gd name="T2" fmla="*/ 2793 w 8497"/>
              <a:gd name="T3" fmla="*/ 6311 h 7037"/>
              <a:gd name="T4" fmla="*/ 2585 w 8497"/>
              <a:gd name="T5" fmla="*/ 6887 h 7037"/>
              <a:gd name="T6" fmla="*/ 2116 w 8497"/>
              <a:gd name="T7" fmla="*/ 7024 h 7037"/>
              <a:gd name="T8" fmla="*/ 1852 w 8497"/>
              <a:gd name="T9" fmla="*/ 6611 h 7037"/>
              <a:gd name="T10" fmla="*/ 2048 w 8497"/>
              <a:gd name="T11" fmla="*/ 6147 h 7037"/>
              <a:gd name="T12" fmla="*/ 1341 w 8497"/>
              <a:gd name="T13" fmla="*/ 6249 h 7037"/>
              <a:gd name="T14" fmla="*/ 1134 w 8497"/>
              <a:gd name="T15" fmla="*/ 6306 h 7037"/>
              <a:gd name="T16" fmla="*/ 856 w 8497"/>
              <a:gd name="T17" fmla="*/ 5986 h 7037"/>
              <a:gd name="T18" fmla="*/ 822 w 8497"/>
              <a:gd name="T19" fmla="*/ 5621 h 7037"/>
              <a:gd name="T20" fmla="*/ 443 w 8497"/>
              <a:gd name="T21" fmla="*/ 5430 h 7037"/>
              <a:gd name="T22" fmla="*/ 184 w 8497"/>
              <a:gd name="T23" fmla="*/ 5245 h 7037"/>
              <a:gd name="T24" fmla="*/ 123 w 8497"/>
              <a:gd name="T25" fmla="*/ 4497 h 7037"/>
              <a:gd name="T26" fmla="*/ 1476 w 8497"/>
              <a:gd name="T27" fmla="*/ 4787 h 7037"/>
              <a:gd name="T28" fmla="*/ 2334 w 8497"/>
              <a:gd name="T29" fmla="*/ 5189 h 7037"/>
              <a:gd name="T30" fmla="*/ 3262 w 8497"/>
              <a:gd name="T31" fmla="*/ 4881 h 7037"/>
              <a:gd name="T32" fmla="*/ 4097 w 8497"/>
              <a:gd name="T33" fmla="*/ 4763 h 7037"/>
              <a:gd name="T34" fmla="*/ 4531 w 8497"/>
              <a:gd name="T35" fmla="*/ 4161 h 7037"/>
              <a:gd name="T36" fmla="*/ 5111 w 8497"/>
              <a:gd name="T37" fmla="*/ 3848 h 7037"/>
              <a:gd name="T38" fmla="*/ 5838 w 8497"/>
              <a:gd name="T39" fmla="*/ 3413 h 7037"/>
              <a:gd name="T40" fmla="*/ 6310 w 8497"/>
              <a:gd name="T41" fmla="*/ 2990 h 7037"/>
              <a:gd name="T42" fmla="*/ 6874 w 8497"/>
              <a:gd name="T43" fmla="*/ 2918 h 7037"/>
              <a:gd name="T44" fmla="*/ 6779 w 8497"/>
              <a:gd name="T45" fmla="*/ 2573 h 7037"/>
              <a:gd name="T46" fmla="*/ 6193 w 8497"/>
              <a:gd name="T47" fmla="*/ 2525 h 7037"/>
              <a:gd name="T48" fmla="*/ 5720 w 8497"/>
              <a:gd name="T49" fmla="*/ 2216 h 7037"/>
              <a:gd name="T50" fmla="*/ 6283 w 8497"/>
              <a:gd name="T51" fmla="*/ 1669 h 7037"/>
              <a:gd name="T52" fmla="*/ 6621 w 8497"/>
              <a:gd name="T53" fmla="*/ 1322 h 7037"/>
              <a:gd name="T54" fmla="*/ 6818 w 8497"/>
              <a:gd name="T55" fmla="*/ 786 h 7037"/>
              <a:gd name="T56" fmla="*/ 6937 w 8497"/>
              <a:gd name="T57" fmla="*/ 349 h 7037"/>
              <a:gd name="T58" fmla="*/ 6993 w 8497"/>
              <a:gd name="T59" fmla="*/ 35 h 7037"/>
              <a:gd name="T60" fmla="*/ 7108 w 8497"/>
              <a:gd name="T61" fmla="*/ 346 h 7037"/>
              <a:gd name="T62" fmla="*/ 7530 w 8497"/>
              <a:gd name="T63" fmla="*/ 419 h 7037"/>
              <a:gd name="T64" fmla="*/ 7725 w 8497"/>
              <a:gd name="T65" fmla="*/ 815 h 7037"/>
              <a:gd name="T66" fmla="*/ 8106 w 8497"/>
              <a:gd name="T67" fmla="*/ 709 h 7037"/>
              <a:gd name="T68" fmla="*/ 8491 w 8497"/>
              <a:gd name="T69" fmla="*/ 842 h 7037"/>
              <a:gd name="T70" fmla="*/ 8330 w 8497"/>
              <a:gd name="T71" fmla="*/ 1414 h 7037"/>
              <a:gd name="T72" fmla="*/ 8223 w 8497"/>
              <a:gd name="T73" fmla="*/ 2079 h 7037"/>
              <a:gd name="T74" fmla="*/ 7691 w 8497"/>
              <a:gd name="T75" fmla="*/ 2500 h 7037"/>
              <a:gd name="T76" fmla="*/ 7983 w 8497"/>
              <a:gd name="T77" fmla="*/ 2670 h 7037"/>
              <a:gd name="T78" fmla="*/ 7968 w 8497"/>
              <a:gd name="T79" fmla="*/ 2801 h 7037"/>
              <a:gd name="T80" fmla="*/ 7799 w 8497"/>
              <a:gd name="T81" fmla="*/ 3172 h 7037"/>
              <a:gd name="T82" fmla="*/ 7559 w 8497"/>
              <a:gd name="T83" fmla="*/ 3236 h 7037"/>
              <a:gd name="T84" fmla="*/ 7718 w 8497"/>
              <a:gd name="T85" fmla="*/ 3627 h 7037"/>
              <a:gd name="T86" fmla="*/ 8068 w 8497"/>
              <a:gd name="T87" fmla="*/ 3722 h 7037"/>
              <a:gd name="T88" fmla="*/ 8207 w 8497"/>
              <a:gd name="T89" fmla="*/ 4165 h 7037"/>
              <a:gd name="T90" fmla="*/ 8061 w 8497"/>
              <a:gd name="T91" fmla="*/ 4497 h 7037"/>
              <a:gd name="T92" fmla="*/ 7779 w 8497"/>
              <a:gd name="T93" fmla="*/ 4600 h 7037"/>
              <a:gd name="T94" fmla="*/ 7318 w 8497"/>
              <a:gd name="T95" fmla="*/ 4915 h 7037"/>
              <a:gd name="T96" fmla="*/ 6971 w 8497"/>
              <a:gd name="T97" fmla="*/ 4840 h 7037"/>
              <a:gd name="T98" fmla="*/ 7017 w 8497"/>
              <a:gd name="T99" fmla="*/ 5229 h 7037"/>
              <a:gd name="T100" fmla="*/ 6632 w 8497"/>
              <a:gd name="T101" fmla="*/ 5051 h 7037"/>
              <a:gd name="T102" fmla="*/ 6525 w 8497"/>
              <a:gd name="T103" fmla="*/ 4756 h 7037"/>
              <a:gd name="T104" fmla="*/ 6218 w 8497"/>
              <a:gd name="T105" fmla="*/ 4978 h 7037"/>
              <a:gd name="T106" fmla="*/ 5883 w 8497"/>
              <a:gd name="T107" fmla="*/ 5056 h 7037"/>
              <a:gd name="T108" fmla="*/ 5575 w 8497"/>
              <a:gd name="T109" fmla="*/ 5022 h 7037"/>
              <a:gd name="T110" fmla="*/ 5310 w 8497"/>
              <a:gd name="T111" fmla="*/ 5262 h 7037"/>
              <a:gd name="T112" fmla="*/ 5258 w 8497"/>
              <a:gd name="T113" fmla="*/ 5721 h 7037"/>
              <a:gd name="T114" fmla="*/ 4683 w 8497"/>
              <a:gd name="T115" fmla="*/ 6112 h 7037"/>
              <a:gd name="T116" fmla="*/ 4410 w 8497"/>
              <a:gd name="T117" fmla="*/ 6157 h 7037"/>
              <a:gd name="T118" fmla="*/ 4101 w 8497"/>
              <a:gd name="T119" fmla="*/ 6279 h 7037"/>
              <a:gd name="T120" fmla="*/ 3769 w 8497"/>
              <a:gd name="T121" fmla="*/ 6592 h 7037"/>
              <a:gd name="T122" fmla="*/ 3634 w 8497"/>
              <a:gd name="T123" fmla="*/ 6961 h 7037"/>
              <a:gd name="T124" fmla="*/ 3048 w 8497"/>
              <a:gd name="T125" fmla="*/ 6779 h 7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497" h="7037">
                <a:moveTo>
                  <a:pt x="3012" y="6774"/>
                </a:moveTo>
                <a:lnTo>
                  <a:pt x="2998" y="6768"/>
                </a:lnTo>
                <a:lnTo>
                  <a:pt x="2981" y="6761"/>
                </a:lnTo>
                <a:lnTo>
                  <a:pt x="2978" y="6760"/>
                </a:lnTo>
                <a:lnTo>
                  <a:pt x="2975" y="6758"/>
                </a:lnTo>
                <a:lnTo>
                  <a:pt x="2961" y="6752"/>
                </a:lnTo>
                <a:lnTo>
                  <a:pt x="2943" y="6742"/>
                </a:lnTo>
                <a:lnTo>
                  <a:pt x="2934" y="6735"/>
                </a:lnTo>
                <a:lnTo>
                  <a:pt x="2925" y="6730"/>
                </a:lnTo>
                <a:lnTo>
                  <a:pt x="2915" y="6724"/>
                </a:lnTo>
                <a:lnTo>
                  <a:pt x="2901" y="6716"/>
                </a:lnTo>
                <a:lnTo>
                  <a:pt x="2892" y="6710"/>
                </a:lnTo>
                <a:lnTo>
                  <a:pt x="2885" y="6704"/>
                </a:lnTo>
                <a:lnTo>
                  <a:pt x="2881" y="6702"/>
                </a:lnTo>
                <a:lnTo>
                  <a:pt x="2879" y="6698"/>
                </a:lnTo>
                <a:lnTo>
                  <a:pt x="2879" y="6698"/>
                </a:lnTo>
                <a:lnTo>
                  <a:pt x="2879" y="6697"/>
                </a:lnTo>
                <a:lnTo>
                  <a:pt x="2879" y="6697"/>
                </a:lnTo>
                <a:lnTo>
                  <a:pt x="2878" y="6696"/>
                </a:lnTo>
                <a:lnTo>
                  <a:pt x="2878" y="6693"/>
                </a:lnTo>
                <a:lnTo>
                  <a:pt x="2876" y="6691"/>
                </a:lnTo>
                <a:lnTo>
                  <a:pt x="2876" y="6689"/>
                </a:lnTo>
                <a:lnTo>
                  <a:pt x="2878" y="6684"/>
                </a:lnTo>
                <a:lnTo>
                  <a:pt x="2880" y="6678"/>
                </a:lnTo>
                <a:lnTo>
                  <a:pt x="2884" y="6672"/>
                </a:lnTo>
                <a:lnTo>
                  <a:pt x="2887" y="6668"/>
                </a:lnTo>
                <a:lnTo>
                  <a:pt x="2891" y="6664"/>
                </a:lnTo>
                <a:lnTo>
                  <a:pt x="2894" y="6661"/>
                </a:lnTo>
                <a:lnTo>
                  <a:pt x="2897" y="6659"/>
                </a:lnTo>
                <a:lnTo>
                  <a:pt x="2904" y="6653"/>
                </a:lnTo>
                <a:lnTo>
                  <a:pt x="2911" y="6647"/>
                </a:lnTo>
                <a:lnTo>
                  <a:pt x="2917" y="6640"/>
                </a:lnTo>
                <a:lnTo>
                  <a:pt x="2923" y="6632"/>
                </a:lnTo>
                <a:lnTo>
                  <a:pt x="2925" y="6627"/>
                </a:lnTo>
                <a:lnTo>
                  <a:pt x="2926" y="6620"/>
                </a:lnTo>
                <a:lnTo>
                  <a:pt x="2926" y="6614"/>
                </a:lnTo>
                <a:lnTo>
                  <a:pt x="2926" y="6607"/>
                </a:lnTo>
                <a:lnTo>
                  <a:pt x="2925" y="6597"/>
                </a:lnTo>
                <a:lnTo>
                  <a:pt x="2924" y="6589"/>
                </a:lnTo>
                <a:lnTo>
                  <a:pt x="2922" y="6580"/>
                </a:lnTo>
                <a:lnTo>
                  <a:pt x="2918" y="6571"/>
                </a:lnTo>
                <a:lnTo>
                  <a:pt x="2916" y="6565"/>
                </a:lnTo>
                <a:lnTo>
                  <a:pt x="2915" y="6560"/>
                </a:lnTo>
                <a:lnTo>
                  <a:pt x="2915" y="6556"/>
                </a:lnTo>
                <a:lnTo>
                  <a:pt x="2915" y="6551"/>
                </a:lnTo>
                <a:lnTo>
                  <a:pt x="2916" y="6545"/>
                </a:lnTo>
                <a:lnTo>
                  <a:pt x="2919" y="6540"/>
                </a:lnTo>
                <a:lnTo>
                  <a:pt x="2922" y="6534"/>
                </a:lnTo>
                <a:lnTo>
                  <a:pt x="2926" y="6529"/>
                </a:lnTo>
                <a:lnTo>
                  <a:pt x="2934" y="6521"/>
                </a:lnTo>
                <a:lnTo>
                  <a:pt x="2942" y="6510"/>
                </a:lnTo>
                <a:lnTo>
                  <a:pt x="2947" y="6501"/>
                </a:lnTo>
                <a:lnTo>
                  <a:pt x="2951" y="6491"/>
                </a:lnTo>
                <a:lnTo>
                  <a:pt x="2956" y="6482"/>
                </a:lnTo>
                <a:lnTo>
                  <a:pt x="2962" y="6474"/>
                </a:lnTo>
                <a:lnTo>
                  <a:pt x="2970" y="6463"/>
                </a:lnTo>
                <a:lnTo>
                  <a:pt x="2979" y="6454"/>
                </a:lnTo>
                <a:lnTo>
                  <a:pt x="2986" y="6447"/>
                </a:lnTo>
                <a:lnTo>
                  <a:pt x="2993" y="6443"/>
                </a:lnTo>
                <a:lnTo>
                  <a:pt x="3007" y="6430"/>
                </a:lnTo>
                <a:lnTo>
                  <a:pt x="3018" y="6420"/>
                </a:lnTo>
                <a:lnTo>
                  <a:pt x="3023" y="6416"/>
                </a:lnTo>
                <a:lnTo>
                  <a:pt x="3026" y="6413"/>
                </a:lnTo>
                <a:lnTo>
                  <a:pt x="3029" y="6411"/>
                </a:lnTo>
                <a:lnTo>
                  <a:pt x="3031" y="6409"/>
                </a:lnTo>
                <a:lnTo>
                  <a:pt x="3032" y="6406"/>
                </a:lnTo>
                <a:lnTo>
                  <a:pt x="3035" y="6403"/>
                </a:lnTo>
                <a:lnTo>
                  <a:pt x="3037" y="6400"/>
                </a:lnTo>
                <a:lnTo>
                  <a:pt x="3039" y="6395"/>
                </a:lnTo>
                <a:lnTo>
                  <a:pt x="3041" y="6393"/>
                </a:lnTo>
                <a:lnTo>
                  <a:pt x="3044" y="6387"/>
                </a:lnTo>
                <a:lnTo>
                  <a:pt x="3044" y="6386"/>
                </a:lnTo>
                <a:lnTo>
                  <a:pt x="3045" y="6384"/>
                </a:lnTo>
                <a:lnTo>
                  <a:pt x="3046" y="6383"/>
                </a:lnTo>
                <a:lnTo>
                  <a:pt x="3046" y="6382"/>
                </a:lnTo>
                <a:lnTo>
                  <a:pt x="3046" y="6382"/>
                </a:lnTo>
                <a:lnTo>
                  <a:pt x="3045" y="6381"/>
                </a:lnTo>
                <a:lnTo>
                  <a:pt x="3045" y="6380"/>
                </a:lnTo>
                <a:lnTo>
                  <a:pt x="3045" y="6378"/>
                </a:lnTo>
                <a:lnTo>
                  <a:pt x="3045" y="6374"/>
                </a:lnTo>
                <a:lnTo>
                  <a:pt x="3043" y="6374"/>
                </a:lnTo>
                <a:lnTo>
                  <a:pt x="3041" y="6372"/>
                </a:lnTo>
                <a:lnTo>
                  <a:pt x="3039" y="6371"/>
                </a:lnTo>
                <a:lnTo>
                  <a:pt x="3038" y="6371"/>
                </a:lnTo>
                <a:lnTo>
                  <a:pt x="3036" y="6371"/>
                </a:lnTo>
                <a:lnTo>
                  <a:pt x="3027" y="6367"/>
                </a:lnTo>
                <a:lnTo>
                  <a:pt x="3016" y="6361"/>
                </a:lnTo>
                <a:lnTo>
                  <a:pt x="3005" y="6352"/>
                </a:lnTo>
                <a:lnTo>
                  <a:pt x="2993" y="6343"/>
                </a:lnTo>
                <a:lnTo>
                  <a:pt x="2992" y="6334"/>
                </a:lnTo>
                <a:lnTo>
                  <a:pt x="2989" y="6321"/>
                </a:lnTo>
                <a:lnTo>
                  <a:pt x="2987" y="6312"/>
                </a:lnTo>
                <a:lnTo>
                  <a:pt x="2983" y="6301"/>
                </a:lnTo>
                <a:lnTo>
                  <a:pt x="2981" y="6290"/>
                </a:lnTo>
                <a:lnTo>
                  <a:pt x="2978" y="6279"/>
                </a:lnTo>
                <a:lnTo>
                  <a:pt x="2978" y="6269"/>
                </a:lnTo>
                <a:lnTo>
                  <a:pt x="2979" y="6260"/>
                </a:lnTo>
                <a:lnTo>
                  <a:pt x="2981" y="6251"/>
                </a:lnTo>
                <a:lnTo>
                  <a:pt x="2982" y="6243"/>
                </a:lnTo>
                <a:lnTo>
                  <a:pt x="2981" y="6237"/>
                </a:lnTo>
                <a:lnTo>
                  <a:pt x="2980" y="6231"/>
                </a:lnTo>
                <a:lnTo>
                  <a:pt x="2979" y="6229"/>
                </a:lnTo>
                <a:lnTo>
                  <a:pt x="2976" y="6226"/>
                </a:lnTo>
                <a:lnTo>
                  <a:pt x="2974" y="6225"/>
                </a:lnTo>
                <a:lnTo>
                  <a:pt x="2972" y="6224"/>
                </a:lnTo>
                <a:lnTo>
                  <a:pt x="2958" y="6224"/>
                </a:lnTo>
                <a:lnTo>
                  <a:pt x="2949" y="6224"/>
                </a:lnTo>
                <a:lnTo>
                  <a:pt x="2938" y="6225"/>
                </a:lnTo>
                <a:lnTo>
                  <a:pt x="2930" y="6225"/>
                </a:lnTo>
                <a:lnTo>
                  <a:pt x="2922" y="6227"/>
                </a:lnTo>
                <a:lnTo>
                  <a:pt x="2915" y="6231"/>
                </a:lnTo>
                <a:lnTo>
                  <a:pt x="2909" y="6233"/>
                </a:lnTo>
                <a:lnTo>
                  <a:pt x="2903" y="6238"/>
                </a:lnTo>
                <a:lnTo>
                  <a:pt x="2895" y="6243"/>
                </a:lnTo>
                <a:lnTo>
                  <a:pt x="2888" y="6246"/>
                </a:lnTo>
                <a:lnTo>
                  <a:pt x="2884" y="6248"/>
                </a:lnTo>
                <a:lnTo>
                  <a:pt x="2879" y="6248"/>
                </a:lnTo>
                <a:lnTo>
                  <a:pt x="2869" y="6248"/>
                </a:lnTo>
                <a:lnTo>
                  <a:pt x="2860" y="6248"/>
                </a:lnTo>
                <a:lnTo>
                  <a:pt x="2852" y="6248"/>
                </a:lnTo>
                <a:lnTo>
                  <a:pt x="2842" y="6248"/>
                </a:lnTo>
                <a:lnTo>
                  <a:pt x="2838" y="6248"/>
                </a:lnTo>
                <a:lnTo>
                  <a:pt x="2835" y="6249"/>
                </a:lnTo>
                <a:lnTo>
                  <a:pt x="2830" y="6251"/>
                </a:lnTo>
                <a:lnTo>
                  <a:pt x="2827" y="6254"/>
                </a:lnTo>
                <a:lnTo>
                  <a:pt x="2821" y="6261"/>
                </a:lnTo>
                <a:lnTo>
                  <a:pt x="2817" y="6269"/>
                </a:lnTo>
                <a:lnTo>
                  <a:pt x="2816" y="6276"/>
                </a:lnTo>
                <a:lnTo>
                  <a:pt x="2815" y="6287"/>
                </a:lnTo>
                <a:lnTo>
                  <a:pt x="2815" y="6294"/>
                </a:lnTo>
                <a:lnTo>
                  <a:pt x="2815" y="6300"/>
                </a:lnTo>
                <a:lnTo>
                  <a:pt x="2812" y="6306"/>
                </a:lnTo>
                <a:lnTo>
                  <a:pt x="2810" y="6309"/>
                </a:lnTo>
                <a:lnTo>
                  <a:pt x="2805" y="6312"/>
                </a:lnTo>
                <a:lnTo>
                  <a:pt x="2799" y="6312"/>
                </a:lnTo>
                <a:lnTo>
                  <a:pt x="2793" y="6311"/>
                </a:lnTo>
                <a:lnTo>
                  <a:pt x="2787" y="6309"/>
                </a:lnTo>
                <a:lnTo>
                  <a:pt x="2780" y="6308"/>
                </a:lnTo>
                <a:lnTo>
                  <a:pt x="2774" y="6308"/>
                </a:lnTo>
                <a:lnTo>
                  <a:pt x="2768" y="6309"/>
                </a:lnTo>
                <a:lnTo>
                  <a:pt x="2764" y="6312"/>
                </a:lnTo>
                <a:lnTo>
                  <a:pt x="2759" y="6319"/>
                </a:lnTo>
                <a:lnTo>
                  <a:pt x="2755" y="6326"/>
                </a:lnTo>
                <a:lnTo>
                  <a:pt x="2753" y="6334"/>
                </a:lnTo>
                <a:lnTo>
                  <a:pt x="2749" y="6343"/>
                </a:lnTo>
                <a:lnTo>
                  <a:pt x="2745" y="6355"/>
                </a:lnTo>
                <a:lnTo>
                  <a:pt x="2739" y="6367"/>
                </a:lnTo>
                <a:lnTo>
                  <a:pt x="2733" y="6378"/>
                </a:lnTo>
                <a:lnTo>
                  <a:pt x="2727" y="6390"/>
                </a:lnTo>
                <a:lnTo>
                  <a:pt x="2716" y="6408"/>
                </a:lnTo>
                <a:lnTo>
                  <a:pt x="2702" y="6426"/>
                </a:lnTo>
                <a:lnTo>
                  <a:pt x="2695" y="6435"/>
                </a:lnTo>
                <a:lnTo>
                  <a:pt x="2689" y="6446"/>
                </a:lnTo>
                <a:lnTo>
                  <a:pt x="2684" y="6458"/>
                </a:lnTo>
                <a:lnTo>
                  <a:pt x="2680" y="6470"/>
                </a:lnTo>
                <a:lnTo>
                  <a:pt x="2679" y="6482"/>
                </a:lnTo>
                <a:lnTo>
                  <a:pt x="2679" y="6494"/>
                </a:lnTo>
                <a:lnTo>
                  <a:pt x="2678" y="6506"/>
                </a:lnTo>
                <a:lnTo>
                  <a:pt x="2677" y="6516"/>
                </a:lnTo>
                <a:lnTo>
                  <a:pt x="2674" y="6526"/>
                </a:lnTo>
                <a:lnTo>
                  <a:pt x="2671" y="6534"/>
                </a:lnTo>
                <a:lnTo>
                  <a:pt x="2666" y="6544"/>
                </a:lnTo>
                <a:lnTo>
                  <a:pt x="2664" y="6553"/>
                </a:lnTo>
                <a:lnTo>
                  <a:pt x="2661" y="6566"/>
                </a:lnTo>
                <a:lnTo>
                  <a:pt x="2660" y="6579"/>
                </a:lnTo>
                <a:lnTo>
                  <a:pt x="2659" y="6594"/>
                </a:lnTo>
                <a:lnTo>
                  <a:pt x="2659" y="6608"/>
                </a:lnTo>
                <a:lnTo>
                  <a:pt x="2660" y="6620"/>
                </a:lnTo>
                <a:lnTo>
                  <a:pt x="2660" y="6632"/>
                </a:lnTo>
                <a:lnTo>
                  <a:pt x="2660" y="6643"/>
                </a:lnTo>
                <a:lnTo>
                  <a:pt x="2659" y="6655"/>
                </a:lnTo>
                <a:lnTo>
                  <a:pt x="2655" y="6667"/>
                </a:lnTo>
                <a:lnTo>
                  <a:pt x="2651" y="6678"/>
                </a:lnTo>
                <a:lnTo>
                  <a:pt x="2646" y="6689"/>
                </a:lnTo>
                <a:lnTo>
                  <a:pt x="2641" y="6701"/>
                </a:lnTo>
                <a:lnTo>
                  <a:pt x="2638" y="6711"/>
                </a:lnTo>
                <a:lnTo>
                  <a:pt x="2635" y="6722"/>
                </a:lnTo>
                <a:lnTo>
                  <a:pt x="2634" y="6733"/>
                </a:lnTo>
                <a:lnTo>
                  <a:pt x="2634" y="6743"/>
                </a:lnTo>
                <a:lnTo>
                  <a:pt x="2634" y="6761"/>
                </a:lnTo>
                <a:lnTo>
                  <a:pt x="2635" y="6779"/>
                </a:lnTo>
                <a:lnTo>
                  <a:pt x="2636" y="6797"/>
                </a:lnTo>
                <a:lnTo>
                  <a:pt x="2638" y="6813"/>
                </a:lnTo>
                <a:lnTo>
                  <a:pt x="2636" y="6830"/>
                </a:lnTo>
                <a:lnTo>
                  <a:pt x="2635" y="6844"/>
                </a:lnTo>
                <a:lnTo>
                  <a:pt x="2632" y="6857"/>
                </a:lnTo>
                <a:lnTo>
                  <a:pt x="2629" y="6869"/>
                </a:lnTo>
                <a:lnTo>
                  <a:pt x="2624" y="6878"/>
                </a:lnTo>
                <a:lnTo>
                  <a:pt x="2620" y="6885"/>
                </a:lnTo>
                <a:lnTo>
                  <a:pt x="2619" y="6886"/>
                </a:lnTo>
                <a:lnTo>
                  <a:pt x="2616" y="6888"/>
                </a:lnTo>
                <a:lnTo>
                  <a:pt x="2616" y="6888"/>
                </a:lnTo>
                <a:lnTo>
                  <a:pt x="2615" y="6888"/>
                </a:lnTo>
                <a:lnTo>
                  <a:pt x="2615" y="6890"/>
                </a:lnTo>
                <a:lnTo>
                  <a:pt x="2614" y="6890"/>
                </a:lnTo>
                <a:lnTo>
                  <a:pt x="2614" y="6890"/>
                </a:lnTo>
                <a:lnTo>
                  <a:pt x="2613" y="6890"/>
                </a:lnTo>
                <a:lnTo>
                  <a:pt x="2611" y="6890"/>
                </a:lnTo>
                <a:lnTo>
                  <a:pt x="2609" y="6890"/>
                </a:lnTo>
                <a:lnTo>
                  <a:pt x="2607" y="6888"/>
                </a:lnTo>
                <a:lnTo>
                  <a:pt x="2604" y="6887"/>
                </a:lnTo>
                <a:lnTo>
                  <a:pt x="2602" y="6887"/>
                </a:lnTo>
                <a:lnTo>
                  <a:pt x="2599" y="6887"/>
                </a:lnTo>
                <a:lnTo>
                  <a:pt x="2585" y="6887"/>
                </a:lnTo>
                <a:lnTo>
                  <a:pt x="2571" y="6890"/>
                </a:lnTo>
                <a:lnTo>
                  <a:pt x="2563" y="6891"/>
                </a:lnTo>
                <a:lnTo>
                  <a:pt x="2557" y="6893"/>
                </a:lnTo>
                <a:lnTo>
                  <a:pt x="2557" y="6894"/>
                </a:lnTo>
                <a:lnTo>
                  <a:pt x="2556" y="6895"/>
                </a:lnTo>
                <a:lnTo>
                  <a:pt x="2556" y="6897"/>
                </a:lnTo>
                <a:lnTo>
                  <a:pt x="2556" y="6898"/>
                </a:lnTo>
                <a:lnTo>
                  <a:pt x="2556" y="6899"/>
                </a:lnTo>
                <a:lnTo>
                  <a:pt x="2557" y="6903"/>
                </a:lnTo>
                <a:lnTo>
                  <a:pt x="2557" y="6906"/>
                </a:lnTo>
                <a:lnTo>
                  <a:pt x="2558" y="6911"/>
                </a:lnTo>
                <a:lnTo>
                  <a:pt x="2557" y="6916"/>
                </a:lnTo>
                <a:lnTo>
                  <a:pt x="2553" y="6918"/>
                </a:lnTo>
                <a:lnTo>
                  <a:pt x="2548" y="6920"/>
                </a:lnTo>
                <a:lnTo>
                  <a:pt x="2542" y="6920"/>
                </a:lnTo>
                <a:lnTo>
                  <a:pt x="2535" y="6920"/>
                </a:lnTo>
                <a:lnTo>
                  <a:pt x="2528" y="6919"/>
                </a:lnTo>
                <a:lnTo>
                  <a:pt x="2519" y="6917"/>
                </a:lnTo>
                <a:lnTo>
                  <a:pt x="2509" y="6914"/>
                </a:lnTo>
                <a:lnTo>
                  <a:pt x="2500" y="6911"/>
                </a:lnTo>
                <a:lnTo>
                  <a:pt x="2491" y="6909"/>
                </a:lnTo>
                <a:lnTo>
                  <a:pt x="2487" y="6907"/>
                </a:lnTo>
                <a:lnTo>
                  <a:pt x="2482" y="6906"/>
                </a:lnTo>
                <a:lnTo>
                  <a:pt x="2475" y="6905"/>
                </a:lnTo>
                <a:lnTo>
                  <a:pt x="2468" y="6906"/>
                </a:lnTo>
                <a:lnTo>
                  <a:pt x="2456" y="6912"/>
                </a:lnTo>
                <a:lnTo>
                  <a:pt x="2443" y="6920"/>
                </a:lnTo>
                <a:lnTo>
                  <a:pt x="2434" y="6925"/>
                </a:lnTo>
                <a:lnTo>
                  <a:pt x="2425" y="6931"/>
                </a:lnTo>
                <a:lnTo>
                  <a:pt x="2421" y="6933"/>
                </a:lnTo>
                <a:lnTo>
                  <a:pt x="2416" y="6935"/>
                </a:lnTo>
                <a:lnTo>
                  <a:pt x="2407" y="6939"/>
                </a:lnTo>
                <a:lnTo>
                  <a:pt x="2397" y="6942"/>
                </a:lnTo>
                <a:lnTo>
                  <a:pt x="2388" y="6945"/>
                </a:lnTo>
                <a:lnTo>
                  <a:pt x="2377" y="6950"/>
                </a:lnTo>
                <a:lnTo>
                  <a:pt x="2369" y="6956"/>
                </a:lnTo>
                <a:lnTo>
                  <a:pt x="2358" y="6963"/>
                </a:lnTo>
                <a:lnTo>
                  <a:pt x="2347" y="6972"/>
                </a:lnTo>
                <a:lnTo>
                  <a:pt x="2337" y="6977"/>
                </a:lnTo>
                <a:lnTo>
                  <a:pt x="2331" y="6981"/>
                </a:lnTo>
                <a:lnTo>
                  <a:pt x="2325" y="6985"/>
                </a:lnTo>
                <a:lnTo>
                  <a:pt x="2318" y="6987"/>
                </a:lnTo>
                <a:lnTo>
                  <a:pt x="2311" y="6988"/>
                </a:lnTo>
                <a:lnTo>
                  <a:pt x="2299" y="6989"/>
                </a:lnTo>
                <a:lnTo>
                  <a:pt x="2287" y="6988"/>
                </a:lnTo>
                <a:lnTo>
                  <a:pt x="2275" y="6989"/>
                </a:lnTo>
                <a:lnTo>
                  <a:pt x="2263" y="6989"/>
                </a:lnTo>
                <a:lnTo>
                  <a:pt x="2251" y="6991"/>
                </a:lnTo>
                <a:lnTo>
                  <a:pt x="2239" y="6989"/>
                </a:lnTo>
                <a:lnTo>
                  <a:pt x="2224" y="6988"/>
                </a:lnTo>
                <a:lnTo>
                  <a:pt x="2208" y="6986"/>
                </a:lnTo>
                <a:lnTo>
                  <a:pt x="2197" y="6986"/>
                </a:lnTo>
                <a:lnTo>
                  <a:pt x="2185" y="6986"/>
                </a:lnTo>
                <a:lnTo>
                  <a:pt x="2173" y="6987"/>
                </a:lnTo>
                <a:lnTo>
                  <a:pt x="2162" y="6989"/>
                </a:lnTo>
                <a:lnTo>
                  <a:pt x="2157" y="6991"/>
                </a:lnTo>
                <a:lnTo>
                  <a:pt x="2153" y="6993"/>
                </a:lnTo>
                <a:lnTo>
                  <a:pt x="2149" y="6996"/>
                </a:lnTo>
                <a:lnTo>
                  <a:pt x="2145" y="7001"/>
                </a:lnTo>
                <a:lnTo>
                  <a:pt x="2144" y="7011"/>
                </a:lnTo>
                <a:lnTo>
                  <a:pt x="2142" y="7019"/>
                </a:lnTo>
                <a:lnTo>
                  <a:pt x="2141" y="7019"/>
                </a:lnTo>
                <a:lnTo>
                  <a:pt x="2139" y="7019"/>
                </a:lnTo>
                <a:lnTo>
                  <a:pt x="2138" y="7019"/>
                </a:lnTo>
                <a:lnTo>
                  <a:pt x="2136" y="7020"/>
                </a:lnTo>
                <a:lnTo>
                  <a:pt x="2131" y="7021"/>
                </a:lnTo>
                <a:lnTo>
                  <a:pt x="2126" y="7023"/>
                </a:lnTo>
                <a:lnTo>
                  <a:pt x="2116" y="7024"/>
                </a:lnTo>
                <a:lnTo>
                  <a:pt x="2106" y="7027"/>
                </a:lnTo>
                <a:lnTo>
                  <a:pt x="2101" y="7030"/>
                </a:lnTo>
                <a:lnTo>
                  <a:pt x="2097" y="7032"/>
                </a:lnTo>
                <a:lnTo>
                  <a:pt x="2095" y="7035"/>
                </a:lnTo>
                <a:lnTo>
                  <a:pt x="2093" y="7037"/>
                </a:lnTo>
                <a:lnTo>
                  <a:pt x="2081" y="7035"/>
                </a:lnTo>
                <a:lnTo>
                  <a:pt x="2069" y="7032"/>
                </a:lnTo>
                <a:lnTo>
                  <a:pt x="2060" y="7030"/>
                </a:lnTo>
                <a:lnTo>
                  <a:pt x="2049" y="7025"/>
                </a:lnTo>
                <a:lnTo>
                  <a:pt x="2038" y="7020"/>
                </a:lnTo>
                <a:lnTo>
                  <a:pt x="2029" y="7013"/>
                </a:lnTo>
                <a:lnTo>
                  <a:pt x="2019" y="7006"/>
                </a:lnTo>
                <a:lnTo>
                  <a:pt x="2011" y="6996"/>
                </a:lnTo>
                <a:lnTo>
                  <a:pt x="2002" y="6988"/>
                </a:lnTo>
                <a:lnTo>
                  <a:pt x="1993" y="6980"/>
                </a:lnTo>
                <a:lnTo>
                  <a:pt x="1987" y="6975"/>
                </a:lnTo>
                <a:lnTo>
                  <a:pt x="1983" y="6969"/>
                </a:lnTo>
                <a:lnTo>
                  <a:pt x="1968" y="6954"/>
                </a:lnTo>
                <a:lnTo>
                  <a:pt x="1958" y="6938"/>
                </a:lnTo>
                <a:lnTo>
                  <a:pt x="1948" y="6926"/>
                </a:lnTo>
                <a:lnTo>
                  <a:pt x="1939" y="6910"/>
                </a:lnTo>
                <a:lnTo>
                  <a:pt x="1934" y="6900"/>
                </a:lnTo>
                <a:lnTo>
                  <a:pt x="1929" y="6892"/>
                </a:lnTo>
                <a:lnTo>
                  <a:pt x="1924" y="6885"/>
                </a:lnTo>
                <a:lnTo>
                  <a:pt x="1918" y="6880"/>
                </a:lnTo>
                <a:lnTo>
                  <a:pt x="1912" y="6876"/>
                </a:lnTo>
                <a:lnTo>
                  <a:pt x="1906" y="6873"/>
                </a:lnTo>
                <a:lnTo>
                  <a:pt x="1895" y="6868"/>
                </a:lnTo>
                <a:lnTo>
                  <a:pt x="1883" y="6863"/>
                </a:lnTo>
                <a:lnTo>
                  <a:pt x="1872" y="6860"/>
                </a:lnTo>
                <a:lnTo>
                  <a:pt x="1860" y="6856"/>
                </a:lnTo>
                <a:lnTo>
                  <a:pt x="1849" y="6853"/>
                </a:lnTo>
                <a:lnTo>
                  <a:pt x="1839" y="6850"/>
                </a:lnTo>
                <a:lnTo>
                  <a:pt x="1830" y="6848"/>
                </a:lnTo>
                <a:lnTo>
                  <a:pt x="1824" y="6844"/>
                </a:lnTo>
                <a:lnTo>
                  <a:pt x="1820" y="6840"/>
                </a:lnTo>
                <a:lnTo>
                  <a:pt x="1816" y="6834"/>
                </a:lnTo>
                <a:lnTo>
                  <a:pt x="1814" y="6828"/>
                </a:lnTo>
                <a:lnTo>
                  <a:pt x="1811" y="6822"/>
                </a:lnTo>
                <a:lnTo>
                  <a:pt x="1810" y="6808"/>
                </a:lnTo>
                <a:lnTo>
                  <a:pt x="1809" y="6793"/>
                </a:lnTo>
                <a:lnTo>
                  <a:pt x="1809" y="6777"/>
                </a:lnTo>
                <a:lnTo>
                  <a:pt x="1810" y="6761"/>
                </a:lnTo>
                <a:lnTo>
                  <a:pt x="1811" y="6748"/>
                </a:lnTo>
                <a:lnTo>
                  <a:pt x="1815" y="6737"/>
                </a:lnTo>
                <a:lnTo>
                  <a:pt x="1817" y="6733"/>
                </a:lnTo>
                <a:lnTo>
                  <a:pt x="1821" y="6728"/>
                </a:lnTo>
                <a:lnTo>
                  <a:pt x="1826" y="6722"/>
                </a:lnTo>
                <a:lnTo>
                  <a:pt x="1833" y="6717"/>
                </a:lnTo>
                <a:lnTo>
                  <a:pt x="1847" y="6714"/>
                </a:lnTo>
                <a:lnTo>
                  <a:pt x="1860" y="6710"/>
                </a:lnTo>
                <a:lnTo>
                  <a:pt x="1867" y="6708"/>
                </a:lnTo>
                <a:lnTo>
                  <a:pt x="1872" y="6705"/>
                </a:lnTo>
                <a:lnTo>
                  <a:pt x="1874" y="6703"/>
                </a:lnTo>
                <a:lnTo>
                  <a:pt x="1877" y="6702"/>
                </a:lnTo>
                <a:lnTo>
                  <a:pt x="1878" y="6698"/>
                </a:lnTo>
                <a:lnTo>
                  <a:pt x="1878" y="6695"/>
                </a:lnTo>
                <a:lnTo>
                  <a:pt x="1878" y="6691"/>
                </a:lnTo>
                <a:lnTo>
                  <a:pt x="1877" y="6686"/>
                </a:lnTo>
                <a:lnTo>
                  <a:pt x="1872" y="6671"/>
                </a:lnTo>
                <a:lnTo>
                  <a:pt x="1864" y="6654"/>
                </a:lnTo>
                <a:lnTo>
                  <a:pt x="1861" y="6642"/>
                </a:lnTo>
                <a:lnTo>
                  <a:pt x="1860" y="6630"/>
                </a:lnTo>
                <a:lnTo>
                  <a:pt x="1859" y="6623"/>
                </a:lnTo>
                <a:lnTo>
                  <a:pt x="1857" y="6617"/>
                </a:lnTo>
                <a:lnTo>
                  <a:pt x="1854" y="6615"/>
                </a:lnTo>
                <a:lnTo>
                  <a:pt x="1852" y="6613"/>
                </a:lnTo>
                <a:lnTo>
                  <a:pt x="1852" y="6611"/>
                </a:lnTo>
                <a:lnTo>
                  <a:pt x="1851" y="6610"/>
                </a:lnTo>
                <a:lnTo>
                  <a:pt x="1847" y="6608"/>
                </a:lnTo>
                <a:lnTo>
                  <a:pt x="1843" y="6604"/>
                </a:lnTo>
                <a:lnTo>
                  <a:pt x="1842" y="6601"/>
                </a:lnTo>
                <a:lnTo>
                  <a:pt x="1842" y="6597"/>
                </a:lnTo>
                <a:lnTo>
                  <a:pt x="1845" y="6592"/>
                </a:lnTo>
                <a:lnTo>
                  <a:pt x="1848" y="6589"/>
                </a:lnTo>
                <a:lnTo>
                  <a:pt x="1858" y="6584"/>
                </a:lnTo>
                <a:lnTo>
                  <a:pt x="1868" y="6580"/>
                </a:lnTo>
                <a:lnTo>
                  <a:pt x="1883" y="6573"/>
                </a:lnTo>
                <a:lnTo>
                  <a:pt x="1898" y="6564"/>
                </a:lnTo>
                <a:lnTo>
                  <a:pt x="1922" y="6551"/>
                </a:lnTo>
                <a:lnTo>
                  <a:pt x="1948" y="6537"/>
                </a:lnTo>
                <a:lnTo>
                  <a:pt x="1960" y="6528"/>
                </a:lnTo>
                <a:lnTo>
                  <a:pt x="1973" y="6520"/>
                </a:lnTo>
                <a:lnTo>
                  <a:pt x="1985" y="6510"/>
                </a:lnTo>
                <a:lnTo>
                  <a:pt x="1997" y="6501"/>
                </a:lnTo>
                <a:lnTo>
                  <a:pt x="2002" y="6496"/>
                </a:lnTo>
                <a:lnTo>
                  <a:pt x="2006" y="6490"/>
                </a:lnTo>
                <a:lnTo>
                  <a:pt x="2011" y="6483"/>
                </a:lnTo>
                <a:lnTo>
                  <a:pt x="2015" y="6476"/>
                </a:lnTo>
                <a:lnTo>
                  <a:pt x="2022" y="6459"/>
                </a:lnTo>
                <a:lnTo>
                  <a:pt x="2029" y="6443"/>
                </a:lnTo>
                <a:lnTo>
                  <a:pt x="2036" y="6426"/>
                </a:lnTo>
                <a:lnTo>
                  <a:pt x="2043" y="6411"/>
                </a:lnTo>
                <a:lnTo>
                  <a:pt x="2047" y="6405"/>
                </a:lnTo>
                <a:lnTo>
                  <a:pt x="2051" y="6399"/>
                </a:lnTo>
                <a:lnTo>
                  <a:pt x="2055" y="6394"/>
                </a:lnTo>
                <a:lnTo>
                  <a:pt x="2060" y="6390"/>
                </a:lnTo>
                <a:lnTo>
                  <a:pt x="2066" y="6387"/>
                </a:lnTo>
                <a:lnTo>
                  <a:pt x="2074" y="6383"/>
                </a:lnTo>
                <a:lnTo>
                  <a:pt x="2080" y="6381"/>
                </a:lnTo>
                <a:lnTo>
                  <a:pt x="2085" y="6378"/>
                </a:lnTo>
                <a:lnTo>
                  <a:pt x="2090" y="6375"/>
                </a:lnTo>
                <a:lnTo>
                  <a:pt x="2094" y="6371"/>
                </a:lnTo>
                <a:lnTo>
                  <a:pt x="2098" y="6365"/>
                </a:lnTo>
                <a:lnTo>
                  <a:pt x="2101" y="6359"/>
                </a:lnTo>
                <a:lnTo>
                  <a:pt x="2105" y="6352"/>
                </a:lnTo>
                <a:lnTo>
                  <a:pt x="2107" y="6345"/>
                </a:lnTo>
                <a:lnTo>
                  <a:pt x="2110" y="6332"/>
                </a:lnTo>
                <a:lnTo>
                  <a:pt x="2111" y="6321"/>
                </a:lnTo>
                <a:lnTo>
                  <a:pt x="2111" y="6313"/>
                </a:lnTo>
                <a:lnTo>
                  <a:pt x="2111" y="6304"/>
                </a:lnTo>
                <a:lnTo>
                  <a:pt x="2110" y="6294"/>
                </a:lnTo>
                <a:lnTo>
                  <a:pt x="2107" y="6285"/>
                </a:lnTo>
                <a:lnTo>
                  <a:pt x="2103" y="6276"/>
                </a:lnTo>
                <a:lnTo>
                  <a:pt x="2097" y="6269"/>
                </a:lnTo>
                <a:lnTo>
                  <a:pt x="2087" y="6256"/>
                </a:lnTo>
                <a:lnTo>
                  <a:pt x="2078" y="6244"/>
                </a:lnTo>
                <a:lnTo>
                  <a:pt x="2069" y="6235"/>
                </a:lnTo>
                <a:lnTo>
                  <a:pt x="2063" y="6225"/>
                </a:lnTo>
                <a:lnTo>
                  <a:pt x="2063" y="6220"/>
                </a:lnTo>
                <a:lnTo>
                  <a:pt x="2062" y="6216"/>
                </a:lnTo>
                <a:lnTo>
                  <a:pt x="2063" y="6211"/>
                </a:lnTo>
                <a:lnTo>
                  <a:pt x="2063" y="6206"/>
                </a:lnTo>
                <a:lnTo>
                  <a:pt x="2067" y="6197"/>
                </a:lnTo>
                <a:lnTo>
                  <a:pt x="2070" y="6187"/>
                </a:lnTo>
                <a:lnTo>
                  <a:pt x="2075" y="6179"/>
                </a:lnTo>
                <a:lnTo>
                  <a:pt x="2078" y="6170"/>
                </a:lnTo>
                <a:lnTo>
                  <a:pt x="2079" y="6168"/>
                </a:lnTo>
                <a:lnTo>
                  <a:pt x="2078" y="6164"/>
                </a:lnTo>
                <a:lnTo>
                  <a:pt x="2076" y="6162"/>
                </a:lnTo>
                <a:lnTo>
                  <a:pt x="2074" y="6160"/>
                </a:lnTo>
                <a:lnTo>
                  <a:pt x="2072" y="6157"/>
                </a:lnTo>
                <a:lnTo>
                  <a:pt x="2068" y="6155"/>
                </a:lnTo>
                <a:lnTo>
                  <a:pt x="2062" y="6151"/>
                </a:lnTo>
                <a:lnTo>
                  <a:pt x="2055" y="6149"/>
                </a:lnTo>
                <a:lnTo>
                  <a:pt x="2048" y="6147"/>
                </a:lnTo>
                <a:lnTo>
                  <a:pt x="2041" y="6145"/>
                </a:lnTo>
                <a:lnTo>
                  <a:pt x="2022" y="6144"/>
                </a:lnTo>
                <a:lnTo>
                  <a:pt x="2004" y="6144"/>
                </a:lnTo>
                <a:lnTo>
                  <a:pt x="1987" y="6144"/>
                </a:lnTo>
                <a:lnTo>
                  <a:pt x="1974" y="6145"/>
                </a:lnTo>
                <a:lnTo>
                  <a:pt x="1962" y="6145"/>
                </a:lnTo>
                <a:lnTo>
                  <a:pt x="1950" y="6147"/>
                </a:lnTo>
                <a:lnTo>
                  <a:pt x="1937" y="6149"/>
                </a:lnTo>
                <a:lnTo>
                  <a:pt x="1924" y="6151"/>
                </a:lnTo>
                <a:lnTo>
                  <a:pt x="1911" y="6155"/>
                </a:lnTo>
                <a:lnTo>
                  <a:pt x="1898" y="6160"/>
                </a:lnTo>
                <a:lnTo>
                  <a:pt x="1885" y="6166"/>
                </a:lnTo>
                <a:lnTo>
                  <a:pt x="1872" y="6172"/>
                </a:lnTo>
                <a:lnTo>
                  <a:pt x="1865" y="6175"/>
                </a:lnTo>
                <a:lnTo>
                  <a:pt x="1857" y="6181"/>
                </a:lnTo>
                <a:lnTo>
                  <a:pt x="1849" y="6186"/>
                </a:lnTo>
                <a:lnTo>
                  <a:pt x="1842" y="6193"/>
                </a:lnTo>
                <a:lnTo>
                  <a:pt x="1829" y="6206"/>
                </a:lnTo>
                <a:lnTo>
                  <a:pt x="1815" y="6218"/>
                </a:lnTo>
                <a:lnTo>
                  <a:pt x="1810" y="6222"/>
                </a:lnTo>
                <a:lnTo>
                  <a:pt x="1803" y="6225"/>
                </a:lnTo>
                <a:lnTo>
                  <a:pt x="1794" y="6229"/>
                </a:lnTo>
                <a:lnTo>
                  <a:pt x="1784" y="6233"/>
                </a:lnTo>
                <a:lnTo>
                  <a:pt x="1778" y="6236"/>
                </a:lnTo>
                <a:lnTo>
                  <a:pt x="1772" y="6239"/>
                </a:lnTo>
                <a:lnTo>
                  <a:pt x="1761" y="6246"/>
                </a:lnTo>
                <a:lnTo>
                  <a:pt x="1754" y="6252"/>
                </a:lnTo>
                <a:lnTo>
                  <a:pt x="1752" y="6255"/>
                </a:lnTo>
                <a:lnTo>
                  <a:pt x="1748" y="6257"/>
                </a:lnTo>
                <a:lnTo>
                  <a:pt x="1742" y="6261"/>
                </a:lnTo>
                <a:lnTo>
                  <a:pt x="1738" y="6264"/>
                </a:lnTo>
                <a:lnTo>
                  <a:pt x="1732" y="6268"/>
                </a:lnTo>
                <a:lnTo>
                  <a:pt x="1726" y="6270"/>
                </a:lnTo>
                <a:lnTo>
                  <a:pt x="1714" y="6270"/>
                </a:lnTo>
                <a:lnTo>
                  <a:pt x="1703" y="6270"/>
                </a:lnTo>
                <a:lnTo>
                  <a:pt x="1690" y="6268"/>
                </a:lnTo>
                <a:lnTo>
                  <a:pt x="1677" y="6264"/>
                </a:lnTo>
                <a:lnTo>
                  <a:pt x="1659" y="6257"/>
                </a:lnTo>
                <a:lnTo>
                  <a:pt x="1640" y="6250"/>
                </a:lnTo>
                <a:lnTo>
                  <a:pt x="1621" y="6241"/>
                </a:lnTo>
                <a:lnTo>
                  <a:pt x="1603" y="6231"/>
                </a:lnTo>
                <a:lnTo>
                  <a:pt x="1590" y="6224"/>
                </a:lnTo>
                <a:lnTo>
                  <a:pt x="1578" y="6216"/>
                </a:lnTo>
                <a:lnTo>
                  <a:pt x="1571" y="6211"/>
                </a:lnTo>
                <a:lnTo>
                  <a:pt x="1565" y="6205"/>
                </a:lnTo>
                <a:lnTo>
                  <a:pt x="1558" y="6201"/>
                </a:lnTo>
                <a:lnTo>
                  <a:pt x="1552" y="6199"/>
                </a:lnTo>
                <a:lnTo>
                  <a:pt x="1545" y="6199"/>
                </a:lnTo>
                <a:lnTo>
                  <a:pt x="1537" y="6199"/>
                </a:lnTo>
                <a:lnTo>
                  <a:pt x="1530" y="6200"/>
                </a:lnTo>
                <a:lnTo>
                  <a:pt x="1522" y="6201"/>
                </a:lnTo>
                <a:lnTo>
                  <a:pt x="1508" y="6206"/>
                </a:lnTo>
                <a:lnTo>
                  <a:pt x="1493" y="6210"/>
                </a:lnTo>
                <a:lnTo>
                  <a:pt x="1469" y="6216"/>
                </a:lnTo>
                <a:lnTo>
                  <a:pt x="1446" y="6219"/>
                </a:lnTo>
                <a:lnTo>
                  <a:pt x="1423" y="6223"/>
                </a:lnTo>
                <a:lnTo>
                  <a:pt x="1401" y="6227"/>
                </a:lnTo>
                <a:lnTo>
                  <a:pt x="1388" y="6229"/>
                </a:lnTo>
                <a:lnTo>
                  <a:pt x="1376" y="6231"/>
                </a:lnTo>
                <a:lnTo>
                  <a:pt x="1364" y="6233"/>
                </a:lnTo>
                <a:lnTo>
                  <a:pt x="1355" y="6236"/>
                </a:lnTo>
                <a:lnTo>
                  <a:pt x="1349" y="6237"/>
                </a:lnTo>
                <a:lnTo>
                  <a:pt x="1344" y="6238"/>
                </a:lnTo>
                <a:lnTo>
                  <a:pt x="1342" y="6239"/>
                </a:lnTo>
                <a:lnTo>
                  <a:pt x="1341" y="6241"/>
                </a:lnTo>
                <a:lnTo>
                  <a:pt x="1339" y="6244"/>
                </a:lnTo>
                <a:lnTo>
                  <a:pt x="1339" y="6246"/>
                </a:lnTo>
                <a:lnTo>
                  <a:pt x="1341" y="6249"/>
                </a:lnTo>
                <a:lnTo>
                  <a:pt x="1342" y="6252"/>
                </a:lnTo>
                <a:lnTo>
                  <a:pt x="1347" y="6260"/>
                </a:lnTo>
                <a:lnTo>
                  <a:pt x="1351" y="6267"/>
                </a:lnTo>
                <a:lnTo>
                  <a:pt x="1360" y="6277"/>
                </a:lnTo>
                <a:lnTo>
                  <a:pt x="1368" y="6288"/>
                </a:lnTo>
                <a:lnTo>
                  <a:pt x="1379" y="6299"/>
                </a:lnTo>
                <a:lnTo>
                  <a:pt x="1389" y="6311"/>
                </a:lnTo>
                <a:lnTo>
                  <a:pt x="1396" y="6318"/>
                </a:lnTo>
                <a:lnTo>
                  <a:pt x="1404" y="6325"/>
                </a:lnTo>
                <a:lnTo>
                  <a:pt x="1408" y="6330"/>
                </a:lnTo>
                <a:lnTo>
                  <a:pt x="1412" y="6334"/>
                </a:lnTo>
                <a:lnTo>
                  <a:pt x="1414" y="6338"/>
                </a:lnTo>
                <a:lnTo>
                  <a:pt x="1414" y="6344"/>
                </a:lnTo>
                <a:lnTo>
                  <a:pt x="1414" y="6348"/>
                </a:lnTo>
                <a:lnTo>
                  <a:pt x="1412" y="6351"/>
                </a:lnTo>
                <a:lnTo>
                  <a:pt x="1408" y="6355"/>
                </a:lnTo>
                <a:lnTo>
                  <a:pt x="1405" y="6358"/>
                </a:lnTo>
                <a:lnTo>
                  <a:pt x="1389" y="6371"/>
                </a:lnTo>
                <a:lnTo>
                  <a:pt x="1377" y="6381"/>
                </a:lnTo>
                <a:lnTo>
                  <a:pt x="1369" y="6390"/>
                </a:lnTo>
                <a:lnTo>
                  <a:pt x="1361" y="6401"/>
                </a:lnTo>
                <a:lnTo>
                  <a:pt x="1354" y="6412"/>
                </a:lnTo>
                <a:lnTo>
                  <a:pt x="1349" y="6419"/>
                </a:lnTo>
                <a:lnTo>
                  <a:pt x="1345" y="6424"/>
                </a:lnTo>
                <a:lnTo>
                  <a:pt x="1341" y="6428"/>
                </a:lnTo>
                <a:lnTo>
                  <a:pt x="1336" y="6431"/>
                </a:lnTo>
                <a:lnTo>
                  <a:pt x="1331" y="6433"/>
                </a:lnTo>
                <a:lnTo>
                  <a:pt x="1324" y="6434"/>
                </a:lnTo>
                <a:lnTo>
                  <a:pt x="1316" y="6434"/>
                </a:lnTo>
                <a:lnTo>
                  <a:pt x="1307" y="6433"/>
                </a:lnTo>
                <a:lnTo>
                  <a:pt x="1297" y="6432"/>
                </a:lnTo>
                <a:lnTo>
                  <a:pt x="1285" y="6431"/>
                </a:lnTo>
                <a:lnTo>
                  <a:pt x="1272" y="6432"/>
                </a:lnTo>
                <a:lnTo>
                  <a:pt x="1265" y="6433"/>
                </a:lnTo>
                <a:lnTo>
                  <a:pt x="1256" y="6433"/>
                </a:lnTo>
                <a:lnTo>
                  <a:pt x="1250" y="6430"/>
                </a:lnTo>
                <a:lnTo>
                  <a:pt x="1244" y="6425"/>
                </a:lnTo>
                <a:lnTo>
                  <a:pt x="1240" y="6420"/>
                </a:lnTo>
                <a:lnTo>
                  <a:pt x="1235" y="6414"/>
                </a:lnTo>
                <a:lnTo>
                  <a:pt x="1228" y="6408"/>
                </a:lnTo>
                <a:lnTo>
                  <a:pt x="1219" y="6402"/>
                </a:lnTo>
                <a:lnTo>
                  <a:pt x="1211" y="6396"/>
                </a:lnTo>
                <a:lnTo>
                  <a:pt x="1202" y="6392"/>
                </a:lnTo>
                <a:lnTo>
                  <a:pt x="1190" y="6386"/>
                </a:lnTo>
                <a:lnTo>
                  <a:pt x="1179" y="6382"/>
                </a:lnTo>
                <a:lnTo>
                  <a:pt x="1177" y="6381"/>
                </a:lnTo>
                <a:lnTo>
                  <a:pt x="1174" y="6380"/>
                </a:lnTo>
                <a:lnTo>
                  <a:pt x="1168" y="6377"/>
                </a:lnTo>
                <a:lnTo>
                  <a:pt x="1165" y="6375"/>
                </a:lnTo>
                <a:lnTo>
                  <a:pt x="1161" y="6371"/>
                </a:lnTo>
                <a:lnTo>
                  <a:pt x="1160" y="6367"/>
                </a:lnTo>
                <a:lnTo>
                  <a:pt x="1160" y="6364"/>
                </a:lnTo>
                <a:lnTo>
                  <a:pt x="1160" y="6362"/>
                </a:lnTo>
                <a:lnTo>
                  <a:pt x="1161" y="6356"/>
                </a:lnTo>
                <a:lnTo>
                  <a:pt x="1161" y="6349"/>
                </a:lnTo>
                <a:lnTo>
                  <a:pt x="1160" y="6346"/>
                </a:lnTo>
                <a:lnTo>
                  <a:pt x="1160" y="6343"/>
                </a:lnTo>
                <a:lnTo>
                  <a:pt x="1159" y="6342"/>
                </a:lnTo>
                <a:lnTo>
                  <a:pt x="1156" y="6339"/>
                </a:lnTo>
                <a:lnTo>
                  <a:pt x="1154" y="6337"/>
                </a:lnTo>
                <a:lnTo>
                  <a:pt x="1149" y="6336"/>
                </a:lnTo>
                <a:lnTo>
                  <a:pt x="1147" y="6334"/>
                </a:lnTo>
                <a:lnTo>
                  <a:pt x="1146" y="6333"/>
                </a:lnTo>
                <a:lnTo>
                  <a:pt x="1143" y="6331"/>
                </a:lnTo>
                <a:lnTo>
                  <a:pt x="1141" y="6327"/>
                </a:lnTo>
                <a:lnTo>
                  <a:pt x="1137" y="6319"/>
                </a:lnTo>
                <a:lnTo>
                  <a:pt x="1135" y="6311"/>
                </a:lnTo>
                <a:lnTo>
                  <a:pt x="1134" y="6306"/>
                </a:lnTo>
                <a:lnTo>
                  <a:pt x="1133" y="6301"/>
                </a:lnTo>
                <a:lnTo>
                  <a:pt x="1129" y="6295"/>
                </a:lnTo>
                <a:lnTo>
                  <a:pt x="1124" y="6289"/>
                </a:lnTo>
                <a:lnTo>
                  <a:pt x="1117" y="6286"/>
                </a:lnTo>
                <a:lnTo>
                  <a:pt x="1111" y="6285"/>
                </a:lnTo>
                <a:lnTo>
                  <a:pt x="1108" y="6283"/>
                </a:lnTo>
                <a:lnTo>
                  <a:pt x="1104" y="6283"/>
                </a:lnTo>
                <a:lnTo>
                  <a:pt x="1099" y="6285"/>
                </a:lnTo>
                <a:lnTo>
                  <a:pt x="1095" y="6286"/>
                </a:lnTo>
                <a:lnTo>
                  <a:pt x="1084" y="6289"/>
                </a:lnTo>
                <a:lnTo>
                  <a:pt x="1073" y="6292"/>
                </a:lnTo>
                <a:lnTo>
                  <a:pt x="1067" y="6293"/>
                </a:lnTo>
                <a:lnTo>
                  <a:pt x="1061" y="6293"/>
                </a:lnTo>
                <a:lnTo>
                  <a:pt x="1059" y="6292"/>
                </a:lnTo>
                <a:lnTo>
                  <a:pt x="1055" y="6290"/>
                </a:lnTo>
                <a:lnTo>
                  <a:pt x="1049" y="6283"/>
                </a:lnTo>
                <a:lnTo>
                  <a:pt x="1045" y="6275"/>
                </a:lnTo>
                <a:lnTo>
                  <a:pt x="1041" y="6268"/>
                </a:lnTo>
                <a:lnTo>
                  <a:pt x="1037" y="6260"/>
                </a:lnTo>
                <a:lnTo>
                  <a:pt x="1030" y="6243"/>
                </a:lnTo>
                <a:lnTo>
                  <a:pt x="1024" y="6225"/>
                </a:lnTo>
                <a:lnTo>
                  <a:pt x="1022" y="6206"/>
                </a:lnTo>
                <a:lnTo>
                  <a:pt x="1021" y="6191"/>
                </a:lnTo>
                <a:lnTo>
                  <a:pt x="1020" y="6167"/>
                </a:lnTo>
                <a:lnTo>
                  <a:pt x="1021" y="6142"/>
                </a:lnTo>
                <a:lnTo>
                  <a:pt x="1023" y="6119"/>
                </a:lnTo>
                <a:lnTo>
                  <a:pt x="1026" y="6100"/>
                </a:lnTo>
                <a:lnTo>
                  <a:pt x="1028" y="6093"/>
                </a:lnTo>
                <a:lnTo>
                  <a:pt x="1028" y="6087"/>
                </a:lnTo>
                <a:lnTo>
                  <a:pt x="1028" y="6085"/>
                </a:lnTo>
                <a:lnTo>
                  <a:pt x="1028" y="6084"/>
                </a:lnTo>
                <a:lnTo>
                  <a:pt x="1028" y="6082"/>
                </a:lnTo>
                <a:lnTo>
                  <a:pt x="1027" y="6082"/>
                </a:lnTo>
                <a:lnTo>
                  <a:pt x="1023" y="6082"/>
                </a:lnTo>
                <a:lnTo>
                  <a:pt x="1018" y="6082"/>
                </a:lnTo>
                <a:lnTo>
                  <a:pt x="1004" y="6081"/>
                </a:lnTo>
                <a:lnTo>
                  <a:pt x="986" y="6080"/>
                </a:lnTo>
                <a:lnTo>
                  <a:pt x="976" y="6079"/>
                </a:lnTo>
                <a:lnTo>
                  <a:pt x="964" y="6079"/>
                </a:lnTo>
                <a:lnTo>
                  <a:pt x="951" y="6078"/>
                </a:lnTo>
                <a:lnTo>
                  <a:pt x="938" y="6077"/>
                </a:lnTo>
                <a:lnTo>
                  <a:pt x="932" y="6077"/>
                </a:lnTo>
                <a:lnTo>
                  <a:pt x="926" y="6075"/>
                </a:lnTo>
                <a:lnTo>
                  <a:pt x="920" y="6074"/>
                </a:lnTo>
                <a:lnTo>
                  <a:pt x="915" y="6071"/>
                </a:lnTo>
                <a:lnTo>
                  <a:pt x="911" y="6066"/>
                </a:lnTo>
                <a:lnTo>
                  <a:pt x="909" y="6059"/>
                </a:lnTo>
                <a:lnTo>
                  <a:pt x="908" y="6052"/>
                </a:lnTo>
                <a:lnTo>
                  <a:pt x="906" y="6044"/>
                </a:lnTo>
                <a:lnTo>
                  <a:pt x="906" y="6042"/>
                </a:lnTo>
                <a:lnTo>
                  <a:pt x="904" y="6040"/>
                </a:lnTo>
                <a:lnTo>
                  <a:pt x="903" y="6038"/>
                </a:lnTo>
                <a:lnTo>
                  <a:pt x="902" y="6037"/>
                </a:lnTo>
                <a:lnTo>
                  <a:pt x="901" y="6036"/>
                </a:lnTo>
                <a:lnTo>
                  <a:pt x="898" y="6035"/>
                </a:lnTo>
                <a:lnTo>
                  <a:pt x="895" y="6035"/>
                </a:lnTo>
                <a:lnTo>
                  <a:pt x="891" y="6034"/>
                </a:lnTo>
                <a:lnTo>
                  <a:pt x="883" y="6034"/>
                </a:lnTo>
                <a:lnTo>
                  <a:pt x="875" y="6033"/>
                </a:lnTo>
                <a:lnTo>
                  <a:pt x="870" y="6031"/>
                </a:lnTo>
                <a:lnTo>
                  <a:pt x="866" y="6030"/>
                </a:lnTo>
                <a:lnTo>
                  <a:pt x="863" y="6028"/>
                </a:lnTo>
                <a:lnTo>
                  <a:pt x="862" y="6027"/>
                </a:lnTo>
                <a:lnTo>
                  <a:pt x="859" y="6022"/>
                </a:lnTo>
                <a:lnTo>
                  <a:pt x="858" y="6017"/>
                </a:lnTo>
                <a:lnTo>
                  <a:pt x="857" y="6008"/>
                </a:lnTo>
                <a:lnTo>
                  <a:pt x="857" y="5997"/>
                </a:lnTo>
                <a:lnTo>
                  <a:pt x="856" y="5986"/>
                </a:lnTo>
                <a:lnTo>
                  <a:pt x="854" y="5977"/>
                </a:lnTo>
                <a:lnTo>
                  <a:pt x="851" y="5965"/>
                </a:lnTo>
                <a:lnTo>
                  <a:pt x="845" y="5953"/>
                </a:lnTo>
                <a:lnTo>
                  <a:pt x="841" y="5947"/>
                </a:lnTo>
                <a:lnTo>
                  <a:pt x="837" y="5941"/>
                </a:lnTo>
                <a:lnTo>
                  <a:pt x="832" y="5936"/>
                </a:lnTo>
                <a:lnTo>
                  <a:pt x="826" y="5933"/>
                </a:lnTo>
                <a:lnTo>
                  <a:pt x="819" y="5929"/>
                </a:lnTo>
                <a:lnTo>
                  <a:pt x="812" y="5927"/>
                </a:lnTo>
                <a:lnTo>
                  <a:pt x="804" y="5926"/>
                </a:lnTo>
                <a:lnTo>
                  <a:pt x="797" y="5924"/>
                </a:lnTo>
                <a:lnTo>
                  <a:pt x="785" y="5921"/>
                </a:lnTo>
                <a:lnTo>
                  <a:pt x="775" y="5915"/>
                </a:lnTo>
                <a:lnTo>
                  <a:pt x="764" y="5910"/>
                </a:lnTo>
                <a:lnTo>
                  <a:pt x="755" y="5905"/>
                </a:lnTo>
                <a:lnTo>
                  <a:pt x="750" y="5903"/>
                </a:lnTo>
                <a:lnTo>
                  <a:pt x="746" y="5901"/>
                </a:lnTo>
                <a:lnTo>
                  <a:pt x="738" y="5895"/>
                </a:lnTo>
                <a:lnTo>
                  <a:pt x="731" y="5889"/>
                </a:lnTo>
                <a:lnTo>
                  <a:pt x="721" y="5878"/>
                </a:lnTo>
                <a:lnTo>
                  <a:pt x="715" y="5869"/>
                </a:lnTo>
                <a:lnTo>
                  <a:pt x="706" y="5855"/>
                </a:lnTo>
                <a:lnTo>
                  <a:pt x="697" y="5844"/>
                </a:lnTo>
                <a:lnTo>
                  <a:pt x="688" y="5834"/>
                </a:lnTo>
                <a:lnTo>
                  <a:pt x="681" y="5829"/>
                </a:lnTo>
                <a:lnTo>
                  <a:pt x="677" y="5828"/>
                </a:lnTo>
                <a:lnTo>
                  <a:pt x="673" y="5827"/>
                </a:lnTo>
                <a:lnTo>
                  <a:pt x="670" y="5827"/>
                </a:lnTo>
                <a:lnTo>
                  <a:pt x="668" y="5827"/>
                </a:lnTo>
                <a:lnTo>
                  <a:pt x="665" y="5827"/>
                </a:lnTo>
                <a:lnTo>
                  <a:pt x="663" y="5827"/>
                </a:lnTo>
                <a:lnTo>
                  <a:pt x="659" y="5827"/>
                </a:lnTo>
                <a:lnTo>
                  <a:pt x="655" y="5828"/>
                </a:lnTo>
                <a:lnTo>
                  <a:pt x="651" y="5828"/>
                </a:lnTo>
                <a:lnTo>
                  <a:pt x="648" y="5829"/>
                </a:lnTo>
                <a:lnTo>
                  <a:pt x="636" y="5830"/>
                </a:lnTo>
                <a:lnTo>
                  <a:pt x="625" y="5833"/>
                </a:lnTo>
                <a:lnTo>
                  <a:pt x="612" y="5835"/>
                </a:lnTo>
                <a:lnTo>
                  <a:pt x="600" y="5835"/>
                </a:lnTo>
                <a:lnTo>
                  <a:pt x="598" y="5834"/>
                </a:lnTo>
                <a:lnTo>
                  <a:pt x="596" y="5833"/>
                </a:lnTo>
                <a:lnTo>
                  <a:pt x="599" y="5829"/>
                </a:lnTo>
                <a:lnTo>
                  <a:pt x="605" y="5826"/>
                </a:lnTo>
                <a:lnTo>
                  <a:pt x="612" y="5822"/>
                </a:lnTo>
                <a:lnTo>
                  <a:pt x="620" y="5819"/>
                </a:lnTo>
                <a:lnTo>
                  <a:pt x="637" y="5814"/>
                </a:lnTo>
                <a:lnTo>
                  <a:pt x="655" y="5808"/>
                </a:lnTo>
                <a:lnTo>
                  <a:pt x="667" y="5803"/>
                </a:lnTo>
                <a:lnTo>
                  <a:pt x="680" y="5798"/>
                </a:lnTo>
                <a:lnTo>
                  <a:pt x="692" y="5792"/>
                </a:lnTo>
                <a:lnTo>
                  <a:pt x="703" y="5788"/>
                </a:lnTo>
                <a:lnTo>
                  <a:pt x="719" y="5781"/>
                </a:lnTo>
                <a:lnTo>
                  <a:pt x="732" y="5775"/>
                </a:lnTo>
                <a:lnTo>
                  <a:pt x="743" y="5769"/>
                </a:lnTo>
                <a:lnTo>
                  <a:pt x="749" y="5765"/>
                </a:lnTo>
                <a:lnTo>
                  <a:pt x="759" y="5754"/>
                </a:lnTo>
                <a:lnTo>
                  <a:pt x="772" y="5739"/>
                </a:lnTo>
                <a:lnTo>
                  <a:pt x="780" y="5728"/>
                </a:lnTo>
                <a:lnTo>
                  <a:pt x="788" y="5719"/>
                </a:lnTo>
                <a:lnTo>
                  <a:pt x="795" y="5707"/>
                </a:lnTo>
                <a:lnTo>
                  <a:pt x="801" y="5696"/>
                </a:lnTo>
                <a:lnTo>
                  <a:pt x="808" y="5680"/>
                </a:lnTo>
                <a:lnTo>
                  <a:pt x="814" y="5664"/>
                </a:lnTo>
                <a:lnTo>
                  <a:pt x="819" y="5651"/>
                </a:lnTo>
                <a:lnTo>
                  <a:pt x="820" y="5642"/>
                </a:lnTo>
                <a:lnTo>
                  <a:pt x="821" y="5633"/>
                </a:lnTo>
                <a:lnTo>
                  <a:pt x="822" y="5626"/>
                </a:lnTo>
                <a:lnTo>
                  <a:pt x="822" y="5621"/>
                </a:lnTo>
                <a:lnTo>
                  <a:pt x="822" y="5617"/>
                </a:lnTo>
                <a:lnTo>
                  <a:pt x="823" y="5609"/>
                </a:lnTo>
                <a:lnTo>
                  <a:pt x="825" y="5603"/>
                </a:lnTo>
                <a:lnTo>
                  <a:pt x="827" y="5598"/>
                </a:lnTo>
                <a:lnTo>
                  <a:pt x="829" y="5593"/>
                </a:lnTo>
                <a:lnTo>
                  <a:pt x="835" y="5586"/>
                </a:lnTo>
                <a:lnTo>
                  <a:pt x="841" y="5580"/>
                </a:lnTo>
                <a:lnTo>
                  <a:pt x="851" y="5570"/>
                </a:lnTo>
                <a:lnTo>
                  <a:pt x="859" y="5559"/>
                </a:lnTo>
                <a:lnTo>
                  <a:pt x="865" y="5550"/>
                </a:lnTo>
                <a:lnTo>
                  <a:pt x="871" y="5539"/>
                </a:lnTo>
                <a:lnTo>
                  <a:pt x="875" y="5529"/>
                </a:lnTo>
                <a:lnTo>
                  <a:pt x="877" y="5517"/>
                </a:lnTo>
                <a:lnTo>
                  <a:pt x="878" y="5505"/>
                </a:lnTo>
                <a:lnTo>
                  <a:pt x="877" y="5492"/>
                </a:lnTo>
                <a:lnTo>
                  <a:pt x="875" y="5479"/>
                </a:lnTo>
                <a:lnTo>
                  <a:pt x="870" y="5466"/>
                </a:lnTo>
                <a:lnTo>
                  <a:pt x="867" y="5455"/>
                </a:lnTo>
                <a:lnTo>
                  <a:pt x="864" y="5445"/>
                </a:lnTo>
                <a:lnTo>
                  <a:pt x="860" y="5436"/>
                </a:lnTo>
                <a:lnTo>
                  <a:pt x="856" y="5428"/>
                </a:lnTo>
                <a:lnTo>
                  <a:pt x="853" y="5426"/>
                </a:lnTo>
                <a:lnTo>
                  <a:pt x="851" y="5423"/>
                </a:lnTo>
                <a:lnTo>
                  <a:pt x="843" y="5417"/>
                </a:lnTo>
                <a:lnTo>
                  <a:pt x="829" y="5411"/>
                </a:lnTo>
                <a:lnTo>
                  <a:pt x="819" y="5407"/>
                </a:lnTo>
                <a:lnTo>
                  <a:pt x="806" y="5404"/>
                </a:lnTo>
                <a:lnTo>
                  <a:pt x="793" y="5400"/>
                </a:lnTo>
                <a:lnTo>
                  <a:pt x="780" y="5397"/>
                </a:lnTo>
                <a:lnTo>
                  <a:pt x="768" y="5394"/>
                </a:lnTo>
                <a:lnTo>
                  <a:pt x="756" y="5391"/>
                </a:lnTo>
                <a:lnTo>
                  <a:pt x="744" y="5387"/>
                </a:lnTo>
                <a:lnTo>
                  <a:pt x="733" y="5385"/>
                </a:lnTo>
                <a:lnTo>
                  <a:pt x="724" y="5382"/>
                </a:lnTo>
                <a:lnTo>
                  <a:pt x="714" y="5379"/>
                </a:lnTo>
                <a:lnTo>
                  <a:pt x="706" y="5376"/>
                </a:lnTo>
                <a:lnTo>
                  <a:pt x="697" y="5375"/>
                </a:lnTo>
                <a:lnTo>
                  <a:pt x="693" y="5376"/>
                </a:lnTo>
                <a:lnTo>
                  <a:pt x="688" y="5379"/>
                </a:lnTo>
                <a:lnTo>
                  <a:pt x="686" y="5384"/>
                </a:lnTo>
                <a:lnTo>
                  <a:pt x="682" y="5390"/>
                </a:lnTo>
                <a:lnTo>
                  <a:pt x="677" y="5398"/>
                </a:lnTo>
                <a:lnTo>
                  <a:pt x="673" y="5404"/>
                </a:lnTo>
                <a:lnTo>
                  <a:pt x="668" y="5407"/>
                </a:lnTo>
                <a:lnTo>
                  <a:pt x="662" y="5410"/>
                </a:lnTo>
                <a:lnTo>
                  <a:pt x="650" y="5412"/>
                </a:lnTo>
                <a:lnTo>
                  <a:pt x="637" y="5413"/>
                </a:lnTo>
                <a:lnTo>
                  <a:pt x="626" y="5413"/>
                </a:lnTo>
                <a:lnTo>
                  <a:pt x="614" y="5411"/>
                </a:lnTo>
                <a:lnTo>
                  <a:pt x="599" y="5407"/>
                </a:lnTo>
                <a:lnTo>
                  <a:pt x="582" y="5403"/>
                </a:lnTo>
                <a:lnTo>
                  <a:pt x="574" y="5399"/>
                </a:lnTo>
                <a:lnTo>
                  <a:pt x="564" y="5394"/>
                </a:lnTo>
                <a:lnTo>
                  <a:pt x="560" y="5393"/>
                </a:lnTo>
                <a:lnTo>
                  <a:pt x="555" y="5393"/>
                </a:lnTo>
                <a:lnTo>
                  <a:pt x="550" y="5392"/>
                </a:lnTo>
                <a:lnTo>
                  <a:pt x="545" y="5393"/>
                </a:lnTo>
                <a:lnTo>
                  <a:pt x="541" y="5394"/>
                </a:lnTo>
                <a:lnTo>
                  <a:pt x="535" y="5395"/>
                </a:lnTo>
                <a:lnTo>
                  <a:pt x="524" y="5398"/>
                </a:lnTo>
                <a:lnTo>
                  <a:pt x="514" y="5403"/>
                </a:lnTo>
                <a:lnTo>
                  <a:pt x="505" y="5406"/>
                </a:lnTo>
                <a:lnTo>
                  <a:pt x="495" y="5410"/>
                </a:lnTo>
                <a:lnTo>
                  <a:pt x="484" y="5414"/>
                </a:lnTo>
                <a:lnTo>
                  <a:pt x="473" y="5418"/>
                </a:lnTo>
                <a:lnTo>
                  <a:pt x="462" y="5423"/>
                </a:lnTo>
                <a:lnTo>
                  <a:pt x="453" y="5426"/>
                </a:lnTo>
                <a:lnTo>
                  <a:pt x="443" y="5430"/>
                </a:lnTo>
                <a:lnTo>
                  <a:pt x="435" y="5433"/>
                </a:lnTo>
                <a:lnTo>
                  <a:pt x="428" y="5438"/>
                </a:lnTo>
                <a:lnTo>
                  <a:pt x="421" y="5443"/>
                </a:lnTo>
                <a:lnTo>
                  <a:pt x="410" y="5453"/>
                </a:lnTo>
                <a:lnTo>
                  <a:pt x="403" y="5461"/>
                </a:lnTo>
                <a:lnTo>
                  <a:pt x="400" y="5463"/>
                </a:lnTo>
                <a:lnTo>
                  <a:pt x="398" y="5464"/>
                </a:lnTo>
                <a:lnTo>
                  <a:pt x="397" y="5464"/>
                </a:lnTo>
                <a:lnTo>
                  <a:pt x="397" y="5464"/>
                </a:lnTo>
                <a:lnTo>
                  <a:pt x="394" y="5462"/>
                </a:lnTo>
                <a:lnTo>
                  <a:pt x="392" y="5460"/>
                </a:lnTo>
                <a:lnTo>
                  <a:pt x="388" y="5453"/>
                </a:lnTo>
                <a:lnTo>
                  <a:pt x="385" y="5445"/>
                </a:lnTo>
                <a:lnTo>
                  <a:pt x="380" y="5433"/>
                </a:lnTo>
                <a:lnTo>
                  <a:pt x="377" y="5426"/>
                </a:lnTo>
                <a:lnTo>
                  <a:pt x="374" y="5419"/>
                </a:lnTo>
                <a:lnTo>
                  <a:pt x="372" y="5414"/>
                </a:lnTo>
                <a:lnTo>
                  <a:pt x="371" y="5412"/>
                </a:lnTo>
                <a:lnTo>
                  <a:pt x="368" y="5411"/>
                </a:lnTo>
                <a:lnTo>
                  <a:pt x="367" y="5410"/>
                </a:lnTo>
                <a:lnTo>
                  <a:pt x="365" y="5410"/>
                </a:lnTo>
                <a:lnTo>
                  <a:pt x="358" y="5410"/>
                </a:lnTo>
                <a:lnTo>
                  <a:pt x="350" y="5411"/>
                </a:lnTo>
                <a:lnTo>
                  <a:pt x="342" y="5413"/>
                </a:lnTo>
                <a:lnTo>
                  <a:pt x="337" y="5418"/>
                </a:lnTo>
                <a:lnTo>
                  <a:pt x="336" y="5419"/>
                </a:lnTo>
                <a:lnTo>
                  <a:pt x="335" y="5422"/>
                </a:lnTo>
                <a:lnTo>
                  <a:pt x="337" y="5429"/>
                </a:lnTo>
                <a:lnTo>
                  <a:pt x="343" y="5439"/>
                </a:lnTo>
                <a:lnTo>
                  <a:pt x="348" y="5449"/>
                </a:lnTo>
                <a:lnTo>
                  <a:pt x="350" y="5456"/>
                </a:lnTo>
                <a:lnTo>
                  <a:pt x="350" y="5461"/>
                </a:lnTo>
                <a:lnTo>
                  <a:pt x="348" y="5463"/>
                </a:lnTo>
                <a:lnTo>
                  <a:pt x="319" y="5477"/>
                </a:lnTo>
                <a:lnTo>
                  <a:pt x="296" y="5487"/>
                </a:lnTo>
                <a:lnTo>
                  <a:pt x="280" y="5492"/>
                </a:lnTo>
                <a:lnTo>
                  <a:pt x="272" y="5493"/>
                </a:lnTo>
                <a:lnTo>
                  <a:pt x="271" y="5492"/>
                </a:lnTo>
                <a:lnTo>
                  <a:pt x="270" y="5491"/>
                </a:lnTo>
                <a:lnTo>
                  <a:pt x="268" y="5489"/>
                </a:lnTo>
                <a:lnTo>
                  <a:pt x="268" y="5487"/>
                </a:lnTo>
                <a:lnTo>
                  <a:pt x="272" y="5476"/>
                </a:lnTo>
                <a:lnTo>
                  <a:pt x="274" y="5464"/>
                </a:lnTo>
                <a:lnTo>
                  <a:pt x="273" y="5449"/>
                </a:lnTo>
                <a:lnTo>
                  <a:pt x="272" y="5441"/>
                </a:lnTo>
                <a:lnTo>
                  <a:pt x="272" y="5432"/>
                </a:lnTo>
                <a:lnTo>
                  <a:pt x="272" y="5422"/>
                </a:lnTo>
                <a:lnTo>
                  <a:pt x="274" y="5411"/>
                </a:lnTo>
                <a:lnTo>
                  <a:pt x="277" y="5400"/>
                </a:lnTo>
                <a:lnTo>
                  <a:pt x="280" y="5387"/>
                </a:lnTo>
                <a:lnTo>
                  <a:pt x="281" y="5376"/>
                </a:lnTo>
                <a:lnTo>
                  <a:pt x="283" y="5367"/>
                </a:lnTo>
                <a:lnTo>
                  <a:pt x="284" y="5359"/>
                </a:lnTo>
                <a:lnTo>
                  <a:pt x="283" y="5348"/>
                </a:lnTo>
                <a:lnTo>
                  <a:pt x="280" y="5342"/>
                </a:lnTo>
                <a:lnTo>
                  <a:pt x="272" y="5330"/>
                </a:lnTo>
                <a:lnTo>
                  <a:pt x="262" y="5321"/>
                </a:lnTo>
                <a:lnTo>
                  <a:pt x="253" y="5312"/>
                </a:lnTo>
                <a:lnTo>
                  <a:pt x="242" y="5303"/>
                </a:lnTo>
                <a:lnTo>
                  <a:pt x="231" y="5291"/>
                </a:lnTo>
                <a:lnTo>
                  <a:pt x="221" y="5279"/>
                </a:lnTo>
                <a:lnTo>
                  <a:pt x="210" y="5267"/>
                </a:lnTo>
                <a:lnTo>
                  <a:pt x="199" y="5256"/>
                </a:lnTo>
                <a:lnTo>
                  <a:pt x="197" y="5253"/>
                </a:lnTo>
                <a:lnTo>
                  <a:pt x="193" y="5249"/>
                </a:lnTo>
                <a:lnTo>
                  <a:pt x="190" y="5247"/>
                </a:lnTo>
                <a:lnTo>
                  <a:pt x="186" y="5246"/>
                </a:lnTo>
                <a:lnTo>
                  <a:pt x="184" y="5245"/>
                </a:lnTo>
                <a:lnTo>
                  <a:pt x="180" y="5246"/>
                </a:lnTo>
                <a:lnTo>
                  <a:pt x="178" y="5247"/>
                </a:lnTo>
                <a:lnTo>
                  <a:pt x="174" y="5247"/>
                </a:lnTo>
                <a:lnTo>
                  <a:pt x="170" y="5245"/>
                </a:lnTo>
                <a:lnTo>
                  <a:pt x="167" y="5241"/>
                </a:lnTo>
                <a:lnTo>
                  <a:pt x="164" y="5236"/>
                </a:lnTo>
                <a:lnTo>
                  <a:pt x="161" y="5231"/>
                </a:lnTo>
                <a:lnTo>
                  <a:pt x="157" y="5223"/>
                </a:lnTo>
                <a:lnTo>
                  <a:pt x="151" y="5212"/>
                </a:lnTo>
                <a:lnTo>
                  <a:pt x="145" y="5201"/>
                </a:lnTo>
                <a:lnTo>
                  <a:pt x="138" y="5187"/>
                </a:lnTo>
                <a:lnTo>
                  <a:pt x="130" y="5173"/>
                </a:lnTo>
                <a:lnTo>
                  <a:pt x="123" y="5158"/>
                </a:lnTo>
                <a:lnTo>
                  <a:pt x="115" y="5142"/>
                </a:lnTo>
                <a:lnTo>
                  <a:pt x="107" y="5129"/>
                </a:lnTo>
                <a:lnTo>
                  <a:pt x="97" y="5113"/>
                </a:lnTo>
                <a:lnTo>
                  <a:pt x="88" y="5101"/>
                </a:lnTo>
                <a:lnTo>
                  <a:pt x="77" y="5089"/>
                </a:lnTo>
                <a:lnTo>
                  <a:pt x="69" y="5076"/>
                </a:lnTo>
                <a:lnTo>
                  <a:pt x="69" y="5072"/>
                </a:lnTo>
                <a:lnTo>
                  <a:pt x="70" y="5070"/>
                </a:lnTo>
                <a:lnTo>
                  <a:pt x="77" y="5063"/>
                </a:lnTo>
                <a:lnTo>
                  <a:pt x="85" y="5054"/>
                </a:lnTo>
                <a:lnTo>
                  <a:pt x="91" y="5048"/>
                </a:lnTo>
                <a:lnTo>
                  <a:pt x="97" y="5042"/>
                </a:lnTo>
                <a:lnTo>
                  <a:pt x="107" y="5034"/>
                </a:lnTo>
                <a:lnTo>
                  <a:pt x="116" y="5026"/>
                </a:lnTo>
                <a:lnTo>
                  <a:pt x="125" y="5017"/>
                </a:lnTo>
                <a:lnTo>
                  <a:pt x="134" y="5010"/>
                </a:lnTo>
                <a:lnTo>
                  <a:pt x="135" y="5010"/>
                </a:lnTo>
                <a:lnTo>
                  <a:pt x="136" y="5009"/>
                </a:lnTo>
                <a:lnTo>
                  <a:pt x="145" y="5004"/>
                </a:lnTo>
                <a:lnTo>
                  <a:pt x="152" y="5000"/>
                </a:lnTo>
                <a:lnTo>
                  <a:pt x="155" y="4996"/>
                </a:lnTo>
                <a:lnTo>
                  <a:pt x="157" y="4994"/>
                </a:lnTo>
                <a:lnTo>
                  <a:pt x="158" y="4990"/>
                </a:lnTo>
                <a:lnTo>
                  <a:pt x="158" y="4985"/>
                </a:lnTo>
                <a:lnTo>
                  <a:pt x="154" y="4970"/>
                </a:lnTo>
                <a:lnTo>
                  <a:pt x="149" y="4954"/>
                </a:lnTo>
                <a:lnTo>
                  <a:pt x="145" y="4938"/>
                </a:lnTo>
                <a:lnTo>
                  <a:pt x="139" y="4922"/>
                </a:lnTo>
                <a:lnTo>
                  <a:pt x="133" y="4907"/>
                </a:lnTo>
                <a:lnTo>
                  <a:pt x="127" y="4890"/>
                </a:lnTo>
                <a:lnTo>
                  <a:pt x="119" y="4862"/>
                </a:lnTo>
                <a:lnTo>
                  <a:pt x="109" y="4833"/>
                </a:lnTo>
                <a:lnTo>
                  <a:pt x="100" y="4805"/>
                </a:lnTo>
                <a:lnTo>
                  <a:pt x="91" y="4776"/>
                </a:lnTo>
                <a:lnTo>
                  <a:pt x="82" y="4748"/>
                </a:lnTo>
                <a:lnTo>
                  <a:pt x="73" y="4720"/>
                </a:lnTo>
                <a:lnTo>
                  <a:pt x="65" y="4694"/>
                </a:lnTo>
                <a:lnTo>
                  <a:pt x="58" y="4668"/>
                </a:lnTo>
                <a:lnTo>
                  <a:pt x="45" y="4624"/>
                </a:lnTo>
                <a:lnTo>
                  <a:pt x="33" y="4581"/>
                </a:lnTo>
                <a:lnTo>
                  <a:pt x="22" y="4543"/>
                </a:lnTo>
                <a:lnTo>
                  <a:pt x="14" y="4510"/>
                </a:lnTo>
                <a:lnTo>
                  <a:pt x="10" y="4492"/>
                </a:lnTo>
                <a:lnTo>
                  <a:pt x="7" y="4477"/>
                </a:lnTo>
                <a:lnTo>
                  <a:pt x="4" y="4464"/>
                </a:lnTo>
                <a:lnTo>
                  <a:pt x="1" y="4452"/>
                </a:lnTo>
                <a:lnTo>
                  <a:pt x="0" y="4448"/>
                </a:lnTo>
                <a:lnTo>
                  <a:pt x="1" y="4446"/>
                </a:lnTo>
                <a:lnTo>
                  <a:pt x="10" y="4451"/>
                </a:lnTo>
                <a:lnTo>
                  <a:pt x="35" y="4464"/>
                </a:lnTo>
                <a:lnTo>
                  <a:pt x="50" y="4470"/>
                </a:lnTo>
                <a:lnTo>
                  <a:pt x="66" y="4477"/>
                </a:lnTo>
                <a:lnTo>
                  <a:pt x="84" y="4483"/>
                </a:lnTo>
                <a:lnTo>
                  <a:pt x="104" y="4490"/>
                </a:lnTo>
                <a:lnTo>
                  <a:pt x="123" y="4497"/>
                </a:lnTo>
                <a:lnTo>
                  <a:pt x="144" y="4505"/>
                </a:lnTo>
                <a:lnTo>
                  <a:pt x="164" y="4514"/>
                </a:lnTo>
                <a:lnTo>
                  <a:pt x="186" y="4521"/>
                </a:lnTo>
                <a:lnTo>
                  <a:pt x="221" y="4535"/>
                </a:lnTo>
                <a:lnTo>
                  <a:pt x="258" y="4549"/>
                </a:lnTo>
                <a:lnTo>
                  <a:pt x="277" y="4556"/>
                </a:lnTo>
                <a:lnTo>
                  <a:pt x="297" y="4562"/>
                </a:lnTo>
                <a:lnTo>
                  <a:pt x="317" y="4568"/>
                </a:lnTo>
                <a:lnTo>
                  <a:pt x="340" y="4572"/>
                </a:lnTo>
                <a:lnTo>
                  <a:pt x="384" y="4579"/>
                </a:lnTo>
                <a:lnTo>
                  <a:pt x="430" y="4588"/>
                </a:lnTo>
                <a:lnTo>
                  <a:pt x="476" y="4598"/>
                </a:lnTo>
                <a:lnTo>
                  <a:pt x="523" y="4609"/>
                </a:lnTo>
                <a:lnTo>
                  <a:pt x="571" y="4619"/>
                </a:lnTo>
                <a:lnTo>
                  <a:pt x="619" y="4629"/>
                </a:lnTo>
                <a:lnTo>
                  <a:pt x="668" y="4638"/>
                </a:lnTo>
                <a:lnTo>
                  <a:pt x="718" y="4645"/>
                </a:lnTo>
                <a:lnTo>
                  <a:pt x="738" y="4647"/>
                </a:lnTo>
                <a:lnTo>
                  <a:pt x="758" y="4645"/>
                </a:lnTo>
                <a:lnTo>
                  <a:pt x="778" y="4644"/>
                </a:lnTo>
                <a:lnTo>
                  <a:pt x="797" y="4642"/>
                </a:lnTo>
                <a:lnTo>
                  <a:pt x="818" y="4638"/>
                </a:lnTo>
                <a:lnTo>
                  <a:pt x="838" y="4636"/>
                </a:lnTo>
                <a:lnTo>
                  <a:pt x="858" y="4634"/>
                </a:lnTo>
                <a:lnTo>
                  <a:pt x="878" y="4634"/>
                </a:lnTo>
                <a:lnTo>
                  <a:pt x="894" y="4635"/>
                </a:lnTo>
                <a:lnTo>
                  <a:pt x="908" y="4637"/>
                </a:lnTo>
                <a:lnTo>
                  <a:pt x="923" y="4640"/>
                </a:lnTo>
                <a:lnTo>
                  <a:pt x="938" y="4640"/>
                </a:lnTo>
                <a:lnTo>
                  <a:pt x="947" y="4640"/>
                </a:lnTo>
                <a:lnTo>
                  <a:pt x="955" y="4637"/>
                </a:lnTo>
                <a:lnTo>
                  <a:pt x="964" y="4636"/>
                </a:lnTo>
                <a:lnTo>
                  <a:pt x="972" y="4632"/>
                </a:lnTo>
                <a:lnTo>
                  <a:pt x="980" y="4630"/>
                </a:lnTo>
                <a:lnTo>
                  <a:pt x="989" y="4628"/>
                </a:lnTo>
                <a:lnTo>
                  <a:pt x="997" y="4626"/>
                </a:lnTo>
                <a:lnTo>
                  <a:pt x="1005" y="4626"/>
                </a:lnTo>
                <a:lnTo>
                  <a:pt x="1020" y="4626"/>
                </a:lnTo>
                <a:lnTo>
                  <a:pt x="1035" y="4628"/>
                </a:lnTo>
                <a:lnTo>
                  <a:pt x="1048" y="4629"/>
                </a:lnTo>
                <a:lnTo>
                  <a:pt x="1061" y="4631"/>
                </a:lnTo>
                <a:lnTo>
                  <a:pt x="1074" y="4632"/>
                </a:lnTo>
                <a:lnTo>
                  <a:pt x="1087" y="4635"/>
                </a:lnTo>
                <a:lnTo>
                  <a:pt x="1099" y="4636"/>
                </a:lnTo>
                <a:lnTo>
                  <a:pt x="1111" y="4638"/>
                </a:lnTo>
                <a:lnTo>
                  <a:pt x="1124" y="4641"/>
                </a:lnTo>
                <a:lnTo>
                  <a:pt x="1135" y="4644"/>
                </a:lnTo>
                <a:lnTo>
                  <a:pt x="1173" y="4656"/>
                </a:lnTo>
                <a:lnTo>
                  <a:pt x="1209" y="4669"/>
                </a:lnTo>
                <a:lnTo>
                  <a:pt x="1242" y="4682"/>
                </a:lnTo>
                <a:lnTo>
                  <a:pt x="1274" y="4694"/>
                </a:lnTo>
                <a:lnTo>
                  <a:pt x="1304" y="4706"/>
                </a:lnTo>
                <a:lnTo>
                  <a:pt x="1331" y="4717"/>
                </a:lnTo>
                <a:lnTo>
                  <a:pt x="1356" y="4726"/>
                </a:lnTo>
                <a:lnTo>
                  <a:pt x="1380" y="4735"/>
                </a:lnTo>
                <a:lnTo>
                  <a:pt x="1392" y="4737"/>
                </a:lnTo>
                <a:lnTo>
                  <a:pt x="1402" y="4739"/>
                </a:lnTo>
                <a:lnTo>
                  <a:pt x="1413" y="4741"/>
                </a:lnTo>
                <a:lnTo>
                  <a:pt x="1423" y="4742"/>
                </a:lnTo>
                <a:lnTo>
                  <a:pt x="1431" y="4743"/>
                </a:lnTo>
                <a:lnTo>
                  <a:pt x="1439" y="4744"/>
                </a:lnTo>
                <a:lnTo>
                  <a:pt x="1446" y="4745"/>
                </a:lnTo>
                <a:lnTo>
                  <a:pt x="1451" y="4748"/>
                </a:lnTo>
                <a:lnTo>
                  <a:pt x="1456" y="4751"/>
                </a:lnTo>
                <a:lnTo>
                  <a:pt x="1461" y="4757"/>
                </a:lnTo>
                <a:lnTo>
                  <a:pt x="1464" y="4763"/>
                </a:lnTo>
                <a:lnTo>
                  <a:pt x="1469" y="4770"/>
                </a:lnTo>
                <a:lnTo>
                  <a:pt x="1476" y="4787"/>
                </a:lnTo>
                <a:lnTo>
                  <a:pt x="1484" y="4804"/>
                </a:lnTo>
                <a:lnTo>
                  <a:pt x="1490" y="4815"/>
                </a:lnTo>
                <a:lnTo>
                  <a:pt x="1496" y="4827"/>
                </a:lnTo>
                <a:lnTo>
                  <a:pt x="1502" y="4839"/>
                </a:lnTo>
                <a:lnTo>
                  <a:pt x="1508" y="4850"/>
                </a:lnTo>
                <a:lnTo>
                  <a:pt x="1512" y="4861"/>
                </a:lnTo>
                <a:lnTo>
                  <a:pt x="1515" y="4870"/>
                </a:lnTo>
                <a:lnTo>
                  <a:pt x="1518" y="4875"/>
                </a:lnTo>
                <a:lnTo>
                  <a:pt x="1520" y="4878"/>
                </a:lnTo>
                <a:lnTo>
                  <a:pt x="1522" y="4881"/>
                </a:lnTo>
                <a:lnTo>
                  <a:pt x="1526" y="4883"/>
                </a:lnTo>
                <a:lnTo>
                  <a:pt x="1559" y="4897"/>
                </a:lnTo>
                <a:lnTo>
                  <a:pt x="1583" y="4908"/>
                </a:lnTo>
                <a:lnTo>
                  <a:pt x="1595" y="4911"/>
                </a:lnTo>
                <a:lnTo>
                  <a:pt x="1607" y="4913"/>
                </a:lnTo>
                <a:lnTo>
                  <a:pt x="1621" y="4913"/>
                </a:lnTo>
                <a:lnTo>
                  <a:pt x="1639" y="4913"/>
                </a:lnTo>
                <a:lnTo>
                  <a:pt x="1651" y="4912"/>
                </a:lnTo>
                <a:lnTo>
                  <a:pt x="1663" y="4913"/>
                </a:lnTo>
                <a:lnTo>
                  <a:pt x="1673" y="4914"/>
                </a:lnTo>
                <a:lnTo>
                  <a:pt x="1683" y="4915"/>
                </a:lnTo>
                <a:lnTo>
                  <a:pt x="1703" y="4920"/>
                </a:lnTo>
                <a:lnTo>
                  <a:pt x="1721" y="4927"/>
                </a:lnTo>
                <a:lnTo>
                  <a:pt x="1736" y="4935"/>
                </a:lnTo>
                <a:lnTo>
                  <a:pt x="1753" y="4945"/>
                </a:lnTo>
                <a:lnTo>
                  <a:pt x="1769" y="4954"/>
                </a:lnTo>
                <a:lnTo>
                  <a:pt x="1784" y="4965"/>
                </a:lnTo>
                <a:lnTo>
                  <a:pt x="1824" y="4990"/>
                </a:lnTo>
                <a:lnTo>
                  <a:pt x="1864" y="5014"/>
                </a:lnTo>
                <a:lnTo>
                  <a:pt x="1899" y="5037"/>
                </a:lnTo>
                <a:lnTo>
                  <a:pt x="1931" y="5057"/>
                </a:lnTo>
                <a:lnTo>
                  <a:pt x="1960" y="5073"/>
                </a:lnTo>
                <a:lnTo>
                  <a:pt x="1985" y="5086"/>
                </a:lnTo>
                <a:lnTo>
                  <a:pt x="2003" y="5096"/>
                </a:lnTo>
                <a:lnTo>
                  <a:pt x="2015" y="5101"/>
                </a:lnTo>
                <a:lnTo>
                  <a:pt x="2038" y="5105"/>
                </a:lnTo>
                <a:lnTo>
                  <a:pt x="2059" y="5109"/>
                </a:lnTo>
                <a:lnTo>
                  <a:pt x="2069" y="5110"/>
                </a:lnTo>
                <a:lnTo>
                  <a:pt x="2081" y="5110"/>
                </a:lnTo>
                <a:lnTo>
                  <a:pt x="2092" y="5110"/>
                </a:lnTo>
                <a:lnTo>
                  <a:pt x="2105" y="5110"/>
                </a:lnTo>
                <a:lnTo>
                  <a:pt x="2129" y="5107"/>
                </a:lnTo>
                <a:lnTo>
                  <a:pt x="2154" y="5104"/>
                </a:lnTo>
                <a:lnTo>
                  <a:pt x="2179" y="5101"/>
                </a:lnTo>
                <a:lnTo>
                  <a:pt x="2201" y="5096"/>
                </a:lnTo>
                <a:lnTo>
                  <a:pt x="2230" y="5091"/>
                </a:lnTo>
                <a:lnTo>
                  <a:pt x="2254" y="5089"/>
                </a:lnTo>
                <a:lnTo>
                  <a:pt x="2264" y="5089"/>
                </a:lnTo>
                <a:lnTo>
                  <a:pt x="2273" y="5089"/>
                </a:lnTo>
                <a:lnTo>
                  <a:pt x="2279" y="5090"/>
                </a:lnTo>
                <a:lnTo>
                  <a:pt x="2282" y="5091"/>
                </a:lnTo>
                <a:lnTo>
                  <a:pt x="2284" y="5094"/>
                </a:lnTo>
                <a:lnTo>
                  <a:pt x="2286" y="5096"/>
                </a:lnTo>
                <a:lnTo>
                  <a:pt x="2287" y="5100"/>
                </a:lnTo>
                <a:lnTo>
                  <a:pt x="2288" y="5103"/>
                </a:lnTo>
                <a:lnTo>
                  <a:pt x="2288" y="5114"/>
                </a:lnTo>
                <a:lnTo>
                  <a:pt x="2288" y="5124"/>
                </a:lnTo>
                <a:lnTo>
                  <a:pt x="2288" y="5138"/>
                </a:lnTo>
                <a:lnTo>
                  <a:pt x="2288" y="5151"/>
                </a:lnTo>
                <a:lnTo>
                  <a:pt x="2288" y="5164"/>
                </a:lnTo>
                <a:lnTo>
                  <a:pt x="2288" y="5173"/>
                </a:lnTo>
                <a:lnTo>
                  <a:pt x="2289" y="5178"/>
                </a:lnTo>
                <a:lnTo>
                  <a:pt x="2292" y="5182"/>
                </a:lnTo>
                <a:lnTo>
                  <a:pt x="2294" y="5185"/>
                </a:lnTo>
                <a:lnTo>
                  <a:pt x="2299" y="5186"/>
                </a:lnTo>
                <a:lnTo>
                  <a:pt x="2308" y="5187"/>
                </a:lnTo>
                <a:lnTo>
                  <a:pt x="2318" y="5189"/>
                </a:lnTo>
                <a:lnTo>
                  <a:pt x="2334" y="5189"/>
                </a:lnTo>
                <a:lnTo>
                  <a:pt x="2351" y="5186"/>
                </a:lnTo>
                <a:lnTo>
                  <a:pt x="2368" y="5185"/>
                </a:lnTo>
                <a:lnTo>
                  <a:pt x="2384" y="5185"/>
                </a:lnTo>
                <a:lnTo>
                  <a:pt x="2394" y="5187"/>
                </a:lnTo>
                <a:lnTo>
                  <a:pt x="2403" y="5191"/>
                </a:lnTo>
                <a:lnTo>
                  <a:pt x="2413" y="5197"/>
                </a:lnTo>
                <a:lnTo>
                  <a:pt x="2421" y="5205"/>
                </a:lnTo>
                <a:lnTo>
                  <a:pt x="2426" y="5211"/>
                </a:lnTo>
                <a:lnTo>
                  <a:pt x="2431" y="5216"/>
                </a:lnTo>
                <a:lnTo>
                  <a:pt x="2433" y="5217"/>
                </a:lnTo>
                <a:lnTo>
                  <a:pt x="2435" y="5218"/>
                </a:lnTo>
                <a:lnTo>
                  <a:pt x="2439" y="5218"/>
                </a:lnTo>
                <a:lnTo>
                  <a:pt x="2441" y="5217"/>
                </a:lnTo>
                <a:lnTo>
                  <a:pt x="2452" y="5210"/>
                </a:lnTo>
                <a:lnTo>
                  <a:pt x="2460" y="5203"/>
                </a:lnTo>
                <a:lnTo>
                  <a:pt x="2469" y="5196"/>
                </a:lnTo>
                <a:lnTo>
                  <a:pt x="2475" y="5189"/>
                </a:lnTo>
                <a:lnTo>
                  <a:pt x="2482" y="5183"/>
                </a:lnTo>
                <a:lnTo>
                  <a:pt x="2489" y="5176"/>
                </a:lnTo>
                <a:lnTo>
                  <a:pt x="2496" y="5170"/>
                </a:lnTo>
                <a:lnTo>
                  <a:pt x="2504" y="5164"/>
                </a:lnTo>
                <a:lnTo>
                  <a:pt x="2514" y="5159"/>
                </a:lnTo>
                <a:lnTo>
                  <a:pt x="2525" y="5154"/>
                </a:lnTo>
                <a:lnTo>
                  <a:pt x="2535" y="5149"/>
                </a:lnTo>
                <a:lnTo>
                  <a:pt x="2546" y="5145"/>
                </a:lnTo>
                <a:lnTo>
                  <a:pt x="2563" y="5134"/>
                </a:lnTo>
                <a:lnTo>
                  <a:pt x="2578" y="5124"/>
                </a:lnTo>
                <a:lnTo>
                  <a:pt x="2595" y="5114"/>
                </a:lnTo>
                <a:lnTo>
                  <a:pt x="2611" y="5103"/>
                </a:lnTo>
                <a:lnTo>
                  <a:pt x="2630" y="5094"/>
                </a:lnTo>
                <a:lnTo>
                  <a:pt x="2649" y="5085"/>
                </a:lnTo>
                <a:lnTo>
                  <a:pt x="2670" y="5077"/>
                </a:lnTo>
                <a:lnTo>
                  <a:pt x="2689" y="5069"/>
                </a:lnTo>
                <a:lnTo>
                  <a:pt x="2715" y="5057"/>
                </a:lnTo>
                <a:lnTo>
                  <a:pt x="2740" y="5046"/>
                </a:lnTo>
                <a:lnTo>
                  <a:pt x="2765" y="5037"/>
                </a:lnTo>
                <a:lnTo>
                  <a:pt x="2788" y="5027"/>
                </a:lnTo>
                <a:lnTo>
                  <a:pt x="2811" y="5019"/>
                </a:lnTo>
                <a:lnTo>
                  <a:pt x="2834" y="5010"/>
                </a:lnTo>
                <a:lnTo>
                  <a:pt x="2855" y="5002"/>
                </a:lnTo>
                <a:lnTo>
                  <a:pt x="2875" y="4994"/>
                </a:lnTo>
                <a:lnTo>
                  <a:pt x="2922" y="4976"/>
                </a:lnTo>
                <a:lnTo>
                  <a:pt x="2960" y="4960"/>
                </a:lnTo>
                <a:lnTo>
                  <a:pt x="2991" y="4947"/>
                </a:lnTo>
                <a:lnTo>
                  <a:pt x="3013" y="4940"/>
                </a:lnTo>
                <a:lnTo>
                  <a:pt x="3024" y="4938"/>
                </a:lnTo>
                <a:lnTo>
                  <a:pt x="3033" y="4937"/>
                </a:lnTo>
                <a:lnTo>
                  <a:pt x="3041" y="4935"/>
                </a:lnTo>
                <a:lnTo>
                  <a:pt x="3046" y="4935"/>
                </a:lnTo>
                <a:lnTo>
                  <a:pt x="3054" y="4935"/>
                </a:lnTo>
                <a:lnTo>
                  <a:pt x="3061" y="4935"/>
                </a:lnTo>
                <a:lnTo>
                  <a:pt x="3070" y="4934"/>
                </a:lnTo>
                <a:lnTo>
                  <a:pt x="3082" y="4931"/>
                </a:lnTo>
                <a:lnTo>
                  <a:pt x="3108" y="4925"/>
                </a:lnTo>
                <a:lnTo>
                  <a:pt x="3133" y="4916"/>
                </a:lnTo>
                <a:lnTo>
                  <a:pt x="3146" y="4913"/>
                </a:lnTo>
                <a:lnTo>
                  <a:pt x="3157" y="4907"/>
                </a:lnTo>
                <a:lnTo>
                  <a:pt x="3169" y="4901"/>
                </a:lnTo>
                <a:lnTo>
                  <a:pt x="3181" y="4894"/>
                </a:lnTo>
                <a:lnTo>
                  <a:pt x="3191" y="4887"/>
                </a:lnTo>
                <a:lnTo>
                  <a:pt x="3201" y="4881"/>
                </a:lnTo>
                <a:lnTo>
                  <a:pt x="3211" y="4876"/>
                </a:lnTo>
                <a:lnTo>
                  <a:pt x="3219" y="4872"/>
                </a:lnTo>
                <a:lnTo>
                  <a:pt x="3227" y="4870"/>
                </a:lnTo>
                <a:lnTo>
                  <a:pt x="3235" y="4870"/>
                </a:lnTo>
                <a:lnTo>
                  <a:pt x="3243" y="4870"/>
                </a:lnTo>
                <a:lnTo>
                  <a:pt x="3250" y="4874"/>
                </a:lnTo>
                <a:lnTo>
                  <a:pt x="3262" y="4881"/>
                </a:lnTo>
                <a:lnTo>
                  <a:pt x="3270" y="4886"/>
                </a:lnTo>
                <a:lnTo>
                  <a:pt x="3275" y="4888"/>
                </a:lnTo>
                <a:lnTo>
                  <a:pt x="3282" y="4890"/>
                </a:lnTo>
                <a:lnTo>
                  <a:pt x="3289" y="4892"/>
                </a:lnTo>
                <a:lnTo>
                  <a:pt x="3300" y="4892"/>
                </a:lnTo>
                <a:lnTo>
                  <a:pt x="3327" y="4890"/>
                </a:lnTo>
                <a:lnTo>
                  <a:pt x="3356" y="4890"/>
                </a:lnTo>
                <a:lnTo>
                  <a:pt x="3370" y="4890"/>
                </a:lnTo>
                <a:lnTo>
                  <a:pt x="3384" y="4889"/>
                </a:lnTo>
                <a:lnTo>
                  <a:pt x="3397" y="4887"/>
                </a:lnTo>
                <a:lnTo>
                  <a:pt x="3409" y="4883"/>
                </a:lnTo>
                <a:lnTo>
                  <a:pt x="3421" y="4880"/>
                </a:lnTo>
                <a:lnTo>
                  <a:pt x="3430" y="4877"/>
                </a:lnTo>
                <a:lnTo>
                  <a:pt x="3441" y="4876"/>
                </a:lnTo>
                <a:lnTo>
                  <a:pt x="3451" y="4875"/>
                </a:lnTo>
                <a:lnTo>
                  <a:pt x="3460" y="4874"/>
                </a:lnTo>
                <a:lnTo>
                  <a:pt x="3470" y="4874"/>
                </a:lnTo>
                <a:lnTo>
                  <a:pt x="3479" y="4875"/>
                </a:lnTo>
                <a:lnTo>
                  <a:pt x="3490" y="4876"/>
                </a:lnTo>
                <a:lnTo>
                  <a:pt x="3511" y="4880"/>
                </a:lnTo>
                <a:lnTo>
                  <a:pt x="3534" y="4883"/>
                </a:lnTo>
                <a:lnTo>
                  <a:pt x="3556" y="4886"/>
                </a:lnTo>
                <a:lnTo>
                  <a:pt x="3578" y="4890"/>
                </a:lnTo>
                <a:lnTo>
                  <a:pt x="3598" y="4894"/>
                </a:lnTo>
                <a:lnTo>
                  <a:pt x="3616" y="4897"/>
                </a:lnTo>
                <a:lnTo>
                  <a:pt x="3624" y="4899"/>
                </a:lnTo>
                <a:lnTo>
                  <a:pt x="3633" y="4899"/>
                </a:lnTo>
                <a:lnTo>
                  <a:pt x="3642" y="4899"/>
                </a:lnTo>
                <a:lnTo>
                  <a:pt x="3652" y="4897"/>
                </a:lnTo>
                <a:lnTo>
                  <a:pt x="3662" y="4896"/>
                </a:lnTo>
                <a:lnTo>
                  <a:pt x="3672" y="4893"/>
                </a:lnTo>
                <a:lnTo>
                  <a:pt x="3681" y="4889"/>
                </a:lnTo>
                <a:lnTo>
                  <a:pt x="3690" y="4886"/>
                </a:lnTo>
                <a:lnTo>
                  <a:pt x="3698" y="4881"/>
                </a:lnTo>
                <a:lnTo>
                  <a:pt x="3706" y="4877"/>
                </a:lnTo>
                <a:lnTo>
                  <a:pt x="3715" y="4875"/>
                </a:lnTo>
                <a:lnTo>
                  <a:pt x="3724" y="4874"/>
                </a:lnTo>
                <a:lnTo>
                  <a:pt x="3737" y="4875"/>
                </a:lnTo>
                <a:lnTo>
                  <a:pt x="3750" y="4877"/>
                </a:lnTo>
                <a:lnTo>
                  <a:pt x="3764" y="4878"/>
                </a:lnTo>
                <a:lnTo>
                  <a:pt x="3778" y="4880"/>
                </a:lnTo>
                <a:lnTo>
                  <a:pt x="3789" y="4881"/>
                </a:lnTo>
                <a:lnTo>
                  <a:pt x="3801" y="4883"/>
                </a:lnTo>
                <a:lnTo>
                  <a:pt x="3818" y="4887"/>
                </a:lnTo>
                <a:lnTo>
                  <a:pt x="3836" y="4888"/>
                </a:lnTo>
                <a:lnTo>
                  <a:pt x="3844" y="4888"/>
                </a:lnTo>
                <a:lnTo>
                  <a:pt x="3852" y="4886"/>
                </a:lnTo>
                <a:lnTo>
                  <a:pt x="3860" y="4883"/>
                </a:lnTo>
                <a:lnTo>
                  <a:pt x="3867" y="4880"/>
                </a:lnTo>
                <a:lnTo>
                  <a:pt x="3882" y="4868"/>
                </a:lnTo>
                <a:lnTo>
                  <a:pt x="3900" y="4852"/>
                </a:lnTo>
                <a:lnTo>
                  <a:pt x="3920" y="4836"/>
                </a:lnTo>
                <a:lnTo>
                  <a:pt x="3940" y="4821"/>
                </a:lnTo>
                <a:lnTo>
                  <a:pt x="3958" y="4811"/>
                </a:lnTo>
                <a:lnTo>
                  <a:pt x="3976" y="4802"/>
                </a:lnTo>
                <a:lnTo>
                  <a:pt x="3984" y="4800"/>
                </a:lnTo>
                <a:lnTo>
                  <a:pt x="3995" y="4798"/>
                </a:lnTo>
                <a:lnTo>
                  <a:pt x="4006" y="4798"/>
                </a:lnTo>
                <a:lnTo>
                  <a:pt x="4018" y="4798"/>
                </a:lnTo>
                <a:lnTo>
                  <a:pt x="4031" y="4796"/>
                </a:lnTo>
                <a:lnTo>
                  <a:pt x="4043" y="4795"/>
                </a:lnTo>
                <a:lnTo>
                  <a:pt x="4053" y="4792"/>
                </a:lnTo>
                <a:lnTo>
                  <a:pt x="4063" y="4788"/>
                </a:lnTo>
                <a:lnTo>
                  <a:pt x="4071" y="4783"/>
                </a:lnTo>
                <a:lnTo>
                  <a:pt x="4079" y="4777"/>
                </a:lnTo>
                <a:lnTo>
                  <a:pt x="4085" y="4773"/>
                </a:lnTo>
                <a:lnTo>
                  <a:pt x="4091" y="4767"/>
                </a:lnTo>
                <a:lnTo>
                  <a:pt x="4097" y="4763"/>
                </a:lnTo>
                <a:lnTo>
                  <a:pt x="4103" y="4760"/>
                </a:lnTo>
                <a:lnTo>
                  <a:pt x="4110" y="4756"/>
                </a:lnTo>
                <a:lnTo>
                  <a:pt x="4118" y="4754"/>
                </a:lnTo>
                <a:lnTo>
                  <a:pt x="4132" y="4748"/>
                </a:lnTo>
                <a:lnTo>
                  <a:pt x="4148" y="4739"/>
                </a:lnTo>
                <a:lnTo>
                  <a:pt x="4156" y="4735"/>
                </a:lnTo>
                <a:lnTo>
                  <a:pt x="4160" y="4729"/>
                </a:lnTo>
                <a:lnTo>
                  <a:pt x="4165" y="4722"/>
                </a:lnTo>
                <a:lnTo>
                  <a:pt x="4170" y="4716"/>
                </a:lnTo>
                <a:lnTo>
                  <a:pt x="4173" y="4708"/>
                </a:lnTo>
                <a:lnTo>
                  <a:pt x="4177" y="4703"/>
                </a:lnTo>
                <a:lnTo>
                  <a:pt x="4181" y="4695"/>
                </a:lnTo>
                <a:lnTo>
                  <a:pt x="4186" y="4689"/>
                </a:lnTo>
                <a:lnTo>
                  <a:pt x="4198" y="4679"/>
                </a:lnTo>
                <a:lnTo>
                  <a:pt x="4210" y="4667"/>
                </a:lnTo>
                <a:lnTo>
                  <a:pt x="4221" y="4654"/>
                </a:lnTo>
                <a:lnTo>
                  <a:pt x="4230" y="4641"/>
                </a:lnTo>
                <a:lnTo>
                  <a:pt x="4244" y="4622"/>
                </a:lnTo>
                <a:lnTo>
                  <a:pt x="4261" y="4599"/>
                </a:lnTo>
                <a:lnTo>
                  <a:pt x="4278" y="4578"/>
                </a:lnTo>
                <a:lnTo>
                  <a:pt x="4289" y="4562"/>
                </a:lnTo>
                <a:lnTo>
                  <a:pt x="4299" y="4548"/>
                </a:lnTo>
                <a:lnTo>
                  <a:pt x="4316" y="4527"/>
                </a:lnTo>
                <a:lnTo>
                  <a:pt x="4324" y="4515"/>
                </a:lnTo>
                <a:lnTo>
                  <a:pt x="4335" y="4505"/>
                </a:lnTo>
                <a:lnTo>
                  <a:pt x="4345" y="4497"/>
                </a:lnTo>
                <a:lnTo>
                  <a:pt x="4353" y="4491"/>
                </a:lnTo>
                <a:lnTo>
                  <a:pt x="4372" y="4484"/>
                </a:lnTo>
                <a:lnTo>
                  <a:pt x="4391" y="4477"/>
                </a:lnTo>
                <a:lnTo>
                  <a:pt x="4400" y="4473"/>
                </a:lnTo>
                <a:lnTo>
                  <a:pt x="4410" y="4468"/>
                </a:lnTo>
                <a:lnTo>
                  <a:pt x="4418" y="4464"/>
                </a:lnTo>
                <a:lnTo>
                  <a:pt x="4427" y="4458"/>
                </a:lnTo>
                <a:lnTo>
                  <a:pt x="4438" y="4447"/>
                </a:lnTo>
                <a:lnTo>
                  <a:pt x="4450" y="4437"/>
                </a:lnTo>
                <a:lnTo>
                  <a:pt x="4456" y="4434"/>
                </a:lnTo>
                <a:lnTo>
                  <a:pt x="4462" y="4430"/>
                </a:lnTo>
                <a:lnTo>
                  <a:pt x="4469" y="4429"/>
                </a:lnTo>
                <a:lnTo>
                  <a:pt x="4478" y="4428"/>
                </a:lnTo>
                <a:lnTo>
                  <a:pt x="4493" y="4427"/>
                </a:lnTo>
                <a:lnTo>
                  <a:pt x="4505" y="4426"/>
                </a:lnTo>
                <a:lnTo>
                  <a:pt x="4511" y="4424"/>
                </a:lnTo>
                <a:lnTo>
                  <a:pt x="4516" y="4421"/>
                </a:lnTo>
                <a:lnTo>
                  <a:pt x="4522" y="4417"/>
                </a:lnTo>
                <a:lnTo>
                  <a:pt x="4526" y="4410"/>
                </a:lnTo>
                <a:lnTo>
                  <a:pt x="4541" y="4396"/>
                </a:lnTo>
                <a:lnTo>
                  <a:pt x="4557" y="4379"/>
                </a:lnTo>
                <a:lnTo>
                  <a:pt x="4576" y="4363"/>
                </a:lnTo>
                <a:lnTo>
                  <a:pt x="4594" y="4347"/>
                </a:lnTo>
                <a:lnTo>
                  <a:pt x="4610" y="4335"/>
                </a:lnTo>
                <a:lnTo>
                  <a:pt x="4624" y="4327"/>
                </a:lnTo>
                <a:lnTo>
                  <a:pt x="4629" y="4322"/>
                </a:lnTo>
                <a:lnTo>
                  <a:pt x="4633" y="4316"/>
                </a:lnTo>
                <a:lnTo>
                  <a:pt x="4637" y="4309"/>
                </a:lnTo>
                <a:lnTo>
                  <a:pt x="4639" y="4300"/>
                </a:lnTo>
                <a:lnTo>
                  <a:pt x="4639" y="4289"/>
                </a:lnTo>
                <a:lnTo>
                  <a:pt x="4638" y="4279"/>
                </a:lnTo>
                <a:lnTo>
                  <a:pt x="4636" y="4271"/>
                </a:lnTo>
                <a:lnTo>
                  <a:pt x="4633" y="4264"/>
                </a:lnTo>
                <a:lnTo>
                  <a:pt x="4625" y="4251"/>
                </a:lnTo>
                <a:lnTo>
                  <a:pt x="4617" y="4240"/>
                </a:lnTo>
                <a:lnTo>
                  <a:pt x="4607" y="4228"/>
                </a:lnTo>
                <a:lnTo>
                  <a:pt x="4593" y="4214"/>
                </a:lnTo>
                <a:lnTo>
                  <a:pt x="4579" y="4200"/>
                </a:lnTo>
                <a:lnTo>
                  <a:pt x="4564" y="4189"/>
                </a:lnTo>
                <a:lnTo>
                  <a:pt x="4551" y="4180"/>
                </a:lnTo>
                <a:lnTo>
                  <a:pt x="4538" y="4168"/>
                </a:lnTo>
                <a:lnTo>
                  <a:pt x="4531" y="4161"/>
                </a:lnTo>
                <a:lnTo>
                  <a:pt x="4525" y="4152"/>
                </a:lnTo>
                <a:lnTo>
                  <a:pt x="4519" y="4144"/>
                </a:lnTo>
                <a:lnTo>
                  <a:pt x="4513" y="4133"/>
                </a:lnTo>
                <a:lnTo>
                  <a:pt x="4506" y="4114"/>
                </a:lnTo>
                <a:lnTo>
                  <a:pt x="4501" y="4099"/>
                </a:lnTo>
                <a:lnTo>
                  <a:pt x="4499" y="4093"/>
                </a:lnTo>
                <a:lnTo>
                  <a:pt x="4497" y="4087"/>
                </a:lnTo>
                <a:lnTo>
                  <a:pt x="4493" y="4081"/>
                </a:lnTo>
                <a:lnTo>
                  <a:pt x="4488" y="4076"/>
                </a:lnTo>
                <a:lnTo>
                  <a:pt x="4480" y="4070"/>
                </a:lnTo>
                <a:lnTo>
                  <a:pt x="4472" y="4062"/>
                </a:lnTo>
                <a:lnTo>
                  <a:pt x="4468" y="4052"/>
                </a:lnTo>
                <a:lnTo>
                  <a:pt x="4466" y="4042"/>
                </a:lnTo>
                <a:lnTo>
                  <a:pt x="4465" y="4031"/>
                </a:lnTo>
                <a:lnTo>
                  <a:pt x="4466" y="4020"/>
                </a:lnTo>
                <a:lnTo>
                  <a:pt x="4469" y="4010"/>
                </a:lnTo>
                <a:lnTo>
                  <a:pt x="4477" y="3995"/>
                </a:lnTo>
                <a:lnTo>
                  <a:pt x="4485" y="3979"/>
                </a:lnTo>
                <a:lnTo>
                  <a:pt x="4493" y="3960"/>
                </a:lnTo>
                <a:lnTo>
                  <a:pt x="4498" y="3947"/>
                </a:lnTo>
                <a:lnTo>
                  <a:pt x="4501" y="3932"/>
                </a:lnTo>
                <a:lnTo>
                  <a:pt x="4506" y="3918"/>
                </a:lnTo>
                <a:lnTo>
                  <a:pt x="4510" y="3904"/>
                </a:lnTo>
                <a:lnTo>
                  <a:pt x="4515" y="3888"/>
                </a:lnTo>
                <a:lnTo>
                  <a:pt x="4519" y="3872"/>
                </a:lnTo>
                <a:lnTo>
                  <a:pt x="4524" y="3856"/>
                </a:lnTo>
                <a:lnTo>
                  <a:pt x="4529" y="3840"/>
                </a:lnTo>
                <a:lnTo>
                  <a:pt x="4540" y="3815"/>
                </a:lnTo>
                <a:lnTo>
                  <a:pt x="4551" y="3792"/>
                </a:lnTo>
                <a:lnTo>
                  <a:pt x="4563" y="3771"/>
                </a:lnTo>
                <a:lnTo>
                  <a:pt x="4576" y="3754"/>
                </a:lnTo>
                <a:lnTo>
                  <a:pt x="4589" y="3746"/>
                </a:lnTo>
                <a:lnTo>
                  <a:pt x="4601" y="3739"/>
                </a:lnTo>
                <a:lnTo>
                  <a:pt x="4616" y="3727"/>
                </a:lnTo>
                <a:lnTo>
                  <a:pt x="4629" y="3720"/>
                </a:lnTo>
                <a:lnTo>
                  <a:pt x="4635" y="3717"/>
                </a:lnTo>
                <a:lnTo>
                  <a:pt x="4641" y="3716"/>
                </a:lnTo>
                <a:lnTo>
                  <a:pt x="4647" y="3716"/>
                </a:lnTo>
                <a:lnTo>
                  <a:pt x="4654" y="3716"/>
                </a:lnTo>
                <a:lnTo>
                  <a:pt x="4670" y="3718"/>
                </a:lnTo>
                <a:lnTo>
                  <a:pt x="4685" y="3721"/>
                </a:lnTo>
                <a:lnTo>
                  <a:pt x="4699" y="3722"/>
                </a:lnTo>
                <a:lnTo>
                  <a:pt x="4719" y="3723"/>
                </a:lnTo>
                <a:lnTo>
                  <a:pt x="4742" y="3722"/>
                </a:lnTo>
                <a:lnTo>
                  <a:pt x="4763" y="3723"/>
                </a:lnTo>
                <a:lnTo>
                  <a:pt x="4771" y="3724"/>
                </a:lnTo>
                <a:lnTo>
                  <a:pt x="4780" y="3725"/>
                </a:lnTo>
                <a:lnTo>
                  <a:pt x="4787" y="3729"/>
                </a:lnTo>
                <a:lnTo>
                  <a:pt x="4792" y="3734"/>
                </a:lnTo>
                <a:lnTo>
                  <a:pt x="4801" y="3748"/>
                </a:lnTo>
                <a:lnTo>
                  <a:pt x="4809" y="3764"/>
                </a:lnTo>
                <a:lnTo>
                  <a:pt x="4815" y="3772"/>
                </a:lnTo>
                <a:lnTo>
                  <a:pt x="4821" y="3780"/>
                </a:lnTo>
                <a:lnTo>
                  <a:pt x="4830" y="3787"/>
                </a:lnTo>
                <a:lnTo>
                  <a:pt x="4839" y="3793"/>
                </a:lnTo>
                <a:lnTo>
                  <a:pt x="4850" y="3798"/>
                </a:lnTo>
                <a:lnTo>
                  <a:pt x="4863" y="3804"/>
                </a:lnTo>
                <a:lnTo>
                  <a:pt x="4877" y="3809"/>
                </a:lnTo>
                <a:lnTo>
                  <a:pt x="4891" y="3815"/>
                </a:lnTo>
                <a:lnTo>
                  <a:pt x="4920" y="3823"/>
                </a:lnTo>
                <a:lnTo>
                  <a:pt x="4943" y="3827"/>
                </a:lnTo>
                <a:lnTo>
                  <a:pt x="4963" y="3830"/>
                </a:lnTo>
                <a:lnTo>
                  <a:pt x="4990" y="3835"/>
                </a:lnTo>
                <a:lnTo>
                  <a:pt x="5019" y="3838"/>
                </a:lnTo>
                <a:lnTo>
                  <a:pt x="5044" y="3841"/>
                </a:lnTo>
                <a:lnTo>
                  <a:pt x="5067" y="3842"/>
                </a:lnTo>
                <a:lnTo>
                  <a:pt x="5091" y="3846"/>
                </a:lnTo>
                <a:lnTo>
                  <a:pt x="5111" y="3848"/>
                </a:lnTo>
                <a:lnTo>
                  <a:pt x="5128" y="3849"/>
                </a:lnTo>
                <a:lnTo>
                  <a:pt x="5135" y="3849"/>
                </a:lnTo>
                <a:lnTo>
                  <a:pt x="5141" y="3849"/>
                </a:lnTo>
                <a:lnTo>
                  <a:pt x="5147" y="3847"/>
                </a:lnTo>
                <a:lnTo>
                  <a:pt x="5153" y="3844"/>
                </a:lnTo>
                <a:lnTo>
                  <a:pt x="5159" y="3841"/>
                </a:lnTo>
                <a:lnTo>
                  <a:pt x="5165" y="3837"/>
                </a:lnTo>
                <a:lnTo>
                  <a:pt x="5171" y="3831"/>
                </a:lnTo>
                <a:lnTo>
                  <a:pt x="5178" y="3824"/>
                </a:lnTo>
                <a:lnTo>
                  <a:pt x="5191" y="3809"/>
                </a:lnTo>
                <a:lnTo>
                  <a:pt x="5205" y="3794"/>
                </a:lnTo>
                <a:lnTo>
                  <a:pt x="5214" y="3788"/>
                </a:lnTo>
                <a:lnTo>
                  <a:pt x="5222" y="3783"/>
                </a:lnTo>
                <a:lnTo>
                  <a:pt x="5230" y="3778"/>
                </a:lnTo>
                <a:lnTo>
                  <a:pt x="5239" y="3773"/>
                </a:lnTo>
                <a:lnTo>
                  <a:pt x="5255" y="3767"/>
                </a:lnTo>
                <a:lnTo>
                  <a:pt x="5268" y="3760"/>
                </a:lnTo>
                <a:lnTo>
                  <a:pt x="5274" y="3756"/>
                </a:lnTo>
                <a:lnTo>
                  <a:pt x="5280" y="3752"/>
                </a:lnTo>
                <a:lnTo>
                  <a:pt x="5285" y="3746"/>
                </a:lnTo>
                <a:lnTo>
                  <a:pt x="5291" y="3739"/>
                </a:lnTo>
                <a:lnTo>
                  <a:pt x="5300" y="3725"/>
                </a:lnTo>
                <a:lnTo>
                  <a:pt x="5307" y="3716"/>
                </a:lnTo>
                <a:lnTo>
                  <a:pt x="5316" y="3708"/>
                </a:lnTo>
                <a:lnTo>
                  <a:pt x="5329" y="3696"/>
                </a:lnTo>
                <a:lnTo>
                  <a:pt x="5344" y="3682"/>
                </a:lnTo>
                <a:lnTo>
                  <a:pt x="5360" y="3666"/>
                </a:lnTo>
                <a:lnTo>
                  <a:pt x="5373" y="3651"/>
                </a:lnTo>
                <a:lnTo>
                  <a:pt x="5384" y="3636"/>
                </a:lnTo>
                <a:lnTo>
                  <a:pt x="5392" y="3623"/>
                </a:lnTo>
                <a:lnTo>
                  <a:pt x="5398" y="3609"/>
                </a:lnTo>
                <a:lnTo>
                  <a:pt x="5404" y="3595"/>
                </a:lnTo>
                <a:lnTo>
                  <a:pt x="5407" y="3580"/>
                </a:lnTo>
                <a:lnTo>
                  <a:pt x="5409" y="3573"/>
                </a:lnTo>
                <a:lnTo>
                  <a:pt x="5412" y="3567"/>
                </a:lnTo>
                <a:lnTo>
                  <a:pt x="5416" y="3561"/>
                </a:lnTo>
                <a:lnTo>
                  <a:pt x="5420" y="3557"/>
                </a:lnTo>
                <a:lnTo>
                  <a:pt x="5425" y="3552"/>
                </a:lnTo>
                <a:lnTo>
                  <a:pt x="5431" y="3548"/>
                </a:lnTo>
                <a:lnTo>
                  <a:pt x="5437" y="3545"/>
                </a:lnTo>
                <a:lnTo>
                  <a:pt x="5442" y="3542"/>
                </a:lnTo>
                <a:lnTo>
                  <a:pt x="5454" y="3539"/>
                </a:lnTo>
                <a:lnTo>
                  <a:pt x="5469" y="3538"/>
                </a:lnTo>
                <a:lnTo>
                  <a:pt x="5477" y="3538"/>
                </a:lnTo>
                <a:lnTo>
                  <a:pt x="5486" y="3539"/>
                </a:lnTo>
                <a:lnTo>
                  <a:pt x="5495" y="3540"/>
                </a:lnTo>
                <a:lnTo>
                  <a:pt x="5504" y="3544"/>
                </a:lnTo>
                <a:lnTo>
                  <a:pt x="5523" y="3548"/>
                </a:lnTo>
                <a:lnTo>
                  <a:pt x="5543" y="3552"/>
                </a:lnTo>
                <a:lnTo>
                  <a:pt x="5552" y="3553"/>
                </a:lnTo>
                <a:lnTo>
                  <a:pt x="5562" y="3554"/>
                </a:lnTo>
                <a:lnTo>
                  <a:pt x="5571" y="3554"/>
                </a:lnTo>
                <a:lnTo>
                  <a:pt x="5580" y="3553"/>
                </a:lnTo>
                <a:lnTo>
                  <a:pt x="5599" y="3548"/>
                </a:lnTo>
                <a:lnTo>
                  <a:pt x="5622" y="3544"/>
                </a:lnTo>
                <a:lnTo>
                  <a:pt x="5646" y="3538"/>
                </a:lnTo>
                <a:lnTo>
                  <a:pt x="5668" y="3534"/>
                </a:lnTo>
                <a:lnTo>
                  <a:pt x="5688" y="3532"/>
                </a:lnTo>
                <a:lnTo>
                  <a:pt x="5712" y="3526"/>
                </a:lnTo>
                <a:lnTo>
                  <a:pt x="5725" y="3521"/>
                </a:lnTo>
                <a:lnTo>
                  <a:pt x="5737" y="3514"/>
                </a:lnTo>
                <a:lnTo>
                  <a:pt x="5747" y="3507"/>
                </a:lnTo>
                <a:lnTo>
                  <a:pt x="5758" y="3496"/>
                </a:lnTo>
                <a:lnTo>
                  <a:pt x="5778" y="3475"/>
                </a:lnTo>
                <a:lnTo>
                  <a:pt x="5798" y="3452"/>
                </a:lnTo>
                <a:lnTo>
                  <a:pt x="5816" y="3433"/>
                </a:lnTo>
                <a:lnTo>
                  <a:pt x="5832" y="3418"/>
                </a:lnTo>
                <a:lnTo>
                  <a:pt x="5838" y="3413"/>
                </a:lnTo>
                <a:lnTo>
                  <a:pt x="5845" y="3408"/>
                </a:lnTo>
                <a:lnTo>
                  <a:pt x="5851" y="3405"/>
                </a:lnTo>
                <a:lnTo>
                  <a:pt x="5857" y="3402"/>
                </a:lnTo>
                <a:lnTo>
                  <a:pt x="5867" y="3401"/>
                </a:lnTo>
                <a:lnTo>
                  <a:pt x="5876" y="3401"/>
                </a:lnTo>
                <a:lnTo>
                  <a:pt x="5879" y="3400"/>
                </a:lnTo>
                <a:lnTo>
                  <a:pt x="5883" y="3399"/>
                </a:lnTo>
                <a:lnTo>
                  <a:pt x="5888" y="3395"/>
                </a:lnTo>
                <a:lnTo>
                  <a:pt x="5894" y="3392"/>
                </a:lnTo>
                <a:lnTo>
                  <a:pt x="5898" y="3386"/>
                </a:lnTo>
                <a:lnTo>
                  <a:pt x="5904" y="3380"/>
                </a:lnTo>
                <a:lnTo>
                  <a:pt x="5909" y="3371"/>
                </a:lnTo>
                <a:lnTo>
                  <a:pt x="5914" y="3364"/>
                </a:lnTo>
                <a:lnTo>
                  <a:pt x="5916" y="3356"/>
                </a:lnTo>
                <a:lnTo>
                  <a:pt x="5917" y="3349"/>
                </a:lnTo>
                <a:lnTo>
                  <a:pt x="5917" y="3343"/>
                </a:lnTo>
                <a:lnTo>
                  <a:pt x="5916" y="3337"/>
                </a:lnTo>
                <a:lnTo>
                  <a:pt x="5911" y="3324"/>
                </a:lnTo>
                <a:lnTo>
                  <a:pt x="5908" y="3308"/>
                </a:lnTo>
                <a:lnTo>
                  <a:pt x="5909" y="3299"/>
                </a:lnTo>
                <a:lnTo>
                  <a:pt x="5911" y="3286"/>
                </a:lnTo>
                <a:lnTo>
                  <a:pt x="5917" y="3273"/>
                </a:lnTo>
                <a:lnTo>
                  <a:pt x="5923" y="3257"/>
                </a:lnTo>
                <a:lnTo>
                  <a:pt x="5932" y="3242"/>
                </a:lnTo>
                <a:lnTo>
                  <a:pt x="5940" y="3227"/>
                </a:lnTo>
                <a:lnTo>
                  <a:pt x="5948" y="3213"/>
                </a:lnTo>
                <a:lnTo>
                  <a:pt x="5957" y="3201"/>
                </a:lnTo>
                <a:lnTo>
                  <a:pt x="5971" y="3179"/>
                </a:lnTo>
                <a:lnTo>
                  <a:pt x="5984" y="3157"/>
                </a:lnTo>
                <a:lnTo>
                  <a:pt x="5991" y="3148"/>
                </a:lnTo>
                <a:lnTo>
                  <a:pt x="5998" y="3138"/>
                </a:lnTo>
                <a:lnTo>
                  <a:pt x="6006" y="3130"/>
                </a:lnTo>
                <a:lnTo>
                  <a:pt x="6015" y="3123"/>
                </a:lnTo>
                <a:lnTo>
                  <a:pt x="6035" y="3112"/>
                </a:lnTo>
                <a:lnTo>
                  <a:pt x="6055" y="3103"/>
                </a:lnTo>
                <a:lnTo>
                  <a:pt x="6066" y="3099"/>
                </a:lnTo>
                <a:lnTo>
                  <a:pt x="6075" y="3097"/>
                </a:lnTo>
                <a:lnTo>
                  <a:pt x="6084" y="3094"/>
                </a:lnTo>
                <a:lnTo>
                  <a:pt x="6092" y="3093"/>
                </a:lnTo>
                <a:lnTo>
                  <a:pt x="6110" y="3093"/>
                </a:lnTo>
                <a:lnTo>
                  <a:pt x="6132" y="3092"/>
                </a:lnTo>
                <a:lnTo>
                  <a:pt x="6155" y="3092"/>
                </a:lnTo>
                <a:lnTo>
                  <a:pt x="6173" y="3091"/>
                </a:lnTo>
                <a:lnTo>
                  <a:pt x="6188" y="3091"/>
                </a:lnTo>
                <a:lnTo>
                  <a:pt x="6205" y="3088"/>
                </a:lnTo>
                <a:lnTo>
                  <a:pt x="6213" y="3086"/>
                </a:lnTo>
                <a:lnTo>
                  <a:pt x="6220" y="3082"/>
                </a:lnTo>
                <a:lnTo>
                  <a:pt x="6226" y="3078"/>
                </a:lnTo>
                <a:lnTo>
                  <a:pt x="6231" y="3071"/>
                </a:lnTo>
                <a:lnTo>
                  <a:pt x="6233" y="3063"/>
                </a:lnTo>
                <a:lnTo>
                  <a:pt x="6236" y="3054"/>
                </a:lnTo>
                <a:lnTo>
                  <a:pt x="6237" y="3043"/>
                </a:lnTo>
                <a:lnTo>
                  <a:pt x="6238" y="3034"/>
                </a:lnTo>
                <a:lnTo>
                  <a:pt x="6239" y="3023"/>
                </a:lnTo>
                <a:lnTo>
                  <a:pt x="6242" y="3014"/>
                </a:lnTo>
                <a:lnTo>
                  <a:pt x="6244" y="3004"/>
                </a:lnTo>
                <a:lnTo>
                  <a:pt x="6248" y="2997"/>
                </a:lnTo>
                <a:lnTo>
                  <a:pt x="6253" y="2991"/>
                </a:lnTo>
                <a:lnTo>
                  <a:pt x="6258" y="2986"/>
                </a:lnTo>
                <a:lnTo>
                  <a:pt x="6264" y="2984"/>
                </a:lnTo>
                <a:lnTo>
                  <a:pt x="6270" y="2981"/>
                </a:lnTo>
                <a:lnTo>
                  <a:pt x="6282" y="2979"/>
                </a:lnTo>
                <a:lnTo>
                  <a:pt x="6292" y="2977"/>
                </a:lnTo>
                <a:lnTo>
                  <a:pt x="6295" y="2975"/>
                </a:lnTo>
                <a:lnTo>
                  <a:pt x="6298" y="2977"/>
                </a:lnTo>
                <a:lnTo>
                  <a:pt x="6301" y="2979"/>
                </a:lnTo>
                <a:lnTo>
                  <a:pt x="6304" y="2983"/>
                </a:lnTo>
                <a:lnTo>
                  <a:pt x="6310" y="2990"/>
                </a:lnTo>
                <a:lnTo>
                  <a:pt x="6317" y="2998"/>
                </a:lnTo>
                <a:lnTo>
                  <a:pt x="6321" y="3000"/>
                </a:lnTo>
                <a:lnTo>
                  <a:pt x="6329" y="3003"/>
                </a:lnTo>
                <a:lnTo>
                  <a:pt x="6336" y="3005"/>
                </a:lnTo>
                <a:lnTo>
                  <a:pt x="6343" y="3006"/>
                </a:lnTo>
                <a:lnTo>
                  <a:pt x="6351" y="3008"/>
                </a:lnTo>
                <a:lnTo>
                  <a:pt x="6358" y="3005"/>
                </a:lnTo>
                <a:lnTo>
                  <a:pt x="6365" y="3003"/>
                </a:lnTo>
                <a:lnTo>
                  <a:pt x="6371" y="2997"/>
                </a:lnTo>
                <a:lnTo>
                  <a:pt x="6380" y="2986"/>
                </a:lnTo>
                <a:lnTo>
                  <a:pt x="6387" y="2977"/>
                </a:lnTo>
                <a:lnTo>
                  <a:pt x="6395" y="2967"/>
                </a:lnTo>
                <a:lnTo>
                  <a:pt x="6408" y="2956"/>
                </a:lnTo>
                <a:lnTo>
                  <a:pt x="6428" y="2943"/>
                </a:lnTo>
                <a:lnTo>
                  <a:pt x="6453" y="2930"/>
                </a:lnTo>
                <a:lnTo>
                  <a:pt x="6478" y="2917"/>
                </a:lnTo>
                <a:lnTo>
                  <a:pt x="6497" y="2910"/>
                </a:lnTo>
                <a:lnTo>
                  <a:pt x="6510" y="2907"/>
                </a:lnTo>
                <a:lnTo>
                  <a:pt x="6522" y="2904"/>
                </a:lnTo>
                <a:lnTo>
                  <a:pt x="6535" y="2904"/>
                </a:lnTo>
                <a:lnTo>
                  <a:pt x="6550" y="2907"/>
                </a:lnTo>
                <a:lnTo>
                  <a:pt x="6565" y="2909"/>
                </a:lnTo>
                <a:lnTo>
                  <a:pt x="6577" y="2909"/>
                </a:lnTo>
                <a:lnTo>
                  <a:pt x="6588" y="2909"/>
                </a:lnTo>
                <a:lnTo>
                  <a:pt x="6597" y="2908"/>
                </a:lnTo>
                <a:lnTo>
                  <a:pt x="6604" y="2908"/>
                </a:lnTo>
                <a:lnTo>
                  <a:pt x="6610" y="2907"/>
                </a:lnTo>
                <a:lnTo>
                  <a:pt x="6616" y="2905"/>
                </a:lnTo>
                <a:lnTo>
                  <a:pt x="6623" y="2902"/>
                </a:lnTo>
                <a:lnTo>
                  <a:pt x="6629" y="2893"/>
                </a:lnTo>
                <a:lnTo>
                  <a:pt x="6635" y="2883"/>
                </a:lnTo>
                <a:lnTo>
                  <a:pt x="6639" y="2877"/>
                </a:lnTo>
                <a:lnTo>
                  <a:pt x="6644" y="2872"/>
                </a:lnTo>
                <a:lnTo>
                  <a:pt x="6650" y="2869"/>
                </a:lnTo>
                <a:lnTo>
                  <a:pt x="6657" y="2865"/>
                </a:lnTo>
                <a:lnTo>
                  <a:pt x="6664" y="2864"/>
                </a:lnTo>
                <a:lnTo>
                  <a:pt x="6671" y="2864"/>
                </a:lnTo>
                <a:lnTo>
                  <a:pt x="6678" y="2865"/>
                </a:lnTo>
                <a:lnTo>
                  <a:pt x="6684" y="2866"/>
                </a:lnTo>
                <a:lnTo>
                  <a:pt x="6694" y="2870"/>
                </a:lnTo>
                <a:lnTo>
                  <a:pt x="6699" y="2874"/>
                </a:lnTo>
                <a:lnTo>
                  <a:pt x="6714" y="2884"/>
                </a:lnTo>
                <a:lnTo>
                  <a:pt x="6734" y="2899"/>
                </a:lnTo>
                <a:lnTo>
                  <a:pt x="6743" y="2910"/>
                </a:lnTo>
                <a:lnTo>
                  <a:pt x="6753" y="2917"/>
                </a:lnTo>
                <a:lnTo>
                  <a:pt x="6757" y="2920"/>
                </a:lnTo>
                <a:lnTo>
                  <a:pt x="6761" y="2921"/>
                </a:lnTo>
                <a:lnTo>
                  <a:pt x="6766" y="2921"/>
                </a:lnTo>
                <a:lnTo>
                  <a:pt x="6770" y="2918"/>
                </a:lnTo>
                <a:lnTo>
                  <a:pt x="6778" y="2913"/>
                </a:lnTo>
                <a:lnTo>
                  <a:pt x="6785" y="2908"/>
                </a:lnTo>
                <a:lnTo>
                  <a:pt x="6795" y="2903"/>
                </a:lnTo>
                <a:lnTo>
                  <a:pt x="6808" y="2898"/>
                </a:lnTo>
                <a:lnTo>
                  <a:pt x="6811" y="2898"/>
                </a:lnTo>
                <a:lnTo>
                  <a:pt x="6815" y="2898"/>
                </a:lnTo>
                <a:lnTo>
                  <a:pt x="6817" y="2899"/>
                </a:lnTo>
                <a:lnTo>
                  <a:pt x="6821" y="2901"/>
                </a:lnTo>
                <a:lnTo>
                  <a:pt x="6827" y="2904"/>
                </a:lnTo>
                <a:lnTo>
                  <a:pt x="6833" y="2909"/>
                </a:lnTo>
                <a:lnTo>
                  <a:pt x="6837" y="2914"/>
                </a:lnTo>
                <a:lnTo>
                  <a:pt x="6845" y="2917"/>
                </a:lnTo>
                <a:lnTo>
                  <a:pt x="6848" y="2917"/>
                </a:lnTo>
                <a:lnTo>
                  <a:pt x="6852" y="2918"/>
                </a:lnTo>
                <a:lnTo>
                  <a:pt x="6855" y="2918"/>
                </a:lnTo>
                <a:lnTo>
                  <a:pt x="6860" y="2917"/>
                </a:lnTo>
                <a:lnTo>
                  <a:pt x="6866" y="2916"/>
                </a:lnTo>
                <a:lnTo>
                  <a:pt x="6871" y="2917"/>
                </a:lnTo>
                <a:lnTo>
                  <a:pt x="6874" y="2918"/>
                </a:lnTo>
                <a:lnTo>
                  <a:pt x="6878" y="2921"/>
                </a:lnTo>
                <a:lnTo>
                  <a:pt x="6884" y="2927"/>
                </a:lnTo>
                <a:lnTo>
                  <a:pt x="6888" y="2930"/>
                </a:lnTo>
                <a:lnTo>
                  <a:pt x="6896" y="2932"/>
                </a:lnTo>
                <a:lnTo>
                  <a:pt x="6900" y="2930"/>
                </a:lnTo>
                <a:lnTo>
                  <a:pt x="6903" y="2927"/>
                </a:lnTo>
                <a:lnTo>
                  <a:pt x="6905" y="2923"/>
                </a:lnTo>
                <a:lnTo>
                  <a:pt x="6908" y="2918"/>
                </a:lnTo>
                <a:lnTo>
                  <a:pt x="6911" y="2915"/>
                </a:lnTo>
                <a:lnTo>
                  <a:pt x="6916" y="2911"/>
                </a:lnTo>
                <a:lnTo>
                  <a:pt x="6924" y="2910"/>
                </a:lnTo>
                <a:lnTo>
                  <a:pt x="6928" y="2909"/>
                </a:lnTo>
                <a:lnTo>
                  <a:pt x="6931" y="2908"/>
                </a:lnTo>
                <a:lnTo>
                  <a:pt x="6934" y="2907"/>
                </a:lnTo>
                <a:lnTo>
                  <a:pt x="6935" y="2904"/>
                </a:lnTo>
                <a:lnTo>
                  <a:pt x="6937" y="2901"/>
                </a:lnTo>
                <a:lnTo>
                  <a:pt x="6938" y="2895"/>
                </a:lnTo>
                <a:lnTo>
                  <a:pt x="6940" y="2890"/>
                </a:lnTo>
                <a:lnTo>
                  <a:pt x="6942" y="2885"/>
                </a:lnTo>
                <a:lnTo>
                  <a:pt x="6943" y="2884"/>
                </a:lnTo>
                <a:lnTo>
                  <a:pt x="6947" y="2883"/>
                </a:lnTo>
                <a:lnTo>
                  <a:pt x="6950" y="2882"/>
                </a:lnTo>
                <a:lnTo>
                  <a:pt x="6955" y="2882"/>
                </a:lnTo>
                <a:lnTo>
                  <a:pt x="6960" y="2882"/>
                </a:lnTo>
                <a:lnTo>
                  <a:pt x="6963" y="2880"/>
                </a:lnTo>
                <a:lnTo>
                  <a:pt x="6967" y="2878"/>
                </a:lnTo>
                <a:lnTo>
                  <a:pt x="6971" y="2876"/>
                </a:lnTo>
                <a:lnTo>
                  <a:pt x="6975" y="2871"/>
                </a:lnTo>
                <a:lnTo>
                  <a:pt x="6978" y="2863"/>
                </a:lnTo>
                <a:lnTo>
                  <a:pt x="6979" y="2854"/>
                </a:lnTo>
                <a:lnTo>
                  <a:pt x="6980" y="2845"/>
                </a:lnTo>
                <a:lnTo>
                  <a:pt x="6980" y="2835"/>
                </a:lnTo>
                <a:lnTo>
                  <a:pt x="6979" y="2826"/>
                </a:lnTo>
                <a:lnTo>
                  <a:pt x="6979" y="2816"/>
                </a:lnTo>
                <a:lnTo>
                  <a:pt x="6978" y="2808"/>
                </a:lnTo>
                <a:lnTo>
                  <a:pt x="6975" y="2800"/>
                </a:lnTo>
                <a:lnTo>
                  <a:pt x="6973" y="2792"/>
                </a:lnTo>
                <a:lnTo>
                  <a:pt x="6971" y="2787"/>
                </a:lnTo>
                <a:lnTo>
                  <a:pt x="6967" y="2781"/>
                </a:lnTo>
                <a:lnTo>
                  <a:pt x="6962" y="2775"/>
                </a:lnTo>
                <a:lnTo>
                  <a:pt x="6957" y="2770"/>
                </a:lnTo>
                <a:lnTo>
                  <a:pt x="6949" y="2759"/>
                </a:lnTo>
                <a:lnTo>
                  <a:pt x="6942" y="2747"/>
                </a:lnTo>
                <a:lnTo>
                  <a:pt x="6936" y="2735"/>
                </a:lnTo>
                <a:lnTo>
                  <a:pt x="6931" y="2722"/>
                </a:lnTo>
                <a:lnTo>
                  <a:pt x="6928" y="2710"/>
                </a:lnTo>
                <a:lnTo>
                  <a:pt x="6924" y="2699"/>
                </a:lnTo>
                <a:lnTo>
                  <a:pt x="6921" y="2693"/>
                </a:lnTo>
                <a:lnTo>
                  <a:pt x="6917" y="2685"/>
                </a:lnTo>
                <a:lnTo>
                  <a:pt x="6911" y="2680"/>
                </a:lnTo>
                <a:lnTo>
                  <a:pt x="6905" y="2672"/>
                </a:lnTo>
                <a:lnTo>
                  <a:pt x="6897" y="2665"/>
                </a:lnTo>
                <a:lnTo>
                  <a:pt x="6890" y="2661"/>
                </a:lnTo>
                <a:lnTo>
                  <a:pt x="6881" y="2656"/>
                </a:lnTo>
                <a:lnTo>
                  <a:pt x="6874" y="2652"/>
                </a:lnTo>
                <a:lnTo>
                  <a:pt x="6867" y="2650"/>
                </a:lnTo>
                <a:lnTo>
                  <a:pt x="6861" y="2646"/>
                </a:lnTo>
                <a:lnTo>
                  <a:pt x="6856" y="2643"/>
                </a:lnTo>
                <a:lnTo>
                  <a:pt x="6852" y="2638"/>
                </a:lnTo>
                <a:lnTo>
                  <a:pt x="6843" y="2627"/>
                </a:lnTo>
                <a:lnTo>
                  <a:pt x="6831" y="2615"/>
                </a:lnTo>
                <a:lnTo>
                  <a:pt x="6818" y="2603"/>
                </a:lnTo>
                <a:lnTo>
                  <a:pt x="6806" y="2594"/>
                </a:lnTo>
                <a:lnTo>
                  <a:pt x="6796" y="2588"/>
                </a:lnTo>
                <a:lnTo>
                  <a:pt x="6786" y="2583"/>
                </a:lnTo>
                <a:lnTo>
                  <a:pt x="6784" y="2580"/>
                </a:lnTo>
                <a:lnTo>
                  <a:pt x="6780" y="2577"/>
                </a:lnTo>
                <a:lnTo>
                  <a:pt x="6779" y="2573"/>
                </a:lnTo>
                <a:lnTo>
                  <a:pt x="6778" y="2568"/>
                </a:lnTo>
                <a:lnTo>
                  <a:pt x="6777" y="2564"/>
                </a:lnTo>
                <a:lnTo>
                  <a:pt x="6776" y="2561"/>
                </a:lnTo>
                <a:lnTo>
                  <a:pt x="6773" y="2557"/>
                </a:lnTo>
                <a:lnTo>
                  <a:pt x="6770" y="2555"/>
                </a:lnTo>
                <a:lnTo>
                  <a:pt x="6764" y="2552"/>
                </a:lnTo>
                <a:lnTo>
                  <a:pt x="6755" y="2548"/>
                </a:lnTo>
                <a:lnTo>
                  <a:pt x="6746" y="2544"/>
                </a:lnTo>
                <a:lnTo>
                  <a:pt x="6736" y="2539"/>
                </a:lnTo>
                <a:lnTo>
                  <a:pt x="6732" y="2535"/>
                </a:lnTo>
                <a:lnTo>
                  <a:pt x="6727" y="2529"/>
                </a:lnTo>
                <a:lnTo>
                  <a:pt x="6722" y="2521"/>
                </a:lnTo>
                <a:lnTo>
                  <a:pt x="6719" y="2512"/>
                </a:lnTo>
                <a:lnTo>
                  <a:pt x="6715" y="2502"/>
                </a:lnTo>
                <a:lnTo>
                  <a:pt x="6710" y="2494"/>
                </a:lnTo>
                <a:lnTo>
                  <a:pt x="6705" y="2488"/>
                </a:lnTo>
                <a:lnTo>
                  <a:pt x="6701" y="2483"/>
                </a:lnTo>
                <a:lnTo>
                  <a:pt x="6695" y="2479"/>
                </a:lnTo>
                <a:lnTo>
                  <a:pt x="6689" y="2476"/>
                </a:lnTo>
                <a:lnTo>
                  <a:pt x="6683" y="2473"/>
                </a:lnTo>
                <a:lnTo>
                  <a:pt x="6676" y="2470"/>
                </a:lnTo>
                <a:lnTo>
                  <a:pt x="6660" y="2464"/>
                </a:lnTo>
                <a:lnTo>
                  <a:pt x="6645" y="2460"/>
                </a:lnTo>
                <a:lnTo>
                  <a:pt x="6632" y="2455"/>
                </a:lnTo>
                <a:lnTo>
                  <a:pt x="6621" y="2451"/>
                </a:lnTo>
                <a:lnTo>
                  <a:pt x="6612" y="2450"/>
                </a:lnTo>
                <a:lnTo>
                  <a:pt x="6602" y="2448"/>
                </a:lnTo>
                <a:lnTo>
                  <a:pt x="6597" y="2445"/>
                </a:lnTo>
                <a:lnTo>
                  <a:pt x="6591" y="2442"/>
                </a:lnTo>
                <a:lnTo>
                  <a:pt x="6588" y="2437"/>
                </a:lnTo>
                <a:lnTo>
                  <a:pt x="6583" y="2431"/>
                </a:lnTo>
                <a:lnTo>
                  <a:pt x="6572" y="2414"/>
                </a:lnTo>
                <a:lnTo>
                  <a:pt x="6558" y="2395"/>
                </a:lnTo>
                <a:lnTo>
                  <a:pt x="6544" y="2376"/>
                </a:lnTo>
                <a:lnTo>
                  <a:pt x="6534" y="2365"/>
                </a:lnTo>
                <a:lnTo>
                  <a:pt x="6529" y="2361"/>
                </a:lnTo>
                <a:lnTo>
                  <a:pt x="6525" y="2357"/>
                </a:lnTo>
                <a:lnTo>
                  <a:pt x="6520" y="2356"/>
                </a:lnTo>
                <a:lnTo>
                  <a:pt x="6514" y="2354"/>
                </a:lnTo>
                <a:lnTo>
                  <a:pt x="6501" y="2351"/>
                </a:lnTo>
                <a:lnTo>
                  <a:pt x="6484" y="2351"/>
                </a:lnTo>
                <a:lnTo>
                  <a:pt x="6477" y="2350"/>
                </a:lnTo>
                <a:lnTo>
                  <a:pt x="6468" y="2349"/>
                </a:lnTo>
                <a:lnTo>
                  <a:pt x="6458" y="2350"/>
                </a:lnTo>
                <a:lnTo>
                  <a:pt x="6447" y="2350"/>
                </a:lnTo>
                <a:lnTo>
                  <a:pt x="6436" y="2348"/>
                </a:lnTo>
                <a:lnTo>
                  <a:pt x="6423" y="2347"/>
                </a:lnTo>
                <a:lnTo>
                  <a:pt x="6412" y="2349"/>
                </a:lnTo>
                <a:lnTo>
                  <a:pt x="6402" y="2351"/>
                </a:lnTo>
                <a:lnTo>
                  <a:pt x="6387" y="2353"/>
                </a:lnTo>
                <a:lnTo>
                  <a:pt x="6370" y="2354"/>
                </a:lnTo>
                <a:lnTo>
                  <a:pt x="6355" y="2355"/>
                </a:lnTo>
                <a:lnTo>
                  <a:pt x="6344" y="2356"/>
                </a:lnTo>
                <a:lnTo>
                  <a:pt x="6336" y="2359"/>
                </a:lnTo>
                <a:lnTo>
                  <a:pt x="6327" y="2361"/>
                </a:lnTo>
                <a:lnTo>
                  <a:pt x="6321" y="2363"/>
                </a:lnTo>
                <a:lnTo>
                  <a:pt x="6316" y="2367"/>
                </a:lnTo>
                <a:lnTo>
                  <a:pt x="6305" y="2376"/>
                </a:lnTo>
                <a:lnTo>
                  <a:pt x="6295" y="2387"/>
                </a:lnTo>
                <a:lnTo>
                  <a:pt x="6283" y="2404"/>
                </a:lnTo>
                <a:lnTo>
                  <a:pt x="6268" y="2426"/>
                </a:lnTo>
                <a:lnTo>
                  <a:pt x="6254" y="2449"/>
                </a:lnTo>
                <a:lnTo>
                  <a:pt x="6241" y="2467"/>
                </a:lnTo>
                <a:lnTo>
                  <a:pt x="6229" y="2482"/>
                </a:lnTo>
                <a:lnTo>
                  <a:pt x="6217" y="2499"/>
                </a:lnTo>
                <a:lnTo>
                  <a:pt x="6205" y="2513"/>
                </a:lnTo>
                <a:lnTo>
                  <a:pt x="6197" y="2523"/>
                </a:lnTo>
                <a:lnTo>
                  <a:pt x="6193" y="2525"/>
                </a:lnTo>
                <a:lnTo>
                  <a:pt x="6190" y="2525"/>
                </a:lnTo>
                <a:lnTo>
                  <a:pt x="6185" y="2525"/>
                </a:lnTo>
                <a:lnTo>
                  <a:pt x="6180" y="2524"/>
                </a:lnTo>
                <a:lnTo>
                  <a:pt x="6170" y="2518"/>
                </a:lnTo>
                <a:lnTo>
                  <a:pt x="6162" y="2510"/>
                </a:lnTo>
                <a:lnTo>
                  <a:pt x="6148" y="2498"/>
                </a:lnTo>
                <a:lnTo>
                  <a:pt x="6125" y="2480"/>
                </a:lnTo>
                <a:lnTo>
                  <a:pt x="6100" y="2461"/>
                </a:lnTo>
                <a:lnTo>
                  <a:pt x="6078" y="2447"/>
                </a:lnTo>
                <a:lnTo>
                  <a:pt x="6067" y="2441"/>
                </a:lnTo>
                <a:lnTo>
                  <a:pt x="6055" y="2437"/>
                </a:lnTo>
                <a:lnTo>
                  <a:pt x="6042" y="2434"/>
                </a:lnTo>
                <a:lnTo>
                  <a:pt x="6028" y="2432"/>
                </a:lnTo>
                <a:lnTo>
                  <a:pt x="6014" y="2432"/>
                </a:lnTo>
                <a:lnTo>
                  <a:pt x="6001" y="2434"/>
                </a:lnTo>
                <a:lnTo>
                  <a:pt x="5986" y="2436"/>
                </a:lnTo>
                <a:lnTo>
                  <a:pt x="5973" y="2441"/>
                </a:lnTo>
                <a:lnTo>
                  <a:pt x="5952" y="2450"/>
                </a:lnTo>
                <a:lnTo>
                  <a:pt x="5936" y="2457"/>
                </a:lnTo>
                <a:lnTo>
                  <a:pt x="5929" y="2460"/>
                </a:lnTo>
                <a:lnTo>
                  <a:pt x="5922" y="2461"/>
                </a:lnTo>
                <a:lnTo>
                  <a:pt x="5915" y="2461"/>
                </a:lnTo>
                <a:lnTo>
                  <a:pt x="5905" y="2460"/>
                </a:lnTo>
                <a:lnTo>
                  <a:pt x="5888" y="2456"/>
                </a:lnTo>
                <a:lnTo>
                  <a:pt x="5872" y="2454"/>
                </a:lnTo>
                <a:lnTo>
                  <a:pt x="5864" y="2454"/>
                </a:lnTo>
                <a:lnTo>
                  <a:pt x="5857" y="2455"/>
                </a:lnTo>
                <a:lnTo>
                  <a:pt x="5850" y="2458"/>
                </a:lnTo>
                <a:lnTo>
                  <a:pt x="5844" y="2462"/>
                </a:lnTo>
                <a:lnTo>
                  <a:pt x="5836" y="2469"/>
                </a:lnTo>
                <a:lnTo>
                  <a:pt x="5828" y="2477"/>
                </a:lnTo>
                <a:lnTo>
                  <a:pt x="5820" y="2488"/>
                </a:lnTo>
                <a:lnTo>
                  <a:pt x="5813" y="2499"/>
                </a:lnTo>
                <a:lnTo>
                  <a:pt x="5798" y="2519"/>
                </a:lnTo>
                <a:lnTo>
                  <a:pt x="5789" y="2531"/>
                </a:lnTo>
                <a:lnTo>
                  <a:pt x="5787" y="2533"/>
                </a:lnTo>
                <a:lnTo>
                  <a:pt x="5783" y="2535"/>
                </a:lnTo>
                <a:lnTo>
                  <a:pt x="5779" y="2535"/>
                </a:lnTo>
                <a:lnTo>
                  <a:pt x="5776" y="2533"/>
                </a:lnTo>
                <a:lnTo>
                  <a:pt x="5764" y="2527"/>
                </a:lnTo>
                <a:lnTo>
                  <a:pt x="5748" y="2517"/>
                </a:lnTo>
                <a:lnTo>
                  <a:pt x="5731" y="2502"/>
                </a:lnTo>
                <a:lnTo>
                  <a:pt x="5710" y="2487"/>
                </a:lnTo>
                <a:lnTo>
                  <a:pt x="5690" y="2470"/>
                </a:lnTo>
                <a:lnTo>
                  <a:pt x="5674" y="2453"/>
                </a:lnTo>
                <a:lnTo>
                  <a:pt x="5666" y="2443"/>
                </a:lnTo>
                <a:lnTo>
                  <a:pt x="5661" y="2431"/>
                </a:lnTo>
                <a:lnTo>
                  <a:pt x="5656" y="2419"/>
                </a:lnTo>
                <a:lnTo>
                  <a:pt x="5653" y="2406"/>
                </a:lnTo>
                <a:lnTo>
                  <a:pt x="5651" y="2394"/>
                </a:lnTo>
                <a:lnTo>
                  <a:pt x="5650" y="2382"/>
                </a:lnTo>
                <a:lnTo>
                  <a:pt x="5650" y="2371"/>
                </a:lnTo>
                <a:lnTo>
                  <a:pt x="5651" y="2362"/>
                </a:lnTo>
                <a:lnTo>
                  <a:pt x="5652" y="2354"/>
                </a:lnTo>
                <a:lnTo>
                  <a:pt x="5656" y="2347"/>
                </a:lnTo>
                <a:lnTo>
                  <a:pt x="5662" y="2341"/>
                </a:lnTo>
                <a:lnTo>
                  <a:pt x="5669" y="2335"/>
                </a:lnTo>
                <a:lnTo>
                  <a:pt x="5684" y="2323"/>
                </a:lnTo>
                <a:lnTo>
                  <a:pt x="5699" y="2313"/>
                </a:lnTo>
                <a:lnTo>
                  <a:pt x="5710" y="2305"/>
                </a:lnTo>
                <a:lnTo>
                  <a:pt x="5719" y="2297"/>
                </a:lnTo>
                <a:lnTo>
                  <a:pt x="5722" y="2292"/>
                </a:lnTo>
                <a:lnTo>
                  <a:pt x="5725" y="2287"/>
                </a:lnTo>
                <a:lnTo>
                  <a:pt x="5726" y="2283"/>
                </a:lnTo>
                <a:lnTo>
                  <a:pt x="5727" y="2278"/>
                </a:lnTo>
                <a:lnTo>
                  <a:pt x="5726" y="2261"/>
                </a:lnTo>
                <a:lnTo>
                  <a:pt x="5722" y="2240"/>
                </a:lnTo>
                <a:lnTo>
                  <a:pt x="5720" y="2216"/>
                </a:lnTo>
                <a:lnTo>
                  <a:pt x="5718" y="2196"/>
                </a:lnTo>
                <a:lnTo>
                  <a:pt x="5718" y="2186"/>
                </a:lnTo>
                <a:lnTo>
                  <a:pt x="5720" y="2177"/>
                </a:lnTo>
                <a:lnTo>
                  <a:pt x="5724" y="2167"/>
                </a:lnTo>
                <a:lnTo>
                  <a:pt x="5728" y="2158"/>
                </a:lnTo>
                <a:lnTo>
                  <a:pt x="5739" y="2139"/>
                </a:lnTo>
                <a:lnTo>
                  <a:pt x="5750" y="2123"/>
                </a:lnTo>
                <a:lnTo>
                  <a:pt x="5759" y="2107"/>
                </a:lnTo>
                <a:lnTo>
                  <a:pt x="5771" y="2090"/>
                </a:lnTo>
                <a:lnTo>
                  <a:pt x="5776" y="2082"/>
                </a:lnTo>
                <a:lnTo>
                  <a:pt x="5779" y="2075"/>
                </a:lnTo>
                <a:lnTo>
                  <a:pt x="5783" y="2067"/>
                </a:lnTo>
                <a:lnTo>
                  <a:pt x="5784" y="2061"/>
                </a:lnTo>
                <a:lnTo>
                  <a:pt x="5783" y="2051"/>
                </a:lnTo>
                <a:lnTo>
                  <a:pt x="5781" y="2038"/>
                </a:lnTo>
                <a:lnTo>
                  <a:pt x="5781" y="2029"/>
                </a:lnTo>
                <a:lnTo>
                  <a:pt x="5781" y="2020"/>
                </a:lnTo>
                <a:lnTo>
                  <a:pt x="5782" y="2010"/>
                </a:lnTo>
                <a:lnTo>
                  <a:pt x="5785" y="1998"/>
                </a:lnTo>
                <a:lnTo>
                  <a:pt x="5797" y="1963"/>
                </a:lnTo>
                <a:lnTo>
                  <a:pt x="5815" y="1918"/>
                </a:lnTo>
                <a:lnTo>
                  <a:pt x="5833" y="1872"/>
                </a:lnTo>
                <a:lnTo>
                  <a:pt x="5847" y="1839"/>
                </a:lnTo>
                <a:lnTo>
                  <a:pt x="5860" y="1809"/>
                </a:lnTo>
                <a:lnTo>
                  <a:pt x="5876" y="1771"/>
                </a:lnTo>
                <a:lnTo>
                  <a:pt x="5891" y="1735"/>
                </a:lnTo>
                <a:lnTo>
                  <a:pt x="5902" y="1710"/>
                </a:lnTo>
                <a:lnTo>
                  <a:pt x="5911" y="1685"/>
                </a:lnTo>
                <a:lnTo>
                  <a:pt x="5923" y="1649"/>
                </a:lnTo>
                <a:lnTo>
                  <a:pt x="5936" y="1613"/>
                </a:lnTo>
                <a:lnTo>
                  <a:pt x="5943" y="1592"/>
                </a:lnTo>
                <a:lnTo>
                  <a:pt x="5946" y="1587"/>
                </a:lnTo>
                <a:lnTo>
                  <a:pt x="5948" y="1584"/>
                </a:lnTo>
                <a:lnTo>
                  <a:pt x="5952" y="1582"/>
                </a:lnTo>
                <a:lnTo>
                  <a:pt x="5955" y="1582"/>
                </a:lnTo>
                <a:lnTo>
                  <a:pt x="5960" y="1584"/>
                </a:lnTo>
                <a:lnTo>
                  <a:pt x="5965" y="1587"/>
                </a:lnTo>
                <a:lnTo>
                  <a:pt x="5971" y="1591"/>
                </a:lnTo>
                <a:lnTo>
                  <a:pt x="5977" y="1597"/>
                </a:lnTo>
                <a:lnTo>
                  <a:pt x="5985" y="1604"/>
                </a:lnTo>
                <a:lnTo>
                  <a:pt x="5995" y="1611"/>
                </a:lnTo>
                <a:lnTo>
                  <a:pt x="6006" y="1619"/>
                </a:lnTo>
                <a:lnTo>
                  <a:pt x="6020" y="1626"/>
                </a:lnTo>
                <a:lnTo>
                  <a:pt x="6046" y="1641"/>
                </a:lnTo>
                <a:lnTo>
                  <a:pt x="6068" y="1653"/>
                </a:lnTo>
                <a:lnTo>
                  <a:pt x="6079" y="1659"/>
                </a:lnTo>
                <a:lnTo>
                  <a:pt x="6088" y="1662"/>
                </a:lnTo>
                <a:lnTo>
                  <a:pt x="6098" y="1664"/>
                </a:lnTo>
                <a:lnTo>
                  <a:pt x="6107" y="1667"/>
                </a:lnTo>
                <a:lnTo>
                  <a:pt x="6129" y="1669"/>
                </a:lnTo>
                <a:lnTo>
                  <a:pt x="6151" y="1669"/>
                </a:lnTo>
                <a:lnTo>
                  <a:pt x="6162" y="1670"/>
                </a:lnTo>
                <a:lnTo>
                  <a:pt x="6173" y="1670"/>
                </a:lnTo>
                <a:lnTo>
                  <a:pt x="6181" y="1673"/>
                </a:lnTo>
                <a:lnTo>
                  <a:pt x="6190" y="1675"/>
                </a:lnTo>
                <a:lnTo>
                  <a:pt x="6204" y="1682"/>
                </a:lnTo>
                <a:lnTo>
                  <a:pt x="6217" y="1691"/>
                </a:lnTo>
                <a:lnTo>
                  <a:pt x="6225" y="1698"/>
                </a:lnTo>
                <a:lnTo>
                  <a:pt x="6231" y="1703"/>
                </a:lnTo>
                <a:lnTo>
                  <a:pt x="6235" y="1704"/>
                </a:lnTo>
                <a:lnTo>
                  <a:pt x="6237" y="1703"/>
                </a:lnTo>
                <a:lnTo>
                  <a:pt x="6242" y="1700"/>
                </a:lnTo>
                <a:lnTo>
                  <a:pt x="6245" y="1695"/>
                </a:lnTo>
                <a:lnTo>
                  <a:pt x="6254" y="1697"/>
                </a:lnTo>
                <a:lnTo>
                  <a:pt x="6261" y="1699"/>
                </a:lnTo>
                <a:lnTo>
                  <a:pt x="6268" y="1686"/>
                </a:lnTo>
                <a:lnTo>
                  <a:pt x="6275" y="1674"/>
                </a:lnTo>
                <a:lnTo>
                  <a:pt x="6283" y="1669"/>
                </a:lnTo>
                <a:lnTo>
                  <a:pt x="6294" y="1664"/>
                </a:lnTo>
                <a:lnTo>
                  <a:pt x="6301" y="1663"/>
                </a:lnTo>
                <a:lnTo>
                  <a:pt x="6307" y="1664"/>
                </a:lnTo>
                <a:lnTo>
                  <a:pt x="6312" y="1664"/>
                </a:lnTo>
                <a:lnTo>
                  <a:pt x="6317" y="1664"/>
                </a:lnTo>
                <a:lnTo>
                  <a:pt x="6323" y="1664"/>
                </a:lnTo>
                <a:lnTo>
                  <a:pt x="6327" y="1663"/>
                </a:lnTo>
                <a:lnTo>
                  <a:pt x="6332" y="1661"/>
                </a:lnTo>
                <a:lnTo>
                  <a:pt x="6338" y="1659"/>
                </a:lnTo>
                <a:lnTo>
                  <a:pt x="6343" y="1655"/>
                </a:lnTo>
                <a:lnTo>
                  <a:pt x="6348" y="1650"/>
                </a:lnTo>
                <a:lnTo>
                  <a:pt x="6360" y="1638"/>
                </a:lnTo>
                <a:lnTo>
                  <a:pt x="6374" y="1624"/>
                </a:lnTo>
                <a:lnTo>
                  <a:pt x="6387" y="1609"/>
                </a:lnTo>
                <a:lnTo>
                  <a:pt x="6399" y="1597"/>
                </a:lnTo>
                <a:lnTo>
                  <a:pt x="6407" y="1586"/>
                </a:lnTo>
                <a:lnTo>
                  <a:pt x="6414" y="1575"/>
                </a:lnTo>
                <a:lnTo>
                  <a:pt x="6417" y="1572"/>
                </a:lnTo>
                <a:lnTo>
                  <a:pt x="6420" y="1568"/>
                </a:lnTo>
                <a:lnTo>
                  <a:pt x="6423" y="1566"/>
                </a:lnTo>
                <a:lnTo>
                  <a:pt x="6426" y="1565"/>
                </a:lnTo>
                <a:lnTo>
                  <a:pt x="6431" y="1565"/>
                </a:lnTo>
                <a:lnTo>
                  <a:pt x="6436" y="1562"/>
                </a:lnTo>
                <a:lnTo>
                  <a:pt x="6439" y="1559"/>
                </a:lnTo>
                <a:lnTo>
                  <a:pt x="6442" y="1553"/>
                </a:lnTo>
                <a:lnTo>
                  <a:pt x="6447" y="1543"/>
                </a:lnTo>
                <a:lnTo>
                  <a:pt x="6457" y="1531"/>
                </a:lnTo>
                <a:lnTo>
                  <a:pt x="6463" y="1524"/>
                </a:lnTo>
                <a:lnTo>
                  <a:pt x="6469" y="1519"/>
                </a:lnTo>
                <a:lnTo>
                  <a:pt x="6475" y="1515"/>
                </a:lnTo>
                <a:lnTo>
                  <a:pt x="6480" y="1514"/>
                </a:lnTo>
                <a:lnTo>
                  <a:pt x="6491" y="1511"/>
                </a:lnTo>
                <a:lnTo>
                  <a:pt x="6507" y="1508"/>
                </a:lnTo>
                <a:lnTo>
                  <a:pt x="6526" y="1504"/>
                </a:lnTo>
                <a:lnTo>
                  <a:pt x="6544" y="1500"/>
                </a:lnTo>
                <a:lnTo>
                  <a:pt x="6552" y="1497"/>
                </a:lnTo>
                <a:lnTo>
                  <a:pt x="6560" y="1493"/>
                </a:lnTo>
                <a:lnTo>
                  <a:pt x="6566" y="1490"/>
                </a:lnTo>
                <a:lnTo>
                  <a:pt x="6572" y="1486"/>
                </a:lnTo>
                <a:lnTo>
                  <a:pt x="6577" y="1483"/>
                </a:lnTo>
                <a:lnTo>
                  <a:pt x="6582" y="1479"/>
                </a:lnTo>
                <a:lnTo>
                  <a:pt x="6588" y="1477"/>
                </a:lnTo>
                <a:lnTo>
                  <a:pt x="6594" y="1475"/>
                </a:lnTo>
                <a:lnTo>
                  <a:pt x="6604" y="1473"/>
                </a:lnTo>
                <a:lnTo>
                  <a:pt x="6615" y="1470"/>
                </a:lnTo>
                <a:lnTo>
                  <a:pt x="6620" y="1467"/>
                </a:lnTo>
                <a:lnTo>
                  <a:pt x="6625" y="1464"/>
                </a:lnTo>
                <a:lnTo>
                  <a:pt x="6628" y="1459"/>
                </a:lnTo>
                <a:lnTo>
                  <a:pt x="6633" y="1454"/>
                </a:lnTo>
                <a:lnTo>
                  <a:pt x="6644" y="1441"/>
                </a:lnTo>
                <a:lnTo>
                  <a:pt x="6657" y="1424"/>
                </a:lnTo>
                <a:lnTo>
                  <a:pt x="6664" y="1417"/>
                </a:lnTo>
                <a:lnTo>
                  <a:pt x="6669" y="1410"/>
                </a:lnTo>
                <a:lnTo>
                  <a:pt x="6672" y="1404"/>
                </a:lnTo>
                <a:lnTo>
                  <a:pt x="6675" y="1399"/>
                </a:lnTo>
                <a:lnTo>
                  <a:pt x="6675" y="1390"/>
                </a:lnTo>
                <a:lnTo>
                  <a:pt x="6673" y="1378"/>
                </a:lnTo>
                <a:lnTo>
                  <a:pt x="6672" y="1365"/>
                </a:lnTo>
                <a:lnTo>
                  <a:pt x="6673" y="1352"/>
                </a:lnTo>
                <a:lnTo>
                  <a:pt x="6675" y="1340"/>
                </a:lnTo>
                <a:lnTo>
                  <a:pt x="6675" y="1332"/>
                </a:lnTo>
                <a:lnTo>
                  <a:pt x="6672" y="1328"/>
                </a:lnTo>
                <a:lnTo>
                  <a:pt x="6670" y="1326"/>
                </a:lnTo>
                <a:lnTo>
                  <a:pt x="6666" y="1325"/>
                </a:lnTo>
                <a:lnTo>
                  <a:pt x="6661" y="1325"/>
                </a:lnTo>
                <a:lnTo>
                  <a:pt x="6648" y="1325"/>
                </a:lnTo>
                <a:lnTo>
                  <a:pt x="6635" y="1325"/>
                </a:lnTo>
                <a:lnTo>
                  <a:pt x="6621" y="1322"/>
                </a:lnTo>
                <a:lnTo>
                  <a:pt x="6612" y="1320"/>
                </a:lnTo>
                <a:lnTo>
                  <a:pt x="6608" y="1316"/>
                </a:lnTo>
                <a:lnTo>
                  <a:pt x="6607" y="1313"/>
                </a:lnTo>
                <a:lnTo>
                  <a:pt x="6607" y="1308"/>
                </a:lnTo>
                <a:lnTo>
                  <a:pt x="6609" y="1302"/>
                </a:lnTo>
                <a:lnTo>
                  <a:pt x="6612" y="1296"/>
                </a:lnTo>
                <a:lnTo>
                  <a:pt x="6615" y="1291"/>
                </a:lnTo>
                <a:lnTo>
                  <a:pt x="6619" y="1287"/>
                </a:lnTo>
                <a:lnTo>
                  <a:pt x="6623" y="1283"/>
                </a:lnTo>
                <a:lnTo>
                  <a:pt x="6628" y="1279"/>
                </a:lnTo>
                <a:lnTo>
                  <a:pt x="6632" y="1276"/>
                </a:lnTo>
                <a:lnTo>
                  <a:pt x="6635" y="1272"/>
                </a:lnTo>
                <a:lnTo>
                  <a:pt x="6638" y="1267"/>
                </a:lnTo>
                <a:lnTo>
                  <a:pt x="6639" y="1263"/>
                </a:lnTo>
                <a:lnTo>
                  <a:pt x="6640" y="1257"/>
                </a:lnTo>
                <a:lnTo>
                  <a:pt x="6640" y="1251"/>
                </a:lnTo>
                <a:lnTo>
                  <a:pt x="6640" y="1244"/>
                </a:lnTo>
                <a:lnTo>
                  <a:pt x="6639" y="1232"/>
                </a:lnTo>
                <a:lnTo>
                  <a:pt x="6641" y="1220"/>
                </a:lnTo>
                <a:lnTo>
                  <a:pt x="6642" y="1215"/>
                </a:lnTo>
                <a:lnTo>
                  <a:pt x="6645" y="1210"/>
                </a:lnTo>
                <a:lnTo>
                  <a:pt x="6647" y="1207"/>
                </a:lnTo>
                <a:lnTo>
                  <a:pt x="6651" y="1203"/>
                </a:lnTo>
                <a:lnTo>
                  <a:pt x="6660" y="1194"/>
                </a:lnTo>
                <a:lnTo>
                  <a:pt x="6672" y="1181"/>
                </a:lnTo>
                <a:lnTo>
                  <a:pt x="6678" y="1174"/>
                </a:lnTo>
                <a:lnTo>
                  <a:pt x="6683" y="1166"/>
                </a:lnTo>
                <a:lnTo>
                  <a:pt x="6686" y="1159"/>
                </a:lnTo>
                <a:lnTo>
                  <a:pt x="6689" y="1152"/>
                </a:lnTo>
                <a:lnTo>
                  <a:pt x="6691" y="1134"/>
                </a:lnTo>
                <a:lnTo>
                  <a:pt x="6694" y="1111"/>
                </a:lnTo>
                <a:lnTo>
                  <a:pt x="6696" y="1087"/>
                </a:lnTo>
                <a:lnTo>
                  <a:pt x="6701" y="1070"/>
                </a:lnTo>
                <a:lnTo>
                  <a:pt x="6703" y="1064"/>
                </a:lnTo>
                <a:lnTo>
                  <a:pt x="6707" y="1059"/>
                </a:lnTo>
                <a:lnTo>
                  <a:pt x="6711" y="1054"/>
                </a:lnTo>
                <a:lnTo>
                  <a:pt x="6716" y="1049"/>
                </a:lnTo>
                <a:lnTo>
                  <a:pt x="6726" y="1040"/>
                </a:lnTo>
                <a:lnTo>
                  <a:pt x="6734" y="1033"/>
                </a:lnTo>
                <a:lnTo>
                  <a:pt x="6740" y="1026"/>
                </a:lnTo>
                <a:lnTo>
                  <a:pt x="6746" y="1014"/>
                </a:lnTo>
                <a:lnTo>
                  <a:pt x="6749" y="1008"/>
                </a:lnTo>
                <a:lnTo>
                  <a:pt x="6752" y="1001"/>
                </a:lnTo>
                <a:lnTo>
                  <a:pt x="6754" y="994"/>
                </a:lnTo>
                <a:lnTo>
                  <a:pt x="6755" y="988"/>
                </a:lnTo>
                <a:lnTo>
                  <a:pt x="6755" y="976"/>
                </a:lnTo>
                <a:lnTo>
                  <a:pt x="6755" y="967"/>
                </a:lnTo>
                <a:lnTo>
                  <a:pt x="6754" y="958"/>
                </a:lnTo>
                <a:lnTo>
                  <a:pt x="6754" y="951"/>
                </a:lnTo>
                <a:lnTo>
                  <a:pt x="6754" y="945"/>
                </a:lnTo>
                <a:lnTo>
                  <a:pt x="6755" y="938"/>
                </a:lnTo>
                <a:lnTo>
                  <a:pt x="6760" y="929"/>
                </a:lnTo>
                <a:lnTo>
                  <a:pt x="6768" y="918"/>
                </a:lnTo>
                <a:lnTo>
                  <a:pt x="6778" y="907"/>
                </a:lnTo>
                <a:lnTo>
                  <a:pt x="6785" y="899"/>
                </a:lnTo>
                <a:lnTo>
                  <a:pt x="6789" y="894"/>
                </a:lnTo>
                <a:lnTo>
                  <a:pt x="6791" y="891"/>
                </a:lnTo>
                <a:lnTo>
                  <a:pt x="6792" y="887"/>
                </a:lnTo>
                <a:lnTo>
                  <a:pt x="6792" y="884"/>
                </a:lnTo>
                <a:lnTo>
                  <a:pt x="6792" y="876"/>
                </a:lnTo>
                <a:lnTo>
                  <a:pt x="6793" y="867"/>
                </a:lnTo>
                <a:lnTo>
                  <a:pt x="6797" y="857"/>
                </a:lnTo>
                <a:lnTo>
                  <a:pt x="6802" y="847"/>
                </a:lnTo>
                <a:lnTo>
                  <a:pt x="6806" y="836"/>
                </a:lnTo>
                <a:lnTo>
                  <a:pt x="6810" y="825"/>
                </a:lnTo>
                <a:lnTo>
                  <a:pt x="6814" y="813"/>
                </a:lnTo>
                <a:lnTo>
                  <a:pt x="6816" y="800"/>
                </a:lnTo>
                <a:lnTo>
                  <a:pt x="6818" y="786"/>
                </a:lnTo>
                <a:lnTo>
                  <a:pt x="6821" y="769"/>
                </a:lnTo>
                <a:lnTo>
                  <a:pt x="6823" y="755"/>
                </a:lnTo>
                <a:lnTo>
                  <a:pt x="6824" y="745"/>
                </a:lnTo>
                <a:lnTo>
                  <a:pt x="6824" y="741"/>
                </a:lnTo>
                <a:lnTo>
                  <a:pt x="6825" y="736"/>
                </a:lnTo>
                <a:lnTo>
                  <a:pt x="6828" y="733"/>
                </a:lnTo>
                <a:lnTo>
                  <a:pt x="6830" y="729"/>
                </a:lnTo>
                <a:lnTo>
                  <a:pt x="6839" y="723"/>
                </a:lnTo>
                <a:lnTo>
                  <a:pt x="6847" y="717"/>
                </a:lnTo>
                <a:lnTo>
                  <a:pt x="6856" y="709"/>
                </a:lnTo>
                <a:lnTo>
                  <a:pt x="6865" y="699"/>
                </a:lnTo>
                <a:lnTo>
                  <a:pt x="6872" y="690"/>
                </a:lnTo>
                <a:lnTo>
                  <a:pt x="6878" y="682"/>
                </a:lnTo>
                <a:lnTo>
                  <a:pt x="6885" y="673"/>
                </a:lnTo>
                <a:lnTo>
                  <a:pt x="6892" y="666"/>
                </a:lnTo>
                <a:lnTo>
                  <a:pt x="6899" y="660"/>
                </a:lnTo>
                <a:lnTo>
                  <a:pt x="6905" y="657"/>
                </a:lnTo>
                <a:lnTo>
                  <a:pt x="6910" y="654"/>
                </a:lnTo>
                <a:lnTo>
                  <a:pt x="6915" y="651"/>
                </a:lnTo>
                <a:lnTo>
                  <a:pt x="6921" y="645"/>
                </a:lnTo>
                <a:lnTo>
                  <a:pt x="6925" y="638"/>
                </a:lnTo>
                <a:lnTo>
                  <a:pt x="6929" y="632"/>
                </a:lnTo>
                <a:lnTo>
                  <a:pt x="6934" y="626"/>
                </a:lnTo>
                <a:lnTo>
                  <a:pt x="6940" y="622"/>
                </a:lnTo>
                <a:lnTo>
                  <a:pt x="6944" y="621"/>
                </a:lnTo>
                <a:lnTo>
                  <a:pt x="6953" y="617"/>
                </a:lnTo>
                <a:lnTo>
                  <a:pt x="6961" y="611"/>
                </a:lnTo>
                <a:lnTo>
                  <a:pt x="6971" y="603"/>
                </a:lnTo>
                <a:lnTo>
                  <a:pt x="6976" y="596"/>
                </a:lnTo>
                <a:lnTo>
                  <a:pt x="6978" y="591"/>
                </a:lnTo>
                <a:lnTo>
                  <a:pt x="6979" y="588"/>
                </a:lnTo>
                <a:lnTo>
                  <a:pt x="6979" y="583"/>
                </a:lnTo>
                <a:lnTo>
                  <a:pt x="6979" y="579"/>
                </a:lnTo>
                <a:lnTo>
                  <a:pt x="6978" y="572"/>
                </a:lnTo>
                <a:lnTo>
                  <a:pt x="6975" y="565"/>
                </a:lnTo>
                <a:lnTo>
                  <a:pt x="6974" y="560"/>
                </a:lnTo>
                <a:lnTo>
                  <a:pt x="6974" y="556"/>
                </a:lnTo>
                <a:lnTo>
                  <a:pt x="6976" y="550"/>
                </a:lnTo>
                <a:lnTo>
                  <a:pt x="6981" y="542"/>
                </a:lnTo>
                <a:lnTo>
                  <a:pt x="6986" y="534"/>
                </a:lnTo>
                <a:lnTo>
                  <a:pt x="6990" y="526"/>
                </a:lnTo>
                <a:lnTo>
                  <a:pt x="6991" y="516"/>
                </a:lnTo>
                <a:lnTo>
                  <a:pt x="6991" y="504"/>
                </a:lnTo>
                <a:lnTo>
                  <a:pt x="6991" y="497"/>
                </a:lnTo>
                <a:lnTo>
                  <a:pt x="6990" y="491"/>
                </a:lnTo>
                <a:lnTo>
                  <a:pt x="6987" y="487"/>
                </a:lnTo>
                <a:lnTo>
                  <a:pt x="6985" y="482"/>
                </a:lnTo>
                <a:lnTo>
                  <a:pt x="6982" y="477"/>
                </a:lnTo>
                <a:lnTo>
                  <a:pt x="6979" y="474"/>
                </a:lnTo>
                <a:lnTo>
                  <a:pt x="6975" y="471"/>
                </a:lnTo>
                <a:lnTo>
                  <a:pt x="6972" y="469"/>
                </a:lnTo>
                <a:lnTo>
                  <a:pt x="6962" y="464"/>
                </a:lnTo>
                <a:lnTo>
                  <a:pt x="6953" y="457"/>
                </a:lnTo>
                <a:lnTo>
                  <a:pt x="6949" y="453"/>
                </a:lnTo>
                <a:lnTo>
                  <a:pt x="6946" y="449"/>
                </a:lnTo>
                <a:lnTo>
                  <a:pt x="6943" y="444"/>
                </a:lnTo>
                <a:lnTo>
                  <a:pt x="6942" y="439"/>
                </a:lnTo>
                <a:lnTo>
                  <a:pt x="6943" y="428"/>
                </a:lnTo>
                <a:lnTo>
                  <a:pt x="6948" y="419"/>
                </a:lnTo>
                <a:lnTo>
                  <a:pt x="6952" y="409"/>
                </a:lnTo>
                <a:lnTo>
                  <a:pt x="6954" y="402"/>
                </a:lnTo>
                <a:lnTo>
                  <a:pt x="6954" y="393"/>
                </a:lnTo>
                <a:lnTo>
                  <a:pt x="6955" y="381"/>
                </a:lnTo>
                <a:lnTo>
                  <a:pt x="6955" y="370"/>
                </a:lnTo>
                <a:lnTo>
                  <a:pt x="6954" y="363"/>
                </a:lnTo>
                <a:lnTo>
                  <a:pt x="6952" y="358"/>
                </a:lnTo>
                <a:lnTo>
                  <a:pt x="6946" y="353"/>
                </a:lnTo>
                <a:lnTo>
                  <a:pt x="6937" y="349"/>
                </a:lnTo>
                <a:lnTo>
                  <a:pt x="6929" y="344"/>
                </a:lnTo>
                <a:lnTo>
                  <a:pt x="6919" y="339"/>
                </a:lnTo>
                <a:lnTo>
                  <a:pt x="6910" y="334"/>
                </a:lnTo>
                <a:lnTo>
                  <a:pt x="6899" y="331"/>
                </a:lnTo>
                <a:lnTo>
                  <a:pt x="6888" y="327"/>
                </a:lnTo>
                <a:lnTo>
                  <a:pt x="6883" y="327"/>
                </a:lnTo>
                <a:lnTo>
                  <a:pt x="6877" y="326"/>
                </a:lnTo>
                <a:lnTo>
                  <a:pt x="6871" y="327"/>
                </a:lnTo>
                <a:lnTo>
                  <a:pt x="6865" y="329"/>
                </a:lnTo>
                <a:lnTo>
                  <a:pt x="6854" y="332"/>
                </a:lnTo>
                <a:lnTo>
                  <a:pt x="6842" y="337"/>
                </a:lnTo>
                <a:lnTo>
                  <a:pt x="6833" y="344"/>
                </a:lnTo>
                <a:lnTo>
                  <a:pt x="6822" y="351"/>
                </a:lnTo>
                <a:lnTo>
                  <a:pt x="6812" y="357"/>
                </a:lnTo>
                <a:lnTo>
                  <a:pt x="6801" y="362"/>
                </a:lnTo>
                <a:lnTo>
                  <a:pt x="6795" y="363"/>
                </a:lnTo>
                <a:lnTo>
                  <a:pt x="6789" y="363"/>
                </a:lnTo>
                <a:lnTo>
                  <a:pt x="6783" y="363"/>
                </a:lnTo>
                <a:lnTo>
                  <a:pt x="6777" y="362"/>
                </a:lnTo>
                <a:lnTo>
                  <a:pt x="6772" y="359"/>
                </a:lnTo>
                <a:lnTo>
                  <a:pt x="6768" y="357"/>
                </a:lnTo>
                <a:lnTo>
                  <a:pt x="6766" y="353"/>
                </a:lnTo>
                <a:lnTo>
                  <a:pt x="6766" y="349"/>
                </a:lnTo>
                <a:lnTo>
                  <a:pt x="6767" y="337"/>
                </a:lnTo>
                <a:lnTo>
                  <a:pt x="6770" y="324"/>
                </a:lnTo>
                <a:lnTo>
                  <a:pt x="6770" y="318"/>
                </a:lnTo>
                <a:lnTo>
                  <a:pt x="6770" y="312"/>
                </a:lnTo>
                <a:lnTo>
                  <a:pt x="6768" y="307"/>
                </a:lnTo>
                <a:lnTo>
                  <a:pt x="6766" y="304"/>
                </a:lnTo>
                <a:lnTo>
                  <a:pt x="6762" y="301"/>
                </a:lnTo>
                <a:lnTo>
                  <a:pt x="6760" y="298"/>
                </a:lnTo>
                <a:lnTo>
                  <a:pt x="6758" y="294"/>
                </a:lnTo>
                <a:lnTo>
                  <a:pt x="6758" y="289"/>
                </a:lnTo>
                <a:lnTo>
                  <a:pt x="6758" y="286"/>
                </a:lnTo>
                <a:lnTo>
                  <a:pt x="6760" y="281"/>
                </a:lnTo>
                <a:lnTo>
                  <a:pt x="6762" y="277"/>
                </a:lnTo>
                <a:lnTo>
                  <a:pt x="6766" y="274"/>
                </a:lnTo>
                <a:lnTo>
                  <a:pt x="6779" y="268"/>
                </a:lnTo>
                <a:lnTo>
                  <a:pt x="6793" y="262"/>
                </a:lnTo>
                <a:lnTo>
                  <a:pt x="6802" y="258"/>
                </a:lnTo>
                <a:lnTo>
                  <a:pt x="6809" y="255"/>
                </a:lnTo>
                <a:lnTo>
                  <a:pt x="6816" y="250"/>
                </a:lnTo>
                <a:lnTo>
                  <a:pt x="6822" y="245"/>
                </a:lnTo>
                <a:lnTo>
                  <a:pt x="6831" y="233"/>
                </a:lnTo>
                <a:lnTo>
                  <a:pt x="6841" y="222"/>
                </a:lnTo>
                <a:lnTo>
                  <a:pt x="6847" y="211"/>
                </a:lnTo>
                <a:lnTo>
                  <a:pt x="6852" y="201"/>
                </a:lnTo>
                <a:lnTo>
                  <a:pt x="6855" y="192"/>
                </a:lnTo>
                <a:lnTo>
                  <a:pt x="6861" y="180"/>
                </a:lnTo>
                <a:lnTo>
                  <a:pt x="6868" y="168"/>
                </a:lnTo>
                <a:lnTo>
                  <a:pt x="6878" y="156"/>
                </a:lnTo>
                <a:lnTo>
                  <a:pt x="6890" y="145"/>
                </a:lnTo>
                <a:lnTo>
                  <a:pt x="6899" y="138"/>
                </a:lnTo>
                <a:lnTo>
                  <a:pt x="6903" y="135"/>
                </a:lnTo>
                <a:lnTo>
                  <a:pt x="6906" y="131"/>
                </a:lnTo>
                <a:lnTo>
                  <a:pt x="6909" y="128"/>
                </a:lnTo>
                <a:lnTo>
                  <a:pt x="6911" y="123"/>
                </a:lnTo>
                <a:lnTo>
                  <a:pt x="6916" y="113"/>
                </a:lnTo>
                <a:lnTo>
                  <a:pt x="6922" y="101"/>
                </a:lnTo>
                <a:lnTo>
                  <a:pt x="6930" y="90"/>
                </a:lnTo>
                <a:lnTo>
                  <a:pt x="6938" y="78"/>
                </a:lnTo>
                <a:lnTo>
                  <a:pt x="6946" y="65"/>
                </a:lnTo>
                <a:lnTo>
                  <a:pt x="6953" y="52"/>
                </a:lnTo>
                <a:lnTo>
                  <a:pt x="6957" y="46"/>
                </a:lnTo>
                <a:lnTo>
                  <a:pt x="6962" y="41"/>
                </a:lnTo>
                <a:lnTo>
                  <a:pt x="6969" y="37"/>
                </a:lnTo>
                <a:lnTo>
                  <a:pt x="6976" y="36"/>
                </a:lnTo>
                <a:lnTo>
                  <a:pt x="6993" y="35"/>
                </a:lnTo>
                <a:lnTo>
                  <a:pt x="7006" y="35"/>
                </a:lnTo>
                <a:lnTo>
                  <a:pt x="7019" y="35"/>
                </a:lnTo>
                <a:lnTo>
                  <a:pt x="7032" y="35"/>
                </a:lnTo>
                <a:lnTo>
                  <a:pt x="7048" y="34"/>
                </a:lnTo>
                <a:lnTo>
                  <a:pt x="7062" y="31"/>
                </a:lnTo>
                <a:lnTo>
                  <a:pt x="7076" y="29"/>
                </a:lnTo>
                <a:lnTo>
                  <a:pt x="7086" y="25"/>
                </a:lnTo>
                <a:lnTo>
                  <a:pt x="7097" y="18"/>
                </a:lnTo>
                <a:lnTo>
                  <a:pt x="7110" y="8"/>
                </a:lnTo>
                <a:lnTo>
                  <a:pt x="7116" y="4"/>
                </a:lnTo>
                <a:lnTo>
                  <a:pt x="7119" y="2"/>
                </a:lnTo>
                <a:lnTo>
                  <a:pt x="7123" y="0"/>
                </a:lnTo>
                <a:lnTo>
                  <a:pt x="7125" y="2"/>
                </a:lnTo>
                <a:lnTo>
                  <a:pt x="7129" y="6"/>
                </a:lnTo>
                <a:lnTo>
                  <a:pt x="7135" y="14"/>
                </a:lnTo>
                <a:lnTo>
                  <a:pt x="7144" y="19"/>
                </a:lnTo>
                <a:lnTo>
                  <a:pt x="7154" y="24"/>
                </a:lnTo>
                <a:lnTo>
                  <a:pt x="7162" y="29"/>
                </a:lnTo>
                <a:lnTo>
                  <a:pt x="7170" y="36"/>
                </a:lnTo>
                <a:lnTo>
                  <a:pt x="7174" y="41"/>
                </a:lnTo>
                <a:lnTo>
                  <a:pt x="7177" y="46"/>
                </a:lnTo>
                <a:lnTo>
                  <a:pt x="7180" y="50"/>
                </a:lnTo>
                <a:lnTo>
                  <a:pt x="7181" y="56"/>
                </a:lnTo>
                <a:lnTo>
                  <a:pt x="7181" y="62"/>
                </a:lnTo>
                <a:lnTo>
                  <a:pt x="7182" y="66"/>
                </a:lnTo>
                <a:lnTo>
                  <a:pt x="7184" y="69"/>
                </a:lnTo>
                <a:lnTo>
                  <a:pt x="7187" y="72"/>
                </a:lnTo>
                <a:lnTo>
                  <a:pt x="7192" y="75"/>
                </a:lnTo>
                <a:lnTo>
                  <a:pt x="7199" y="77"/>
                </a:lnTo>
                <a:lnTo>
                  <a:pt x="7206" y="78"/>
                </a:lnTo>
                <a:lnTo>
                  <a:pt x="7214" y="81"/>
                </a:lnTo>
                <a:lnTo>
                  <a:pt x="7218" y="84"/>
                </a:lnTo>
                <a:lnTo>
                  <a:pt x="7221" y="87"/>
                </a:lnTo>
                <a:lnTo>
                  <a:pt x="7224" y="92"/>
                </a:lnTo>
                <a:lnTo>
                  <a:pt x="7226" y="98"/>
                </a:lnTo>
                <a:lnTo>
                  <a:pt x="7227" y="109"/>
                </a:lnTo>
                <a:lnTo>
                  <a:pt x="7226" y="116"/>
                </a:lnTo>
                <a:lnTo>
                  <a:pt x="7225" y="119"/>
                </a:lnTo>
                <a:lnTo>
                  <a:pt x="7223" y="122"/>
                </a:lnTo>
                <a:lnTo>
                  <a:pt x="7220" y="124"/>
                </a:lnTo>
                <a:lnTo>
                  <a:pt x="7215" y="125"/>
                </a:lnTo>
                <a:lnTo>
                  <a:pt x="7212" y="129"/>
                </a:lnTo>
                <a:lnTo>
                  <a:pt x="7208" y="132"/>
                </a:lnTo>
                <a:lnTo>
                  <a:pt x="7205" y="137"/>
                </a:lnTo>
                <a:lnTo>
                  <a:pt x="7202" y="143"/>
                </a:lnTo>
                <a:lnTo>
                  <a:pt x="7200" y="156"/>
                </a:lnTo>
                <a:lnTo>
                  <a:pt x="7200" y="168"/>
                </a:lnTo>
                <a:lnTo>
                  <a:pt x="7199" y="180"/>
                </a:lnTo>
                <a:lnTo>
                  <a:pt x="7196" y="193"/>
                </a:lnTo>
                <a:lnTo>
                  <a:pt x="7192" y="207"/>
                </a:lnTo>
                <a:lnTo>
                  <a:pt x="7182" y="226"/>
                </a:lnTo>
                <a:lnTo>
                  <a:pt x="7176" y="237"/>
                </a:lnTo>
                <a:lnTo>
                  <a:pt x="7170" y="246"/>
                </a:lnTo>
                <a:lnTo>
                  <a:pt x="7163" y="256"/>
                </a:lnTo>
                <a:lnTo>
                  <a:pt x="7155" y="266"/>
                </a:lnTo>
                <a:lnTo>
                  <a:pt x="7139" y="283"/>
                </a:lnTo>
                <a:lnTo>
                  <a:pt x="7125" y="300"/>
                </a:lnTo>
                <a:lnTo>
                  <a:pt x="7112" y="313"/>
                </a:lnTo>
                <a:lnTo>
                  <a:pt x="7102" y="324"/>
                </a:lnTo>
                <a:lnTo>
                  <a:pt x="7099" y="327"/>
                </a:lnTo>
                <a:lnTo>
                  <a:pt x="7097" y="332"/>
                </a:lnTo>
                <a:lnTo>
                  <a:pt x="7094" y="336"/>
                </a:lnTo>
                <a:lnTo>
                  <a:pt x="7094" y="339"/>
                </a:lnTo>
                <a:lnTo>
                  <a:pt x="7095" y="343"/>
                </a:lnTo>
                <a:lnTo>
                  <a:pt x="7097" y="345"/>
                </a:lnTo>
                <a:lnTo>
                  <a:pt x="7098" y="346"/>
                </a:lnTo>
                <a:lnTo>
                  <a:pt x="7100" y="346"/>
                </a:lnTo>
                <a:lnTo>
                  <a:pt x="7108" y="346"/>
                </a:lnTo>
                <a:lnTo>
                  <a:pt x="7123" y="345"/>
                </a:lnTo>
                <a:lnTo>
                  <a:pt x="7131" y="344"/>
                </a:lnTo>
                <a:lnTo>
                  <a:pt x="7137" y="345"/>
                </a:lnTo>
                <a:lnTo>
                  <a:pt x="7143" y="346"/>
                </a:lnTo>
                <a:lnTo>
                  <a:pt x="7146" y="349"/>
                </a:lnTo>
                <a:lnTo>
                  <a:pt x="7155" y="355"/>
                </a:lnTo>
                <a:lnTo>
                  <a:pt x="7163" y="362"/>
                </a:lnTo>
                <a:lnTo>
                  <a:pt x="7173" y="368"/>
                </a:lnTo>
                <a:lnTo>
                  <a:pt x="7184" y="371"/>
                </a:lnTo>
                <a:lnTo>
                  <a:pt x="7199" y="375"/>
                </a:lnTo>
                <a:lnTo>
                  <a:pt x="7218" y="378"/>
                </a:lnTo>
                <a:lnTo>
                  <a:pt x="7227" y="381"/>
                </a:lnTo>
                <a:lnTo>
                  <a:pt x="7233" y="384"/>
                </a:lnTo>
                <a:lnTo>
                  <a:pt x="7238" y="388"/>
                </a:lnTo>
                <a:lnTo>
                  <a:pt x="7243" y="392"/>
                </a:lnTo>
                <a:lnTo>
                  <a:pt x="7247" y="402"/>
                </a:lnTo>
                <a:lnTo>
                  <a:pt x="7253" y="413"/>
                </a:lnTo>
                <a:lnTo>
                  <a:pt x="7262" y="422"/>
                </a:lnTo>
                <a:lnTo>
                  <a:pt x="7271" y="431"/>
                </a:lnTo>
                <a:lnTo>
                  <a:pt x="7276" y="433"/>
                </a:lnTo>
                <a:lnTo>
                  <a:pt x="7280" y="435"/>
                </a:lnTo>
                <a:lnTo>
                  <a:pt x="7284" y="437"/>
                </a:lnTo>
                <a:lnTo>
                  <a:pt x="7288" y="438"/>
                </a:lnTo>
                <a:lnTo>
                  <a:pt x="7296" y="437"/>
                </a:lnTo>
                <a:lnTo>
                  <a:pt x="7306" y="435"/>
                </a:lnTo>
                <a:lnTo>
                  <a:pt x="7311" y="433"/>
                </a:lnTo>
                <a:lnTo>
                  <a:pt x="7314" y="431"/>
                </a:lnTo>
                <a:lnTo>
                  <a:pt x="7318" y="428"/>
                </a:lnTo>
                <a:lnTo>
                  <a:pt x="7321" y="424"/>
                </a:lnTo>
                <a:lnTo>
                  <a:pt x="7328" y="411"/>
                </a:lnTo>
                <a:lnTo>
                  <a:pt x="7337" y="394"/>
                </a:lnTo>
                <a:lnTo>
                  <a:pt x="7346" y="376"/>
                </a:lnTo>
                <a:lnTo>
                  <a:pt x="7352" y="362"/>
                </a:lnTo>
                <a:lnTo>
                  <a:pt x="7358" y="348"/>
                </a:lnTo>
                <a:lnTo>
                  <a:pt x="7366" y="329"/>
                </a:lnTo>
                <a:lnTo>
                  <a:pt x="7370" y="320"/>
                </a:lnTo>
                <a:lnTo>
                  <a:pt x="7374" y="313"/>
                </a:lnTo>
                <a:lnTo>
                  <a:pt x="7377" y="308"/>
                </a:lnTo>
                <a:lnTo>
                  <a:pt x="7379" y="307"/>
                </a:lnTo>
                <a:lnTo>
                  <a:pt x="7387" y="313"/>
                </a:lnTo>
                <a:lnTo>
                  <a:pt x="7395" y="324"/>
                </a:lnTo>
                <a:lnTo>
                  <a:pt x="7402" y="336"/>
                </a:lnTo>
                <a:lnTo>
                  <a:pt x="7407" y="349"/>
                </a:lnTo>
                <a:lnTo>
                  <a:pt x="7409" y="358"/>
                </a:lnTo>
                <a:lnTo>
                  <a:pt x="7413" y="364"/>
                </a:lnTo>
                <a:lnTo>
                  <a:pt x="7416" y="368"/>
                </a:lnTo>
                <a:lnTo>
                  <a:pt x="7423" y="370"/>
                </a:lnTo>
                <a:lnTo>
                  <a:pt x="7427" y="371"/>
                </a:lnTo>
                <a:lnTo>
                  <a:pt x="7429" y="374"/>
                </a:lnTo>
                <a:lnTo>
                  <a:pt x="7432" y="376"/>
                </a:lnTo>
                <a:lnTo>
                  <a:pt x="7434" y="378"/>
                </a:lnTo>
                <a:lnTo>
                  <a:pt x="7437" y="386"/>
                </a:lnTo>
                <a:lnTo>
                  <a:pt x="7438" y="394"/>
                </a:lnTo>
                <a:lnTo>
                  <a:pt x="7439" y="397"/>
                </a:lnTo>
                <a:lnTo>
                  <a:pt x="7441" y="401"/>
                </a:lnTo>
                <a:lnTo>
                  <a:pt x="7445" y="403"/>
                </a:lnTo>
                <a:lnTo>
                  <a:pt x="7450" y="405"/>
                </a:lnTo>
                <a:lnTo>
                  <a:pt x="7460" y="406"/>
                </a:lnTo>
                <a:lnTo>
                  <a:pt x="7471" y="406"/>
                </a:lnTo>
                <a:lnTo>
                  <a:pt x="7484" y="405"/>
                </a:lnTo>
                <a:lnTo>
                  <a:pt x="7502" y="401"/>
                </a:lnTo>
                <a:lnTo>
                  <a:pt x="7519" y="397"/>
                </a:lnTo>
                <a:lnTo>
                  <a:pt x="7529" y="396"/>
                </a:lnTo>
                <a:lnTo>
                  <a:pt x="7532" y="396"/>
                </a:lnTo>
                <a:lnTo>
                  <a:pt x="7533" y="399"/>
                </a:lnTo>
                <a:lnTo>
                  <a:pt x="7533" y="403"/>
                </a:lnTo>
                <a:lnTo>
                  <a:pt x="7533" y="408"/>
                </a:lnTo>
                <a:lnTo>
                  <a:pt x="7530" y="419"/>
                </a:lnTo>
                <a:lnTo>
                  <a:pt x="7526" y="430"/>
                </a:lnTo>
                <a:lnTo>
                  <a:pt x="7515" y="446"/>
                </a:lnTo>
                <a:lnTo>
                  <a:pt x="7505" y="462"/>
                </a:lnTo>
                <a:lnTo>
                  <a:pt x="7504" y="466"/>
                </a:lnTo>
                <a:lnTo>
                  <a:pt x="7504" y="471"/>
                </a:lnTo>
                <a:lnTo>
                  <a:pt x="7505" y="475"/>
                </a:lnTo>
                <a:lnTo>
                  <a:pt x="7507" y="479"/>
                </a:lnTo>
                <a:lnTo>
                  <a:pt x="7509" y="484"/>
                </a:lnTo>
                <a:lnTo>
                  <a:pt x="7513" y="489"/>
                </a:lnTo>
                <a:lnTo>
                  <a:pt x="7516" y="494"/>
                </a:lnTo>
                <a:lnTo>
                  <a:pt x="7521" y="498"/>
                </a:lnTo>
                <a:lnTo>
                  <a:pt x="7526" y="503"/>
                </a:lnTo>
                <a:lnTo>
                  <a:pt x="7529" y="508"/>
                </a:lnTo>
                <a:lnTo>
                  <a:pt x="7532" y="514"/>
                </a:lnTo>
                <a:lnTo>
                  <a:pt x="7534" y="520"/>
                </a:lnTo>
                <a:lnTo>
                  <a:pt x="7536" y="532"/>
                </a:lnTo>
                <a:lnTo>
                  <a:pt x="7536" y="545"/>
                </a:lnTo>
                <a:lnTo>
                  <a:pt x="7536" y="551"/>
                </a:lnTo>
                <a:lnTo>
                  <a:pt x="7536" y="556"/>
                </a:lnTo>
                <a:lnTo>
                  <a:pt x="7538" y="559"/>
                </a:lnTo>
                <a:lnTo>
                  <a:pt x="7540" y="563"/>
                </a:lnTo>
                <a:lnTo>
                  <a:pt x="7545" y="570"/>
                </a:lnTo>
                <a:lnTo>
                  <a:pt x="7552" y="576"/>
                </a:lnTo>
                <a:lnTo>
                  <a:pt x="7555" y="580"/>
                </a:lnTo>
                <a:lnTo>
                  <a:pt x="7558" y="585"/>
                </a:lnTo>
                <a:lnTo>
                  <a:pt x="7560" y="591"/>
                </a:lnTo>
                <a:lnTo>
                  <a:pt x="7561" y="598"/>
                </a:lnTo>
                <a:lnTo>
                  <a:pt x="7564" y="610"/>
                </a:lnTo>
                <a:lnTo>
                  <a:pt x="7568" y="621"/>
                </a:lnTo>
                <a:lnTo>
                  <a:pt x="7573" y="632"/>
                </a:lnTo>
                <a:lnTo>
                  <a:pt x="7582" y="645"/>
                </a:lnTo>
                <a:lnTo>
                  <a:pt x="7589" y="658"/>
                </a:lnTo>
                <a:lnTo>
                  <a:pt x="7595" y="671"/>
                </a:lnTo>
                <a:lnTo>
                  <a:pt x="7597" y="676"/>
                </a:lnTo>
                <a:lnTo>
                  <a:pt x="7599" y="680"/>
                </a:lnTo>
                <a:lnTo>
                  <a:pt x="7602" y="683"/>
                </a:lnTo>
                <a:lnTo>
                  <a:pt x="7604" y="686"/>
                </a:lnTo>
                <a:lnTo>
                  <a:pt x="7611" y="690"/>
                </a:lnTo>
                <a:lnTo>
                  <a:pt x="7617" y="692"/>
                </a:lnTo>
                <a:lnTo>
                  <a:pt x="7620" y="695"/>
                </a:lnTo>
                <a:lnTo>
                  <a:pt x="7621" y="698"/>
                </a:lnTo>
                <a:lnTo>
                  <a:pt x="7621" y="703"/>
                </a:lnTo>
                <a:lnTo>
                  <a:pt x="7620" y="709"/>
                </a:lnTo>
                <a:lnTo>
                  <a:pt x="7617" y="722"/>
                </a:lnTo>
                <a:lnTo>
                  <a:pt x="7614" y="736"/>
                </a:lnTo>
                <a:lnTo>
                  <a:pt x="7614" y="742"/>
                </a:lnTo>
                <a:lnTo>
                  <a:pt x="7615" y="747"/>
                </a:lnTo>
                <a:lnTo>
                  <a:pt x="7616" y="750"/>
                </a:lnTo>
                <a:lnTo>
                  <a:pt x="7617" y="754"/>
                </a:lnTo>
                <a:lnTo>
                  <a:pt x="7623" y="759"/>
                </a:lnTo>
                <a:lnTo>
                  <a:pt x="7630" y="762"/>
                </a:lnTo>
                <a:lnTo>
                  <a:pt x="7637" y="766"/>
                </a:lnTo>
                <a:lnTo>
                  <a:pt x="7643" y="771"/>
                </a:lnTo>
                <a:lnTo>
                  <a:pt x="7648" y="777"/>
                </a:lnTo>
                <a:lnTo>
                  <a:pt x="7652" y="783"/>
                </a:lnTo>
                <a:lnTo>
                  <a:pt x="7655" y="790"/>
                </a:lnTo>
                <a:lnTo>
                  <a:pt x="7660" y="796"/>
                </a:lnTo>
                <a:lnTo>
                  <a:pt x="7662" y="797"/>
                </a:lnTo>
                <a:lnTo>
                  <a:pt x="7666" y="799"/>
                </a:lnTo>
                <a:lnTo>
                  <a:pt x="7671" y="799"/>
                </a:lnTo>
                <a:lnTo>
                  <a:pt x="7678" y="799"/>
                </a:lnTo>
                <a:lnTo>
                  <a:pt x="7684" y="798"/>
                </a:lnTo>
                <a:lnTo>
                  <a:pt x="7690" y="798"/>
                </a:lnTo>
                <a:lnTo>
                  <a:pt x="7694" y="799"/>
                </a:lnTo>
                <a:lnTo>
                  <a:pt x="7700" y="800"/>
                </a:lnTo>
                <a:lnTo>
                  <a:pt x="7710" y="805"/>
                </a:lnTo>
                <a:lnTo>
                  <a:pt x="7721" y="811"/>
                </a:lnTo>
                <a:lnTo>
                  <a:pt x="7725" y="815"/>
                </a:lnTo>
                <a:lnTo>
                  <a:pt x="7730" y="816"/>
                </a:lnTo>
                <a:lnTo>
                  <a:pt x="7735" y="816"/>
                </a:lnTo>
                <a:lnTo>
                  <a:pt x="7740" y="816"/>
                </a:lnTo>
                <a:lnTo>
                  <a:pt x="7748" y="812"/>
                </a:lnTo>
                <a:lnTo>
                  <a:pt x="7755" y="806"/>
                </a:lnTo>
                <a:lnTo>
                  <a:pt x="7763" y="799"/>
                </a:lnTo>
                <a:lnTo>
                  <a:pt x="7775" y="790"/>
                </a:lnTo>
                <a:lnTo>
                  <a:pt x="7787" y="781"/>
                </a:lnTo>
                <a:lnTo>
                  <a:pt x="7799" y="773"/>
                </a:lnTo>
                <a:lnTo>
                  <a:pt x="7804" y="771"/>
                </a:lnTo>
                <a:lnTo>
                  <a:pt x="7806" y="767"/>
                </a:lnTo>
                <a:lnTo>
                  <a:pt x="7810" y="765"/>
                </a:lnTo>
                <a:lnTo>
                  <a:pt x="7811" y="761"/>
                </a:lnTo>
                <a:lnTo>
                  <a:pt x="7813" y="753"/>
                </a:lnTo>
                <a:lnTo>
                  <a:pt x="7816" y="743"/>
                </a:lnTo>
                <a:lnTo>
                  <a:pt x="7817" y="739"/>
                </a:lnTo>
                <a:lnTo>
                  <a:pt x="7818" y="735"/>
                </a:lnTo>
                <a:lnTo>
                  <a:pt x="7822" y="731"/>
                </a:lnTo>
                <a:lnTo>
                  <a:pt x="7824" y="729"/>
                </a:lnTo>
                <a:lnTo>
                  <a:pt x="7828" y="728"/>
                </a:lnTo>
                <a:lnTo>
                  <a:pt x="7831" y="728"/>
                </a:lnTo>
                <a:lnTo>
                  <a:pt x="7834" y="729"/>
                </a:lnTo>
                <a:lnTo>
                  <a:pt x="7837" y="731"/>
                </a:lnTo>
                <a:lnTo>
                  <a:pt x="7844" y="736"/>
                </a:lnTo>
                <a:lnTo>
                  <a:pt x="7854" y="741"/>
                </a:lnTo>
                <a:lnTo>
                  <a:pt x="7866" y="747"/>
                </a:lnTo>
                <a:lnTo>
                  <a:pt x="7880" y="753"/>
                </a:lnTo>
                <a:lnTo>
                  <a:pt x="7887" y="755"/>
                </a:lnTo>
                <a:lnTo>
                  <a:pt x="7894" y="756"/>
                </a:lnTo>
                <a:lnTo>
                  <a:pt x="7901" y="758"/>
                </a:lnTo>
                <a:lnTo>
                  <a:pt x="7908" y="758"/>
                </a:lnTo>
                <a:lnTo>
                  <a:pt x="7914" y="758"/>
                </a:lnTo>
                <a:lnTo>
                  <a:pt x="7922" y="756"/>
                </a:lnTo>
                <a:lnTo>
                  <a:pt x="7926" y="755"/>
                </a:lnTo>
                <a:lnTo>
                  <a:pt x="7931" y="753"/>
                </a:lnTo>
                <a:lnTo>
                  <a:pt x="7942" y="747"/>
                </a:lnTo>
                <a:lnTo>
                  <a:pt x="7956" y="743"/>
                </a:lnTo>
                <a:lnTo>
                  <a:pt x="7963" y="742"/>
                </a:lnTo>
                <a:lnTo>
                  <a:pt x="7970" y="742"/>
                </a:lnTo>
                <a:lnTo>
                  <a:pt x="7977" y="745"/>
                </a:lnTo>
                <a:lnTo>
                  <a:pt x="7983" y="748"/>
                </a:lnTo>
                <a:lnTo>
                  <a:pt x="7989" y="752"/>
                </a:lnTo>
                <a:lnTo>
                  <a:pt x="7995" y="754"/>
                </a:lnTo>
                <a:lnTo>
                  <a:pt x="8000" y="755"/>
                </a:lnTo>
                <a:lnTo>
                  <a:pt x="8006" y="756"/>
                </a:lnTo>
                <a:lnTo>
                  <a:pt x="8011" y="756"/>
                </a:lnTo>
                <a:lnTo>
                  <a:pt x="8014" y="755"/>
                </a:lnTo>
                <a:lnTo>
                  <a:pt x="8019" y="754"/>
                </a:lnTo>
                <a:lnTo>
                  <a:pt x="8023" y="752"/>
                </a:lnTo>
                <a:lnTo>
                  <a:pt x="8026" y="749"/>
                </a:lnTo>
                <a:lnTo>
                  <a:pt x="8029" y="746"/>
                </a:lnTo>
                <a:lnTo>
                  <a:pt x="8030" y="741"/>
                </a:lnTo>
                <a:lnTo>
                  <a:pt x="8031" y="736"/>
                </a:lnTo>
                <a:lnTo>
                  <a:pt x="8032" y="725"/>
                </a:lnTo>
                <a:lnTo>
                  <a:pt x="8033" y="716"/>
                </a:lnTo>
                <a:lnTo>
                  <a:pt x="8034" y="712"/>
                </a:lnTo>
                <a:lnTo>
                  <a:pt x="8037" y="709"/>
                </a:lnTo>
                <a:lnTo>
                  <a:pt x="8040" y="708"/>
                </a:lnTo>
                <a:lnTo>
                  <a:pt x="8043" y="706"/>
                </a:lnTo>
                <a:lnTo>
                  <a:pt x="8050" y="708"/>
                </a:lnTo>
                <a:lnTo>
                  <a:pt x="8056" y="710"/>
                </a:lnTo>
                <a:lnTo>
                  <a:pt x="8064" y="714"/>
                </a:lnTo>
                <a:lnTo>
                  <a:pt x="8072" y="717"/>
                </a:lnTo>
                <a:lnTo>
                  <a:pt x="8078" y="718"/>
                </a:lnTo>
                <a:lnTo>
                  <a:pt x="8083" y="718"/>
                </a:lnTo>
                <a:lnTo>
                  <a:pt x="8088" y="717"/>
                </a:lnTo>
                <a:lnTo>
                  <a:pt x="8093" y="716"/>
                </a:lnTo>
                <a:lnTo>
                  <a:pt x="8106" y="709"/>
                </a:lnTo>
                <a:lnTo>
                  <a:pt x="8122" y="698"/>
                </a:lnTo>
                <a:lnTo>
                  <a:pt x="8139" y="687"/>
                </a:lnTo>
                <a:lnTo>
                  <a:pt x="8150" y="678"/>
                </a:lnTo>
                <a:lnTo>
                  <a:pt x="8153" y="676"/>
                </a:lnTo>
                <a:lnTo>
                  <a:pt x="8156" y="671"/>
                </a:lnTo>
                <a:lnTo>
                  <a:pt x="8158" y="667"/>
                </a:lnTo>
                <a:lnTo>
                  <a:pt x="8158" y="663"/>
                </a:lnTo>
                <a:lnTo>
                  <a:pt x="8158" y="653"/>
                </a:lnTo>
                <a:lnTo>
                  <a:pt x="8156" y="643"/>
                </a:lnTo>
                <a:lnTo>
                  <a:pt x="8155" y="639"/>
                </a:lnTo>
                <a:lnTo>
                  <a:pt x="8156" y="635"/>
                </a:lnTo>
                <a:lnTo>
                  <a:pt x="8158" y="632"/>
                </a:lnTo>
                <a:lnTo>
                  <a:pt x="8162" y="628"/>
                </a:lnTo>
                <a:lnTo>
                  <a:pt x="8170" y="622"/>
                </a:lnTo>
                <a:lnTo>
                  <a:pt x="8179" y="617"/>
                </a:lnTo>
                <a:lnTo>
                  <a:pt x="8183" y="614"/>
                </a:lnTo>
                <a:lnTo>
                  <a:pt x="8184" y="610"/>
                </a:lnTo>
                <a:lnTo>
                  <a:pt x="8185" y="605"/>
                </a:lnTo>
                <a:lnTo>
                  <a:pt x="8187" y="600"/>
                </a:lnTo>
                <a:lnTo>
                  <a:pt x="8185" y="589"/>
                </a:lnTo>
                <a:lnTo>
                  <a:pt x="8184" y="578"/>
                </a:lnTo>
                <a:lnTo>
                  <a:pt x="8184" y="573"/>
                </a:lnTo>
                <a:lnTo>
                  <a:pt x="8185" y="570"/>
                </a:lnTo>
                <a:lnTo>
                  <a:pt x="8187" y="569"/>
                </a:lnTo>
                <a:lnTo>
                  <a:pt x="8189" y="567"/>
                </a:lnTo>
                <a:lnTo>
                  <a:pt x="8195" y="566"/>
                </a:lnTo>
                <a:lnTo>
                  <a:pt x="8202" y="567"/>
                </a:lnTo>
                <a:lnTo>
                  <a:pt x="8206" y="567"/>
                </a:lnTo>
                <a:lnTo>
                  <a:pt x="8210" y="566"/>
                </a:lnTo>
                <a:lnTo>
                  <a:pt x="8215" y="564"/>
                </a:lnTo>
                <a:lnTo>
                  <a:pt x="8219" y="561"/>
                </a:lnTo>
                <a:lnTo>
                  <a:pt x="8225" y="559"/>
                </a:lnTo>
                <a:lnTo>
                  <a:pt x="8229" y="557"/>
                </a:lnTo>
                <a:lnTo>
                  <a:pt x="8235" y="556"/>
                </a:lnTo>
                <a:lnTo>
                  <a:pt x="8241" y="556"/>
                </a:lnTo>
                <a:lnTo>
                  <a:pt x="8250" y="563"/>
                </a:lnTo>
                <a:lnTo>
                  <a:pt x="8269" y="578"/>
                </a:lnTo>
                <a:lnTo>
                  <a:pt x="8284" y="588"/>
                </a:lnTo>
                <a:lnTo>
                  <a:pt x="8298" y="600"/>
                </a:lnTo>
                <a:lnTo>
                  <a:pt x="8310" y="611"/>
                </a:lnTo>
                <a:lnTo>
                  <a:pt x="8321" y="624"/>
                </a:lnTo>
                <a:lnTo>
                  <a:pt x="8332" y="639"/>
                </a:lnTo>
                <a:lnTo>
                  <a:pt x="8346" y="658"/>
                </a:lnTo>
                <a:lnTo>
                  <a:pt x="8354" y="667"/>
                </a:lnTo>
                <a:lnTo>
                  <a:pt x="8363" y="676"/>
                </a:lnTo>
                <a:lnTo>
                  <a:pt x="8371" y="685"/>
                </a:lnTo>
                <a:lnTo>
                  <a:pt x="8379" y="692"/>
                </a:lnTo>
                <a:lnTo>
                  <a:pt x="8396" y="706"/>
                </a:lnTo>
                <a:lnTo>
                  <a:pt x="8409" y="721"/>
                </a:lnTo>
                <a:lnTo>
                  <a:pt x="8418" y="733"/>
                </a:lnTo>
                <a:lnTo>
                  <a:pt x="8429" y="743"/>
                </a:lnTo>
                <a:lnTo>
                  <a:pt x="8436" y="750"/>
                </a:lnTo>
                <a:lnTo>
                  <a:pt x="8442" y="756"/>
                </a:lnTo>
                <a:lnTo>
                  <a:pt x="8448" y="762"/>
                </a:lnTo>
                <a:lnTo>
                  <a:pt x="8455" y="766"/>
                </a:lnTo>
                <a:lnTo>
                  <a:pt x="8464" y="768"/>
                </a:lnTo>
                <a:lnTo>
                  <a:pt x="8471" y="772"/>
                </a:lnTo>
                <a:lnTo>
                  <a:pt x="8477" y="778"/>
                </a:lnTo>
                <a:lnTo>
                  <a:pt x="8484" y="786"/>
                </a:lnTo>
                <a:lnTo>
                  <a:pt x="8487" y="791"/>
                </a:lnTo>
                <a:lnTo>
                  <a:pt x="8491" y="797"/>
                </a:lnTo>
                <a:lnTo>
                  <a:pt x="8493" y="804"/>
                </a:lnTo>
                <a:lnTo>
                  <a:pt x="8494" y="811"/>
                </a:lnTo>
                <a:lnTo>
                  <a:pt x="8496" y="817"/>
                </a:lnTo>
                <a:lnTo>
                  <a:pt x="8497" y="823"/>
                </a:lnTo>
                <a:lnTo>
                  <a:pt x="8497" y="829"/>
                </a:lnTo>
                <a:lnTo>
                  <a:pt x="8496" y="834"/>
                </a:lnTo>
                <a:lnTo>
                  <a:pt x="8491" y="842"/>
                </a:lnTo>
                <a:lnTo>
                  <a:pt x="8484" y="854"/>
                </a:lnTo>
                <a:lnTo>
                  <a:pt x="8475" y="866"/>
                </a:lnTo>
                <a:lnTo>
                  <a:pt x="8471" y="875"/>
                </a:lnTo>
                <a:lnTo>
                  <a:pt x="8466" y="885"/>
                </a:lnTo>
                <a:lnTo>
                  <a:pt x="8460" y="893"/>
                </a:lnTo>
                <a:lnTo>
                  <a:pt x="8454" y="900"/>
                </a:lnTo>
                <a:lnTo>
                  <a:pt x="8448" y="905"/>
                </a:lnTo>
                <a:lnTo>
                  <a:pt x="8445" y="911"/>
                </a:lnTo>
                <a:lnTo>
                  <a:pt x="8442" y="919"/>
                </a:lnTo>
                <a:lnTo>
                  <a:pt x="8441" y="923"/>
                </a:lnTo>
                <a:lnTo>
                  <a:pt x="8441" y="929"/>
                </a:lnTo>
                <a:lnTo>
                  <a:pt x="8441" y="934"/>
                </a:lnTo>
                <a:lnTo>
                  <a:pt x="8442" y="939"/>
                </a:lnTo>
                <a:lnTo>
                  <a:pt x="8446" y="951"/>
                </a:lnTo>
                <a:lnTo>
                  <a:pt x="8449" y="966"/>
                </a:lnTo>
                <a:lnTo>
                  <a:pt x="8452" y="980"/>
                </a:lnTo>
                <a:lnTo>
                  <a:pt x="8453" y="992"/>
                </a:lnTo>
                <a:lnTo>
                  <a:pt x="8452" y="1002"/>
                </a:lnTo>
                <a:lnTo>
                  <a:pt x="8448" y="1012"/>
                </a:lnTo>
                <a:lnTo>
                  <a:pt x="8442" y="1023"/>
                </a:lnTo>
                <a:lnTo>
                  <a:pt x="8434" y="1033"/>
                </a:lnTo>
                <a:lnTo>
                  <a:pt x="8424" y="1042"/>
                </a:lnTo>
                <a:lnTo>
                  <a:pt x="8416" y="1049"/>
                </a:lnTo>
                <a:lnTo>
                  <a:pt x="8408" y="1052"/>
                </a:lnTo>
                <a:lnTo>
                  <a:pt x="8402" y="1056"/>
                </a:lnTo>
                <a:lnTo>
                  <a:pt x="8396" y="1061"/>
                </a:lnTo>
                <a:lnTo>
                  <a:pt x="8391" y="1065"/>
                </a:lnTo>
                <a:lnTo>
                  <a:pt x="8390" y="1069"/>
                </a:lnTo>
                <a:lnTo>
                  <a:pt x="8389" y="1073"/>
                </a:lnTo>
                <a:lnTo>
                  <a:pt x="8389" y="1077"/>
                </a:lnTo>
                <a:lnTo>
                  <a:pt x="8389" y="1082"/>
                </a:lnTo>
                <a:lnTo>
                  <a:pt x="8390" y="1095"/>
                </a:lnTo>
                <a:lnTo>
                  <a:pt x="8389" y="1111"/>
                </a:lnTo>
                <a:lnTo>
                  <a:pt x="8386" y="1126"/>
                </a:lnTo>
                <a:lnTo>
                  <a:pt x="8383" y="1139"/>
                </a:lnTo>
                <a:lnTo>
                  <a:pt x="8378" y="1151"/>
                </a:lnTo>
                <a:lnTo>
                  <a:pt x="8372" y="1161"/>
                </a:lnTo>
                <a:lnTo>
                  <a:pt x="8366" y="1171"/>
                </a:lnTo>
                <a:lnTo>
                  <a:pt x="8361" y="1183"/>
                </a:lnTo>
                <a:lnTo>
                  <a:pt x="8358" y="1196"/>
                </a:lnTo>
                <a:lnTo>
                  <a:pt x="8352" y="1209"/>
                </a:lnTo>
                <a:lnTo>
                  <a:pt x="8347" y="1221"/>
                </a:lnTo>
                <a:lnTo>
                  <a:pt x="8342" y="1232"/>
                </a:lnTo>
                <a:lnTo>
                  <a:pt x="8340" y="1245"/>
                </a:lnTo>
                <a:lnTo>
                  <a:pt x="8336" y="1259"/>
                </a:lnTo>
                <a:lnTo>
                  <a:pt x="8335" y="1275"/>
                </a:lnTo>
                <a:lnTo>
                  <a:pt x="8335" y="1291"/>
                </a:lnTo>
                <a:lnTo>
                  <a:pt x="8336" y="1307"/>
                </a:lnTo>
                <a:lnTo>
                  <a:pt x="8338" y="1319"/>
                </a:lnTo>
                <a:lnTo>
                  <a:pt x="8338" y="1328"/>
                </a:lnTo>
                <a:lnTo>
                  <a:pt x="8338" y="1336"/>
                </a:lnTo>
                <a:lnTo>
                  <a:pt x="8339" y="1344"/>
                </a:lnTo>
                <a:lnTo>
                  <a:pt x="8340" y="1351"/>
                </a:lnTo>
                <a:lnTo>
                  <a:pt x="8341" y="1357"/>
                </a:lnTo>
                <a:lnTo>
                  <a:pt x="8344" y="1364"/>
                </a:lnTo>
                <a:lnTo>
                  <a:pt x="8346" y="1371"/>
                </a:lnTo>
                <a:lnTo>
                  <a:pt x="8347" y="1378"/>
                </a:lnTo>
                <a:lnTo>
                  <a:pt x="8348" y="1386"/>
                </a:lnTo>
                <a:lnTo>
                  <a:pt x="8348" y="1397"/>
                </a:lnTo>
                <a:lnTo>
                  <a:pt x="8348" y="1401"/>
                </a:lnTo>
                <a:lnTo>
                  <a:pt x="8347" y="1404"/>
                </a:lnTo>
                <a:lnTo>
                  <a:pt x="8346" y="1407"/>
                </a:lnTo>
                <a:lnTo>
                  <a:pt x="8345" y="1408"/>
                </a:lnTo>
                <a:lnTo>
                  <a:pt x="8341" y="1409"/>
                </a:lnTo>
                <a:lnTo>
                  <a:pt x="8336" y="1410"/>
                </a:lnTo>
                <a:lnTo>
                  <a:pt x="8334" y="1411"/>
                </a:lnTo>
                <a:lnTo>
                  <a:pt x="8332" y="1413"/>
                </a:lnTo>
                <a:lnTo>
                  <a:pt x="8330" y="1414"/>
                </a:lnTo>
                <a:lnTo>
                  <a:pt x="8330" y="1416"/>
                </a:lnTo>
                <a:lnTo>
                  <a:pt x="8332" y="1422"/>
                </a:lnTo>
                <a:lnTo>
                  <a:pt x="8338" y="1430"/>
                </a:lnTo>
                <a:lnTo>
                  <a:pt x="8346" y="1441"/>
                </a:lnTo>
                <a:lnTo>
                  <a:pt x="8357" y="1455"/>
                </a:lnTo>
                <a:lnTo>
                  <a:pt x="8367" y="1472"/>
                </a:lnTo>
                <a:lnTo>
                  <a:pt x="8376" y="1487"/>
                </a:lnTo>
                <a:lnTo>
                  <a:pt x="8379" y="1495"/>
                </a:lnTo>
                <a:lnTo>
                  <a:pt x="8382" y="1503"/>
                </a:lnTo>
                <a:lnTo>
                  <a:pt x="8383" y="1511"/>
                </a:lnTo>
                <a:lnTo>
                  <a:pt x="8384" y="1519"/>
                </a:lnTo>
                <a:lnTo>
                  <a:pt x="8384" y="1536"/>
                </a:lnTo>
                <a:lnTo>
                  <a:pt x="8384" y="1553"/>
                </a:lnTo>
                <a:lnTo>
                  <a:pt x="8382" y="1572"/>
                </a:lnTo>
                <a:lnTo>
                  <a:pt x="8377" y="1592"/>
                </a:lnTo>
                <a:lnTo>
                  <a:pt x="8374" y="1601"/>
                </a:lnTo>
                <a:lnTo>
                  <a:pt x="8371" y="1611"/>
                </a:lnTo>
                <a:lnTo>
                  <a:pt x="8368" y="1618"/>
                </a:lnTo>
                <a:lnTo>
                  <a:pt x="8365" y="1623"/>
                </a:lnTo>
                <a:lnTo>
                  <a:pt x="8361" y="1626"/>
                </a:lnTo>
                <a:lnTo>
                  <a:pt x="8358" y="1629"/>
                </a:lnTo>
                <a:lnTo>
                  <a:pt x="8353" y="1631"/>
                </a:lnTo>
                <a:lnTo>
                  <a:pt x="8349" y="1632"/>
                </a:lnTo>
                <a:lnTo>
                  <a:pt x="8339" y="1632"/>
                </a:lnTo>
                <a:lnTo>
                  <a:pt x="8327" y="1632"/>
                </a:lnTo>
                <a:lnTo>
                  <a:pt x="8313" y="1631"/>
                </a:lnTo>
                <a:lnTo>
                  <a:pt x="8300" y="1632"/>
                </a:lnTo>
                <a:lnTo>
                  <a:pt x="8292" y="1635"/>
                </a:lnTo>
                <a:lnTo>
                  <a:pt x="8286" y="1638"/>
                </a:lnTo>
                <a:lnTo>
                  <a:pt x="8283" y="1643"/>
                </a:lnTo>
                <a:lnTo>
                  <a:pt x="8279" y="1649"/>
                </a:lnTo>
                <a:lnTo>
                  <a:pt x="8275" y="1664"/>
                </a:lnTo>
                <a:lnTo>
                  <a:pt x="8272" y="1684"/>
                </a:lnTo>
                <a:lnTo>
                  <a:pt x="8269" y="1704"/>
                </a:lnTo>
                <a:lnTo>
                  <a:pt x="8264" y="1725"/>
                </a:lnTo>
                <a:lnTo>
                  <a:pt x="8257" y="1749"/>
                </a:lnTo>
                <a:lnTo>
                  <a:pt x="8251" y="1774"/>
                </a:lnTo>
                <a:lnTo>
                  <a:pt x="8245" y="1798"/>
                </a:lnTo>
                <a:lnTo>
                  <a:pt x="8241" y="1819"/>
                </a:lnTo>
                <a:lnTo>
                  <a:pt x="8239" y="1844"/>
                </a:lnTo>
                <a:lnTo>
                  <a:pt x="8237" y="1875"/>
                </a:lnTo>
                <a:lnTo>
                  <a:pt x="8234" y="1905"/>
                </a:lnTo>
                <a:lnTo>
                  <a:pt x="8234" y="1927"/>
                </a:lnTo>
                <a:lnTo>
                  <a:pt x="8235" y="1945"/>
                </a:lnTo>
                <a:lnTo>
                  <a:pt x="8239" y="1962"/>
                </a:lnTo>
                <a:lnTo>
                  <a:pt x="8244" y="1978"/>
                </a:lnTo>
                <a:lnTo>
                  <a:pt x="8247" y="1991"/>
                </a:lnTo>
                <a:lnTo>
                  <a:pt x="8252" y="2002"/>
                </a:lnTo>
                <a:lnTo>
                  <a:pt x="8257" y="2010"/>
                </a:lnTo>
                <a:lnTo>
                  <a:pt x="8258" y="2015"/>
                </a:lnTo>
                <a:lnTo>
                  <a:pt x="8259" y="2020"/>
                </a:lnTo>
                <a:lnTo>
                  <a:pt x="8259" y="2025"/>
                </a:lnTo>
                <a:lnTo>
                  <a:pt x="8259" y="2032"/>
                </a:lnTo>
                <a:lnTo>
                  <a:pt x="8256" y="2042"/>
                </a:lnTo>
                <a:lnTo>
                  <a:pt x="8253" y="2051"/>
                </a:lnTo>
                <a:lnTo>
                  <a:pt x="8251" y="2058"/>
                </a:lnTo>
                <a:lnTo>
                  <a:pt x="8248" y="2067"/>
                </a:lnTo>
                <a:lnTo>
                  <a:pt x="8247" y="2077"/>
                </a:lnTo>
                <a:lnTo>
                  <a:pt x="8246" y="2086"/>
                </a:lnTo>
                <a:lnTo>
                  <a:pt x="8242" y="2094"/>
                </a:lnTo>
                <a:lnTo>
                  <a:pt x="8238" y="2102"/>
                </a:lnTo>
                <a:lnTo>
                  <a:pt x="8232" y="2109"/>
                </a:lnTo>
                <a:lnTo>
                  <a:pt x="8229" y="2111"/>
                </a:lnTo>
                <a:lnTo>
                  <a:pt x="8229" y="2108"/>
                </a:lnTo>
                <a:lnTo>
                  <a:pt x="8229" y="2100"/>
                </a:lnTo>
                <a:lnTo>
                  <a:pt x="8228" y="2091"/>
                </a:lnTo>
                <a:lnTo>
                  <a:pt x="8226" y="2084"/>
                </a:lnTo>
                <a:lnTo>
                  <a:pt x="8223" y="2079"/>
                </a:lnTo>
                <a:lnTo>
                  <a:pt x="8220" y="2075"/>
                </a:lnTo>
                <a:lnTo>
                  <a:pt x="8214" y="2069"/>
                </a:lnTo>
                <a:lnTo>
                  <a:pt x="8208" y="2061"/>
                </a:lnTo>
                <a:lnTo>
                  <a:pt x="8203" y="2053"/>
                </a:lnTo>
                <a:lnTo>
                  <a:pt x="8198" y="2044"/>
                </a:lnTo>
                <a:lnTo>
                  <a:pt x="8194" y="2032"/>
                </a:lnTo>
                <a:lnTo>
                  <a:pt x="8188" y="2016"/>
                </a:lnTo>
                <a:lnTo>
                  <a:pt x="8182" y="2001"/>
                </a:lnTo>
                <a:lnTo>
                  <a:pt x="8177" y="1988"/>
                </a:lnTo>
                <a:lnTo>
                  <a:pt x="8174" y="1977"/>
                </a:lnTo>
                <a:lnTo>
                  <a:pt x="8169" y="1964"/>
                </a:lnTo>
                <a:lnTo>
                  <a:pt x="8164" y="1951"/>
                </a:lnTo>
                <a:lnTo>
                  <a:pt x="8159" y="1940"/>
                </a:lnTo>
                <a:lnTo>
                  <a:pt x="8157" y="1935"/>
                </a:lnTo>
                <a:lnTo>
                  <a:pt x="8155" y="1933"/>
                </a:lnTo>
                <a:lnTo>
                  <a:pt x="8153" y="1933"/>
                </a:lnTo>
                <a:lnTo>
                  <a:pt x="8151" y="1933"/>
                </a:lnTo>
                <a:lnTo>
                  <a:pt x="8146" y="1935"/>
                </a:lnTo>
                <a:lnTo>
                  <a:pt x="8140" y="1941"/>
                </a:lnTo>
                <a:lnTo>
                  <a:pt x="8125" y="1957"/>
                </a:lnTo>
                <a:lnTo>
                  <a:pt x="8109" y="1975"/>
                </a:lnTo>
                <a:lnTo>
                  <a:pt x="8094" y="1994"/>
                </a:lnTo>
                <a:lnTo>
                  <a:pt x="8081" y="2010"/>
                </a:lnTo>
                <a:lnTo>
                  <a:pt x="8065" y="2032"/>
                </a:lnTo>
                <a:lnTo>
                  <a:pt x="8049" y="2054"/>
                </a:lnTo>
                <a:lnTo>
                  <a:pt x="8032" y="2076"/>
                </a:lnTo>
                <a:lnTo>
                  <a:pt x="8019" y="2097"/>
                </a:lnTo>
                <a:lnTo>
                  <a:pt x="8008" y="2116"/>
                </a:lnTo>
                <a:lnTo>
                  <a:pt x="8001" y="2135"/>
                </a:lnTo>
                <a:lnTo>
                  <a:pt x="7995" y="2152"/>
                </a:lnTo>
                <a:lnTo>
                  <a:pt x="7988" y="2164"/>
                </a:lnTo>
                <a:lnTo>
                  <a:pt x="7977" y="2176"/>
                </a:lnTo>
                <a:lnTo>
                  <a:pt x="7963" y="2187"/>
                </a:lnTo>
                <a:lnTo>
                  <a:pt x="7955" y="2193"/>
                </a:lnTo>
                <a:lnTo>
                  <a:pt x="7946" y="2198"/>
                </a:lnTo>
                <a:lnTo>
                  <a:pt x="7939" y="2202"/>
                </a:lnTo>
                <a:lnTo>
                  <a:pt x="7933" y="2204"/>
                </a:lnTo>
                <a:lnTo>
                  <a:pt x="7927" y="2206"/>
                </a:lnTo>
                <a:lnTo>
                  <a:pt x="7922" y="2209"/>
                </a:lnTo>
                <a:lnTo>
                  <a:pt x="7917" y="2211"/>
                </a:lnTo>
                <a:lnTo>
                  <a:pt x="7912" y="2215"/>
                </a:lnTo>
                <a:lnTo>
                  <a:pt x="7908" y="2220"/>
                </a:lnTo>
                <a:lnTo>
                  <a:pt x="7905" y="2224"/>
                </a:lnTo>
                <a:lnTo>
                  <a:pt x="7903" y="2230"/>
                </a:lnTo>
                <a:lnTo>
                  <a:pt x="7900" y="2236"/>
                </a:lnTo>
                <a:lnTo>
                  <a:pt x="7897" y="2250"/>
                </a:lnTo>
                <a:lnTo>
                  <a:pt x="7893" y="2266"/>
                </a:lnTo>
                <a:lnTo>
                  <a:pt x="7891" y="2273"/>
                </a:lnTo>
                <a:lnTo>
                  <a:pt x="7887" y="2280"/>
                </a:lnTo>
                <a:lnTo>
                  <a:pt x="7883" y="2286"/>
                </a:lnTo>
                <a:lnTo>
                  <a:pt x="7879" y="2291"/>
                </a:lnTo>
                <a:lnTo>
                  <a:pt x="7867" y="2300"/>
                </a:lnTo>
                <a:lnTo>
                  <a:pt x="7851" y="2310"/>
                </a:lnTo>
                <a:lnTo>
                  <a:pt x="7832" y="2322"/>
                </a:lnTo>
                <a:lnTo>
                  <a:pt x="7815" y="2335"/>
                </a:lnTo>
                <a:lnTo>
                  <a:pt x="7794" y="2353"/>
                </a:lnTo>
                <a:lnTo>
                  <a:pt x="7771" y="2372"/>
                </a:lnTo>
                <a:lnTo>
                  <a:pt x="7748" y="2391"/>
                </a:lnTo>
                <a:lnTo>
                  <a:pt x="7730" y="2407"/>
                </a:lnTo>
                <a:lnTo>
                  <a:pt x="7724" y="2414"/>
                </a:lnTo>
                <a:lnTo>
                  <a:pt x="7718" y="2422"/>
                </a:lnTo>
                <a:lnTo>
                  <a:pt x="7715" y="2430"/>
                </a:lnTo>
                <a:lnTo>
                  <a:pt x="7712" y="2439"/>
                </a:lnTo>
                <a:lnTo>
                  <a:pt x="7708" y="2455"/>
                </a:lnTo>
                <a:lnTo>
                  <a:pt x="7704" y="2469"/>
                </a:lnTo>
                <a:lnTo>
                  <a:pt x="7699" y="2482"/>
                </a:lnTo>
                <a:lnTo>
                  <a:pt x="7693" y="2494"/>
                </a:lnTo>
                <a:lnTo>
                  <a:pt x="7691" y="2500"/>
                </a:lnTo>
                <a:lnTo>
                  <a:pt x="7691" y="2505"/>
                </a:lnTo>
                <a:lnTo>
                  <a:pt x="7691" y="2507"/>
                </a:lnTo>
                <a:lnTo>
                  <a:pt x="7692" y="2510"/>
                </a:lnTo>
                <a:lnTo>
                  <a:pt x="7693" y="2511"/>
                </a:lnTo>
                <a:lnTo>
                  <a:pt x="7694" y="2513"/>
                </a:lnTo>
                <a:lnTo>
                  <a:pt x="7699" y="2516"/>
                </a:lnTo>
                <a:lnTo>
                  <a:pt x="7702" y="2519"/>
                </a:lnTo>
                <a:lnTo>
                  <a:pt x="7704" y="2523"/>
                </a:lnTo>
                <a:lnTo>
                  <a:pt x="7705" y="2526"/>
                </a:lnTo>
                <a:lnTo>
                  <a:pt x="7708" y="2535"/>
                </a:lnTo>
                <a:lnTo>
                  <a:pt x="7710" y="2544"/>
                </a:lnTo>
                <a:lnTo>
                  <a:pt x="7715" y="2554"/>
                </a:lnTo>
                <a:lnTo>
                  <a:pt x="7721" y="2563"/>
                </a:lnTo>
                <a:lnTo>
                  <a:pt x="7729" y="2570"/>
                </a:lnTo>
                <a:lnTo>
                  <a:pt x="7740" y="2577"/>
                </a:lnTo>
                <a:lnTo>
                  <a:pt x="7753" y="2586"/>
                </a:lnTo>
                <a:lnTo>
                  <a:pt x="7769" y="2593"/>
                </a:lnTo>
                <a:lnTo>
                  <a:pt x="7785" y="2601"/>
                </a:lnTo>
                <a:lnTo>
                  <a:pt x="7799" y="2607"/>
                </a:lnTo>
                <a:lnTo>
                  <a:pt x="7804" y="2611"/>
                </a:lnTo>
                <a:lnTo>
                  <a:pt x="7807" y="2614"/>
                </a:lnTo>
                <a:lnTo>
                  <a:pt x="7809" y="2618"/>
                </a:lnTo>
                <a:lnTo>
                  <a:pt x="7810" y="2622"/>
                </a:lnTo>
                <a:lnTo>
                  <a:pt x="7811" y="2636"/>
                </a:lnTo>
                <a:lnTo>
                  <a:pt x="7810" y="2651"/>
                </a:lnTo>
                <a:lnTo>
                  <a:pt x="7810" y="2659"/>
                </a:lnTo>
                <a:lnTo>
                  <a:pt x="7811" y="2665"/>
                </a:lnTo>
                <a:lnTo>
                  <a:pt x="7812" y="2670"/>
                </a:lnTo>
                <a:lnTo>
                  <a:pt x="7815" y="2672"/>
                </a:lnTo>
                <a:lnTo>
                  <a:pt x="7818" y="2675"/>
                </a:lnTo>
                <a:lnTo>
                  <a:pt x="7822" y="2675"/>
                </a:lnTo>
                <a:lnTo>
                  <a:pt x="7826" y="2675"/>
                </a:lnTo>
                <a:lnTo>
                  <a:pt x="7832" y="2675"/>
                </a:lnTo>
                <a:lnTo>
                  <a:pt x="7837" y="2676"/>
                </a:lnTo>
                <a:lnTo>
                  <a:pt x="7841" y="2678"/>
                </a:lnTo>
                <a:lnTo>
                  <a:pt x="7843" y="2681"/>
                </a:lnTo>
                <a:lnTo>
                  <a:pt x="7844" y="2685"/>
                </a:lnTo>
                <a:lnTo>
                  <a:pt x="7845" y="2696"/>
                </a:lnTo>
                <a:lnTo>
                  <a:pt x="7847" y="2710"/>
                </a:lnTo>
                <a:lnTo>
                  <a:pt x="7849" y="2719"/>
                </a:lnTo>
                <a:lnTo>
                  <a:pt x="7851" y="2727"/>
                </a:lnTo>
                <a:lnTo>
                  <a:pt x="7855" y="2733"/>
                </a:lnTo>
                <a:lnTo>
                  <a:pt x="7857" y="2738"/>
                </a:lnTo>
                <a:lnTo>
                  <a:pt x="7859" y="2739"/>
                </a:lnTo>
                <a:lnTo>
                  <a:pt x="7862" y="2740"/>
                </a:lnTo>
                <a:lnTo>
                  <a:pt x="7867" y="2741"/>
                </a:lnTo>
                <a:lnTo>
                  <a:pt x="7870" y="2743"/>
                </a:lnTo>
                <a:lnTo>
                  <a:pt x="7881" y="2743"/>
                </a:lnTo>
                <a:lnTo>
                  <a:pt x="7888" y="2743"/>
                </a:lnTo>
                <a:lnTo>
                  <a:pt x="7897" y="2741"/>
                </a:lnTo>
                <a:lnTo>
                  <a:pt x="7910" y="2739"/>
                </a:lnTo>
                <a:lnTo>
                  <a:pt x="7922" y="2734"/>
                </a:lnTo>
                <a:lnTo>
                  <a:pt x="7931" y="2729"/>
                </a:lnTo>
                <a:lnTo>
                  <a:pt x="7938" y="2725"/>
                </a:lnTo>
                <a:lnTo>
                  <a:pt x="7943" y="2719"/>
                </a:lnTo>
                <a:lnTo>
                  <a:pt x="7945" y="2712"/>
                </a:lnTo>
                <a:lnTo>
                  <a:pt x="7948" y="2706"/>
                </a:lnTo>
                <a:lnTo>
                  <a:pt x="7949" y="2700"/>
                </a:lnTo>
                <a:lnTo>
                  <a:pt x="7952" y="2695"/>
                </a:lnTo>
                <a:lnTo>
                  <a:pt x="7956" y="2691"/>
                </a:lnTo>
                <a:lnTo>
                  <a:pt x="7961" y="2689"/>
                </a:lnTo>
                <a:lnTo>
                  <a:pt x="7970" y="2688"/>
                </a:lnTo>
                <a:lnTo>
                  <a:pt x="7976" y="2689"/>
                </a:lnTo>
                <a:lnTo>
                  <a:pt x="7977" y="2689"/>
                </a:lnTo>
                <a:lnTo>
                  <a:pt x="7980" y="2687"/>
                </a:lnTo>
                <a:lnTo>
                  <a:pt x="7981" y="2684"/>
                </a:lnTo>
                <a:lnTo>
                  <a:pt x="7982" y="2680"/>
                </a:lnTo>
                <a:lnTo>
                  <a:pt x="7983" y="2670"/>
                </a:lnTo>
                <a:lnTo>
                  <a:pt x="7983" y="2661"/>
                </a:lnTo>
                <a:lnTo>
                  <a:pt x="7982" y="2652"/>
                </a:lnTo>
                <a:lnTo>
                  <a:pt x="7979" y="2644"/>
                </a:lnTo>
                <a:lnTo>
                  <a:pt x="7974" y="2632"/>
                </a:lnTo>
                <a:lnTo>
                  <a:pt x="7970" y="2622"/>
                </a:lnTo>
                <a:lnTo>
                  <a:pt x="7970" y="2620"/>
                </a:lnTo>
                <a:lnTo>
                  <a:pt x="7970" y="2620"/>
                </a:lnTo>
                <a:lnTo>
                  <a:pt x="7971" y="2619"/>
                </a:lnTo>
                <a:lnTo>
                  <a:pt x="7973" y="2619"/>
                </a:lnTo>
                <a:lnTo>
                  <a:pt x="7975" y="2620"/>
                </a:lnTo>
                <a:lnTo>
                  <a:pt x="7979" y="2622"/>
                </a:lnTo>
                <a:lnTo>
                  <a:pt x="7994" y="2628"/>
                </a:lnTo>
                <a:lnTo>
                  <a:pt x="8012" y="2634"/>
                </a:lnTo>
                <a:lnTo>
                  <a:pt x="8021" y="2640"/>
                </a:lnTo>
                <a:lnTo>
                  <a:pt x="8030" y="2644"/>
                </a:lnTo>
                <a:lnTo>
                  <a:pt x="8032" y="2646"/>
                </a:lnTo>
                <a:lnTo>
                  <a:pt x="8034" y="2649"/>
                </a:lnTo>
                <a:lnTo>
                  <a:pt x="8036" y="2651"/>
                </a:lnTo>
                <a:lnTo>
                  <a:pt x="8036" y="2655"/>
                </a:lnTo>
                <a:lnTo>
                  <a:pt x="8034" y="2663"/>
                </a:lnTo>
                <a:lnTo>
                  <a:pt x="8034" y="2674"/>
                </a:lnTo>
                <a:lnTo>
                  <a:pt x="8036" y="2677"/>
                </a:lnTo>
                <a:lnTo>
                  <a:pt x="8038" y="2681"/>
                </a:lnTo>
                <a:lnTo>
                  <a:pt x="8040" y="2683"/>
                </a:lnTo>
                <a:lnTo>
                  <a:pt x="8043" y="2684"/>
                </a:lnTo>
                <a:lnTo>
                  <a:pt x="8045" y="2683"/>
                </a:lnTo>
                <a:lnTo>
                  <a:pt x="8049" y="2682"/>
                </a:lnTo>
                <a:lnTo>
                  <a:pt x="8051" y="2680"/>
                </a:lnTo>
                <a:lnTo>
                  <a:pt x="8055" y="2677"/>
                </a:lnTo>
                <a:lnTo>
                  <a:pt x="8057" y="2675"/>
                </a:lnTo>
                <a:lnTo>
                  <a:pt x="8059" y="2674"/>
                </a:lnTo>
                <a:lnTo>
                  <a:pt x="8062" y="2674"/>
                </a:lnTo>
                <a:lnTo>
                  <a:pt x="8064" y="2674"/>
                </a:lnTo>
                <a:lnTo>
                  <a:pt x="8067" y="2676"/>
                </a:lnTo>
                <a:lnTo>
                  <a:pt x="8068" y="2678"/>
                </a:lnTo>
                <a:lnTo>
                  <a:pt x="8069" y="2682"/>
                </a:lnTo>
                <a:lnTo>
                  <a:pt x="8069" y="2685"/>
                </a:lnTo>
                <a:lnTo>
                  <a:pt x="8071" y="2691"/>
                </a:lnTo>
                <a:lnTo>
                  <a:pt x="8075" y="2697"/>
                </a:lnTo>
                <a:lnTo>
                  <a:pt x="8076" y="2699"/>
                </a:lnTo>
                <a:lnTo>
                  <a:pt x="8075" y="2700"/>
                </a:lnTo>
                <a:lnTo>
                  <a:pt x="8072" y="2701"/>
                </a:lnTo>
                <a:lnTo>
                  <a:pt x="8070" y="2702"/>
                </a:lnTo>
                <a:lnTo>
                  <a:pt x="8063" y="2704"/>
                </a:lnTo>
                <a:lnTo>
                  <a:pt x="8059" y="2707"/>
                </a:lnTo>
                <a:lnTo>
                  <a:pt x="8058" y="2712"/>
                </a:lnTo>
                <a:lnTo>
                  <a:pt x="8058" y="2719"/>
                </a:lnTo>
                <a:lnTo>
                  <a:pt x="8059" y="2733"/>
                </a:lnTo>
                <a:lnTo>
                  <a:pt x="8061" y="2748"/>
                </a:lnTo>
                <a:lnTo>
                  <a:pt x="8059" y="2750"/>
                </a:lnTo>
                <a:lnTo>
                  <a:pt x="8059" y="2752"/>
                </a:lnTo>
                <a:lnTo>
                  <a:pt x="8057" y="2754"/>
                </a:lnTo>
                <a:lnTo>
                  <a:pt x="8056" y="2756"/>
                </a:lnTo>
                <a:lnTo>
                  <a:pt x="8050" y="2758"/>
                </a:lnTo>
                <a:lnTo>
                  <a:pt x="8043" y="2759"/>
                </a:lnTo>
                <a:lnTo>
                  <a:pt x="8026" y="2760"/>
                </a:lnTo>
                <a:lnTo>
                  <a:pt x="8011" y="2762"/>
                </a:lnTo>
                <a:lnTo>
                  <a:pt x="8002" y="2762"/>
                </a:lnTo>
                <a:lnTo>
                  <a:pt x="7996" y="2764"/>
                </a:lnTo>
                <a:lnTo>
                  <a:pt x="7990" y="2766"/>
                </a:lnTo>
                <a:lnTo>
                  <a:pt x="7985" y="2769"/>
                </a:lnTo>
                <a:lnTo>
                  <a:pt x="7981" y="2772"/>
                </a:lnTo>
                <a:lnTo>
                  <a:pt x="7977" y="2777"/>
                </a:lnTo>
                <a:lnTo>
                  <a:pt x="7974" y="2782"/>
                </a:lnTo>
                <a:lnTo>
                  <a:pt x="7973" y="2788"/>
                </a:lnTo>
                <a:lnTo>
                  <a:pt x="7971" y="2794"/>
                </a:lnTo>
                <a:lnTo>
                  <a:pt x="7969" y="2797"/>
                </a:lnTo>
                <a:lnTo>
                  <a:pt x="7968" y="2801"/>
                </a:lnTo>
                <a:lnTo>
                  <a:pt x="7966" y="2803"/>
                </a:lnTo>
                <a:lnTo>
                  <a:pt x="7962" y="2806"/>
                </a:lnTo>
                <a:lnTo>
                  <a:pt x="7958" y="2807"/>
                </a:lnTo>
                <a:lnTo>
                  <a:pt x="7955" y="2808"/>
                </a:lnTo>
                <a:lnTo>
                  <a:pt x="7949" y="2808"/>
                </a:lnTo>
                <a:lnTo>
                  <a:pt x="7933" y="2808"/>
                </a:lnTo>
                <a:lnTo>
                  <a:pt x="7917" y="2808"/>
                </a:lnTo>
                <a:lnTo>
                  <a:pt x="7912" y="2809"/>
                </a:lnTo>
                <a:lnTo>
                  <a:pt x="7907" y="2810"/>
                </a:lnTo>
                <a:lnTo>
                  <a:pt x="7905" y="2814"/>
                </a:lnTo>
                <a:lnTo>
                  <a:pt x="7901" y="2817"/>
                </a:lnTo>
                <a:lnTo>
                  <a:pt x="7900" y="2821"/>
                </a:lnTo>
                <a:lnTo>
                  <a:pt x="7899" y="2826"/>
                </a:lnTo>
                <a:lnTo>
                  <a:pt x="7899" y="2832"/>
                </a:lnTo>
                <a:lnTo>
                  <a:pt x="7899" y="2839"/>
                </a:lnTo>
                <a:lnTo>
                  <a:pt x="7901" y="2853"/>
                </a:lnTo>
                <a:lnTo>
                  <a:pt x="7905" y="2870"/>
                </a:lnTo>
                <a:lnTo>
                  <a:pt x="7908" y="2878"/>
                </a:lnTo>
                <a:lnTo>
                  <a:pt x="7911" y="2885"/>
                </a:lnTo>
                <a:lnTo>
                  <a:pt x="7916" y="2891"/>
                </a:lnTo>
                <a:lnTo>
                  <a:pt x="7920" y="2897"/>
                </a:lnTo>
                <a:lnTo>
                  <a:pt x="7930" y="2909"/>
                </a:lnTo>
                <a:lnTo>
                  <a:pt x="7941" y="2922"/>
                </a:lnTo>
                <a:lnTo>
                  <a:pt x="7949" y="2932"/>
                </a:lnTo>
                <a:lnTo>
                  <a:pt x="7952" y="2936"/>
                </a:lnTo>
                <a:lnTo>
                  <a:pt x="7952" y="2943"/>
                </a:lnTo>
                <a:lnTo>
                  <a:pt x="7952" y="2955"/>
                </a:lnTo>
                <a:lnTo>
                  <a:pt x="7952" y="2965"/>
                </a:lnTo>
                <a:lnTo>
                  <a:pt x="7952" y="2975"/>
                </a:lnTo>
                <a:lnTo>
                  <a:pt x="7952" y="2985"/>
                </a:lnTo>
                <a:lnTo>
                  <a:pt x="7952" y="2995"/>
                </a:lnTo>
                <a:lnTo>
                  <a:pt x="7952" y="3002"/>
                </a:lnTo>
                <a:lnTo>
                  <a:pt x="7950" y="3006"/>
                </a:lnTo>
                <a:lnTo>
                  <a:pt x="7946" y="3011"/>
                </a:lnTo>
                <a:lnTo>
                  <a:pt x="7943" y="3015"/>
                </a:lnTo>
                <a:lnTo>
                  <a:pt x="7932" y="3018"/>
                </a:lnTo>
                <a:lnTo>
                  <a:pt x="7923" y="3021"/>
                </a:lnTo>
                <a:lnTo>
                  <a:pt x="7908" y="3023"/>
                </a:lnTo>
                <a:lnTo>
                  <a:pt x="7892" y="3027"/>
                </a:lnTo>
                <a:lnTo>
                  <a:pt x="7883" y="3029"/>
                </a:lnTo>
                <a:lnTo>
                  <a:pt x="7876" y="3031"/>
                </a:lnTo>
                <a:lnTo>
                  <a:pt x="7870" y="3034"/>
                </a:lnTo>
                <a:lnTo>
                  <a:pt x="7867" y="3037"/>
                </a:lnTo>
                <a:lnTo>
                  <a:pt x="7866" y="3042"/>
                </a:lnTo>
                <a:lnTo>
                  <a:pt x="7864" y="3048"/>
                </a:lnTo>
                <a:lnTo>
                  <a:pt x="7864" y="3055"/>
                </a:lnTo>
                <a:lnTo>
                  <a:pt x="7864" y="3062"/>
                </a:lnTo>
                <a:lnTo>
                  <a:pt x="7868" y="3080"/>
                </a:lnTo>
                <a:lnTo>
                  <a:pt x="7873" y="3097"/>
                </a:lnTo>
                <a:lnTo>
                  <a:pt x="7878" y="3115"/>
                </a:lnTo>
                <a:lnTo>
                  <a:pt x="7881" y="3135"/>
                </a:lnTo>
                <a:lnTo>
                  <a:pt x="7882" y="3155"/>
                </a:lnTo>
                <a:lnTo>
                  <a:pt x="7882" y="3173"/>
                </a:lnTo>
                <a:lnTo>
                  <a:pt x="7881" y="3180"/>
                </a:lnTo>
                <a:lnTo>
                  <a:pt x="7879" y="3186"/>
                </a:lnTo>
                <a:lnTo>
                  <a:pt x="7875" y="3189"/>
                </a:lnTo>
                <a:lnTo>
                  <a:pt x="7872" y="3192"/>
                </a:lnTo>
                <a:lnTo>
                  <a:pt x="7868" y="3194"/>
                </a:lnTo>
                <a:lnTo>
                  <a:pt x="7863" y="3194"/>
                </a:lnTo>
                <a:lnTo>
                  <a:pt x="7859" y="3194"/>
                </a:lnTo>
                <a:lnTo>
                  <a:pt x="7853" y="3193"/>
                </a:lnTo>
                <a:lnTo>
                  <a:pt x="7843" y="3191"/>
                </a:lnTo>
                <a:lnTo>
                  <a:pt x="7832" y="3189"/>
                </a:lnTo>
                <a:lnTo>
                  <a:pt x="7822" y="3187"/>
                </a:lnTo>
                <a:lnTo>
                  <a:pt x="7811" y="3184"/>
                </a:lnTo>
                <a:lnTo>
                  <a:pt x="7807" y="3181"/>
                </a:lnTo>
                <a:lnTo>
                  <a:pt x="7803" y="3176"/>
                </a:lnTo>
                <a:lnTo>
                  <a:pt x="7799" y="3172"/>
                </a:lnTo>
                <a:lnTo>
                  <a:pt x="7796" y="3166"/>
                </a:lnTo>
                <a:lnTo>
                  <a:pt x="7791" y="3154"/>
                </a:lnTo>
                <a:lnTo>
                  <a:pt x="7786" y="3141"/>
                </a:lnTo>
                <a:lnTo>
                  <a:pt x="7784" y="3135"/>
                </a:lnTo>
                <a:lnTo>
                  <a:pt x="7781" y="3130"/>
                </a:lnTo>
                <a:lnTo>
                  <a:pt x="7776" y="3125"/>
                </a:lnTo>
                <a:lnTo>
                  <a:pt x="7772" y="3123"/>
                </a:lnTo>
                <a:lnTo>
                  <a:pt x="7767" y="3121"/>
                </a:lnTo>
                <a:lnTo>
                  <a:pt x="7761" y="3121"/>
                </a:lnTo>
                <a:lnTo>
                  <a:pt x="7756" y="3122"/>
                </a:lnTo>
                <a:lnTo>
                  <a:pt x="7752" y="3124"/>
                </a:lnTo>
                <a:lnTo>
                  <a:pt x="7748" y="3128"/>
                </a:lnTo>
                <a:lnTo>
                  <a:pt x="7744" y="3132"/>
                </a:lnTo>
                <a:lnTo>
                  <a:pt x="7742" y="3137"/>
                </a:lnTo>
                <a:lnTo>
                  <a:pt x="7741" y="3142"/>
                </a:lnTo>
                <a:lnTo>
                  <a:pt x="7738" y="3154"/>
                </a:lnTo>
                <a:lnTo>
                  <a:pt x="7737" y="3164"/>
                </a:lnTo>
                <a:lnTo>
                  <a:pt x="7736" y="3169"/>
                </a:lnTo>
                <a:lnTo>
                  <a:pt x="7734" y="3173"/>
                </a:lnTo>
                <a:lnTo>
                  <a:pt x="7731" y="3174"/>
                </a:lnTo>
                <a:lnTo>
                  <a:pt x="7729" y="3175"/>
                </a:lnTo>
                <a:lnTo>
                  <a:pt x="7722" y="3173"/>
                </a:lnTo>
                <a:lnTo>
                  <a:pt x="7713" y="3168"/>
                </a:lnTo>
                <a:lnTo>
                  <a:pt x="7705" y="3162"/>
                </a:lnTo>
                <a:lnTo>
                  <a:pt x="7696" y="3157"/>
                </a:lnTo>
                <a:lnTo>
                  <a:pt x="7685" y="3153"/>
                </a:lnTo>
                <a:lnTo>
                  <a:pt x="7673" y="3147"/>
                </a:lnTo>
                <a:lnTo>
                  <a:pt x="7666" y="3143"/>
                </a:lnTo>
                <a:lnTo>
                  <a:pt x="7660" y="3138"/>
                </a:lnTo>
                <a:lnTo>
                  <a:pt x="7654" y="3132"/>
                </a:lnTo>
                <a:lnTo>
                  <a:pt x="7649" y="3126"/>
                </a:lnTo>
                <a:lnTo>
                  <a:pt x="7640" y="3115"/>
                </a:lnTo>
                <a:lnTo>
                  <a:pt x="7633" y="3104"/>
                </a:lnTo>
                <a:lnTo>
                  <a:pt x="7629" y="3099"/>
                </a:lnTo>
                <a:lnTo>
                  <a:pt x="7627" y="3097"/>
                </a:lnTo>
                <a:lnTo>
                  <a:pt x="7626" y="3096"/>
                </a:lnTo>
                <a:lnTo>
                  <a:pt x="7623" y="3094"/>
                </a:lnTo>
                <a:lnTo>
                  <a:pt x="7617" y="3096"/>
                </a:lnTo>
                <a:lnTo>
                  <a:pt x="7608" y="3098"/>
                </a:lnTo>
                <a:lnTo>
                  <a:pt x="7598" y="3099"/>
                </a:lnTo>
                <a:lnTo>
                  <a:pt x="7589" y="3098"/>
                </a:lnTo>
                <a:lnTo>
                  <a:pt x="7580" y="3097"/>
                </a:lnTo>
                <a:lnTo>
                  <a:pt x="7572" y="3098"/>
                </a:lnTo>
                <a:lnTo>
                  <a:pt x="7568" y="3099"/>
                </a:lnTo>
                <a:lnTo>
                  <a:pt x="7567" y="3101"/>
                </a:lnTo>
                <a:lnTo>
                  <a:pt x="7567" y="3105"/>
                </a:lnTo>
                <a:lnTo>
                  <a:pt x="7568" y="3109"/>
                </a:lnTo>
                <a:lnTo>
                  <a:pt x="7573" y="3116"/>
                </a:lnTo>
                <a:lnTo>
                  <a:pt x="7580" y="3123"/>
                </a:lnTo>
                <a:lnTo>
                  <a:pt x="7583" y="3128"/>
                </a:lnTo>
                <a:lnTo>
                  <a:pt x="7584" y="3132"/>
                </a:lnTo>
                <a:lnTo>
                  <a:pt x="7585" y="3138"/>
                </a:lnTo>
                <a:lnTo>
                  <a:pt x="7585" y="3144"/>
                </a:lnTo>
                <a:lnTo>
                  <a:pt x="7585" y="3157"/>
                </a:lnTo>
                <a:lnTo>
                  <a:pt x="7584" y="3168"/>
                </a:lnTo>
                <a:lnTo>
                  <a:pt x="7584" y="3173"/>
                </a:lnTo>
                <a:lnTo>
                  <a:pt x="7582" y="3178"/>
                </a:lnTo>
                <a:lnTo>
                  <a:pt x="7579" y="3182"/>
                </a:lnTo>
                <a:lnTo>
                  <a:pt x="7576" y="3187"/>
                </a:lnTo>
                <a:lnTo>
                  <a:pt x="7567" y="3197"/>
                </a:lnTo>
                <a:lnTo>
                  <a:pt x="7559" y="3203"/>
                </a:lnTo>
                <a:lnTo>
                  <a:pt x="7552" y="3208"/>
                </a:lnTo>
                <a:lnTo>
                  <a:pt x="7546" y="3214"/>
                </a:lnTo>
                <a:lnTo>
                  <a:pt x="7545" y="3218"/>
                </a:lnTo>
                <a:lnTo>
                  <a:pt x="7545" y="3222"/>
                </a:lnTo>
                <a:lnTo>
                  <a:pt x="7547" y="3225"/>
                </a:lnTo>
                <a:lnTo>
                  <a:pt x="7549" y="3230"/>
                </a:lnTo>
                <a:lnTo>
                  <a:pt x="7559" y="3236"/>
                </a:lnTo>
                <a:lnTo>
                  <a:pt x="7567" y="3239"/>
                </a:lnTo>
                <a:lnTo>
                  <a:pt x="7576" y="3242"/>
                </a:lnTo>
                <a:lnTo>
                  <a:pt x="7582" y="3243"/>
                </a:lnTo>
                <a:lnTo>
                  <a:pt x="7589" y="3241"/>
                </a:lnTo>
                <a:lnTo>
                  <a:pt x="7598" y="3236"/>
                </a:lnTo>
                <a:lnTo>
                  <a:pt x="7608" y="3231"/>
                </a:lnTo>
                <a:lnTo>
                  <a:pt x="7615" y="3226"/>
                </a:lnTo>
                <a:lnTo>
                  <a:pt x="7618" y="3225"/>
                </a:lnTo>
                <a:lnTo>
                  <a:pt x="7622" y="3224"/>
                </a:lnTo>
                <a:lnTo>
                  <a:pt x="7626" y="3224"/>
                </a:lnTo>
                <a:lnTo>
                  <a:pt x="7629" y="3225"/>
                </a:lnTo>
                <a:lnTo>
                  <a:pt x="7633" y="3227"/>
                </a:lnTo>
                <a:lnTo>
                  <a:pt x="7636" y="3231"/>
                </a:lnTo>
                <a:lnTo>
                  <a:pt x="7640" y="3237"/>
                </a:lnTo>
                <a:lnTo>
                  <a:pt x="7643" y="3244"/>
                </a:lnTo>
                <a:lnTo>
                  <a:pt x="7646" y="3252"/>
                </a:lnTo>
                <a:lnTo>
                  <a:pt x="7647" y="3260"/>
                </a:lnTo>
                <a:lnTo>
                  <a:pt x="7647" y="3267"/>
                </a:lnTo>
                <a:lnTo>
                  <a:pt x="7647" y="3273"/>
                </a:lnTo>
                <a:lnTo>
                  <a:pt x="7647" y="3282"/>
                </a:lnTo>
                <a:lnTo>
                  <a:pt x="7649" y="3290"/>
                </a:lnTo>
                <a:lnTo>
                  <a:pt x="7654" y="3299"/>
                </a:lnTo>
                <a:lnTo>
                  <a:pt x="7661" y="3306"/>
                </a:lnTo>
                <a:lnTo>
                  <a:pt x="7672" y="3315"/>
                </a:lnTo>
                <a:lnTo>
                  <a:pt x="7685" y="3326"/>
                </a:lnTo>
                <a:lnTo>
                  <a:pt x="7691" y="3331"/>
                </a:lnTo>
                <a:lnTo>
                  <a:pt x="7697" y="3336"/>
                </a:lnTo>
                <a:lnTo>
                  <a:pt x="7700" y="3340"/>
                </a:lnTo>
                <a:lnTo>
                  <a:pt x="7704" y="3346"/>
                </a:lnTo>
                <a:lnTo>
                  <a:pt x="7706" y="3351"/>
                </a:lnTo>
                <a:lnTo>
                  <a:pt x="7708" y="3357"/>
                </a:lnTo>
                <a:lnTo>
                  <a:pt x="7709" y="3363"/>
                </a:lnTo>
                <a:lnTo>
                  <a:pt x="7709" y="3369"/>
                </a:lnTo>
                <a:lnTo>
                  <a:pt x="7709" y="3375"/>
                </a:lnTo>
                <a:lnTo>
                  <a:pt x="7710" y="3381"/>
                </a:lnTo>
                <a:lnTo>
                  <a:pt x="7711" y="3386"/>
                </a:lnTo>
                <a:lnTo>
                  <a:pt x="7713" y="3390"/>
                </a:lnTo>
                <a:lnTo>
                  <a:pt x="7718" y="3396"/>
                </a:lnTo>
                <a:lnTo>
                  <a:pt x="7725" y="3402"/>
                </a:lnTo>
                <a:lnTo>
                  <a:pt x="7729" y="3406"/>
                </a:lnTo>
                <a:lnTo>
                  <a:pt x="7733" y="3408"/>
                </a:lnTo>
                <a:lnTo>
                  <a:pt x="7734" y="3412"/>
                </a:lnTo>
                <a:lnTo>
                  <a:pt x="7736" y="3416"/>
                </a:lnTo>
                <a:lnTo>
                  <a:pt x="7737" y="3425"/>
                </a:lnTo>
                <a:lnTo>
                  <a:pt x="7736" y="3435"/>
                </a:lnTo>
                <a:lnTo>
                  <a:pt x="7735" y="3441"/>
                </a:lnTo>
                <a:lnTo>
                  <a:pt x="7733" y="3446"/>
                </a:lnTo>
                <a:lnTo>
                  <a:pt x="7730" y="3450"/>
                </a:lnTo>
                <a:lnTo>
                  <a:pt x="7727" y="3454"/>
                </a:lnTo>
                <a:lnTo>
                  <a:pt x="7719" y="3462"/>
                </a:lnTo>
                <a:lnTo>
                  <a:pt x="7712" y="3469"/>
                </a:lnTo>
                <a:lnTo>
                  <a:pt x="7710" y="3474"/>
                </a:lnTo>
                <a:lnTo>
                  <a:pt x="7709" y="3478"/>
                </a:lnTo>
                <a:lnTo>
                  <a:pt x="7708" y="3483"/>
                </a:lnTo>
                <a:lnTo>
                  <a:pt x="7706" y="3489"/>
                </a:lnTo>
                <a:lnTo>
                  <a:pt x="7705" y="3502"/>
                </a:lnTo>
                <a:lnTo>
                  <a:pt x="7705" y="3513"/>
                </a:lnTo>
                <a:lnTo>
                  <a:pt x="7708" y="3527"/>
                </a:lnTo>
                <a:lnTo>
                  <a:pt x="7709" y="3544"/>
                </a:lnTo>
                <a:lnTo>
                  <a:pt x="7710" y="3560"/>
                </a:lnTo>
                <a:lnTo>
                  <a:pt x="7709" y="3573"/>
                </a:lnTo>
                <a:lnTo>
                  <a:pt x="7706" y="3586"/>
                </a:lnTo>
                <a:lnTo>
                  <a:pt x="7706" y="3601"/>
                </a:lnTo>
                <a:lnTo>
                  <a:pt x="7706" y="3608"/>
                </a:lnTo>
                <a:lnTo>
                  <a:pt x="7708" y="3614"/>
                </a:lnTo>
                <a:lnTo>
                  <a:pt x="7710" y="3619"/>
                </a:lnTo>
                <a:lnTo>
                  <a:pt x="7712" y="3622"/>
                </a:lnTo>
                <a:lnTo>
                  <a:pt x="7718" y="3627"/>
                </a:lnTo>
                <a:lnTo>
                  <a:pt x="7723" y="3632"/>
                </a:lnTo>
                <a:lnTo>
                  <a:pt x="7725" y="3635"/>
                </a:lnTo>
                <a:lnTo>
                  <a:pt x="7727" y="3638"/>
                </a:lnTo>
                <a:lnTo>
                  <a:pt x="7727" y="3641"/>
                </a:lnTo>
                <a:lnTo>
                  <a:pt x="7727" y="3643"/>
                </a:lnTo>
                <a:lnTo>
                  <a:pt x="7723" y="3648"/>
                </a:lnTo>
                <a:lnTo>
                  <a:pt x="7722" y="3652"/>
                </a:lnTo>
                <a:lnTo>
                  <a:pt x="7722" y="3654"/>
                </a:lnTo>
                <a:lnTo>
                  <a:pt x="7723" y="3655"/>
                </a:lnTo>
                <a:lnTo>
                  <a:pt x="7724" y="3655"/>
                </a:lnTo>
                <a:lnTo>
                  <a:pt x="7727" y="3657"/>
                </a:lnTo>
                <a:lnTo>
                  <a:pt x="7729" y="3657"/>
                </a:lnTo>
                <a:lnTo>
                  <a:pt x="7731" y="3658"/>
                </a:lnTo>
                <a:lnTo>
                  <a:pt x="7731" y="3659"/>
                </a:lnTo>
                <a:lnTo>
                  <a:pt x="7733" y="3661"/>
                </a:lnTo>
                <a:lnTo>
                  <a:pt x="7731" y="3666"/>
                </a:lnTo>
                <a:lnTo>
                  <a:pt x="7730" y="3674"/>
                </a:lnTo>
                <a:lnTo>
                  <a:pt x="7729" y="3678"/>
                </a:lnTo>
                <a:lnTo>
                  <a:pt x="7729" y="3683"/>
                </a:lnTo>
                <a:lnTo>
                  <a:pt x="7729" y="3689"/>
                </a:lnTo>
                <a:lnTo>
                  <a:pt x="7730" y="3693"/>
                </a:lnTo>
                <a:lnTo>
                  <a:pt x="7733" y="3699"/>
                </a:lnTo>
                <a:lnTo>
                  <a:pt x="7735" y="3705"/>
                </a:lnTo>
                <a:lnTo>
                  <a:pt x="7738" y="3711"/>
                </a:lnTo>
                <a:lnTo>
                  <a:pt x="7743" y="3718"/>
                </a:lnTo>
                <a:lnTo>
                  <a:pt x="7754" y="3731"/>
                </a:lnTo>
                <a:lnTo>
                  <a:pt x="7766" y="3742"/>
                </a:lnTo>
                <a:lnTo>
                  <a:pt x="7778" y="3752"/>
                </a:lnTo>
                <a:lnTo>
                  <a:pt x="7790" y="3758"/>
                </a:lnTo>
                <a:lnTo>
                  <a:pt x="7794" y="3761"/>
                </a:lnTo>
                <a:lnTo>
                  <a:pt x="7798" y="3766"/>
                </a:lnTo>
                <a:lnTo>
                  <a:pt x="7800" y="3769"/>
                </a:lnTo>
                <a:lnTo>
                  <a:pt x="7801" y="3774"/>
                </a:lnTo>
                <a:lnTo>
                  <a:pt x="7801" y="3786"/>
                </a:lnTo>
                <a:lnTo>
                  <a:pt x="7801" y="3798"/>
                </a:lnTo>
                <a:lnTo>
                  <a:pt x="7800" y="3811"/>
                </a:lnTo>
                <a:lnTo>
                  <a:pt x="7801" y="3827"/>
                </a:lnTo>
                <a:lnTo>
                  <a:pt x="7803" y="3835"/>
                </a:lnTo>
                <a:lnTo>
                  <a:pt x="7804" y="3842"/>
                </a:lnTo>
                <a:lnTo>
                  <a:pt x="7806" y="3849"/>
                </a:lnTo>
                <a:lnTo>
                  <a:pt x="7810" y="3855"/>
                </a:lnTo>
                <a:lnTo>
                  <a:pt x="7815" y="3860"/>
                </a:lnTo>
                <a:lnTo>
                  <a:pt x="7820" y="3863"/>
                </a:lnTo>
                <a:lnTo>
                  <a:pt x="7826" y="3866"/>
                </a:lnTo>
                <a:lnTo>
                  <a:pt x="7831" y="3868"/>
                </a:lnTo>
                <a:lnTo>
                  <a:pt x="7837" y="3868"/>
                </a:lnTo>
                <a:lnTo>
                  <a:pt x="7843" y="3868"/>
                </a:lnTo>
                <a:lnTo>
                  <a:pt x="7848" y="3867"/>
                </a:lnTo>
                <a:lnTo>
                  <a:pt x="7851" y="3866"/>
                </a:lnTo>
                <a:lnTo>
                  <a:pt x="7862" y="3857"/>
                </a:lnTo>
                <a:lnTo>
                  <a:pt x="7880" y="3846"/>
                </a:lnTo>
                <a:lnTo>
                  <a:pt x="7900" y="3830"/>
                </a:lnTo>
                <a:lnTo>
                  <a:pt x="7920" y="3815"/>
                </a:lnTo>
                <a:lnTo>
                  <a:pt x="7939" y="3797"/>
                </a:lnTo>
                <a:lnTo>
                  <a:pt x="7961" y="3775"/>
                </a:lnTo>
                <a:lnTo>
                  <a:pt x="7981" y="3754"/>
                </a:lnTo>
                <a:lnTo>
                  <a:pt x="7996" y="3739"/>
                </a:lnTo>
                <a:lnTo>
                  <a:pt x="8009" y="3728"/>
                </a:lnTo>
                <a:lnTo>
                  <a:pt x="8023" y="3717"/>
                </a:lnTo>
                <a:lnTo>
                  <a:pt x="8034" y="3709"/>
                </a:lnTo>
                <a:lnTo>
                  <a:pt x="8046" y="3703"/>
                </a:lnTo>
                <a:lnTo>
                  <a:pt x="8057" y="3698"/>
                </a:lnTo>
                <a:lnTo>
                  <a:pt x="8065" y="3697"/>
                </a:lnTo>
                <a:lnTo>
                  <a:pt x="8069" y="3698"/>
                </a:lnTo>
                <a:lnTo>
                  <a:pt x="8070" y="3701"/>
                </a:lnTo>
                <a:lnTo>
                  <a:pt x="8071" y="3704"/>
                </a:lnTo>
                <a:lnTo>
                  <a:pt x="8071" y="3709"/>
                </a:lnTo>
                <a:lnTo>
                  <a:pt x="8068" y="3722"/>
                </a:lnTo>
                <a:lnTo>
                  <a:pt x="8064" y="3736"/>
                </a:lnTo>
                <a:lnTo>
                  <a:pt x="8063" y="3745"/>
                </a:lnTo>
                <a:lnTo>
                  <a:pt x="8064" y="3750"/>
                </a:lnTo>
                <a:lnTo>
                  <a:pt x="8065" y="3758"/>
                </a:lnTo>
                <a:lnTo>
                  <a:pt x="8068" y="3764"/>
                </a:lnTo>
                <a:lnTo>
                  <a:pt x="8075" y="3773"/>
                </a:lnTo>
                <a:lnTo>
                  <a:pt x="8082" y="3784"/>
                </a:lnTo>
                <a:lnTo>
                  <a:pt x="8090" y="3793"/>
                </a:lnTo>
                <a:lnTo>
                  <a:pt x="8099" y="3804"/>
                </a:lnTo>
                <a:lnTo>
                  <a:pt x="8108" y="3817"/>
                </a:lnTo>
                <a:lnTo>
                  <a:pt x="8119" y="3829"/>
                </a:lnTo>
                <a:lnTo>
                  <a:pt x="8128" y="3841"/>
                </a:lnTo>
                <a:lnTo>
                  <a:pt x="8138" y="3850"/>
                </a:lnTo>
                <a:lnTo>
                  <a:pt x="8141" y="3855"/>
                </a:lnTo>
                <a:lnTo>
                  <a:pt x="8144" y="3861"/>
                </a:lnTo>
                <a:lnTo>
                  <a:pt x="8144" y="3867"/>
                </a:lnTo>
                <a:lnTo>
                  <a:pt x="8144" y="3873"/>
                </a:lnTo>
                <a:lnTo>
                  <a:pt x="8141" y="3885"/>
                </a:lnTo>
                <a:lnTo>
                  <a:pt x="8140" y="3897"/>
                </a:lnTo>
                <a:lnTo>
                  <a:pt x="8140" y="3901"/>
                </a:lnTo>
                <a:lnTo>
                  <a:pt x="8140" y="3906"/>
                </a:lnTo>
                <a:lnTo>
                  <a:pt x="8141" y="3911"/>
                </a:lnTo>
                <a:lnTo>
                  <a:pt x="8144" y="3914"/>
                </a:lnTo>
                <a:lnTo>
                  <a:pt x="8151" y="3923"/>
                </a:lnTo>
                <a:lnTo>
                  <a:pt x="8160" y="3931"/>
                </a:lnTo>
                <a:lnTo>
                  <a:pt x="8165" y="3936"/>
                </a:lnTo>
                <a:lnTo>
                  <a:pt x="8170" y="3941"/>
                </a:lnTo>
                <a:lnTo>
                  <a:pt x="8174" y="3947"/>
                </a:lnTo>
                <a:lnTo>
                  <a:pt x="8177" y="3953"/>
                </a:lnTo>
                <a:lnTo>
                  <a:pt x="8182" y="3967"/>
                </a:lnTo>
                <a:lnTo>
                  <a:pt x="8184" y="3981"/>
                </a:lnTo>
                <a:lnTo>
                  <a:pt x="8185" y="3989"/>
                </a:lnTo>
                <a:lnTo>
                  <a:pt x="8188" y="3998"/>
                </a:lnTo>
                <a:lnTo>
                  <a:pt x="8191" y="4006"/>
                </a:lnTo>
                <a:lnTo>
                  <a:pt x="8195" y="4013"/>
                </a:lnTo>
                <a:lnTo>
                  <a:pt x="8198" y="4021"/>
                </a:lnTo>
                <a:lnTo>
                  <a:pt x="8202" y="4029"/>
                </a:lnTo>
                <a:lnTo>
                  <a:pt x="8207" y="4036"/>
                </a:lnTo>
                <a:lnTo>
                  <a:pt x="8212" y="4042"/>
                </a:lnTo>
                <a:lnTo>
                  <a:pt x="8216" y="4048"/>
                </a:lnTo>
                <a:lnTo>
                  <a:pt x="8219" y="4055"/>
                </a:lnTo>
                <a:lnTo>
                  <a:pt x="8221" y="4063"/>
                </a:lnTo>
                <a:lnTo>
                  <a:pt x="8221" y="4070"/>
                </a:lnTo>
                <a:lnTo>
                  <a:pt x="8222" y="4081"/>
                </a:lnTo>
                <a:lnTo>
                  <a:pt x="8222" y="4093"/>
                </a:lnTo>
                <a:lnTo>
                  <a:pt x="8222" y="4095"/>
                </a:lnTo>
                <a:lnTo>
                  <a:pt x="8221" y="4095"/>
                </a:lnTo>
                <a:lnTo>
                  <a:pt x="8219" y="4094"/>
                </a:lnTo>
                <a:lnTo>
                  <a:pt x="8216" y="4093"/>
                </a:lnTo>
                <a:lnTo>
                  <a:pt x="8212" y="4090"/>
                </a:lnTo>
                <a:lnTo>
                  <a:pt x="8209" y="4090"/>
                </a:lnTo>
                <a:lnTo>
                  <a:pt x="8206" y="4093"/>
                </a:lnTo>
                <a:lnTo>
                  <a:pt x="8201" y="4096"/>
                </a:lnTo>
                <a:lnTo>
                  <a:pt x="8191" y="4102"/>
                </a:lnTo>
                <a:lnTo>
                  <a:pt x="8182" y="4109"/>
                </a:lnTo>
                <a:lnTo>
                  <a:pt x="8178" y="4113"/>
                </a:lnTo>
                <a:lnTo>
                  <a:pt x="8174" y="4117"/>
                </a:lnTo>
                <a:lnTo>
                  <a:pt x="8171" y="4120"/>
                </a:lnTo>
                <a:lnTo>
                  <a:pt x="8169" y="4125"/>
                </a:lnTo>
                <a:lnTo>
                  <a:pt x="8168" y="4130"/>
                </a:lnTo>
                <a:lnTo>
                  <a:pt x="8168" y="4136"/>
                </a:lnTo>
                <a:lnTo>
                  <a:pt x="8169" y="4142"/>
                </a:lnTo>
                <a:lnTo>
                  <a:pt x="8171" y="4147"/>
                </a:lnTo>
                <a:lnTo>
                  <a:pt x="8176" y="4152"/>
                </a:lnTo>
                <a:lnTo>
                  <a:pt x="8181" y="4157"/>
                </a:lnTo>
                <a:lnTo>
                  <a:pt x="8187" y="4159"/>
                </a:lnTo>
                <a:lnTo>
                  <a:pt x="8193" y="4162"/>
                </a:lnTo>
                <a:lnTo>
                  <a:pt x="8207" y="4165"/>
                </a:lnTo>
                <a:lnTo>
                  <a:pt x="8221" y="4169"/>
                </a:lnTo>
                <a:lnTo>
                  <a:pt x="8239" y="4172"/>
                </a:lnTo>
                <a:lnTo>
                  <a:pt x="8258" y="4177"/>
                </a:lnTo>
                <a:lnTo>
                  <a:pt x="8277" y="4181"/>
                </a:lnTo>
                <a:lnTo>
                  <a:pt x="8289" y="4185"/>
                </a:lnTo>
                <a:lnTo>
                  <a:pt x="8292" y="4189"/>
                </a:lnTo>
                <a:lnTo>
                  <a:pt x="8295" y="4193"/>
                </a:lnTo>
                <a:lnTo>
                  <a:pt x="8296" y="4199"/>
                </a:lnTo>
                <a:lnTo>
                  <a:pt x="8296" y="4206"/>
                </a:lnTo>
                <a:lnTo>
                  <a:pt x="8294" y="4220"/>
                </a:lnTo>
                <a:lnTo>
                  <a:pt x="8291" y="4232"/>
                </a:lnTo>
                <a:lnTo>
                  <a:pt x="8290" y="4254"/>
                </a:lnTo>
                <a:lnTo>
                  <a:pt x="8288" y="4282"/>
                </a:lnTo>
                <a:lnTo>
                  <a:pt x="8286" y="4295"/>
                </a:lnTo>
                <a:lnTo>
                  <a:pt x="8285" y="4308"/>
                </a:lnTo>
                <a:lnTo>
                  <a:pt x="8283" y="4319"/>
                </a:lnTo>
                <a:lnTo>
                  <a:pt x="8281" y="4327"/>
                </a:lnTo>
                <a:lnTo>
                  <a:pt x="8277" y="4332"/>
                </a:lnTo>
                <a:lnTo>
                  <a:pt x="8273" y="4335"/>
                </a:lnTo>
                <a:lnTo>
                  <a:pt x="8270" y="4338"/>
                </a:lnTo>
                <a:lnTo>
                  <a:pt x="8266" y="4338"/>
                </a:lnTo>
                <a:lnTo>
                  <a:pt x="8263" y="4338"/>
                </a:lnTo>
                <a:lnTo>
                  <a:pt x="8260" y="4336"/>
                </a:lnTo>
                <a:lnTo>
                  <a:pt x="8258" y="4335"/>
                </a:lnTo>
                <a:lnTo>
                  <a:pt x="8257" y="4332"/>
                </a:lnTo>
                <a:lnTo>
                  <a:pt x="8257" y="4330"/>
                </a:lnTo>
                <a:lnTo>
                  <a:pt x="8256" y="4329"/>
                </a:lnTo>
                <a:lnTo>
                  <a:pt x="8252" y="4329"/>
                </a:lnTo>
                <a:lnTo>
                  <a:pt x="8250" y="4329"/>
                </a:lnTo>
                <a:lnTo>
                  <a:pt x="8241" y="4332"/>
                </a:lnTo>
                <a:lnTo>
                  <a:pt x="8232" y="4334"/>
                </a:lnTo>
                <a:lnTo>
                  <a:pt x="8213" y="4342"/>
                </a:lnTo>
                <a:lnTo>
                  <a:pt x="8197" y="4350"/>
                </a:lnTo>
                <a:lnTo>
                  <a:pt x="8191" y="4353"/>
                </a:lnTo>
                <a:lnTo>
                  <a:pt x="8185" y="4358"/>
                </a:lnTo>
                <a:lnTo>
                  <a:pt x="8179" y="4363"/>
                </a:lnTo>
                <a:lnTo>
                  <a:pt x="8174" y="4369"/>
                </a:lnTo>
                <a:lnTo>
                  <a:pt x="8169" y="4374"/>
                </a:lnTo>
                <a:lnTo>
                  <a:pt x="8164" y="4382"/>
                </a:lnTo>
                <a:lnTo>
                  <a:pt x="8160" y="4388"/>
                </a:lnTo>
                <a:lnTo>
                  <a:pt x="8158" y="4393"/>
                </a:lnTo>
                <a:lnTo>
                  <a:pt x="8156" y="4399"/>
                </a:lnTo>
                <a:lnTo>
                  <a:pt x="8157" y="4405"/>
                </a:lnTo>
                <a:lnTo>
                  <a:pt x="8158" y="4410"/>
                </a:lnTo>
                <a:lnTo>
                  <a:pt x="8162" y="4415"/>
                </a:lnTo>
                <a:lnTo>
                  <a:pt x="8169" y="4422"/>
                </a:lnTo>
                <a:lnTo>
                  <a:pt x="8177" y="4427"/>
                </a:lnTo>
                <a:lnTo>
                  <a:pt x="8179" y="4429"/>
                </a:lnTo>
                <a:lnTo>
                  <a:pt x="8181" y="4430"/>
                </a:lnTo>
                <a:lnTo>
                  <a:pt x="8179" y="4433"/>
                </a:lnTo>
                <a:lnTo>
                  <a:pt x="8178" y="4435"/>
                </a:lnTo>
                <a:lnTo>
                  <a:pt x="8171" y="4441"/>
                </a:lnTo>
                <a:lnTo>
                  <a:pt x="8159" y="4446"/>
                </a:lnTo>
                <a:lnTo>
                  <a:pt x="8141" y="4453"/>
                </a:lnTo>
                <a:lnTo>
                  <a:pt x="8125" y="4460"/>
                </a:lnTo>
                <a:lnTo>
                  <a:pt x="8119" y="4462"/>
                </a:lnTo>
                <a:lnTo>
                  <a:pt x="8113" y="4464"/>
                </a:lnTo>
                <a:lnTo>
                  <a:pt x="8103" y="4462"/>
                </a:lnTo>
                <a:lnTo>
                  <a:pt x="8092" y="4460"/>
                </a:lnTo>
                <a:lnTo>
                  <a:pt x="8089" y="4461"/>
                </a:lnTo>
                <a:lnTo>
                  <a:pt x="8084" y="4464"/>
                </a:lnTo>
                <a:lnTo>
                  <a:pt x="8080" y="4467"/>
                </a:lnTo>
                <a:lnTo>
                  <a:pt x="8076" y="4473"/>
                </a:lnTo>
                <a:lnTo>
                  <a:pt x="8068" y="4484"/>
                </a:lnTo>
                <a:lnTo>
                  <a:pt x="8064" y="4491"/>
                </a:lnTo>
                <a:lnTo>
                  <a:pt x="8063" y="4493"/>
                </a:lnTo>
                <a:lnTo>
                  <a:pt x="8062" y="4495"/>
                </a:lnTo>
                <a:lnTo>
                  <a:pt x="8061" y="4497"/>
                </a:lnTo>
                <a:lnTo>
                  <a:pt x="8058" y="4497"/>
                </a:lnTo>
                <a:lnTo>
                  <a:pt x="8055" y="4497"/>
                </a:lnTo>
                <a:lnTo>
                  <a:pt x="8051" y="4496"/>
                </a:lnTo>
                <a:lnTo>
                  <a:pt x="8048" y="4495"/>
                </a:lnTo>
                <a:lnTo>
                  <a:pt x="8044" y="4492"/>
                </a:lnTo>
                <a:lnTo>
                  <a:pt x="8034" y="4487"/>
                </a:lnTo>
                <a:lnTo>
                  <a:pt x="8026" y="4485"/>
                </a:lnTo>
                <a:lnTo>
                  <a:pt x="8018" y="4484"/>
                </a:lnTo>
                <a:lnTo>
                  <a:pt x="8012" y="4484"/>
                </a:lnTo>
                <a:lnTo>
                  <a:pt x="8005" y="4484"/>
                </a:lnTo>
                <a:lnTo>
                  <a:pt x="7995" y="4484"/>
                </a:lnTo>
                <a:lnTo>
                  <a:pt x="7986" y="4481"/>
                </a:lnTo>
                <a:lnTo>
                  <a:pt x="7977" y="4478"/>
                </a:lnTo>
                <a:lnTo>
                  <a:pt x="7969" y="4473"/>
                </a:lnTo>
                <a:lnTo>
                  <a:pt x="7963" y="4470"/>
                </a:lnTo>
                <a:lnTo>
                  <a:pt x="7954" y="4466"/>
                </a:lnTo>
                <a:lnTo>
                  <a:pt x="7941" y="4462"/>
                </a:lnTo>
                <a:lnTo>
                  <a:pt x="7932" y="4462"/>
                </a:lnTo>
                <a:lnTo>
                  <a:pt x="7924" y="4462"/>
                </a:lnTo>
                <a:lnTo>
                  <a:pt x="7918" y="4465"/>
                </a:lnTo>
                <a:lnTo>
                  <a:pt x="7912" y="4467"/>
                </a:lnTo>
                <a:lnTo>
                  <a:pt x="7907" y="4470"/>
                </a:lnTo>
                <a:lnTo>
                  <a:pt x="7905" y="4473"/>
                </a:lnTo>
                <a:lnTo>
                  <a:pt x="7903" y="4477"/>
                </a:lnTo>
                <a:lnTo>
                  <a:pt x="7903" y="4480"/>
                </a:lnTo>
                <a:lnTo>
                  <a:pt x="7904" y="4484"/>
                </a:lnTo>
                <a:lnTo>
                  <a:pt x="7906" y="4486"/>
                </a:lnTo>
                <a:lnTo>
                  <a:pt x="7910" y="4490"/>
                </a:lnTo>
                <a:lnTo>
                  <a:pt x="7913" y="4491"/>
                </a:lnTo>
                <a:lnTo>
                  <a:pt x="7923" y="4496"/>
                </a:lnTo>
                <a:lnTo>
                  <a:pt x="7932" y="4499"/>
                </a:lnTo>
                <a:lnTo>
                  <a:pt x="7936" y="4503"/>
                </a:lnTo>
                <a:lnTo>
                  <a:pt x="7937" y="4508"/>
                </a:lnTo>
                <a:lnTo>
                  <a:pt x="7936" y="4514"/>
                </a:lnTo>
                <a:lnTo>
                  <a:pt x="7935" y="4519"/>
                </a:lnTo>
                <a:lnTo>
                  <a:pt x="7932" y="4525"/>
                </a:lnTo>
                <a:lnTo>
                  <a:pt x="7929" y="4530"/>
                </a:lnTo>
                <a:lnTo>
                  <a:pt x="7924" y="4535"/>
                </a:lnTo>
                <a:lnTo>
                  <a:pt x="7918" y="4537"/>
                </a:lnTo>
                <a:lnTo>
                  <a:pt x="7913" y="4540"/>
                </a:lnTo>
                <a:lnTo>
                  <a:pt x="7907" y="4541"/>
                </a:lnTo>
                <a:lnTo>
                  <a:pt x="7901" y="4541"/>
                </a:lnTo>
                <a:lnTo>
                  <a:pt x="7895" y="4540"/>
                </a:lnTo>
                <a:lnTo>
                  <a:pt x="7889" y="4538"/>
                </a:lnTo>
                <a:lnTo>
                  <a:pt x="7885" y="4537"/>
                </a:lnTo>
                <a:lnTo>
                  <a:pt x="7879" y="4534"/>
                </a:lnTo>
                <a:lnTo>
                  <a:pt x="7874" y="4530"/>
                </a:lnTo>
                <a:lnTo>
                  <a:pt x="7869" y="4528"/>
                </a:lnTo>
                <a:lnTo>
                  <a:pt x="7866" y="4527"/>
                </a:lnTo>
                <a:lnTo>
                  <a:pt x="7863" y="4529"/>
                </a:lnTo>
                <a:lnTo>
                  <a:pt x="7861" y="4531"/>
                </a:lnTo>
                <a:lnTo>
                  <a:pt x="7859" y="4534"/>
                </a:lnTo>
                <a:lnTo>
                  <a:pt x="7855" y="4537"/>
                </a:lnTo>
                <a:lnTo>
                  <a:pt x="7851" y="4538"/>
                </a:lnTo>
                <a:lnTo>
                  <a:pt x="7844" y="4540"/>
                </a:lnTo>
                <a:lnTo>
                  <a:pt x="7836" y="4538"/>
                </a:lnTo>
                <a:lnTo>
                  <a:pt x="7826" y="4537"/>
                </a:lnTo>
                <a:lnTo>
                  <a:pt x="7816" y="4537"/>
                </a:lnTo>
                <a:lnTo>
                  <a:pt x="7807" y="4540"/>
                </a:lnTo>
                <a:lnTo>
                  <a:pt x="7804" y="4541"/>
                </a:lnTo>
                <a:lnTo>
                  <a:pt x="7800" y="4543"/>
                </a:lnTo>
                <a:lnTo>
                  <a:pt x="7798" y="4546"/>
                </a:lnTo>
                <a:lnTo>
                  <a:pt x="7797" y="4548"/>
                </a:lnTo>
                <a:lnTo>
                  <a:pt x="7792" y="4558"/>
                </a:lnTo>
                <a:lnTo>
                  <a:pt x="7788" y="4571"/>
                </a:lnTo>
                <a:lnTo>
                  <a:pt x="7785" y="4584"/>
                </a:lnTo>
                <a:lnTo>
                  <a:pt x="7781" y="4596"/>
                </a:lnTo>
                <a:lnTo>
                  <a:pt x="7779" y="4600"/>
                </a:lnTo>
                <a:lnTo>
                  <a:pt x="7774" y="4606"/>
                </a:lnTo>
                <a:lnTo>
                  <a:pt x="7769" y="4612"/>
                </a:lnTo>
                <a:lnTo>
                  <a:pt x="7765" y="4619"/>
                </a:lnTo>
                <a:lnTo>
                  <a:pt x="7754" y="4630"/>
                </a:lnTo>
                <a:lnTo>
                  <a:pt x="7747" y="4638"/>
                </a:lnTo>
                <a:lnTo>
                  <a:pt x="7740" y="4653"/>
                </a:lnTo>
                <a:lnTo>
                  <a:pt x="7733" y="4664"/>
                </a:lnTo>
                <a:lnTo>
                  <a:pt x="7730" y="4670"/>
                </a:lnTo>
                <a:lnTo>
                  <a:pt x="7727" y="4674"/>
                </a:lnTo>
                <a:lnTo>
                  <a:pt x="7724" y="4675"/>
                </a:lnTo>
                <a:lnTo>
                  <a:pt x="7722" y="4674"/>
                </a:lnTo>
                <a:lnTo>
                  <a:pt x="7718" y="4673"/>
                </a:lnTo>
                <a:lnTo>
                  <a:pt x="7716" y="4670"/>
                </a:lnTo>
                <a:lnTo>
                  <a:pt x="7705" y="4660"/>
                </a:lnTo>
                <a:lnTo>
                  <a:pt x="7696" y="4650"/>
                </a:lnTo>
                <a:lnTo>
                  <a:pt x="7692" y="4647"/>
                </a:lnTo>
                <a:lnTo>
                  <a:pt x="7690" y="4644"/>
                </a:lnTo>
                <a:lnTo>
                  <a:pt x="7685" y="4644"/>
                </a:lnTo>
                <a:lnTo>
                  <a:pt x="7680" y="4645"/>
                </a:lnTo>
                <a:lnTo>
                  <a:pt x="7672" y="4648"/>
                </a:lnTo>
                <a:lnTo>
                  <a:pt x="7664" y="4650"/>
                </a:lnTo>
                <a:lnTo>
                  <a:pt x="7654" y="4653"/>
                </a:lnTo>
                <a:lnTo>
                  <a:pt x="7643" y="4654"/>
                </a:lnTo>
                <a:lnTo>
                  <a:pt x="7639" y="4655"/>
                </a:lnTo>
                <a:lnTo>
                  <a:pt x="7633" y="4657"/>
                </a:lnTo>
                <a:lnTo>
                  <a:pt x="7627" y="4661"/>
                </a:lnTo>
                <a:lnTo>
                  <a:pt x="7620" y="4667"/>
                </a:lnTo>
                <a:lnTo>
                  <a:pt x="7605" y="4683"/>
                </a:lnTo>
                <a:lnTo>
                  <a:pt x="7590" y="4703"/>
                </a:lnTo>
                <a:lnTo>
                  <a:pt x="7574" y="4722"/>
                </a:lnTo>
                <a:lnTo>
                  <a:pt x="7563" y="4735"/>
                </a:lnTo>
                <a:lnTo>
                  <a:pt x="7548" y="4750"/>
                </a:lnTo>
                <a:lnTo>
                  <a:pt x="7533" y="4764"/>
                </a:lnTo>
                <a:lnTo>
                  <a:pt x="7524" y="4773"/>
                </a:lnTo>
                <a:lnTo>
                  <a:pt x="7517" y="4777"/>
                </a:lnTo>
                <a:lnTo>
                  <a:pt x="7515" y="4777"/>
                </a:lnTo>
                <a:lnTo>
                  <a:pt x="7511" y="4776"/>
                </a:lnTo>
                <a:lnTo>
                  <a:pt x="7508" y="4774"/>
                </a:lnTo>
                <a:lnTo>
                  <a:pt x="7503" y="4769"/>
                </a:lnTo>
                <a:lnTo>
                  <a:pt x="7501" y="4767"/>
                </a:lnTo>
                <a:lnTo>
                  <a:pt x="7500" y="4766"/>
                </a:lnTo>
                <a:lnTo>
                  <a:pt x="7496" y="4764"/>
                </a:lnTo>
                <a:lnTo>
                  <a:pt x="7494" y="4764"/>
                </a:lnTo>
                <a:lnTo>
                  <a:pt x="7491" y="4764"/>
                </a:lnTo>
                <a:lnTo>
                  <a:pt x="7488" y="4767"/>
                </a:lnTo>
                <a:lnTo>
                  <a:pt x="7483" y="4769"/>
                </a:lnTo>
                <a:lnTo>
                  <a:pt x="7478" y="4773"/>
                </a:lnTo>
                <a:lnTo>
                  <a:pt x="7467" y="4781"/>
                </a:lnTo>
                <a:lnTo>
                  <a:pt x="7456" y="4790"/>
                </a:lnTo>
                <a:lnTo>
                  <a:pt x="7445" y="4798"/>
                </a:lnTo>
                <a:lnTo>
                  <a:pt x="7437" y="4802"/>
                </a:lnTo>
                <a:lnTo>
                  <a:pt x="7421" y="4811"/>
                </a:lnTo>
                <a:lnTo>
                  <a:pt x="7398" y="4821"/>
                </a:lnTo>
                <a:lnTo>
                  <a:pt x="7377" y="4833"/>
                </a:lnTo>
                <a:lnTo>
                  <a:pt x="7362" y="4843"/>
                </a:lnTo>
                <a:lnTo>
                  <a:pt x="7357" y="4846"/>
                </a:lnTo>
                <a:lnTo>
                  <a:pt x="7356" y="4852"/>
                </a:lnTo>
                <a:lnTo>
                  <a:pt x="7354" y="4857"/>
                </a:lnTo>
                <a:lnTo>
                  <a:pt x="7354" y="4863"/>
                </a:lnTo>
                <a:lnTo>
                  <a:pt x="7356" y="4875"/>
                </a:lnTo>
                <a:lnTo>
                  <a:pt x="7357" y="4886"/>
                </a:lnTo>
                <a:lnTo>
                  <a:pt x="7356" y="4890"/>
                </a:lnTo>
                <a:lnTo>
                  <a:pt x="7353" y="4895"/>
                </a:lnTo>
                <a:lnTo>
                  <a:pt x="7349" y="4899"/>
                </a:lnTo>
                <a:lnTo>
                  <a:pt x="7344" y="4903"/>
                </a:lnTo>
                <a:lnTo>
                  <a:pt x="7334" y="4909"/>
                </a:lnTo>
                <a:lnTo>
                  <a:pt x="7325" y="4913"/>
                </a:lnTo>
                <a:lnTo>
                  <a:pt x="7318" y="4915"/>
                </a:lnTo>
                <a:lnTo>
                  <a:pt x="7311" y="4919"/>
                </a:lnTo>
                <a:lnTo>
                  <a:pt x="7305" y="4925"/>
                </a:lnTo>
                <a:lnTo>
                  <a:pt x="7300" y="4933"/>
                </a:lnTo>
                <a:lnTo>
                  <a:pt x="7295" y="4943"/>
                </a:lnTo>
                <a:lnTo>
                  <a:pt x="7289" y="4954"/>
                </a:lnTo>
                <a:lnTo>
                  <a:pt x="7282" y="4968"/>
                </a:lnTo>
                <a:lnTo>
                  <a:pt x="7271" y="4981"/>
                </a:lnTo>
                <a:lnTo>
                  <a:pt x="7267" y="4988"/>
                </a:lnTo>
                <a:lnTo>
                  <a:pt x="7263" y="4995"/>
                </a:lnTo>
                <a:lnTo>
                  <a:pt x="7261" y="5002"/>
                </a:lnTo>
                <a:lnTo>
                  <a:pt x="7259" y="5009"/>
                </a:lnTo>
                <a:lnTo>
                  <a:pt x="7259" y="5021"/>
                </a:lnTo>
                <a:lnTo>
                  <a:pt x="7261" y="5033"/>
                </a:lnTo>
                <a:lnTo>
                  <a:pt x="7259" y="5037"/>
                </a:lnTo>
                <a:lnTo>
                  <a:pt x="7257" y="5040"/>
                </a:lnTo>
                <a:lnTo>
                  <a:pt x="7253" y="5041"/>
                </a:lnTo>
                <a:lnTo>
                  <a:pt x="7250" y="5042"/>
                </a:lnTo>
                <a:lnTo>
                  <a:pt x="7240" y="5041"/>
                </a:lnTo>
                <a:lnTo>
                  <a:pt x="7232" y="5039"/>
                </a:lnTo>
                <a:lnTo>
                  <a:pt x="7228" y="5037"/>
                </a:lnTo>
                <a:lnTo>
                  <a:pt x="7226" y="5034"/>
                </a:lnTo>
                <a:lnTo>
                  <a:pt x="7225" y="5032"/>
                </a:lnTo>
                <a:lnTo>
                  <a:pt x="7224" y="5027"/>
                </a:lnTo>
                <a:lnTo>
                  <a:pt x="7224" y="5017"/>
                </a:lnTo>
                <a:lnTo>
                  <a:pt x="7224" y="5004"/>
                </a:lnTo>
                <a:lnTo>
                  <a:pt x="7223" y="4997"/>
                </a:lnTo>
                <a:lnTo>
                  <a:pt x="7221" y="4991"/>
                </a:lnTo>
                <a:lnTo>
                  <a:pt x="7219" y="4984"/>
                </a:lnTo>
                <a:lnTo>
                  <a:pt x="7217" y="4978"/>
                </a:lnTo>
                <a:lnTo>
                  <a:pt x="7209" y="4965"/>
                </a:lnTo>
                <a:lnTo>
                  <a:pt x="7200" y="4950"/>
                </a:lnTo>
                <a:lnTo>
                  <a:pt x="7190" y="4933"/>
                </a:lnTo>
                <a:lnTo>
                  <a:pt x="7181" y="4916"/>
                </a:lnTo>
                <a:lnTo>
                  <a:pt x="7171" y="4902"/>
                </a:lnTo>
                <a:lnTo>
                  <a:pt x="7163" y="4888"/>
                </a:lnTo>
                <a:lnTo>
                  <a:pt x="7157" y="4876"/>
                </a:lnTo>
                <a:lnTo>
                  <a:pt x="7155" y="4864"/>
                </a:lnTo>
                <a:lnTo>
                  <a:pt x="7152" y="4852"/>
                </a:lnTo>
                <a:lnTo>
                  <a:pt x="7150" y="4840"/>
                </a:lnTo>
                <a:lnTo>
                  <a:pt x="7148" y="4836"/>
                </a:lnTo>
                <a:lnTo>
                  <a:pt x="7145" y="4832"/>
                </a:lnTo>
                <a:lnTo>
                  <a:pt x="7141" y="4830"/>
                </a:lnTo>
                <a:lnTo>
                  <a:pt x="7136" y="4827"/>
                </a:lnTo>
                <a:lnTo>
                  <a:pt x="7124" y="4826"/>
                </a:lnTo>
                <a:lnTo>
                  <a:pt x="7111" y="4826"/>
                </a:lnTo>
                <a:lnTo>
                  <a:pt x="7104" y="4826"/>
                </a:lnTo>
                <a:lnTo>
                  <a:pt x="7097" y="4825"/>
                </a:lnTo>
                <a:lnTo>
                  <a:pt x="7091" y="4824"/>
                </a:lnTo>
                <a:lnTo>
                  <a:pt x="7085" y="4821"/>
                </a:lnTo>
                <a:lnTo>
                  <a:pt x="7079" y="4819"/>
                </a:lnTo>
                <a:lnTo>
                  <a:pt x="7073" y="4815"/>
                </a:lnTo>
                <a:lnTo>
                  <a:pt x="7068" y="4809"/>
                </a:lnTo>
                <a:lnTo>
                  <a:pt x="7064" y="4804"/>
                </a:lnTo>
                <a:lnTo>
                  <a:pt x="7057" y="4789"/>
                </a:lnTo>
                <a:lnTo>
                  <a:pt x="7051" y="4774"/>
                </a:lnTo>
                <a:lnTo>
                  <a:pt x="7048" y="4767"/>
                </a:lnTo>
                <a:lnTo>
                  <a:pt x="7045" y="4762"/>
                </a:lnTo>
                <a:lnTo>
                  <a:pt x="7044" y="4761"/>
                </a:lnTo>
                <a:lnTo>
                  <a:pt x="7042" y="4761"/>
                </a:lnTo>
                <a:lnTo>
                  <a:pt x="7038" y="4768"/>
                </a:lnTo>
                <a:lnTo>
                  <a:pt x="7031" y="4779"/>
                </a:lnTo>
                <a:lnTo>
                  <a:pt x="7019" y="4792"/>
                </a:lnTo>
                <a:lnTo>
                  <a:pt x="7006" y="4804"/>
                </a:lnTo>
                <a:lnTo>
                  <a:pt x="6993" y="4815"/>
                </a:lnTo>
                <a:lnTo>
                  <a:pt x="6982" y="4825"/>
                </a:lnTo>
                <a:lnTo>
                  <a:pt x="6978" y="4831"/>
                </a:lnTo>
                <a:lnTo>
                  <a:pt x="6973" y="4836"/>
                </a:lnTo>
                <a:lnTo>
                  <a:pt x="6971" y="4840"/>
                </a:lnTo>
                <a:lnTo>
                  <a:pt x="6969" y="4844"/>
                </a:lnTo>
                <a:lnTo>
                  <a:pt x="6969" y="4849"/>
                </a:lnTo>
                <a:lnTo>
                  <a:pt x="6971" y="4852"/>
                </a:lnTo>
                <a:lnTo>
                  <a:pt x="6972" y="4855"/>
                </a:lnTo>
                <a:lnTo>
                  <a:pt x="6974" y="4857"/>
                </a:lnTo>
                <a:lnTo>
                  <a:pt x="6979" y="4863"/>
                </a:lnTo>
                <a:lnTo>
                  <a:pt x="6986" y="4870"/>
                </a:lnTo>
                <a:lnTo>
                  <a:pt x="6993" y="4877"/>
                </a:lnTo>
                <a:lnTo>
                  <a:pt x="6999" y="4887"/>
                </a:lnTo>
                <a:lnTo>
                  <a:pt x="7004" y="4897"/>
                </a:lnTo>
                <a:lnTo>
                  <a:pt x="7007" y="4908"/>
                </a:lnTo>
                <a:lnTo>
                  <a:pt x="7009" y="4914"/>
                </a:lnTo>
                <a:lnTo>
                  <a:pt x="7009" y="4920"/>
                </a:lnTo>
                <a:lnTo>
                  <a:pt x="7007" y="4927"/>
                </a:lnTo>
                <a:lnTo>
                  <a:pt x="7006" y="4933"/>
                </a:lnTo>
                <a:lnTo>
                  <a:pt x="7004" y="4947"/>
                </a:lnTo>
                <a:lnTo>
                  <a:pt x="7003" y="4960"/>
                </a:lnTo>
                <a:lnTo>
                  <a:pt x="7003" y="4974"/>
                </a:lnTo>
                <a:lnTo>
                  <a:pt x="7004" y="4985"/>
                </a:lnTo>
                <a:lnTo>
                  <a:pt x="7005" y="4991"/>
                </a:lnTo>
                <a:lnTo>
                  <a:pt x="7005" y="4997"/>
                </a:lnTo>
                <a:lnTo>
                  <a:pt x="7005" y="5003"/>
                </a:lnTo>
                <a:lnTo>
                  <a:pt x="7004" y="5008"/>
                </a:lnTo>
                <a:lnTo>
                  <a:pt x="7000" y="5019"/>
                </a:lnTo>
                <a:lnTo>
                  <a:pt x="6999" y="5029"/>
                </a:lnTo>
                <a:lnTo>
                  <a:pt x="7000" y="5040"/>
                </a:lnTo>
                <a:lnTo>
                  <a:pt x="6999" y="5056"/>
                </a:lnTo>
                <a:lnTo>
                  <a:pt x="6999" y="5064"/>
                </a:lnTo>
                <a:lnTo>
                  <a:pt x="6999" y="5069"/>
                </a:lnTo>
                <a:lnTo>
                  <a:pt x="6999" y="5071"/>
                </a:lnTo>
                <a:lnTo>
                  <a:pt x="7000" y="5073"/>
                </a:lnTo>
                <a:lnTo>
                  <a:pt x="7005" y="5075"/>
                </a:lnTo>
                <a:lnTo>
                  <a:pt x="7016" y="5079"/>
                </a:lnTo>
                <a:lnTo>
                  <a:pt x="7022" y="5083"/>
                </a:lnTo>
                <a:lnTo>
                  <a:pt x="7028" y="5088"/>
                </a:lnTo>
                <a:lnTo>
                  <a:pt x="7031" y="5092"/>
                </a:lnTo>
                <a:lnTo>
                  <a:pt x="7034" y="5097"/>
                </a:lnTo>
                <a:lnTo>
                  <a:pt x="7035" y="5102"/>
                </a:lnTo>
                <a:lnTo>
                  <a:pt x="7036" y="5107"/>
                </a:lnTo>
                <a:lnTo>
                  <a:pt x="7035" y="5111"/>
                </a:lnTo>
                <a:lnTo>
                  <a:pt x="7034" y="5115"/>
                </a:lnTo>
                <a:lnTo>
                  <a:pt x="7031" y="5119"/>
                </a:lnTo>
                <a:lnTo>
                  <a:pt x="7031" y="5122"/>
                </a:lnTo>
                <a:lnTo>
                  <a:pt x="7031" y="5126"/>
                </a:lnTo>
                <a:lnTo>
                  <a:pt x="7032" y="5129"/>
                </a:lnTo>
                <a:lnTo>
                  <a:pt x="7035" y="5138"/>
                </a:lnTo>
                <a:lnTo>
                  <a:pt x="7039" y="5147"/>
                </a:lnTo>
                <a:lnTo>
                  <a:pt x="7041" y="5153"/>
                </a:lnTo>
                <a:lnTo>
                  <a:pt x="7042" y="5158"/>
                </a:lnTo>
                <a:lnTo>
                  <a:pt x="7041" y="5164"/>
                </a:lnTo>
                <a:lnTo>
                  <a:pt x="7039" y="5168"/>
                </a:lnTo>
                <a:lnTo>
                  <a:pt x="7038" y="5172"/>
                </a:lnTo>
                <a:lnTo>
                  <a:pt x="7036" y="5177"/>
                </a:lnTo>
                <a:lnTo>
                  <a:pt x="7034" y="5179"/>
                </a:lnTo>
                <a:lnTo>
                  <a:pt x="7030" y="5182"/>
                </a:lnTo>
                <a:lnTo>
                  <a:pt x="7025" y="5186"/>
                </a:lnTo>
                <a:lnTo>
                  <a:pt x="7020" y="5191"/>
                </a:lnTo>
                <a:lnTo>
                  <a:pt x="7019" y="5195"/>
                </a:lnTo>
                <a:lnTo>
                  <a:pt x="7019" y="5198"/>
                </a:lnTo>
                <a:lnTo>
                  <a:pt x="7019" y="5202"/>
                </a:lnTo>
                <a:lnTo>
                  <a:pt x="7022" y="5205"/>
                </a:lnTo>
                <a:lnTo>
                  <a:pt x="7023" y="5209"/>
                </a:lnTo>
                <a:lnTo>
                  <a:pt x="7025" y="5212"/>
                </a:lnTo>
                <a:lnTo>
                  <a:pt x="7025" y="5216"/>
                </a:lnTo>
                <a:lnTo>
                  <a:pt x="7025" y="5220"/>
                </a:lnTo>
                <a:lnTo>
                  <a:pt x="7024" y="5222"/>
                </a:lnTo>
                <a:lnTo>
                  <a:pt x="7020" y="5225"/>
                </a:lnTo>
                <a:lnTo>
                  <a:pt x="7017" y="5229"/>
                </a:lnTo>
                <a:lnTo>
                  <a:pt x="7012" y="5233"/>
                </a:lnTo>
                <a:lnTo>
                  <a:pt x="6999" y="5240"/>
                </a:lnTo>
                <a:lnTo>
                  <a:pt x="6982" y="5246"/>
                </a:lnTo>
                <a:lnTo>
                  <a:pt x="6962" y="5250"/>
                </a:lnTo>
                <a:lnTo>
                  <a:pt x="6942" y="5255"/>
                </a:lnTo>
                <a:lnTo>
                  <a:pt x="6931" y="5256"/>
                </a:lnTo>
                <a:lnTo>
                  <a:pt x="6922" y="5258"/>
                </a:lnTo>
                <a:lnTo>
                  <a:pt x="6912" y="5258"/>
                </a:lnTo>
                <a:lnTo>
                  <a:pt x="6904" y="5256"/>
                </a:lnTo>
                <a:lnTo>
                  <a:pt x="6897" y="5254"/>
                </a:lnTo>
                <a:lnTo>
                  <a:pt x="6890" y="5252"/>
                </a:lnTo>
                <a:lnTo>
                  <a:pt x="6883" y="5248"/>
                </a:lnTo>
                <a:lnTo>
                  <a:pt x="6877" y="5245"/>
                </a:lnTo>
                <a:lnTo>
                  <a:pt x="6871" y="5241"/>
                </a:lnTo>
                <a:lnTo>
                  <a:pt x="6865" y="5240"/>
                </a:lnTo>
                <a:lnTo>
                  <a:pt x="6858" y="5240"/>
                </a:lnTo>
                <a:lnTo>
                  <a:pt x="6849" y="5240"/>
                </a:lnTo>
                <a:lnTo>
                  <a:pt x="6833" y="5243"/>
                </a:lnTo>
                <a:lnTo>
                  <a:pt x="6814" y="5246"/>
                </a:lnTo>
                <a:lnTo>
                  <a:pt x="6796" y="5246"/>
                </a:lnTo>
                <a:lnTo>
                  <a:pt x="6782" y="5246"/>
                </a:lnTo>
                <a:lnTo>
                  <a:pt x="6768" y="5246"/>
                </a:lnTo>
                <a:lnTo>
                  <a:pt x="6755" y="5247"/>
                </a:lnTo>
                <a:lnTo>
                  <a:pt x="6749" y="5248"/>
                </a:lnTo>
                <a:lnTo>
                  <a:pt x="6743" y="5250"/>
                </a:lnTo>
                <a:lnTo>
                  <a:pt x="6739" y="5254"/>
                </a:lnTo>
                <a:lnTo>
                  <a:pt x="6734" y="5258"/>
                </a:lnTo>
                <a:lnTo>
                  <a:pt x="6729" y="5261"/>
                </a:lnTo>
                <a:lnTo>
                  <a:pt x="6726" y="5264"/>
                </a:lnTo>
                <a:lnTo>
                  <a:pt x="6722" y="5265"/>
                </a:lnTo>
                <a:lnTo>
                  <a:pt x="6719" y="5266"/>
                </a:lnTo>
                <a:lnTo>
                  <a:pt x="6716" y="5265"/>
                </a:lnTo>
                <a:lnTo>
                  <a:pt x="6714" y="5264"/>
                </a:lnTo>
                <a:lnTo>
                  <a:pt x="6711" y="5260"/>
                </a:lnTo>
                <a:lnTo>
                  <a:pt x="6710" y="5258"/>
                </a:lnTo>
                <a:lnTo>
                  <a:pt x="6709" y="5249"/>
                </a:lnTo>
                <a:lnTo>
                  <a:pt x="6708" y="5239"/>
                </a:lnTo>
                <a:lnTo>
                  <a:pt x="6708" y="5230"/>
                </a:lnTo>
                <a:lnTo>
                  <a:pt x="6707" y="5223"/>
                </a:lnTo>
                <a:lnTo>
                  <a:pt x="6703" y="5220"/>
                </a:lnTo>
                <a:lnTo>
                  <a:pt x="6696" y="5215"/>
                </a:lnTo>
                <a:lnTo>
                  <a:pt x="6692" y="5212"/>
                </a:lnTo>
                <a:lnTo>
                  <a:pt x="6690" y="5210"/>
                </a:lnTo>
                <a:lnTo>
                  <a:pt x="6688" y="5208"/>
                </a:lnTo>
                <a:lnTo>
                  <a:pt x="6686" y="5204"/>
                </a:lnTo>
                <a:lnTo>
                  <a:pt x="6686" y="5198"/>
                </a:lnTo>
                <a:lnTo>
                  <a:pt x="6688" y="5190"/>
                </a:lnTo>
                <a:lnTo>
                  <a:pt x="6690" y="5180"/>
                </a:lnTo>
                <a:lnTo>
                  <a:pt x="6689" y="5172"/>
                </a:lnTo>
                <a:lnTo>
                  <a:pt x="6688" y="5167"/>
                </a:lnTo>
                <a:lnTo>
                  <a:pt x="6686" y="5161"/>
                </a:lnTo>
                <a:lnTo>
                  <a:pt x="6684" y="5157"/>
                </a:lnTo>
                <a:lnTo>
                  <a:pt x="6679" y="5151"/>
                </a:lnTo>
                <a:lnTo>
                  <a:pt x="6669" y="5138"/>
                </a:lnTo>
                <a:lnTo>
                  <a:pt x="6657" y="5126"/>
                </a:lnTo>
                <a:lnTo>
                  <a:pt x="6645" y="5114"/>
                </a:lnTo>
                <a:lnTo>
                  <a:pt x="6635" y="5103"/>
                </a:lnTo>
                <a:lnTo>
                  <a:pt x="6631" y="5098"/>
                </a:lnTo>
                <a:lnTo>
                  <a:pt x="6627" y="5094"/>
                </a:lnTo>
                <a:lnTo>
                  <a:pt x="6625" y="5088"/>
                </a:lnTo>
                <a:lnTo>
                  <a:pt x="6622" y="5082"/>
                </a:lnTo>
                <a:lnTo>
                  <a:pt x="6621" y="5076"/>
                </a:lnTo>
                <a:lnTo>
                  <a:pt x="6621" y="5070"/>
                </a:lnTo>
                <a:lnTo>
                  <a:pt x="6621" y="5064"/>
                </a:lnTo>
                <a:lnTo>
                  <a:pt x="6623" y="5059"/>
                </a:lnTo>
                <a:lnTo>
                  <a:pt x="6626" y="5056"/>
                </a:lnTo>
                <a:lnTo>
                  <a:pt x="6629" y="5052"/>
                </a:lnTo>
                <a:lnTo>
                  <a:pt x="6632" y="5051"/>
                </a:lnTo>
                <a:lnTo>
                  <a:pt x="6635" y="5051"/>
                </a:lnTo>
                <a:lnTo>
                  <a:pt x="6644" y="5054"/>
                </a:lnTo>
                <a:lnTo>
                  <a:pt x="6651" y="5059"/>
                </a:lnTo>
                <a:lnTo>
                  <a:pt x="6659" y="5064"/>
                </a:lnTo>
                <a:lnTo>
                  <a:pt x="6667" y="5066"/>
                </a:lnTo>
                <a:lnTo>
                  <a:pt x="6671" y="5066"/>
                </a:lnTo>
                <a:lnTo>
                  <a:pt x="6673" y="5066"/>
                </a:lnTo>
                <a:lnTo>
                  <a:pt x="6677" y="5064"/>
                </a:lnTo>
                <a:lnTo>
                  <a:pt x="6679" y="5060"/>
                </a:lnTo>
                <a:lnTo>
                  <a:pt x="6683" y="5052"/>
                </a:lnTo>
                <a:lnTo>
                  <a:pt x="6684" y="5041"/>
                </a:lnTo>
                <a:lnTo>
                  <a:pt x="6685" y="5035"/>
                </a:lnTo>
                <a:lnTo>
                  <a:pt x="6684" y="5031"/>
                </a:lnTo>
                <a:lnTo>
                  <a:pt x="6684" y="5026"/>
                </a:lnTo>
                <a:lnTo>
                  <a:pt x="6682" y="5022"/>
                </a:lnTo>
                <a:lnTo>
                  <a:pt x="6678" y="5016"/>
                </a:lnTo>
                <a:lnTo>
                  <a:pt x="6676" y="5012"/>
                </a:lnTo>
                <a:lnTo>
                  <a:pt x="6673" y="5004"/>
                </a:lnTo>
                <a:lnTo>
                  <a:pt x="6673" y="4996"/>
                </a:lnTo>
                <a:lnTo>
                  <a:pt x="6675" y="4988"/>
                </a:lnTo>
                <a:lnTo>
                  <a:pt x="6675" y="4979"/>
                </a:lnTo>
                <a:lnTo>
                  <a:pt x="6673" y="4970"/>
                </a:lnTo>
                <a:lnTo>
                  <a:pt x="6672" y="4957"/>
                </a:lnTo>
                <a:lnTo>
                  <a:pt x="6671" y="4950"/>
                </a:lnTo>
                <a:lnTo>
                  <a:pt x="6669" y="4944"/>
                </a:lnTo>
                <a:lnTo>
                  <a:pt x="6665" y="4939"/>
                </a:lnTo>
                <a:lnTo>
                  <a:pt x="6660" y="4935"/>
                </a:lnTo>
                <a:lnTo>
                  <a:pt x="6656" y="4934"/>
                </a:lnTo>
                <a:lnTo>
                  <a:pt x="6651" y="4934"/>
                </a:lnTo>
                <a:lnTo>
                  <a:pt x="6646" y="4935"/>
                </a:lnTo>
                <a:lnTo>
                  <a:pt x="6640" y="4938"/>
                </a:lnTo>
                <a:lnTo>
                  <a:pt x="6635" y="4940"/>
                </a:lnTo>
                <a:lnTo>
                  <a:pt x="6631" y="4941"/>
                </a:lnTo>
                <a:lnTo>
                  <a:pt x="6626" y="4940"/>
                </a:lnTo>
                <a:lnTo>
                  <a:pt x="6621" y="4939"/>
                </a:lnTo>
                <a:lnTo>
                  <a:pt x="6617" y="4935"/>
                </a:lnTo>
                <a:lnTo>
                  <a:pt x="6614" y="4931"/>
                </a:lnTo>
                <a:lnTo>
                  <a:pt x="6610" y="4926"/>
                </a:lnTo>
                <a:lnTo>
                  <a:pt x="6608" y="4919"/>
                </a:lnTo>
                <a:lnTo>
                  <a:pt x="6606" y="4912"/>
                </a:lnTo>
                <a:lnTo>
                  <a:pt x="6603" y="4906"/>
                </a:lnTo>
                <a:lnTo>
                  <a:pt x="6600" y="4900"/>
                </a:lnTo>
                <a:lnTo>
                  <a:pt x="6595" y="4896"/>
                </a:lnTo>
                <a:lnTo>
                  <a:pt x="6587" y="4889"/>
                </a:lnTo>
                <a:lnTo>
                  <a:pt x="6578" y="4884"/>
                </a:lnTo>
                <a:lnTo>
                  <a:pt x="6571" y="4882"/>
                </a:lnTo>
                <a:lnTo>
                  <a:pt x="6565" y="4878"/>
                </a:lnTo>
                <a:lnTo>
                  <a:pt x="6563" y="4876"/>
                </a:lnTo>
                <a:lnTo>
                  <a:pt x="6562" y="4875"/>
                </a:lnTo>
                <a:lnTo>
                  <a:pt x="6563" y="4872"/>
                </a:lnTo>
                <a:lnTo>
                  <a:pt x="6564" y="4869"/>
                </a:lnTo>
                <a:lnTo>
                  <a:pt x="6569" y="4864"/>
                </a:lnTo>
                <a:lnTo>
                  <a:pt x="6573" y="4858"/>
                </a:lnTo>
                <a:lnTo>
                  <a:pt x="6575" y="4856"/>
                </a:lnTo>
                <a:lnTo>
                  <a:pt x="6577" y="4852"/>
                </a:lnTo>
                <a:lnTo>
                  <a:pt x="6578" y="4848"/>
                </a:lnTo>
                <a:lnTo>
                  <a:pt x="6579" y="4843"/>
                </a:lnTo>
                <a:lnTo>
                  <a:pt x="6579" y="4838"/>
                </a:lnTo>
                <a:lnTo>
                  <a:pt x="6579" y="4833"/>
                </a:lnTo>
                <a:lnTo>
                  <a:pt x="6578" y="4829"/>
                </a:lnTo>
                <a:lnTo>
                  <a:pt x="6576" y="4823"/>
                </a:lnTo>
                <a:lnTo>
                  <a:pt x="6572" y="4818"/>
                </a:lnTo>
                <a:lnTo>
                  <a:pt x="6569" y="4812"/>
                </a:lnTo>
                <a:lnTo>
                  <a:pt x="6565" y="4806"/>
                </a:lnTo>
                <a:lnTo>
                  <a:pt x="6559" y="4800"/>
                </a:lnTo>
                <a:lnTo>
                  <a:pt x="6547" y="4787"/>
                </a:lnTo>
                <a:lnTo>
                  <a:pt x="6537" y="4771"/>
                </a:lnTo>
                <a:lnTo>
                  <a:pt x="6525" y="4756"/>
                </a:lnTo>
                <a:lnTo>
                  <a:pt x="6516" y="4741"/>
                </a:lnTo>
                <a:lnTo>
                  <a:pt x="6512" y="4735"/>
                </a:lnTo>
                <a:lnTo>
                  <a:pt x="6507" y="4730"/>
                </a:lnTo>
                <a:lnTo>
                  <a:pt x="6502" y="4725"/>
                </a:lnTo>
                <a:lnTo>
                  <a:pt x="6496" y="4723"/>
                </a:lnTo>
                <a:lnTo>
                  <a:pt x="6489" y="4722"/>
                </a:lnTo>
                <a:lnTo>
                  <a:pt x="6481" y="4722"/>
                </a:lnTo>
                <a:lnTo>
                  <a:pt x="6471" y="4724"/>
                </a:lnTo>
                <a:lnTo>
                  <a:pt x="6461" y="4727"/>
                </a:lnTo>
                <a:lnTo>
                  <a:pt x="6449" y="4731"/>
                </a:lnTo>
                <a:lnTo>
                  <a:pt x="6440" y="4733"/>
                </a:lnTo>
                <a:lnTo>
                  <a:pt x="6432" y="4735"/>
                </a:lnTo>
                <a:lnTo>
                  <a:pt x="6425" y="4736"/>
                </a:lnTo>
                <a:lnTo>
                  <a:pt x="6412" y="4736"/>
                </a:lnTo>
                <a:lnTo>
                  <a:pt x="6399" y="4738"/>
                </a:lnTo>
                <a:lnTo>
                  <a:pt x="6393" y="4739"/>
                </a:lnTo>
                <a:lnTo>
                  <a:pt x="6389" y="4742"/>
                </a:lnTo>
                <a:lnTo>
                  <a:pt x="6387" y="4746"/>
                </a:lnTo>
                <a:lnTo>
                  <a:pt x="6386" y="4751"/>
                </a:lnTo>
                <a:lnTo>
                  <a:pt x="6384" y="4761"/>
                </a:lnTo>
                <a:lnTo>
                  <a:pt x="6382" y="4773"/>
                </a:lnTo>
                <a:lnTo>
                  <a:pt x="6381" y="4775"/>
                </a:lnTo>
                <a:lnTo>
                  <a:pt x="6379" y="4777"/>
                </a:lnTo>
                <a:lnTo>
                  <a:pt x="6375" y="4780"/>
                </a:lnTo>
                <a:lnTo>
                  <a:pt x="6371" y="4781"/>
                </a:lnTo>
                <a:lnTo>
                  <a:pt x="6362" y="4785"/>
                </a:lnTo>
                <a:lnTo>
                  <a:pt x="6351" y="4788"/>
                </a:lnTo>
                <a:lnTo>
                  <a:pt x="6339" y="4790"/>
                </a:lnTo>
                <a:lnTo>
                  <a:pt x="6327" y="4792"/>
                </a:lnTo>
                <a:lnTo>
                  <a:pt x="6314" y="4792"/>
                </a:lnTo>
                <a:lnTo>
                  <a:pt x="6304" y="4792"/>
                </a:lnTo>
                <a:lnTo>
                  <a:pt x="6285" y="4790"/>
                </a:lnTo>
                <a:lnTo>
                  <a:pt x="6269" y="4792"/>
                </a:lnTo>
                <a:lnTo>
                  <a:pt x="6262" y="4794"/>
                </a:lnTo>
                <a:lnTo>
                  <a:pt x="6256" y="4796"/>
                </a:lnTo>
                <a:lnTo>
                  <a:pt x="6250" y="4799"/>
                </a:lnTo>
                <a:lnTo>
                  <a:pt x="6243" y="4802"/>
                </a:lnTo>
                <a:lnTo>
                  <a:pt x="6231" y="4809"/>
                </a:lnTo>
                <a:lnTo>
                  <a:pt x="6220" y="4818"/>
                </a:lnTo>
                <a:lnTo>
                  <a:pt x="6216" y="4824"/>
                </a:lnTo>
                <a:lnTo>
                  <a:pt x="6213" y="4830"/>
                </a:lnTo>
                <a:lnTo>
                  <a:pt x="6211" y="4837"/>
                </a:lnTo>
                <a:lnTo>
                  <a:pt x="6210" y="4845"/>
                </a:lnTo>
                <a:lnTo>
                  <a:pt x="6212" y="4862"/>
                </a:lnTo>
                <a:lnTo>
                  <a:pt x="6214" y="4875"/>
                </a:lnTo>
                <a:lnTo>
                  <a:pt x="6218" y="4886"/>
                </a:lnTo>
                <a:lnTo>
                  <a:pt x="6222" y="4896"/>
                </a:lnTo>
                <a:lnTo>
                  <a:pt x="6223" y="4901"/>
                </a:lnTo>
                <a:lnTo>
                  <a:pt x="6222" y="4906"/>
                </a:lnTo>
                <a:lnTo>
                  <a:pt x="6220" y="4908"/>
                </a:lnTo>
                <a:lnTo>
                  <a:pt x="6218" y="4909"/>
                </a:lnTo>
                <a:lnTo>
                  <a:pt x="6216" y="4911"/>
                </a:lnTo>
                <a:lnTo>
                  <a:pt x="6212" y="4909"/>
                </a:lnTo>
                <a:lnTo>
                  <a:pt x="6209" y="4908"/>
                </a:lnTo>
                <a:lnTo>
                  <a:pt x="6204" y="4907"/>
                </a:lnTo>
                <a:lnTo>
                  <a:pt x="6199" y="4905"/>
                </a:lnTo>
                <a:lnTo>
                  <a:pt x="6195" y="4905"/>
                </a:lnTo>
                <a:lnTo>
                  <a:pt x="6193" y="4905"/>
                </a:lnTo>
                <a:lnTo>
                  <a:pt x="6191" y="4907"/>
                </a:lnTo>
                <a:lnTo>
                  <a:pt x="6190" y="4909"/>
                </a:lnTo>
                <a:lnTo>
                  <a:pt x="6190" y="4913"/>
                </a:lnTo>
                <a:lnTo>
                  <a:pt x="6191" y="4918"/>
                </a:lnTo>
                <a:lnTo>
                  <a:pt x="6192" y="4924"/>
                </a:lnTo>
                <a:lnTo>
                  <a:pt x="6197" y="4937"/>
                </a:lnTo>
                <a:lnTo>
                  <a:pt x="6203" y="4949"/>
                </a:lnTo>
                <a:lnTo>
                  <a:pt x="6210" y="4962"/>
                </a:lnTo>
                <a:lnTo>
                  <a:pt x="6216" y="4974"/>
                </a:lnTo>
                <a:lnTo>
                  <a:pt x="6218" y="4978"/>
                </a:lnTo>
                <a:lnTo>
                  <a:pt x="6218" y="4983"/>
                </a:lnTo>
                <a:lnTo>
                  <a:pt x="6217" y="4988"/>
                </a:lnTo>
                <a:lnTo>
                  <a:pt x="6214" y="4991"/>
                </a:lnTo>
                <a:lnTo>
                  <a:pt x="6206" y="4997"/>
                </a:lnTo>
                <a:lnTo>
                  <a:pt x="6197" y="5002"/>
                </a:lnTo>
                <a:lnTo>
                  <a:pt x="6187" y="5008"/>
                </a:lnTo>
                <a:lnTo>
                  <a:pt x="6178" y="5014"/>
                </a:lnTo>
                <a:lnTo>
                  <a:pt x="6167" y="5020"/>
                </a:lnTo>
                <a:lnTo>
                  <a:pt x="6155" y="5025"/>
                </a:lnTo>
                <a:lnTo>
                  <a:pt x="6142" y="5027"/>
                </a:lnTo>
                <a:lnTo>
                  <a:pt x="6129" y="5028"/>
                </a:lnTo>
                <a:lnTo>
                  <a:pt x="6123" y="5029"/>
                </a:lnTo>
                <a:lnTo>
                  <a:pt x="6117" y="5028"/>
                </a:lnTo>
                <a:lnTo>
                  <a:pt x="6111" y="5027"/>
                </a:lnTo>
                <a:lnTo>
                  <a:pt x="6106" y="5026"/>
                </a:lnTo>
                <a:lnTo>
                  <a:pt x="6100" y="5023"/>
                </a:lnTo>
                <a:lnTo>
                  <a:pt x="6097" y="5022"/>
                </a:lnTo>
                <a:lnTo>
                  <a:pt x="6093" y="5022"/>
                </a:lnTo>
                <a:lnTo>
                  <a:pt x="6090" y="5022"/>
                </a:lnTo>
                <a:lnTo>
                  <a:pt x="6086" y="5023"/>
                </a:lnTo>
                <a:lnTo>
                  <a:pt x="6084" y="5025"/>
                </a:lnTo>
                <a:lnTo>
                  <a:pt x="6081" y="5028"/>
                </a:lnTo>
                <a:lnTo>
                  <a:pt x="6078" y="5031"/>
                </a:lnTo>
                <a:lnTo>
                  <a:pt x="6075" y="5034"/>
                </a:lnTo>
                <a:lnTo>
                  <a:pt x="6073" y="5035"/>
                </a:lnTo>
                <a:lnTo>
                  <a:pt x="6071" y="5035"/>
                </a:lnTo>
                <a:lnTo>
                  <a:pt x="6069" y="5033"/>
                </a:lnTo>
                <a:lnTo>
                  <a:pt x="6066" y="5026"/>
                </a:lnTo>
                <a:lnTo>
                  <a:pt x="6065" y="5015"/>
                </a:lnTo>
                <a:lnTo>
                  <a:pt x="6064" y="5009"/>
                </a:lnTo>
                <a:lnTo>
                  <a:pt x="6061" y="5004"/>
                </a:lnTo>
                <a:lnTo>
                  <a:pt x="6058" y="5002"/>
                </a:lnTo>
                <a:lnTo>
                  <a:pt x="6054" y="5000"/>
                </a:lnTo>
                <a:lnTo>
                  <a:pt x="6049" y="5000"/>
                </a:lnTo>
                <a:lnTo>
                  <a:pt x="6043" y="5001"/>
                </a:lnTo>
                <a:lnTo>
                  <a:pt x="6037" y="5004"/>
                </a:lnTo>
                <a:lnTo>
                  <a:pt x="6033" y="5009"/>
                </a:lnTo>
                <a:lnTo>
                  <a:pt x="6027" y="5016"/>
                </a:lnTo>
                <a:lnTo>
                  <a:pt x="6022" y="5023"/>
                </a:lnTo>
                <a:lnTo>
                  <a:pt x="6018" y="5032"/>
                </a:lnTo>
                <a:lnTo>
                  <a:pt x="6015" y="5040"/>
                </a:lnTo>
                <a:lnTo>
                  <a:pt x="6011" y="5047"/>
                </a:lnTo>
                <a:lnTo>
                  <a:pt x="6008" y="5054"/>
                </a:lnTo>
                <a:lnTo>
                  <a:pt x="6004" y="5060"/>
                </a:lnTo>
                <a:lnTo>
                  <a:pt x="6001" y="5065"/>
                </a:lnTo>
                <a:lnTo>
                  <a:pt x="5993" y="5072"/>
                </a:lnTo>
                <a:lnTo>
                  <a:pt x="5985" y="5080"/>
                </a:lnTo>
                <a:lnTo>
                  <a:pt x="5978" y="5090"/>
                </a:lnTo>
                <a:lnTo>
                  <a:pt x="5971" y="5100"/>
                </a:lnTo>
                <a:lnTo>
                  <a:pt x="5966" y="5105"/>
                </a:lnTo>
                <a:lnTo>
                  <a:pt x="5961" y="5109"/>
                </a:lnTo>
                <a:lnTo>
                  <a:pt x="5955" y="5111"/>
                </a:lnTo>
                <a:lnTo>
                  <a:pt x="5951" y="5114"/>
                </a:lnTo>
                <a:lnTo>
                  <a:pt x="5945" y="5114"/>
                </a:lnTo>
                <a:lnTo>
                  <a:pt x="5940" y="5113"/>
                </a:lnTo>
                <a:lnTo>
                  <a:pt x="5936" y="5110"/>
                </a:lnTo>
                <a:lnTo>
                  <a:pt x="5933" y="5105"/>
                </a:lnTo>
                <a:lnTo>
                  <a:pt x="5929" y="5097"/>
                </a:lnTo>
                <a:lnTo>
                  <a:pt x="5926" y="5089"/>
                </a:lnTo>
                <a:lnTo>
                  <a:pt x="5922" y="5078"/>
                </a:lnTo>
                <a:lnTo>
                  <a:pt x="5917" y="5065"/>
                </a:lnTo>
                <a:lnTo>
                  <a:pt x="5913" y="5059"/>
                </a:lnTo>
                <a:lnTo>
                  <a:pt x="5909" y="5056"/>
                </a:lnTo>
                <a:lnTo>
                  <a:pt x="5904" y="5052"/>
                </a:lnTo>
                <a:lnTo>
                  <a:pt x="5899" y="5051"/>
                </a:lnTo>
                <a:lnTo>
                  <a:pt x="5894" y="5052"/>
                </a:lnTo>
                <a:lnTo>
                  <a:pt x="5889" y="5053"/>
                </a:lnTo>
                <a:lnTo>
                  <a:pt x="5883" y="5056"/>
                </a:lnTo>
                <a:lnTo>
                  <a:pt x="5876" y="5058"/>
                </a:lnTo>
                <a:lnTo>
                  <a:pt x="5863" y="5067"/>
                </a:lnTo>
                <a:lnTo>
                  <a:pt x="5848" y="5079"/>
                </a:lnTo>
                <a:lnTo>
                  <a:pt x="5833" y="5092"/>
                </a:lnTo>
                <a:lnTo>
                  <a:pt x="5817" y="5105"/>
                </a:lnTo>
                <a:lnTo>
                  <a:pt x="5800" y="5119"/>
                </a:lnTo>
                <a:lnTo>
                  <a:pt x="5781" y="5130"/>
                </a:lnTo>
                <a:lnTo>
                  <a:pt x="5770" y="5136"/>
                </a:lnTo>
                <a:lnTo>
                  <a:pt x="5762" y="5141"/>
                </a:lnTo>
                <a:lnTo>
                  <a:pt x="5753" y="5143"/>
                </a:lnTo>
                <a:lnTo>
                  <a:pt x="5746" y="5146"/>
                </a:lnTo>
                <a:lnTo>
                  <a:pt x="5741" y="5147"/>
                </a:lnTo>
                <a:lnTo>
                  <a:pt x="5738" y="5149"/>
                </a:lnTo>
                <a:lnTo>
                  <a:pt x="5735" y="5152"/>
                </a:lnTo>
                <a:lnTo>
                  <a:pt x="5735" y="5154"/>
                </a:lnTo>
                <a:lnTo>
                  <a:pt x="5735" y="5157"/>
                </a:lnTo>
                <a:lnTo>
                  <a:pt x="5735" y="5160"/>
                </a:lnTo>
                <a:lnTo>
                  <a:pt x="5738" y="5163"/>
                </a:lnTo>
                <a:lnTo>
                  <a:pt x="5740" y="5166"/>
                </a:lnTo>
                <a:lnTo>
                  <a:pt x="5741" y="5168"/>
                </a:lnTo>
                <a:lnTo>
                  <a:pt x="5743" y="5172"/>
                </a:lnTo>
                <a:lnTo>
                  <a:pt x="5743" y="5176"/>
                </a:lnTo>
                <a:lnTo>
                  <a:pt x="5743" y="5178"/>
                </a:lnTo>
                <a:lnTo>
                  <a:pt x="5740" y="5180"/>
                </a:lnTo>
                <a:lnTo>
                  <a:pt x="5738" y="5183"/>
                </a:lnTo>
                <a:lnTo>
                  <a:pt x="5734" y="5184"/>
                </a:lnTo>
                <a:lnTo>
                  <a:pt x="5731" y="5184"/>
                </a:lnTo>
                <a:lnTo>
                  <a:pt x="5726" y="5184"/>
                </a:lnTo>
                <a:lnTo>
                  <a:pt x="5722" y="5185"/>
                </a:lnTo>
                <a:lnTo>
                  <a:pt x="5720" y="5186"/>
                </a:lnTo>
                <a:lnTo>
                  <a:pt x="5718" y="5189"/>
                </a:lnTo>
                <a:lnTo>
                  <a:pt x="5715" y="5195"/>
                </a:lnTo>
                <a:lnTo>
                  <a:pt x="5713" y="5203"/>
                </a:lnTo>
                <a:lnTo>
                  <a:pt x="5712" y="5208"/>
                </a:lnTo>
                <a:lnTo>
                  <a:pt x="5709" y="5211"/>
                </a:lnTo>
                <a:lnTo>
                  <a:pt x="5707" y="5212"/>
                </a:lnTo>
                <a:lnTo>
                  <a:pt x="5705" y="5214"/>
                </a:lnTo>
                <a:lnTo>
                  <a:pt x="5701" y="5214"/>
                </a:lnTo>
                <a:lnTo>
                  <a:pt x="5697" y="5214"/>
                </a:lnTo>
                <a:lnTo>
                  <a:pt x="5694" y="5211"/>
                </a:lnTo>
                <a:lnTo>
                  <a:pt x="5688" y="5209"/>
                </a:lnTo>
                <a:lnTo>
                  <a:pt x="5682" y="5206"/>
                </a:lnTo>
                <a:lnTo>
                  <a:pt x="5672" y="5205"/>
                </a:lnTo>
                <a:lnTo>
                  <a:pt x="5662" y="5205"/>
                </a:lnTo>
                <a:lnTo>
                  <a:pt x="5651" y="5206"/>
                </a:lnTo>
                <a:lnTo>
                  <a:pt x="5630" y="5209"/>
                </a:lnTo>
                <a:lnTo>
                  <a:pt x="5613" y="5211"/>
                </a:lnTo>
                <a:lnTo>
                  <a:pt x="5603" y="5212"/>
                </a:lnTo>
                <a:lnTo>
                  <a:pt x="5598" y="5211"/>
                </a:lnTo>
                <a:lnTo>
                  <a:pt x="5595" y="5210"/>
                </a:lnTo>
                <a:lnTo>
                  <a:pt x="5594" y="5208"/>
                </a:lnTo>
                <a:lnTo>
                  <a:pt x="5593" y="5205"/>
                </a:lnTo>
                <a:lnTo>
                  <a:pt x="5593" y="5202"/>
                </a:lnTo>
                <a:lnTo>
                  <a:pt x="5593" y="5184"/>
                </a:lnTo>
                <a:lnTo>
                  <a:pt x="5593" y="5167"/>
                </a:lnTo>
                <a:lnTo>
                  <a:pt x="5593" y="5157"/>
                </a:lnTo>
                <a:lnTo>
                  <a:pt x="5593" y="5145"/>
                </a:lnTo>
                <a:lnTo>
                  <a:pt x="5593" y="5130"/>
                </a:lnTo>
                <a:lnTo>
                  <a:pt x="5594" y="5120"/>
                </a:lnTo>
                <a:lnTo>
                  <a:pt x="5595" y="5111"/>
                </a:lnTo>
                <a:lnTo>
                  <a:pt x="5596" y="5103"/>
                </a:lnTo>
                <a:lnTo>
                  <a:pt x="5598" y="5092"/>
                </a:lnTo>
                <a:lnTo>
                  <a:pt x="5596" y="5079"/>
                </a:lnTo>
                <a:lnTo>
                  <a:pt x="5593" y="5065"/>
                </a:lnTo>
                <a:lnTo>
                  <a:pt x="5589" y="5053"/>
                </a:lnTo>
                <a:lnTo>
                  <a:pt x="5583" y="5042"/>
                </a:lnTo>
                <a:lnTo>
                  <a:pt x="5578" y="5033"/>
                </a:lnTo>
                <a:lnTo>
                  <a:pt x="5575" y="5022"/>
                </a:lnTo>
                <a:lnTo>
                  <a:pt x="5574" y="5012"/>
                </a:lnTo>
                <a:lnTo>
                  <a:pt x="5574" y="5006"/>
                </a:lnTo>
                <a:lnTo>
                  <a:pt x="5574" y="5001"/>
                </a:lnTo>
                <a:lnTo>
                  <a:pt x="5575" y="4996"/>
                </a:lnTo>
                <a:lnTo>
                  <a:pt x="5576" y="4993"/>
                </a:lnTo>
                <a:lnTo>
                  <a:pt x="5580" y="4987"/>
                </a:lnTo>
                <a:lnTo>
                  <a:pt x="5582" y="4981"/>
                </a:lnTo>
                <a:lnTo>
                  <a:pt x="5583" y="4977"/>
                </a:lnTo>
                <a:lnTo>
                  <a:pt x="5583" y="4975"/>
                </a:lnTo>
                <a:lnTo>
                  <a:pt x="5581" y="4972"/>
                </a:lnTo>
                <a:lnTo>
                  <a:pt x="5578" y="4970"/>
                </a:lnTo>
                <a:lnTo>
                  <a:pt x="5576" y="4968"/>
                </a:lnTo>
                <a:lnTo>
                  <a:pt x="5574" y="4968"/>
                </a:lnTo>
                <a:lnTo>
                  <a:pt x="5570" y="4969"/>
                </a:lnTo>
                <a:lnTo>
                  <a:pt x="5568" y="4970"/>
                </a:lnTo>
                <a:lnTo>
                  <a:pt x="5562" y="4975"/>
                </a:lnTo>
                <a:lnTo>
                  <a:pt x="5555" y="4981"/>
                </a:lnTo>
                <a:lnTo>
                  <a:pt x="5550" y="4984"/>
                </a:lnTo>
                <a:lnTo>
                  <a:pt x="5546" y="4987"/>
                </a:lnTo>
                <a:lnTo>
                  <a:pt x="5542" y="4988"/>
                </a:lnTo>
                <a:lnTo>
                  <a:pt x="5537" y="4989"/>
                </a:lnTo>
                <a:lnTo>
                  <a:pt x="5526" y="4988"/>
                </a:lnTo>
                <a:lnTo>
                  <a:pt x="5514" y="4987"/>
                </a:lnTo>
                <a:lnTo>
                  <a:pt x="5502" y="4985"/>
                </a:lnTo>
                <a:lnTo>
                  <a:pt x="5491" y="4985"/>
                </a:lnTo>
                <a:lnTo>
                  <a:pt x="5485" y="4988"/>
                </a:lnTo>
                <a:lnTo>
                  <a:pt x="5479" y="4989"/>
                </a:lnTo>
                <a:lnTo>
                  <a:pt x="5474" y="4991"/>
                </a:lnTo>
                <a:lnTo>
                  <a:pt x="5470" y="4995"/>
                </a:lnTo>
                <a:lnTo>
                  <a:pt x="5467" y="5000"/>
                </a:lnTo>
                <a:lnTo>
                  <a:pt x="5464" y="5004"/>
                </a:lnTo>
                <a:lnTo>
                  <a:pt x="5463" y="5012"/>
                </a:lnTo>
                <a:lnTo>
                  <a:pt x="5463" y="5019"/>
                </a:lnTo>
                <a:lnTo>
                  <a:pt x="5463" y="5033"/>
                </a:lnTo>
                <a:lnTo>
                  <a:pt x="5463" y="5045"/>
                </a:lnTo>
                <a:lnTo>
                  <a:pt x="5463" y="5050"/>
                </a:lnTo>
                <a:lnTo>
                  <a:pt x="5461" y="5053"/>
                </a:lnTo>
                <a:lnTo>
                  <a:pt x="5458" y="5056"/>
                </a:lnTo>
                <a:lnTo>
                  <a:pt x="5456" y="5058"/>
                </a:lnTo>
                <a:lnTo>
                  <a:pt x="5447" y="5063"/>
                </a:lnTo>
                <a:lnTo>
                  <a:pt x="5435" y="5064"/>
                </a:lnTo>
                <a:lnTo>
                  <a:pt x="5429" y="5065"/>
                </a:lnTo>
                <a:lnTo>
                  <a:pt x="5422" y="5067"/>
                </a:lnTo>
                <a:lnTo>
                  <a:pt x="5416" y="5070"/>
                </a:lnTo>
                <a:lnTo>
                  <a:pt x="5410" y="5073"/>
                </a:lnTo>
                <a:lnTo>
                  <a:pt x="5405" y="5077"/>
                </a:lnTo>
                <a:lnTo>
                  <a:pt x="5399" y="5082"/>
                </a:lnTo>
                <a:lnTo>
                  <a:pt x="5395" y="5088"/>
                </a:lnTo>
                <a:lnTo>
                  <a:pt x="5391" y="5095"/>
                </a:lnTo>
                <a:lnTo>
                  <a:pt x="5385" y="5113"/>
                </a:lnTo>
                <a:lnTo>
                  <a:pt x="5381" y="5130"/>
                </a:lnTo>
                <a:lnTo>
                  <a:pt x="5379" y="5147"/>
                </a:lnTo>
                <a:lnTo>
                  <a:pt x="5378" y="5161"/>
                </a:lnTo>
                <a:lnTo>
                  <a:pt x="5379" y="5179"/>
                </a:lnTo>
                <a:lnTo>
                  <a:pt x="5382" y="5204"/>
                </a:lnTo>
                <a:lnTo>
                  <a:pt x="5386" y="5229"/>
                </a:lnTo>
                <a:lnTo>
                  <a:pt x="5388" y="5247"/>
                </a:lnTo>
                <a:lnTo>
                  <a:pt x="5388" y="5253"/>
                </a:lnTo>
                <a:lnTo>
                  <a:pt x="5388" y="5258"/>
                </a:lnTo>
                <a:lnTo>
                  <a:pt x="5387" y="5260"/>
                </a:lnTo>
                <a:lnTo>
                  <a:pt x="5385" y="5261"/>
                </a:lnTo>
                <a:lnTo>
                  <a:pt x="5375" y="5262"/>
                </a:lnTo>
                <a:lnTo>
                  <a:pt x="5359" y="5260"/>
                </a:lnTo>
                <a:lnTo>
                  <a:pt x="5341" y="5258"/>
                </a:lnTo>
                <a:lnTo>
                  <a:pt x="5326" y="5258"/>
                </a:lnTo>
                <a:lnTo>
                  <a:pt x="5321" y="5259"/>
                </a:lnTo>
                <a:lnTo>
                  <a:pt x="5316" y="5260"/>
                </a:lnTo>
                <a:lnTo>
                  <a:pt x="5310" y="5262"/>
                </a:lnTo>
                <a:lnTo>
                  <a:pt x="5304" y="5266"/>
                </a:lnTo>
                <a:lnTo>
                  <a:pt x="5298" y="5271"/>
                </a:lnTo>
                <a:lnTo>
                  <a:pt x="5293" y="5275"/>
                </a:lnTo>
                <a:lnTo>
                  <a:pt x="5290" y="5281"/>
                </a:lnTo>
                <a:lnTo>
                  <a:pt x="5286" y="5287"/>
                </a:lnTo>
                <a:lnTo>
                  <a:pt x="5284" y="5293"/>
                </a:lnTo>
                <a:lnTo>
                  <a:pt x="5284" y="5299"/>
                </a:lnTo>
                <a:lnTo>
                  <a:pt x="5284" y="5304"/>
                </a:lnTo>
                <a:lnTo>
                  <a:pt x="5285" y="5309"/>
                </a:lnTo>
                <a:lnTo>
                  <a:pt x="5290" y="5316"/>
                </a:lnTo>
                <a:lnTo>
                  <a:pt x="5296" y="5324"/>
                </a:lnTo>
                <a:lnTo>
                  <a:pt x="5297" y="5329"/>
                </a:lnTo>
                <a:lnTo>
                  <a:pt x="5298" y="5332"/>
                </a:lnTo>
                <a:lnTo>
                  <a:pt x="5298" y="5338"/>
                </a:lnTo>
                <a:lnTo>
                  <a:pt x="5297" y="5343"/>
                </a:lnTo>
                <a:lnTo>
                  <a:pt x="5294" y="5349"/>
                </a:lnTo>
                <a:lnTo>
                  <a:pt x="5294" y="5354"/>
                </a:lnTo>
                <a:lnTo>
                  <a:pt x="5296" y="5359"/>
                </a:lnTo>
                <a:lnTo>
                  <a:pt x="5298" y="5363"/>
                </a:lnTo>
                <a:lnTo>
                  <a:pt x="5305" y="5372"/>
                </a:lnTo>
                <a:lnTo>
                  <a:pt x="5313" y="5379"/>
                </a:lnTo>
                <a:lnTo>
                  <a:pt x="5318" y="5382"/>
                </a:lnTo>
                <a:lnTo>
                  <a:pt x="5321" y="5386"/>
                </a:lnTo>
                <a:lnTo>
                  <a:pt x="5322" y="5391"/>
                </a:lnTo>
                <a:lnTo>
                  <a:pt x="5322" y="5395"/>
                </a:lnTo>
                <a:lnTo>
                  <a:pt x="5321" y="5400"/>
                </a:lnTo>
                <a:lnTo>
                  <a:pt x="5318" y="5404"/>
                </a:lnTo>
                <a:lnTo>
                  <a:pt x="5315" y="5407"/>
                </a:lnTo>
                <a:lnTo>
                  <a:pt x="5311" y="5409"/>
                </a:lnTo>
                <a:lnTo>
                  <a:pt x="5303" y="5411"/>
                </a:lnTo>
                <a:lnTo>
                  <a:pt x="5294" y="5413"/>
                </a:lnTo>
                <a:lnTo>
                  <a:pt x="5291" y="5416"/>
                </a:lnTo>
                <a:lnTo>
                  <a:pt x="5287" y="5419"/>
                </a:lnTo>
                <a:lnTo>
                  <a:pt x="5284" y="5423"/>
                </a:lnTo>
                <a:lnTo>
                  <a:pt x="5279" y="5428"/>
                </a:lnTo>
                <a:lnTo>
                  <a:pt x="5277" y="5433"/>
                </a:lnTo>
                <a:lnTo>
                  <a:pt x="5274" y="5439"/>
                </a:lnTo>
                <a:lnTo>
                  <a:pt x="5274" y="5447"/>
                </a:lnTo>
                <a:lnTo>
                  <a:pt x="5275" y="5453"/>
                </a:lnTo>
                <a:lnTo>
                  <a:pt x="5278" y="5457"/>
                </a:lnTo>
                <a:lnTo>
                  <a:pt x="5280" y="5463"/>
                </a:lnTo>
                <a:lnTo>
                  <a:pt x="5284" y="5468"/>
                </a:lnTo>
                <a:lnTo>
                  <a:pt x="5288" y="5472"/>
                </a:lnTo>
                <a:lnTo>
                  <a:pt x="5298" y="5481"/>
                </a:lnTo>
                <a:lnTo>
                  <a:pt x="5307" y="5493"/>
                </a:lnTo>
                <a:lnTo>
                  <a:pt x="5317" y="5506"/>
                </a:lnTo>
                <a:lnTo>
                  <a:pt x="5328" y="5520"/>
                </a:lnTo>
                <a:lnTo>
                  <a:pt x="5338" y="5538"/>
                </a:lnTo>
                <a:lnTo>
                  <a:pt x="5350" y="5559"/>
                </a:lnTo>
                <a:lnTo>
                  <a:pt x="5356" y="5570"/>
                </a:lnTo>
                <a:lnTo>
                  <a:pt x="5361" y="5581"/>
                </a:lnTo>
                <a:lnTo>
                  <a:pt x="5365" y="5590"/>
                </a:lnTo>
                <a:lnTo>
                  <a:pt x="5367" y="5599"/>
                </a:lnTo>
                <a:lnTo>
                  <a:pt x="5363" y="5612"/>
                </a:lnTo>
                <a:lnTo>
                  <a:pt x="5356" y="5630"/>
                </a:lnTo>
                <a:lnTo>
                  <a:pt x="5351" y="5646"/>
                </a:lnTo>
                <a:lnTo>
                  <a:pt x="5345" y="5665"/>
                </a:lnTo>
                <a:lnTo>
                  <a:pt x="5341" y="5675"/>
                </a:lnTo>
                <a:lnTo>
                  <a:pt x="5336" y="5684"/>
                </a:lnTo>
                <a:lnTo>
                  <a:pt x="5330" y="5694"/>
                </a:lnTo>
                <a:lnTo>
                  <a:pt x="5323" y="5703"/>
                </a:lnTo>
                <a:lnTo>
                  <a:pt x="5316" y="5710"/>
                </a:lnTo>
                <a:lnTo>
                  <a:pt x="5307" y="5715"/>
                </a:lnTo>
                <a:lnTo>
                  <a:pt x="5299" y="5720"/>
                </a:lnTo>
                <a:lnTo>
                  <a:pt x="5291" y="5722"/>
                </a:lnTo>
                <a:lnTo>
                  <a:pt x="5277" y="5722"/>
                </a:lnTo>
                <a:lnTo>
                  <a:pt x="5263" y="5720"/>
                </a:lnTo>
                <a:lnTo>
                  <a:pt x="5258" y="5721"/>
                </a:lnTo>
                <a:lnTo>
                  <a:pt x="5253" y="5725"/>
                </a:lnTo>
                <a:lnTo>
                  <a:pt x="5248" y="5729"/>
                </a:lnTo>
                <a:lnTo>
                  <a:pt x="5244" y="5735"/>
                </a:lnTo>
                <a:lnTo>
                  <a:pt x="5237" y="5750"/>
                </a:lnTo>
                <a:lnTo>
                  <a:pt x="5228" y="5764"/>
                </a:lnTo>
                <a:lnTo>
                  <a:pt x="5222" y="5771"/>
                </a:lnTo>
                <a:lnTo>
                  <a:pt x="5215" y="5777"/>
                </a:lnTo>
                <a:lnTo>
                  <a:pt x="5206" y="5783"/>
                </a:lnTo>
                <a:lnTo>
                  <a:pt x="5198" y="5788"/>
                </a:lnTo>
                <a:lnTo>
                  <a:pt x="5190" y="5789"/>
                </a:lnTo>
                <a:lnTo>
                  <a:pt x="5181" y="5790"/>
                </a:lnTo>
                <a:lnTo>
                  <a:pt x="5173" y="5790"/>
                </a:lnTo>
                <a:lnTo>
                  <a:pt x="5165" y="5790"/>
                </a:lnTo>
                <a:lnTo>
                  <a:pt x="5146" y="5789"/>
                </a:lnTo>
                <a:lnTo>
                  <a:pt x="5127" y="5788"/>
                </a:lnTo>
                <a:lnTo>
                  <a:pt x="5099" y="5785"/>
                </a:lnTo>
                <a:lnTo>
                  <a:pt x="5078" y="5783"/>
                </a:lnTo>
                <a:lnTo>
                  <a:pt x="5067" y="5782"/>
                </a:lnTo>
                <a:lnTo>
                  <a:pt x="5055" y="5782"/>
                </a:lnTo>
                <a:lnTo>
                  <a:pt x="5041" y="5784"/>
                </a:lnTo>
                <a:lnTo>
                  <a:pt x="5023" y="5787"/>
                </a:lnTo>
                <a:lnTo>
                  <a:pt x="5015" y="5789"/>
                </a:lnTo>
                <a:lnTo>
                  <a:pt x="5007" y="5791"/>
                </a:lnTo>
                <a:lnTo>
                  <a:pt x="5000" y="5795"/>
                </a:lnTo>
                <a:lnTo>
                  <a:pt x="4994" y="5800"/>
                </a:lnTo>
                <a:lnTo>
                  <a:pt x="4989" y="5803"/>
                </a:lnTo>
                <a:lnTo>
                  <a:pt x="4985" y="5808"/>
                </a:lnTo>
                <a:lnTo>
                  <a:pt x="4982" y="5813"/>
                </a:lnTo>
                <a:lnTo>
                  <a:pt x="4978" y="5817"/>
                </a:lnTo>
                <a:lnTo>
                  <a:pt x="4970" y="5839"/>
                </a:lnTo>
                <a:lnTo>
                  <a:pt x="4964" y="5859"/>
                </a:lnTo>
                <a:lnTo>
                  <a:pt x="4962" y="5863"/>
                </a:lnTo>
                <a:lnTo>
                  <a:pt x="4958" y="5866"/>
                </a:lnTo>
                <a:lnTo>
                  <a:pt x="4956" y="5870"/>
                </a:lnTo>
                <a:lnTo>
                  <a:pt x="4951" y="5872"/>
                </a:lnTo>
                <a:lnTo>
                  <a:pt x="4943" y="5877"/>
                </a:lnTo>
                <a:lnTo>
                  <a:pt x="4933" y="5879"/>
                </a:lnTo>
                <a:lnTo>
                  <a:pt x="4923" y="5879"/>
                </a:lnTo>
                <a:lnTo>
                  <a:pt x="4913" y="5879"/>
                </a:lnTo>
                <a:lnTo>
                  <a:pt x="4904" y="5876"/>
                </a:lnTo>
                <a:lnTo>
                  <a:pt x="4897" y="5871"/>
                </a:lnTo>
                <a:lnTo>
                  <a:pt x="4881" y="5858"/>
                </a:lnTo>
                <a:lnTo>
                  <a:pt x="4860" y="5841"/>
                </a:lnTo>
                <a:lnTo>
                  <a:pt x="4849" y="5835"/>
                </a:lnTo>
                <a:lnTo>
                  <a:pt x="4837" y="5829"/>
                </a:lnTo>
                <a:lnTo>
                  <a:pt x="4831" y="5827"/>
                </a:lnTo>
                <a:lnTo>
                  <a:pt x="4825" y="5826"/>
                </a:lnTo>
                <a:lnTo>
                  <a:pt x="4819" y="5825"/>
                </a:lnTo>
                <a:lnTo>
                  <a:pt x="4813" y="5826"/>
                </a:lnTo>
                <a:lnTo>
                  <a:pt x="4807" y="5826"/>
                </a:lnTo>
                <a:lnTo>
                  <a:pt x="4802" y="5828"/>
                </a:lnTo>
                <a:lnTo>
                  <a:pt x="4797" y="5830"/>
                </a:lnTo>
                <a:lnTo>
                  <a:pt x="4793" y="5834"/>
                </a:lnTo>
                <a:lnTo>
                  <a:pt x="4787" y="5842"/>
                </a:lnTo>
                <a:lnTo>
                  <a:pt x="4781" y="5853"/>
                </a:lnTo>
                <a:lnTo>
                  <a:pt x="4773" y="5878"/>
                </a:lnTo>
                <a:lnTo>
                  <a:pt x="4764" y="5902"/>
                </a:lnTo>
                <a:lnTo>
                  <a:pt x="4750" y="5936"/>
                </a:lnTo>
                <a:lnTo>
                  <a:pt x="4730" y="5983"/>
                </a:lnTo>
                <a:lnTo>
                  <a:pt x="4711" y="6028"/>
                </a:lnTo>
                <a:lnTo>
                  <a:pt x="4699" y="6060"/>
                </a:lnTo>
                <a:lnTo>
                  <a:pt x="4695" y="6067"/>
                </a:lnTo>
                <a:lnTo>
                  <a:pt x="4692" y="6077"/>
                </a:lnTo>
                <a:lnTo>
                  <a:pt x="4688" y="6088"/>
                </a:lnTo>
                <a:lnTo>
                  <a:pt x="4687" y="6101"/>
                </a:lnTo>
                <a:lnTo>
                  <a:pt x="4686" y="6105"/>
                </a:lnTo>
                <a:lnTo>
                  <a:pt x="4686" y="6109"/>
                </a:lnTo>
                <a:lnTo>
                  <a:pt x="4683" y="6112"/>
                </a:lnTo>
                <a:lnTo>
                  <a:pt x="4682" y="6113"/>
                </a:lnTo>
                <a:lnTo>
                  <a:pt x="4679" y="6117"/>
                </a:lnTo>
                <a:lnTo>
                  <a:pt x="4675" y="6121"/>
                </a:lnTo>
                <a:lnTo>
                  <a:pt x="4670" y="6126"/>
                </a:lnTo>
                <a:lnTo>
                  <a:pt x="4667" y="6130"/>
                </a:lnTo>
                <a:lnTo>
                  <a:pt x="4662" y="6132"/>
                </a:lnTo>
                <a:lnTo>
                  <a:pt x="4658" y="6134"/>
                </a:lnTo>
                <a:lnTo>
                  <a:pt x="4651" y="6134"/>
                </a:lnTo>
                <a:lnTo>
                  <a:pt x="4644" y="6134"/>
                </a:lnTo>
                <a:lnTo>
                  <a:pt x="4632" y="6132"/>
                </a:lnTo>
                <a:lnTo>
                  <a:pt x="4620" y="6131"/>
                </a:lnTo>
                <a:lnTo>
                  <a:pt x="4607" y="6130"/>
                </a:lnTo>
                <a:lnTo>
                  <a:pt x="4594" y="6130"/>
                </a:lnTo>
                <a:lnTo>
                  <a:pt x="4581" y="6130"/>
                </a:lnTo>
                <a:lnTo>
                  <a:pt x="4570" y="6129"/>
                </a:lnTo>
                <a:lnTo>
                  <a:pt x="4555" y="6125"/>
                </a:lnTo>
                <a:lnTo>
                  <a:pt x="4544" y="6123"/>
                </a:lnTo>
                <a:lnTo>
                  <a:pt x="4540" y="6122"/>
                </a:lnTo>
                <a:lnTo>
                  <a:pt x="4536" y="6121"/>
                </a:lnTo>
                <a:lnTo>
                  <a:pt x="4534" y="6122"/>
                </a:lnTo>
                <a:lnTo>
                  <a:pt x="4530" y="6122"/>
                </a:lnTo>
                <a:lnTo>
                  <a:pt x="4519" y="6121"/>
                </a:lnTo>
                <a:lnTo>
                  <a:pt x="4506" y="6121"/>
                </a:lnTo>
                <a:lnTo>
                  <a:pt x="4505" y="6123"/>
                </a:lnTo>
                <a:lnTo>
                  <a:pt x="4504" y="6125"/>
                </a:lnTo>
                <a:lnTo>
                  <a:pt x="4504" y="6128"/>
                </a:lnTo>
                <a:lnTo>
                  <a:pt x="4504" y="6131"/>
                </a:lnTo>
                <a:lnTo>
                  <a:pt x="4505" y="6136"/>
                </a:lnTo>
                <a:lnTo>
                  <a:pt x="4506" y="6140"/>
                </a:lnTo>
                <a:lnTo>
                  <a:pt x="4507" y="6147"/>
                </a:lnTo>
                <a:lnTo>
                  <a:pt x="4510" y="6159"/>
                </a:lnTo>
                <a:lnTo>
                  <a:pt x="4510" y="6166"/>
                </a:lnTo>
                <a:lnTo>
                  <a:pt x="4509" y="6172"/>
                </a:lnTo>
                <a:lnTo>
                  <a:pt x="4507" y="6175"/>
                </a:lnTo>
                <a:lnTo>
                  <a:pt x="4505" y="6178"/>
                </a:lnTo>
                <a:lnTo>
                  <a:pt x="4503" y="6180"/>
                </a:lnTo>
                <a:lnTo>
                  <a:pt x="4500" y="6182"/>
                </a:lnTo>
                <a:lnTo>
                  <a:pt x="4494" y="6186"/>
                </a:lnTo>
                <a:lnTo>
                  <a:pt x="4490" y="6189"/>
                </a:lnTo>
                <a:lnTo>
                  <a:pt x="4487" y="6194"/>
                </a:lnTo>
                <a:lnTo>
                  <a:pt x="4485" y="6201"/>
                </a:lnTo>
                <a:lnTo>
                  <a:pt x="4482" y="6210"/>
                </a:lnTo>
                <a:lnTo>
                  <a:pt x="4480" y="6214"/>
                </a:lnTo>
                <a:lnTo>
                  <a:pt x="4478" y="6216"/>
                </a:lnTo>
                <a:lnTo>
                  <a:pt x="4474" y="6217"/>
                </a:lnTo>
                <a:lnTo>
                  <a:pt x="4469" y="6217"/>
                </a:lnTo>
                <a:lnTo>
                  <a:pt x="4463" y="6217"/>
                </a:lnTo>
                <a:lnTo>
                  <a:pt x="4449" y="6217"/>
                </a:lnTo>
                <a:lnTo>
                  <a:pt x="4434" y="6217"/>
                </a:lnTo>
                <a:lnTo>
                  <a:pt x="4419" y="6218"/>
                </a:lnTo>
                <a:lnTo>
                  <a:pt x="4406" y="6220"/>
                </a:lnTo>
                <a:lnTo>
                  <a:pt x="4399" y="6225"/>
                </a:lnTo>
                <a:lnTo>
                  <a:pt x="4393" y="6231"/>
                </a:lnTo>
                <a:lnTo>
                  <a:pt x="4391" y="6232"/>
                </a:lnTo>
                <a:lnTo>
                  <a:pt x="4389" y="6232"/>
                </a:lnTo>
                <a:lnTo>
                  <a:pt x="4386" y="6231"/>
                </a:lnTo>
                <a:lnTo>
                  <a:pt x="4383" y="6226"/>
                </a:lnTo>
                <a:lnTo>
                  <a:pt x="4381" y="6222"/>
                </a:lnTo>
                <a:lnTo>
                  <a:pt x="4381" y="6216"/>
                </a:lnTo>
                <a:lnTo>
                  <a:pt x="4384" y="6210"/>
                </a:lnTo>
                <a:lnTo>
                  <a:pt x="4387" y="6204"/>
                </a:lnTo>
                <a:lnTo>
                  <a:pt x="4394" y="6193"/>
                </a:lnTo>
                <a:lnTo>
                  <a:pt x="4402" y="6185"/>
                </a:lnTo>
                <a:lnTo>
                  <a:pt x="4406" y="6176"/>
                </a:lnTo>
                <a:lnTo>
                  <a:pt x="4410" y="6168"/>
                </a:lnTo>
                <a:lnTo>
                  <a:pt x="4411" y="6164"/>
                </a:lnTo>
                <a:lnTo>
                  <a:pt x="4411" y="6161"/>
                </a:lnTo>
                <a:lnTo>
                  <a:pt x="4410" y="6157"/>
                </a:lnTo>
                <a:lnTo>
                  <a:pt x="4409" y="6155"/>
                </a:lnTo>
                <a:lnTo>
                  <a:pt x="4405" y="6154"/>
                </a:lnTo>
                <a:lnTo>
                  <a:pt x="4402" y="6153"/>
                </a:lnTo>
                <a:lnTo>
                  <a:pt x="4397" y="6153"/>
                </a:lnTo>
                <a:lnTo>
                  <a:pt x="4391" y="6154"/>
                </a:lnTo>
                <a:lnTo>
                  <a:pt x="4378" y="6156"/>
                </a:lnTo>
                <a:lnTo>
                  <a:pt x="4364" y="6162"/>
                </a:lnTo>
                <a:lnTo>
                  <a:pt x="4347" y="6169"/>
                </a:lnTo>
                <a:lnTo>
                  <a:pt x="4330" y="6176"/>
                </a:lnTo>
                <a:lnTo>
                  <a:pt x="4322" y="6182"/>
                </a:lnTo>
                <a:lnTo>
                  <a:pt x="4315" y="6188"/>
                </a:lnTo>
                <a:lnTo>
                  <a:pt x="4307" y="6195"/>
                </a:lnTo>
                <a:lnTo>
                  <a:pt x="4301" y="6203"/>
                </a:lnTo>
                <a:lnTo>
                  <a:pt x="4290" y="6220"/>
                </a:lnTo>
                <a:lnTo>
                  <a:pt x="4280" y="6236"/>
                </a:lnTo>
                <a:lnTo>
                  <a:pt x="4273" y="6252"/>
                </a:lnTo>
                <a:lnTo>
                  <a:pt x="4266" y="6268"/>
                </a:lnTo>
                <a:lnTo>
                  <a:pt x="4264" y="6275"/>
                </a:lnTo>
                <a:lnTo>
                  <a:pt x="4260" y="6281"/>
                </a:lnTo>
                <a:lnTo>
                  <a:pt x="4255" y="6286"/>
                </a:lnTo>
                <a:lnTo>
                  <a:pt x="4252" y="6289"/>
                </a:lnTo>
                <a:lnTo>
                  <a:pt x="4248" y="6290"/>
                </a:lnTo>
                <a:lnTo>
                  <a:pt x="4244" y="6292"/>
                </a:lnTo>
                <a:lnTo>
                  <a:pt x="4240" y="6292"/>
                </a:lnTo>
                <a:lnTo>
                  <a:pt x="4236" y="6290"/>
                </a:lnTo>
                <a:lnTo>
                  <a:pt x="4233" y="6288"/>
                </a:lnTo>
                <a:lnTo>
                  <a:pt x="4229" y="6285"/>
                </a:lnTo>
                <a:lnTo>
                  <a:pt x="4226" y="6280"/>
                </a:lnTo>
                <a:lnTo>
                  <a:pt x="4222" y="6274"/>
                </a:lnTo>
                <a:lnTo>
                  <a:pt x="4215" y="6262"/>
                </a:lnTo>
                <a:lnTo>
                  <a:pt x="4209" y="6251"/>
                </a:lnTo>
                <a:lnTo>
                  <a:pt x="4207" y="6248"/>
                </a:lnTo>
                <a:lnTo>
                  <a:pt x="4202" y="6245"/>
                </a:lnTo>
                <a:lnTo>
                  <a:pt x="4196" y="6243"/>
                </a:lnTo>
                <a:lnTo>
                  <a:pt x="4191" y="6243"/>
                </a:lnTo>
                <a:lnTo>
                  <a:pt x="4185" y="6243"/>
                </a:lnTo>
                <a:lnTo>
                  <a:pt x="4181" y="6245"/>
                </a:lnTo>
                <a:lnTo>
                  <a:pt x="4176" y="6249"/>
                </a:lnTo>
                <a:lnTo>
                  <a:pt x="4172" y="6255"/>
                </a:lnTo>
                <a:lnTo>
                  <a:pt x="4170" y="6260"/>
                </a:lnTo>
                <a:lnTo>
                  <a:pt x="4166" y="6263"/>
                </a:lnTo>
                <a:lnTo>
                  <a:pt x="4164" y="6267"/>
                </a:lnTo>
                <a:lnTo>
                  <a:pt x="4162" y="6268"/>
                </a:lnTo>
                <a:lnTo>
                  <a:pt x="4158" y="6269"/>
                </a:lnTo>
                <a:lnTo>
                  <a:pt x="4156" y="6269"/>
                </a:lnTo>
                <a:lnTo>
                  <a:pt x="4152" y="6268"/>
                </a:lnTo>
                <a:lnTo>
                  <a:pt x="4148" y="6266"/>
                </a:lnTo>
                <a:lnTo>
                  <a:pt x="4140" y="6257"/>
                </a:lnTo>
                <a:lnTo>
                  <a:pt x="4132" y="6246"/>
                </a:lnTo>
                <a:lnTo>
                  <a:pt x="4122" y="6232"/>
                </a:lnTo>
                <a:lnTo>
                  <a:pt x="4114" y="6218"/>
                </a:lnTo>
                <a:lnTo>
                  <a:pt x="4108" y="6212"/>
                </a:lnTo>
                <a:lnTo>
                  <a:pt x="4103" y="6208"/>
                </a:lnTo>
                <a:lnTo>
                  <a:pt x="4097" y="6206"/>
                </a:lnTo>
                <a:lnTo>
                  <a:pt x="4089" y="6206"/>
                </a:lnTo>
                <a:lnTo>
                  <a:pt x="4077" y="6206"/>
                </a:lnTo>
                <a:lnTo>
                  <a:pt x="4070" y="6207"/>
                </a:lnTo>
                <a:lnTo>
                  <a:pt x="4069" y="6208"/>
                </a:lnTo>
                <a:lnTo>
                  <a:pt x="4068" y="6211"/>
                </a:lnTo>
                <a:lnTo>
                  <a:pt x="4069" y="6213"/>
                </a:lnTo>
                <a:lnTo>
                  <a:pt x="4071" y="6218"/>
                </a:lnTo>
                <a:lnTo>
                  <a:pt x="4076" y="6226"/>
                </a:lnTo>
                <a:lnTo>
                  <a:pt x="4081" y="6235"/>
                </a:lnTo>
                <a:lnTo>
                  <a:pt x="4085" y="6244"/>
                </a:lnTo>
                <a:lnTo>
                  <a:pt x="4091" y="6255"/>
                </a:lnTo>
                <a:lnTo>
                  <a:pt x="4097" y="6267"/>
                </a:lnTo>
                <a:lnTo>
                  <a:pt x="4101" y="6275"/>
                </a:lnTo>
                <a:lnTo>
                  <a:pt x="4101" y="6279"/>
                </a:lnTo>
                <a:lnTo>
                  <a:pt x="4099" y="6282"/>
                </a:lnTo>
                <a:lnTo>
                  <a:pt x="4095" y="6286"/>
                </a:lnTo>
                <a:lnTo>
                  <a:pt x="4090" y="6290"/>
                </a:lnTo>
                <a:lnTo>
                  <a:pt x="4081" y="6295"/>
                </a:lnTo>
                <a:lnTo>
                  <a:pt x="4072" y="6300"/>
                </a:lnTo>
                <a:lnTo>
                  <a:pt x="4064" y="6304"/>
                </a:lnTo>
                <a:lnTo>
                  <a:pt x="4058" y="6305"/>
                </a:lnTo>
                <a:lnTo>
                  <a:pt x="4052" y="6305"/>
                </a:lnTo>
                <a:lnTo>
                  <a:pt x="4045" y="6305"/>
                </a:lnTo>
                <a:lnTo>
                  <a:pt x="4038" y="6306"/>
                </a:lnTo>
                <a:lnTo>
                  <a:pt x="4027" y="6311"/>
                </a:lnTo>
                <a:lnTo>
                  <a:pt x="4021" y="6313"/>
                </a:lnTo>
                <a:lnTo>
                  <a:pt x="4015" y="6318"/>
                </a:lnTo>
                <a:lnTo>
                  <a:pt x="4009" y="6324"/>
                </a:lnTo>
                <a:lnTo>
                  <a:pt x="4003" y="6330"/>
                </a:lnTo>
                <a:lnTo>
                  <a:pt x="3994" y="6343"/>
                </a:lnTo>
                <a:lnTo>
                  <a:pt x="3986" y="6353"/>
                </a:lnTo>
                <a:lnTo>
                  <a:pt x="3981" y="6357"/>
                </a:lnTo>
                <a:lnTo>
                  <a:pt x="3977" y="6361"/>
                </a:lnTo>
                <a:lnTo>
                  <a:pt x="3971" y="6363"/>
                </a:lnTo>
                <a:lnTo>
                  <a:pt x="3967" y="6365"/>
                </a:lnTo>
                <a:lnTo>
                  <a:pt x="3956" y="6368"/>
                </a:lnTo>
                <a:lnTo>
                  <a:pt x="3945" y="6370"/>
                </a:lnTo>
                <a:lnTo>
                  <a:pt x="3940" y="6372"/>
                </a:lnTo>
                <a:lnTo>
                  <a:pt x="3938" y="6376"/>
                </a:lnTo>
                <a:lnTo>
                  <a:pt x="3936" y="6382"/>
                </a:lnTo>
                <a:lnTo>
                  <a:pt x="3934" y="6388"/>
                </a:lnTo>
                <a:lnTo>
                  <a:pt x="3934" y="6402"/>
                </a:lnTo>
                <a:lnTo>
                  <a:pt x="3934" y="6416"/>
                </a:lnTo>
                <a:lnTo>
                  <a:pt x="3934" y="6427"/>
                </a:lnTo>
                <a:lnTo>
                  <a:pt x="3934" y="6433"/>
                </a:lnTo>
                <a:lnTo>
                  <a:pt x="3931" y="6437"/>
                </a:lnTo>
                <a:lnTo>
                  <a:pt x="3925" y="6440"/>
                </a:lnTo>
                <a:lnTo>
                  <a:pt x="3918" y="6446"/>
                </a:lnTo>
                <a:lnTo>
                  <a:pt x="3912" y="6453"/>
                </a:lnTo>
                <a:lnTo>
                  <a:pt x="3907" y="6462"/>
                </a:lnTo>
                <a:lnTo>
                  <a:pt x="3904" y="6470"/>
                </a:lnTo>
                <a:lnTo>
                  <a:pt x="3902" y="6474"/>
                </a:lnTo>
                <a:lnTo>
                  <a:pt x="3900" y="6476"/>
                </a:lnTo>
                <a:lnTo>
                  <a:pt x="3898" y="6478"/>
                </a:lnTo>
                <a:lnTo>
                  <a:pt x="3895" y="6481"/>
                </a:lnTo>
                <a:lnTo>
                  <a:pt x="3886" y="6482"/>
                </a:lnTo>
                <a:lnTo>
                  <a:pt x="3873" y="6483"/>
                </a:lnTo>
                <a:lnTo>
                  <a:pt x="3867" y="6483"/>
                </a:lnTo>
                <a:lnTo>
                  <a:pt x="3861" y="6484"/>
                </a:lnTo>
                <a:lnTo>
                  <a:pt x="3857" y="6487"/>
                </a:lnTo>
                <a:lnTo>
                  <a:pt x="3855" y="6489"/>
                </a:lnTo>
                <a:lnTo>
                  <a:pt x="3851" y="6496"/>
                </a:lnTo>
                <a:lnTo>
                  <a:pt x="3848" y="6506"/>
                </a:lnTo>
                <a:lnTo>
                  <a:pt x="3846" y="6512"/>
                </a:lnTo>
                <a:lnTo>
                  <a:pt x="3844" y="6515"/>
                </a:lnTo>
                <a:lnTo>
                  <a:pt x="3842" y="6519"/>
                </a:lnTo>
                <a:lnTo>
                  <a:pt x="3839" y="6521"/>
                </a:lnTo>
                <a:lnTo>
                  <a:pt x="3833" y="6525"/>
                </a:lnTo>
                <a:lnTo>
                  <a:pt x="3826" y="6527"/>
                </a:lnTo>
                <a:lnTo>
                  <a:pt x="3823" y="6528"/>
                </a:lnTo>
                <a:lnTo>
                  <a:pt x="3820" y="6531"/>
                </a:lnTo>
                <a:lnTo>
                  <a:pt x="3819" y="6534"/>
                </a:lnTo>
                <a:lnTo>
                  <a:pt x="3819" y="6539"/>
                </a:lnTo>
                <a:lnTo>
                  <a:pt x="3820" y="6548"/>
                </a:lnTo>
                <a:lnTo>
                  <a:pt x="3820" y="6557"/>
                </a:lnTo>
                <a:lnTo>
                  <a:pt x="3820" y="6561"/>
                </a:lnTo>
                <a:lnTo>
                  <a:pt x="3818" y="6564"/>
                </a:lnTo>
                <a:lnTo>
                  <a:pt x="3814" y="6567"/>
                </a:lnTo>
                <a:lnTo>
                  <a:pt x="3811" y="6571"/>
                </a:lnTo>
                <a:lnTo>
                  <a:pt x="3799" y="6577"/>
                </a:lnTo>
                <a:lnTo>
                  <a:pt x="3783" y="6585"/>
                </a:lnTo>
                <a:lnTo>
                  <a:pt x="3769" y="6592"/>
                </a:lnTo>
                <a:lnTo>
                  <a:pt x="3760" y="6598"/>
                </a:lnTo>
                <a:lnTo>
                  <a:pt x="3756" y="6602"/>
                </a:lnTo>
                <a:lnTo>
                  <a:pt x="3754" y="6605"/>
                </a:lnTo>
                <a:lnTo>
                  <a:pt x="3751" y="6609"/>
                </a:lnTo>
                <a:lnTo>
                  <a:pt x="3749" y="6614"/>
                </a:lnTo>
                <a:lnTo>
                  <a:pt x="3742" y="6626"/>
                </a:lnTo>
                <a:lnTo>
                  <a:pt x="3734" y="6636"/>
                </a:lnTo>
                <a:lnTo>
                  <a:pt x="3725" y="6647"/>
                </a:lnTo>
                <a:lnTo>
                  <a:pt x="3719" y="6658"/>
                </a:lnTo>
                <a:lnTo>
                  <a:pt x="3717" y="6662"/>
                </a:lnTo>
                <a:lnTo>
                  <a:pt x="3715" y="6666"/>
                </a:lnTo>
                <a:lnTo>
                  <a:pt x="3712" y="6668"/>
                </a:lnTo>
                <a:lnTo>
                  <a:pt x="3710" y="6670"/>
                </a:lnTo>
                <a:lnTo>
                  <a:pt x="3704" y="6671"/>
                </a:lnTo>
                <a:lnTo>
                  <a:pt x="3696" y="6672"/>
                </a:lnTo>
                <a:lnTo>
                  <a:pt x="3692" y="6673"/>
                </a:lnTo>
                <a:lnTo>
                  <a:pt x="3690" y="6676"/>
                </a:lnTo>
                <a:lnTo>
                  <a:pt x="3688" y="6679"/>
                </a:lnTo>
                <a:lnTo>
                  <a:pt x="3687" y="6683"/>
                </a:lnTo>
                <a:lnTo>
                  <a:pt x="3687" y="6692"/>
                </a:lnTo>
                <a:lnTo>
                  <a:pt x="3687" y="6704"/>
                </a:lnTo>
                <a:lnTo>
                  <a:pt x="3687" y="6710"/>
                </a:lnTo>
                <a:lnTo>
                  <a:pt x="3686" y="6715"/>
                </a:lnTo>
                <a:lnTo>
                  <a:pt x="3685" y="6718"/>
                </a:lnTo>
                <a:lnTo>
                  <a:pt x="3684" y="6722"/>
                </a:lnTo>
                <a:lnTo>
                  <a:pt x="3679" y="6729"/>
                </a:lnTo>
                <a:lnTo>
                  <a:pt x="3675" y="6737"/>
                </a:lnTo>
                <a:lnTo>
                  <a:pt x="3674" y="6743"/>
                </a:lnTo>
                <a:lnTo>
                  <a:pt x="3675" y="6749"/>
                </a:lnTo>
                <a:lnTo>
                  <a:pt x="3679" y="6755"/>
                </a:lnTo>
                <a:lnTo>
                  <a:pt x="3684" y="6761"/>
                </a:lnTo>
                <a:lnTo>
                  <a:pt x="3688" y="6767"/>
                </a:lnTo>
                <a:lnTo>
                  <a:pt x="3694" y="6772"/>
                </a:lnTo>
                <a:lnTo>
                  <a:pt x="3700" y="6775"/>
                </a:lnTo>
                <a:lnTo>
                  <a:pt x="3706" y="6779"/>
                </a:lnTo>
                <a:lnTo>
                  <a:pt x="3715" y="6784"/>
                </a:lnTo>
                <a:lnTo>
                  <a:pt x="3720" y="6788"/>
                </a:lnTo>
                <a:lnTo>
                  <a:pt x="3723" y="6792"/>
                </a:lnTo>
                <a:lnTo>
                  <a:pt x="3724" y="6796"/>
                </a:lnTo>
                <a:lnTo>
                  <a:pt x="3724" y="6800"/>
                </a:lnTo>
                <a:lnTo>
                  <a:pt x="3724" y="6805"/>
                </a:lnTo>
                <a:lnTo>
                  <a:pt x="3720" y="6818"/>
                </a:lnTo>
                <a:lnTo>
                  <a:pt x="3717" y="6832"/>
                </a:lnTo>
                <a:lnTo>
                  <a:pt x="3712" y="6848"/>
                </a:lnTo>
                <a:lnTo>
                  <a:pt x="3705" y="6861"/>
                </a:lnTo>
                <a:lnTo>
                  <a:pt x="3699" y="6872"/>
                </a:lnTo>
                <a:lnTo>
                  <a:pt x="3694" y="6878"/>
                </a:lnTo>
                <a:lnTo>
                  <a:pt x="3692" y="6879"/>
                </a:lnTo>
                <a:lnTo>
                  <a:pt x="3688" y="6879"/>
                </a:lnTo>
                <a:lnTo>
                  <a:pt x="3686" y="6878"/>
                </a:lnTo>
                <a:lnTo>
                  <a:pt x="3684" y="6876"/>
                </a:lnTo>
                <a:lnTo>
                  <a:pt x="3671" y="6861"/>
                </a:lnTo>
                <a:lnTo>
                  <a:pt x="3656" y="6842"/>
                </a:lnTo>
                <a:lnTo>
                  <a:pt x="3654" y="6840"/>
                </a:lnTo>
                <a:lnTo>
                  <a:pt x="3650" y="6837"/>
                </a:lnTo>
                <a:lnTo>
                  <a:pt x="3647" y="6838"/>
                </a:lnTo>
                <a:lnTo>
                  <a:pt x="3643" y="6840"/>
                </a:lnTo>
                <a:lnTo>
                  <a:pt x="3640" y="6843"/>
                </a:lnTo>
                <a:lnTo>
                  <a:pt x="3637" y="6848"/>
                </a:lnTo>
                <a:lnTo>
                  <a:pt x="3634" y="6854"/>
                </a:lnTo>
                <a:lnTo>
                  <a:pt x="3633" y="6861"/>
                </a:lnTo>
                <a:lnTo>
                  <a:pt x="3630" y="6878"/>
                </a:lnTo>
                <a:lnTo>
                  <a:pt x="3630" y="6897"/>
                </a:lnTo>
                <a:lnTo>
                  <a:pt x="3631" y="6913"/>
                </a:lnTo>
                <a:lnTo>
                  <a:pt x="3631" y="6926"/>
                </a:lnTo>
                <a:lnTo>
                  <a:pt x="3633" y="6939"/>
                </a:lnTo>
                <a:lnTo>
                  <a:pt x="3634" y="6954"/>
                </a:lnTo>
                <a:lnTo>
                  <a:pt x="3634" y="6961"/>
                </a:lnTo>
                <a:lnTo>
                  <a:pt x="3633" y="6968"/>
                </a:lnTo>
                <a:lnTo>
                  <a:pt x="3630" y="6973"/>
                </a:lnTo>
                <a:lnTo>
                  <a:pt x="3627" y="6976"/>
                </a:lnTo>
                <a:lnTo>
                  <a:pt x="3621" y="6980"/>
                </a:lnTo>
                <a:lnTo>
                  <a:pt x="3616" y="6981"/>
                </a:lnTo>
                <a:lnTo>
                  <a:pt x="3609" y="6983"/>
                </a:lnTo>
                <a:lnTo>
                  <a:pt x="3602" y="6985"/>
                </a:lnTo>
                <a:lnTo>
                  <a:pt x="3586" y="6985"/>
                </a:lnTo>
                <a:lnTo>
                  <a:pt x="3566" y="6985"/>
                </a:lnTo>
                <a:lnTo>
                  <a:pt x="3547" y="6985"/>
                </a:lnTo>
                <a:lnTo>
                  <a:pt x="3531" y="6986"/>
                </a:lnTo>
                <a:lnTo>
                  <a:pt x="3517" y="6988"/>
                </a:lnTo>
                <a:lnTo>
                  <a:pt x="3502" y="6989"/>
                </a:lnTo>
                <a:lnTo>
                  <a:pt x="3485" y="6991"/>
                </a:lnTo>
                <a:lnTo>
                  <a:pt x="3470" y="6992"/>
                </a:lnTo>
                <a:lnTo>
                  <a:pt x="3455" y="6994"/>
                </a:lnTo>
                <a:lnTo>
                  <a:pt x="3445" y="6998"/>
                </a:lnTo>
                <a:lnTo>
                  <a:pt x="3433" y="7002"/>
                </a:lnTo>
                <a:lnTo>
                  <a:pt x="3420" y="7006"/>
                </a:lnTo>
                <a:lnTo>
                  <a:pt x="3413" y="7007"/>
                </a:lnTo>
                <a:lnTo>
                  <a:pt x="3405" y="7007"/>
                </a:lnTo>
                <a:lnTo>
                  <a:pt x="3400" y="7007"/>
                </a:lnTo>
                <a:lnTo>
                  <a:pt x="3392" y="7005"/>
                </a:lnTo>
                <a:lnTo>
                  <a:pt x="3388" y="7002"/>
                </a:lnTo>
                <a:lnTo>
                  <a:pt x="3383" y="7000"/>
                </a:lnTo>
                <a:lnTo>
                  <a:pt x="3379" y="6995"/>
                </a:lnTo>
                <a:lnTo>
                  <a:pt x="3376" y="6992"/>
                </a:lnTo>
                <a:lnTo>
                  <a:pt x="3372" y="6979"/>
                </a:lnTo>
                <a:lnTo>
                  <a:pt x="3369" y="6963"/>
                </a:lnTo>
                <a:lnTo>
                  <a:pt x="3365" y="6947"/>
                </a:lnTo>
                <a:lnTo>
                  <a:pt x="3360" y="6935"/>
                </a:lnTo>
                <a:lnTo>
                  <a:pt x="3358" y="6930"/>
                </a:lnTo>
                <a:lnTo>
                  <a:pt x="3353" y="6925"/>
                </a:lnTo>
                <a:lnTo>
                  <a:pt x="3348" y="6922"/>
                </a:lnTo>
                <a:lnTo>
                  <a:pt x="3341" y="6917"/>
                </a:lnTo>
                <a:lnTo>
                  <a:pt x="3333" y="6912"/>
                </a:lnTo>
                <a:lnTo>
                  <a:pt x="3322" y="6909"/>
                </a:lnTo>
                <a:lnTo>
                  <a:pt x="3312" y="6906"/>
                </a:lnTo>
                <a:lnTo>
                  <a:pt x="3301" y="6903"/>
                </a:lnTo>
                <a:lnTo>
                  <a:pt x="3281" y="6899"/>
                </a:lnTo>
                <a:lnTo>
                  <a:pt x="3266" y="6897"/>
                </a:lnTo>
                <a:lnTo>
                  <a:pt x="3257" y="6893"/>
                </a:lnTo>
                <a:lnTo>
                  <a:pt x="3247" y="6891"/>
                </a:lnTo>
                <a:lnTo>
                  <a:pt x="3238" y="6887"/>
                </a:lnTo>
                <a:lnTo>
                  <a:pt x="3228" y="6882"/>
                </a:lnTo>
                <a:lnTo>
                  <a:pt x="3218" y="6876"/>
                </a:lnTo>
                <a:lnTo>
                  <a:pt x="3208" y="6871"/>
                </a:lnTo>
                <a:lnTo>
                  <a:pt x="3200" y="6865"/>
                </a:lnTo>
                <a:lnTo>
                  <a:pt x="3193" y="6859"/>
                </a:lnTo>
                <a:lnTo>
                  <a:pt x="3187" y="6848"/>
                </a:lnTo>
                <a:lnTo>
                  <a:pt x="3182" y="6836"/>
                </a:lnTo>
                <a:lnTo>
                  <a:pt x="3177" y="6824"/>
                </a:lnTo>
                <a:lnTo>
                  <a:pt x="3171" y="6813"/>
                </a:lnTo>
                <a:lnTo>
                  <a:pt x="3162" y="6805"/>
                </a:lnTo>
                <a:lnTo>
                  <a:pt x="3148" y="6793"/>
                </a:lnTo>
                <a:lnTo>
                  <a:pt x="3139" y="6788"/>
                </a:lnTo>
                <a:lnTo>
                  <a:pt x="3130" y="6783"/>
                </a:lnTo>
                <a:lnTo>
                  <a:pt x="3119" y="6779"/>
                </a:lnTo>
                <a:lnTo>
                  <a:pt x="3108" y="6775"/>
                </a:lnTo>
                <a:lnTo>
                  <a:pt x="3107" y="6775"/>
                </a:lnTo>
                <a:lnTo>
                  <a:pt x="3105" y="6775"/>
                </a:lnTo>
                <a:lnTo>
                  <a:pt x="3096" y="6774"/>
                </a:lnTo>
                <a:lnTo>
                  <a:pt x="3088" y="6774"/>
                </a:lnTo>
                <a:lnTo>
                  <a:pt x="3080" y="6774"/>
                </a:lnTo>
                <a:lnTo>
                  <a:pt x="3071" y="6775"/>
                </a:lnTo>
                <a:lnTo>
                  <a:pt x="3064" y="6777"/>
                </a:lnTo>
                <a:lnTo>
                  <a:pt x="3057" y="6778"/>
                </a:lnTo>
                <a:lnTo>
                  <a:pt x="3048" y="6779"/>
                </a:lnTo>
                <a:lnTo>
                  <a:pt x="3038" y="6780"/>
                </a:lnTo>
                <a:lnTo>
                  <a:pt x="3033" y="6780"/>
                </a:lnTo>
                <a:lnTo>
                  <a:pt x="3029" y="6780"/>
                </a:lnTo>
                <a:lnTo>
                  <a:pt x="3026" y="6780"/>
                </a:lnTo>
                <a:lnTo>
                  <a:pt x="3024" y="6779"/>
                </a:lnTo>
                <a:lnTo>
                  <a:pt x="3018" y="6778"/>
                </a:lnTo>
                <a:lnTo>
                  <a:pt x="3012" y="6774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0" name="陕西"/>
          <p:cNvSpPr/>
          <p:nvPr/>
        </p:nvSpPr>
        <p:spPr bwMode="auto">
          <a:xfrm>
            <a:off x="5585460" y="2816225"/>
            <a:ext cx="831850" cy="1441450"/>
          </a:xfrm>
          <a:custGeom>
            <a:avLst/>
            <a:gdLst>
              <a:gd name="T0" fmla="*/ 546 w 2030"/>
              <a:gd name="T1" fmla="*/ 3014 h 3463"/>
              <a:gd name="T2" fmla="*/ 423 w 2030"/>
              <a:gd name="T3" fmla="*/ 2992 h 3463"/>
              <a:gd name="T4" fmla="*/ 284 w 2030"/>
              <a:gd name="T5" fmla="*/ 3007 h 3463"/>
              <a:gd name="T6" fmla="*/ 215 w 2030"/>
              <a:gd name="T7" fmla="*/ 2929 h 3463"/>
              <a:gd name="T8" fmla="*/ 70 w 2030"/>
              <a:gd name="T9" fmla="*/ 2972 h 3463"/>
              <a:gd name="T10" fmla="*/ 0 w 2030"/>
              <a:gd name="T11" fmla="*/ 2900 h 3463"/>
              <a:gd name="T12" fmla="*/ 145 w 2030"/>
              <a:gd name="T13" fmla="*/ 2878 h 3463"/>
              <a:gd name="T14" fmla="*/ 179 w 2030"/>
              <a:gd name="T15" fmla="*/ 2805 h 3463"/>
              <a:gd name="T16" fmla="*/ 91 w 2030"/>
              <a:gd name="T17" fmla="*/ 2700 h 3463"/>
              <a:gd name="T18" fmla="*/ 206 w 2030"/>
              <a:gd name="T19" fmla="*/ 2597 h 3463"/>
              <a:gd name="T20" fmla="*/ 348 w 2030"/>
              <a:gd name="T21" fmla="*/ 2604 h 3463"/>
              <a:gd name="T22" fmla="*/ 372 w 2030"/>
              <a:gd name="T23" fmla="*/ 2550 h 3463"/>
              <a:gd name="T24" fmla="*/ 377 w 2030"/>
              <a:gd name="T25" fmla="*/ 2410 h 3463"/>
              <a:gd name="T26" fmla="*/ 454 w 2030"/>
              <a:gd name="T27" fmla="*/ 2271 h 3463"/>
              <a:gd name="T28" fmla="*/ 361 w 2030"/>
              <a:gd name="T29" fmla="*/ 2139 h 3463"/>
              <a:gd name="T30" fmla="*/ 418 w 2030"/>
              <a:gd name="T31" fmla="*/ 1958 h 3463"/>
              <a:gd name="T32" fmla="*/ 657 w 2030"/>
              <a:gd name="T33" fmla="*/ 2036 h 3463"/>
              <a:gd name="T34" fmla="*/ 853 w 2030"/>
              <a:gd name="T35" fmla="*/ 2004 h 3463"/>
              <a:gd name="T36" fmla="*/ 820 w 2030"/>
              <a:gd name="T37" fmla="*/ 1880 h 3463"/>
              <a:gd name="T38" fmla="*/ 976 w 2030"/>
              <a:gd name="T39" fmla="*/ 1868 h 3463"/>
              <a:gd name="T40" fmla="*/ 1116 w 2030"/>
              <a:gd name="T41" fmla="*/ 1747 h 3463"/>
              <a:gd name="T42" fmla="*/ 1154 w 2030"/>
              <a:gd name="T43" fmla="*/ 1479 h 3463"/>
              <a:gd name="T44" fmla="*/ 1051 w 2030"/>
              <a:gd name="T45" fmla="*/ 1337 h 3463"/>
              <a:gd name="T46" fmla="*/ 928 w 2030"/>
              <a:gd name="T47" fmla="*/ 1264 h 3463"/>
              <a:gd name="T48" fmla="*/ 774 w 2030"/>
              <a:gd name="T49" fmla="*/ 1188 h 3463"/>
              <a:gd name="T50" fmla="*/ 688 w 2030"/>
              <a:gd name="T51" fmla="*/ 1069 h 3463"/>
              <a:gd name="T52" fmla="*/ 699 w 2030"/>
              <a:gd name="T53" fmla="*/ 1004 h 3463"/>
              <a:gd name="T54" fmla="*/ 716 w 2030"/>
              <a:gd name="T55" fmla="*/ 842 h 3463"/>
              <a:gd name="T56" fmla="*/ 855 w 2030"/>
              <a:gd name="T57" fmla="*/ 746 h 3463"/>
              <a:gd name="T58" fmla="*/ 1091 w 2030"/>
              <a:gd name="T59" fmla="*/ 835 h 3463"/>
              <a:gd name="T60" fmla="*/ 1245 w 2030"/>
              <a:gd name="T61" fmla="*/ 708 h 3463"/>
              <a:gd name="T62" fmla="*/ 1259 w 2030"/>
              <a:gd name="T63" fmla="*/ 565 h 3463"/>
              <a:gd name="T64" fmla="*/ 1388 w 2030"/>
              <a:gd name="T65" fmla="*/ 414 h 3463"/>
              <a:gd name="T66" fmla="*/ 1481 w 2030"/>
              <a:gd name="T67" fmla="*/ 309 h 3463"/>
              <a:gd name="T68" fmla="*/ 1626 w 2030"/>
              <a:gd name="T69" fmla="*/ 152 h 3463"/>
              <a:gd name="T70" fmla="*/ 1714 w 2030"/>
              <a:gd name="T71" fmla="*/ 104 h 3463"/>
              <a:gd name="T72" fmla="*/ 1829 w 2030"/>
              <a:gd name="T73" fmla="*/ 133 h 3463"/>
              <a:gd name="T74" fmla="*/ 1958 w 2030"/>
              <a:gd name="T75" fmla="*/ 58 h 3463"/>
              <a:gd name="T76" fmla="*/ 2003 w 2030"/>
              <a:gd name="T77" fmla="*/ 139 h 3463"/>
              <a:gd name="T78" fmla="*/ 1927 w 2030"/>
              <a:gd name="T79" fmla="*/ 338 h 3463"/>
              <a:gd name="T80" fmla="*/ 1818 w 2030"/>
              <a:gd name="T81" fmla="*/ 561 h 3463"/>
              <a:gd name="T82" fmla="*/ 1806 w 2030"/>
              <a:gd name="T83" fmla="*/ 739 h 3463"/>
              <a:gd name="T84" fmla="*/ 1870 w 2030"/>
              <a:gd name="T85" fmla="*/ 904 h 3463"/>
              <a:gd name="T86" fmla="*/ 1751 w 2030"/>
              <a:gd name="T87" fmla="*/ 1118 h 3463"/>
              <a:gd name="T88" fmla="*/ 1760 w 2030"/>
              <a:gd name="T89" fmla="*/ 1268 h 3463"/>
              <a:gd name="T90" fmla="*/ 1765 w 2030"/>
              <a:gd name="T91" fmla="*/ 1534 h 3463"/>
              <a:gd name="T92" fmla="*/ 1736 w 2030"/>
              <a:gd name="T93" fmla="*/ 1900 h 3463"/>
              <a:gd name="T94" fmla="*/ 1749 w 2030"/>
              <a:gd name="T95" fmla="*/ 2190 h 3463"/>
              <a:gd name="T96" fmla="*/ 1778 w 2030"/>
              <a:gd name="T97" fmla="*/ 2351 h 3463"/>
              <a:gd name="T98" fmla="*/ 1826 w 2030"/>
              <a:gd name="T99" fmla="*/ 2492 h 3463"/>
              <a:gd name="T100" fmla="*/ 1974 w 2030"/>
              <a:gd name="T101" fmla="*/ 2680 h 3463"/>
              <a:gd name="T102" fmla="*/ 1847 w 2030"/>
              <a:gd name="T103" fmla="*/ 2834 h 3463"/>
              <a:gd name="T104" fmla="*/ 1703 w 2030"/>
              <a:gd name="T105" fmla="*/ 2818 h 3463"/>
              <a:gd name="T106" fmla="*/ 1454 w 2030"/>
              <a:gd name="T107" fmla="*/ 2790 h 3463"/>
              <a:gd name="T108" fmla="*/ 1522 w 2030"/>
              <a:gd name="T109" fmla="*/ 2884 h 3463"/>
              <a:gd name="T110" fmla="*/ 1661 w 2030"/>
              <a:gd name="T111" fmla="*/ 2985 h 3463"/>
              <a:gd name="T112" fmla="*/ 1566 w 2030"/>
              <a:gd name="T113" fmla="*/ 3074 h 3463"/>
              <a:gd name="T114" fmla="*/ 1440 w 2030"/>
              <a:gd name="T115" fmla="*/ 3155 h 3463"/>
              <a:gd name="T116" fmla="*/ 1457 w 2030"/>
              <a:gd name="T117" fmla="*/ 3423 h 3463"/>
              <a:gd name="T118" fmla="*/ 1229 w 2030"/>
              <a:gd name="T119" fmla="*/ 3336 h 3463"/>
              <a:gd name="T120" fmla="*/ 994 w 2030"/>
              <a:gd name="T121" fmla="*/ 3208 h 3463"/>
              <a:gd name="T122" fmla="*/ 812 w 2030"/>
              <a:gd name="T123" fmla="*/ 3209 h 3463"/>
              <a:gd name="T124" fmla="*/ 681 w 2030"/>
              <a:gd name="T125" fmla="*/ 3086 h 3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30" h="3463">
                <a:moveTo>
                  <a:pt x="593" y="3133"/>
                </a:moveTo>
                <a:lnTo>
                  <a:pt x="591" y="3133"/>
                </a:lnTo>
                <a:lnTo>
                  <a:pt x="590" y="3133"/>
                </a:lnTo>
                <a:lnTo>
                  <a:pt x="588" y="3133"/>
                </a:lnTo>
                <a:lnTo>
                  <a:pt x="587" y="3132"/>
                </a:lnTo>
                <a:lnTo>
                  <a:pt x="585" y="3130"/>
                </a:lnTo>
                <a:lnTo>
                  <a:pt x="582" y="3129"/>
                </a:lnTo>
                <a:lnTo>
                  <a:pt x="581" y="3126"/>
                </a:lnTo>
                <a:lnTo>
                  <a:pt x="580" y="3121"/>
                </a:lnTo>
                <a:lnTo>
                  <a:pt x="579" y="3116"/>
                </a:lnTo>
                <a:lnTo>
                  <a:pt x="578" y="3111"/>
                </a:lnTo>
                <a:lnTo>
                  <a:pt x="575" y="3109"/>
                </a:lnTo>
                <a:lnTo>
                  <a:pt x="572" y="3107"/>
                </a:lnTo>
                <a:lnTo>
                  <a:pt x="567" y="3104"/>
                </a:lnTo>
                <a:lnTo>
                  <a:pt x="563" y="3103"/>
                </a:lnTo>
                <a:lnTo>
                  <a:pt x="556" y="3101"/>
                </a:lnTo>
                <a:lnTo>
                  <a:pt x="553" y="3097"/>
                </a:lnTo>
                <a:lnTo>
                  <a:pt x="549" y="3093"/>
                </a:lnTo>
                <a:lnTo>
                  <a:pt x="548" y="3090"/>
                </a:lnTo>
                <a:lnTo>
                  <a:pt x="548" y="3079"/>
                </a:lnTo>
                <a:lnTo>
                  <a:pt x="550" y="3067"/>
                </a:lnTo>
                <a:lnTo>
                  <a:pt x="552" y="3059"/>
                </a:lnTo>
                <a:lnTo>
                  <a:pt x="553" y="3050"/>
                </a:lnTo>
                <a:lnTo>
                  <a:pt x="553" y="3041"/>
                </a:lnTo>
                <a:lnTo>
                  <a:pt x="552" y="3032"/>
                </a:lnTo>
                <a:lnTo>
                  <a:pt x="550" y="3025"/>
                </a:lnTo>
                <a:lnTo>
                  <a:pt x="548" y="3017"/>
                </a:lnTo>
                <a:lnTo>
                  <a:pt x="546" y="3014"/>
                </a:lnTo>
                <a:lnTo>
                  <a:pt x="542" y="3011"/>
                </a:lnTo>
                <a:lnTo>
                  <a:pt x="538" y="3009"/>
                </a:lnTo>
                <a:lnTo>
                  <a:pt x="534" y="3008"/>
                </a:lnTo>
                <a:lnTo>
                  <a:pt x="523" y="3004"/>
                </a:lnTo>
                <a:lnTo>
                  <a:pt x="510" y="3002"/>
                </a:lnTo>
                <a:lnTo>
                  <a:pt x="506" y="3002"/>
                </a:lnTo>
                <a:lnTo>
                  <a:pt x="503" y="3002"/>
                </a:lnTo>
                <a:lnTo>
                  <a:pt x="497" y="3001"/>
                </a:lnTo>
                <a:lnTo>
                  <a:pt x="491" y="3001"/>
                </a:lnTo>
                <a:lnTo>
                  <a:pt x="486" y="3001"/>
                </a:lnTo>
                <a:lnTo>
                  <a:pt x="481" y="3000"/>
                </a:lnTo>
                <a:lnTo>
                  <a:pt x="479" y="3000"/>
                </a:lnTo>
                <a:lnTo>
                  <a:pt x="477" y="3000"/>
                </a:lnTo>
                <a:lnTo>
                  <a:pt x="474" y="3000"/>
                </a:lnTo>
                <a:lnTo>
                  <a:pt x="472" y="3000"/>
                </a:lnTo>
                <a:lnTo>
                  <a:pt x="467" y="3001"/>
                </a:lnTo>
                <a:lnTo>
                  <a:pt x="462" y="3001"/>
                </a:lnTo>
                <a:lnTo>
                  <a:pt x="456" y="3000"/>
                </a:lnTo>
                <a:lnTo>
                  <a:pt x="452" y="2998"/>
                </a:lnTo>
                <a:lnTo>
                  <a:pt x="449" y="2998"/>
                </a:lnTo>
                <a:lnTo>
                  <a:pt x="448" y="2997"/>
                </a:lnTo>
                <a:lnTo>
                  <a:pt x="445" y="2995"/>
                </a:lnTo>
                <a:lnTo>
                  <a:pt x="442" y="2992"/>
                </a:lnTo>
                <a:lnTo>
                  <a:pt x="439" y="2991"/>
                </a:lnTo>
                <a:lnTo>
                  <a:pt x="435" y="2990"/>
                </a:lnTo>
                <a:lnTo>
                  <a:pt x="431" y="2990"/>
                </a:lnTo>
                <a:lnTo>
                  <a:pt x="429" y="2990"/>
                </a:lnTo>
                <a:lnTo>
                  <a:pt x="423" y="2992"/>
                </a:lnTo>
                <a:lnTo>
                  <a:pt x="415" y="2997"/>
                </a:lnTo>
                <a:lnTo>
                  <a:pt x="405" y="3006"/>
                </a:lnTo>
                <a:lnTo>
                  <a:pt x="393" y="3011"/>
                </a:lnTo>
                <a:lnTo>
                  <a:pt x="380" y="3015"/>
                </a:lnTo>
                <a:lnTo>
                  <a:pt x="367" y="3015"/>
                </a:lnTo>
                <a:lnTo>
                  <a:pt x="364" y="3015"/>
                </a:lnTo>
                <a:lnTo>
                  <a:pt x="360" y="3015"/>
                </a:lnTo>
                <a:lnTo>
                  <a:pt x="355" y="3016"/>
                </a:lnTo>
                <a:lnTo>
                  <a:pt x="353" y="3016"/>
                </a:lnTo>
                <a:lnTo>
                  <a:pt x="349" y="3019"/>
                </a:lnTo>
                <a:lnTo>
                  <a:pt x="345" y="3022"/>
                </a:lnTo>
                <a:lnTo>
                  <a:pt x="342" y="3025"/>
                </a:lnTo>
                <a:lnTo>
                  <a:pt x="341" y="3026"/>
                </a:lnTo>
                <a:lnTo>
                  <a:pt x="340" y="3028"/>
                </a:lnTo>
                <a:lnTo>
                  <a:pt x="339" y="3029"/>
                </a:lnTo>
                <a:lnTo>
                  <a:pt x="335" y="3032"/>
                </a:lnTo>
                <a:lnTo>
                  <a:pt x="332" y="3032"/>
                </a:lnTo>
                <a:lnTo>
                  <a:pt x="330" y="3032"/>
                </a:lnTo>
                <a:lnTo>
                  <a:pt x="328" y="3032"/>
                </a:lnTo>
                <a:lnTo>
                  <a:pt x="326" y="3030"/>
                </a:lnTo>
                <a:lnTo>
                  <a:pt x="323" y="3028"/>
                </a:lnTo>
                <a:lnTo>
                  <a:pt x="319" y="3026"/>
                </a:lnTo>
                <a:lnTo>
                  <a:pt x="315" y="3022"/>
                </a:lnTo>
                <a:lnTo>
                  <a:pt x="305" y="3016"/>
                </a:lnTo>
                <a:lnTo>
                  <a:pt x="297" y="3013"/>
                </a:lnTo>
                <a:lnTo>
                  <a:pt x="294" y="3010"/>
                </a:lnTo>
                <a:lnTo>
                  <a:pt x="290" y="3009"/>
                </a:lnTo>
                <a:lnTo>
                  <a:pt x="284" y="3007"/>
                </a:lnTo>
                <a:lnTo>
                  <a:pt x="278" y="3006"/>
                </a:lnTo>
                <a:lnTo>
                  <a:pt x="270" y="3003"/>
                </a:lnTo>
                <a:lnTo>
                  <a:pt x="260" y="3001"/>
                </a:lnTo>
                <a:lnTo>
                  <a:pt x="253" y="2998"/>
                </a:lnTo>
                <a:lnTo>
                  <a:pt x="245" y="2996"/>
                </a:lnTo>
                <a:lnTo>
                  <a:pt x="242" y="2995"/>
                </a:lnTo>
                <a:lnTo>
                  <a:pt x="239" y="2994"/>
                </a:lnTo>
                <a:lnTo>
                  <a:pt x="236" y="2994"/>
                </a:lnTo>
                <a:lnTo>
                  <a:pt x="235" y="2992"/>
                </a:lnTo>
                <a:lnTo>
                  <a:pt x="231" y="2990"/>
                </a:lnTo>
                <a:lnTo>
                  <a:pt x="227" y="2987"/>
                </a:lnTo>
                <a:lnTo>
                  <a:pt x="222" y="2982"/>
                </a:lnTo>
                <a:lnTo>
                  <a:pt x="219" y="2976"/>
                </a:lnTo>
                <a:lnTo>
                  <a:pt x="215" y="2970"/>
                </a:lnTo>
                <a:lnTo>
                  <a:pt x="214" y="2964"/>
                </a:lnTo>
                <a:lnTo>
                  <a:pt x="213" y="2960"/>
                </a:lnTo>
                <a:lnTo>
                  <a:pt x="214" y="2957"/>
                </a:lnTo>
                <a:lnTo>
                  <a:pt x="214" y="2956"/>
                </a:lnTo>
                <a:lnTo>
                  <a:pt x="215" y="2956"/>
                </a:lnTo>
                <a:lnTo>
                  <a:pt x="215" y="2954"/>
                </a:lnTo>
                <a:lnTo>
                  <a:pt x="216" y="2952"/>
                </a:lnTo>
                <a:lnTo>
                  <a:pt x="219" y="2950"/>
                </a:lnTo>
                <a:lnTo>
                  <a:pt x="219" y="2947"/>
                </a:lnTo>
                <a:lnTo>
                  <a:pt x="220" y="2944"/>
                </a:lnTo>
                <a:lnTo>
                  <a:pt x="220" y="2939"/>
                </a:lnTo>
                <a:lnTo>
                  <a:pt x="219" y="2935"/>
                </a:lnTo>
                <a:lnTo>
                  <a:pt x="217" y="2932"/>
                </a:lnTo>
                <a:lnTo>
                  <a:pt x="215" y="2929"/>
                </a:lnTo>
                <a:lnTo>
                  <a:pt x="213" y="2927"/>
                </a:lnTo>
                <a:lnTo>
                  <a:pt x="210" y="2926"/>
                </a:lnTo>
                <a:lnTo>
                  <a:pt x="206" y="2926"/>
                </a:lnTo>
                <a:lnTo>
                  <a:pt x="198" y="2927"/>
                </a:lnTo>
                <a:lnTo>
                  <a:pt x="190" y="2931"/>
                </a:lnTo>
                <a:lnTo>
                  <a:pt x="179" y="2938"/>
                </a:lnTo>
                <a:lnTo>
                  <a:pt x="168" y="2941"/>
                </a:lnTo>
                <a:lnTo>
                  <a:pt x="160" y="2943"/>
                </a:lnTo>
                <a:lnTo>
                  <a:pt x="153" y="2944"/>
                </a:lnTo>
                <a:lnTo>
                  <a:pt x="145" y="2943"/>
                </a:lnTo>
                <a:lnTo>
                  <a:pt x="137" y="2941"/>
                </a:lnTo>
                <a:lnTo>
                  <a:pt x="130" y="2943"/>
                </a:lnTo>
                <a:lnTo>
                  <a:pt x="125" y="2944"/>
                </a:lnTo>
                <a:lnTo>
                  <a:pt x="121" y="2945"/>
                </a:lnTo>
                <a:lnTo>
                  <a:pt x="116" y="2952"/>
                </a:lnTo>
                <a:lnTo>
                  <a:pt x="113" y="2959"/>
                </a:lnTo>
                <a:lnTo>
                  <a:pt x="110" y="2968"/>
                </a:lnTo>
                <a:lnTo>
                  <a:pt x="108" y="2970"/>
                </a:lnTo>
                <a:lnTo>
                  <a:pt x="106" y="2972"/>
                </a:lnTo>
                <a:lnTo>
                  <a:pt x="100" y="2973"/>
                </a:lnTo>
                <a:lnTo>
                  <a:pt x="91" y="2972"/>
                </a:lnTo>
                <a:lnTo>
                  <a:pt x="88" y="2971"/>
                </a:lnTo>
                <a:lnTo>
                  <a:pt x="83" y="2970"/>
                </a:lnTo>
                <a:lnTo>
                  <a:pt x="80" y="2970"/>
                </a:lnTo>
                <a:lnTo>
                  <a:pt x="76" y="2970"/>
                </a:lnTo>
                <a:lnTo>
                  <a:pt x="75" y="2971"/>
                </a:lnTo>
                <a:lnTo>
                  <a:pt x="72" y="2971"/>
                </a:lnTo>
                <a:lnTo>
                  <a:pt x="70" y="2972"/>
                </a:lnTo>
                <a:lnTo>
                  <a:pt x="68" y="2973"/>
                </a:lnTo>
                <a:lnTo>
                  <a:pt x="64" y="2976"/>
                </a:lnTo>
                <a:lnTo>
                  <a:pt x="62" y="2978"/>
                </a:lnTo>
                <a:lnTo>
                  <a:pt x="58" y="2982"/>
                </a:lnTo>
                <a:lnTo>
                  <a:pt x="55" y="2984"/>
                </a:lnTo>
                <a:lnTo>
                  <a:pt x="52" y="2987"/>
                </a:lnTo>
                <a:lnTo>
                  <a:pt x="51" y="2989"/>
                </a:lnTo>
                <a:lnTo>
                  <a:pt x="49" y="2990"/>
                </a:lnTo>
                <a:lnTo>
                  <a:pt x="47" y="2991"/>
                </a:lnTo>
                <a:lnTo>
                  <a:pt x="45" y="2991"/>
                </a:lnTo>
                <a:lnTo>
                  <a:pt x="42" y="2992"/>
                </a:lnTo>
                <a:lnTo>
                  <a:pt x="37" y="2992"/>
                </a:lnTo>
                <a:lnTo>
                  <a:pt x="33" y="2991"/>
                </a:lnTo>
                <a:lnTo>
                  <a:pt x="27" y="2990"/>
                </a:lnTo>
                <a:lnTo>
                  <a:pt x="18" y="2983"/>
                </a:lnTo>
                <a:lnTo>
                  <a:pt x="17" y="2981"/>
                </a:lnTo>
                <a:lnTo>
                  <a:pt x="14" y="2978"/>
                </a:lnTo>
                <a:lnTo>
                  <a:pt x="13" y="2975"/>
                </a:lnTo>
                <a:lnTo>
                  <a:pt x="13" y="2971"/>
                </a:lnTo>
                <a:lnTo>
                  <a:pt x="12" y="2966"/>
                </a:lnTo>
                <a:lnTo>
                  <a:pt x="11" y="2963"/>
                </a:lnTo>
                <a:lnTo>
                  <a:pt x="9" y="2956"/>
                </a:lnTo>
                <a:lnTo>
                  <a:pt x="6" y="2943"/>
                </a:lnTo>
                <a:lnTo>
                  <a:pt x="3" y="2934"/>
                </a:lnTo>
                <a:lnTo>
                  <a:pt x="2" y="2926"/>
                </a:lnTo>
                <a:lnTo>
                  <a:pt x="0" y="2915"/>
                </a:lnTo>
                <a:lnTo>
                  <a:pt x="0" y="2905"/>
                </a:lnTo>
                <a:lnTo>
                  <a:pt x="0" y="2900"/>
                </a:lnTo>
                <a:lnTo>
                  <a:pt x="1" y="2895"/>
                </a:lnTo>
                <a:lnTo>
                  <a:pt x="2" y="2895"/>
                </a:lnTo>
                <a:lnTo>
                  <a:pt x="3" y="2895"/>
                </a:lnTo>
                <a:lnTo>
                  <a:pt x="6" y="2896"/>
                </a:lnTo>
                <a:lnTo>
                  <a:pt x="8" y="2897"/>
                </a:lnTo>
                <a:lnTo>
                  <a:pt x="9" y="2899"/>
                </a:lnTo>
                <a:lnTo>
                  <a:pt x="12" y="2900"/>
                </a:lnTo>
                <a:lnTo>
                  <a:pt x="14" y="2902"/>
                </a:lnTo>
                <a:lnTo>
                  <a:pt x="17" y="2903"/>
                </a:lnTo>
                <a:lnTo>
                  <a:pt x="18" y="2905"/>
                </a:lnTo>
                <a:lnTo>
                  <a:pt x="20" y="2906"/>
                </a:lnTo>
                <a:lnTo>
                  <a:pt x="24" y="2908"/>
                </a:lnTo>
                <a:lnTo>
                  <a:pt x="28" y="2909"/>
                </a:lnTo>
                <a:lnTo>
                  <a:pt x="37" y="2910"/>
                </a:lnTo>
                <a:lnTo>
                  <a:pt x="43" y="2910"/>
                </a:lnTo>
                <a:lnTo>
                  <a:pt x="52" y="2910"/>
                </a:lnTo>
                <a:lnTo>
                  <a:pt x="61" y="2909"/>
                </a:lnTo>
                <a:lnTo>
                  <a:pt x="70" y="2907"/>
                </a:lnTo>
                <a:lnTo>
                  <a:pt x="80" y="2903"/>
                </a:lnTo>
                <a:lnTo>
                  <a:pt x="93" y="2897"/>
                </a:lnTo>
                <a:lnTo>
                  <a:pt x="106" y="2891"/>
                </a:lnTo>
                <a:lnTo>
                  <a:pt x="113" y="2888"/>
                </a:lnTo>
                <a:lnTo>
                  <a:pt x="120" y="2884"/>
                </a:lnTo>
                <a:lnTo>
                  <a:pt x="124" y="2883"/>
                </a:lnTo>
                <a:lnTo>
                  <a:pt x="127" y="2883"/>
                </a:lnTo>
                <a:lnTo>
                  <a:pt x="133" y="2881"/>
                </a:lnTo>
                <a:lnTo>
                  <a:pt x="139" y="2880"/>
                </a:lnTo>
                <a:lnTo>
                  <a:pt x="145" y="2878"/>
                </a:lnTo>
                <a:lnTo>
                  <a:pt x="150" y="2877"/>
                </a:lnTo>
                <a:lnTo>
                  <a:pt x="152" y="2876"/>
                </a:lnTo>
                <a:lnTo>
                  <a:pt x="154" y="2875"/>
                </a:lnTo>
                <a:lnTo>
                  <a:pt x="156" y="2872"/>
                </a:lnTo>
                <a:lnTo>
                  <a:pt x="157" y="2871"/>
                </a:lnTo>
                <a:lnTo>
                  <a:pt x="159" y="2866"/>
                </a:lnTo>
                <a:lnTo>
                  <a:pt x="162" y="2857"/>
                </a:lnTo>
                <a:lnTo>
                  <a:pt x="162" y="2849"/>
                </a:lnTo>
                <a:lnTo>
                  <a:pt x="162" y="2839"/>
                </a:lnTo>
                <a:lnTo>
                  <a:pt x="162" y="2834"/>
                </a:lnTo>
                <a:lnTo>
                  <a:pt x="162" y="2830"/>
                </a:lnTo>
                <a:lnTo>
                  <a:pt x="159" y="2815"/>
                </a:lnTo>
                <a:lnTo>
                  <a:pt x="158" y="2802"/>
                </a:lnTo>
                <a:lnTo>
                  <a:pt x="158" y="2798"/>
                </a:lnTo>
                <a:lnTo>
                  <a:pt x="159" y="2794"/>
                </a:lnTo>
                <a:lnTo>
                  <a:pt x="159" y="2792"/>
                </a:lnTo>
                <a:lnTo>
                  <a:pt x="160" y="2790"/>
                </a:lnTo>
                <a:lnTo>
                  <a:pt x="162" y="2790"/>
                </a:lnTo>
                <a:lnTo>
                  <a:pt x="164" y="2790"/>
                </a:lnTo>
                <a:lnTo>
                  <a:pt x="166" y="2790"/>
                </a:lnTo>
                <a:lnTo>
                  <a:pt x="169" y="2792"/>
                </a:lnTo>
                <a:lnTo>
                  <a:pt x="170" y="2793"/>
                </a:lnTo>
                <a:lnTo>
                  <a:pt x="171" y="2794"/>
                </a:lnTo>
                <a:lnTo>
                  <a:pt x="172" y="2796"/>
                </a:lnTo>
                <a:lnTo>
                  <a:pt x="173" y="2798"/>
                </a:lnTo>
                <a:lnTo>
                  <a:pt x="176" y="2801"/>
                </a:lnTo>
                <a:lnTo>
                  <a:pt x="177" y="2803"/>
                </a:lnTo>
                <a:lnTo>
                  <a:pt x="179" y="2805"/>
                </a:lnTo>
                <a:lnTo>
                  <a:pt x="181" y="2805"/>
                </a:lnTo>
                <a:lnTo>
                  <a:pt x="182" y="2803"/>
                </a:lnTo>
                <a:lnTo>
                  <a:pt x="183" y="2803"/>
                </a:lnTo>
                <a:lnTo>
                  <a:pt x="184" y="2801"/>
                </a:lnTo>
                <a:lnTo>
                  <a:pt x="184" y="2799"/>
                </a:lnTo>
                <a:lnTo>
                  <a:pt x="185" y="2795"/>
                </a:lnTo>
                <a:lnTo>
                  <a:pt x="185" y="2793"/>
                </a:lnTo>
                <a:lnTo>
                  <a:pt x="185" y="2792"/>
                </a:lnTo>
                <a:lnTo>
                  <a:pt x="184" y="2789"/>
                </a:lnTo>
                <a:lnTo>
                  <a:pt x="184" y="2789"/>
                </a:lnTo>
                <a:lnTo>
                  <a:pt x="184" y="2788"/>
                </a:lnTo>
                <a:lnTo>
                  <a:pt x="183" y="2784"/>
                </a:lnTo>
                <a:lnTo>
                  <a:pt x="181" y="2777"/>
                </a:lnTo>
                <a:lnTo>
                  <a:pt x="176" y="2771"/>
                </a:lnTo>
                <a:lnTo>
                  <a:pt x="169" y="2765"/>
                </a:lnTo>
                <a:lnTo>
                  <a:pt x="162" y="2762"/>
                </a:lnTo>
                <a:lnTo>
                  <a:pt x="153" y="2759"/>
                </a:lnTo>
                <a:lnTo>
                  <a:pt x="139" y="2756"/>
                </a:lnTo>
                <a:lnTo>
                  <a:pt x="125" y="2751"/>
                </a:lnTo>
                <a:lnTo>
                  <a:pt x="118" y="2749"/>
                </a:lnTo>
                <a:lnTo>
                  <a:pt x="112" y="2744"/>
                </a:lnTo>
                <a:lnTo>
                  <a:pt x="106" y="2739"/>
                </a:lnTo>
                <a:lnTo>
                  <a:pt x="101" y="2735"/>
                </a:lnTo>
                <a:lnTo>
                  <a:pt x="97" y="2726"/>
                </a:lnTo>
                <a:lnTo>
                  <a:pt x="94" y="2718"/>
                </a:lnTo>
                <a:lnTo>
                  <a:pt x="93" y="2712"/>
                </a:lnTo>
                <a:lnTo>
                  <a:pt x="91" y="2704"/>
                </a:lnTo>
                <a:lnTo>
                  <a:pt x="91" y="2700"/>
                </a:lnTo>
                <a:lnTo>
                  <a:pt x="91" y="2698"/>
                </a:lnTo>
                <a:lnTo>
                  <a:pt x="93" y="2693"/>
                </a:lnTo>
                <a:lnTo>
                  <a:pt x="95" y="2689"/>
                </a:lnTo>
                <a:lnTo>
                  <a:pt x="100" y="2689"/>
                </a:lnTo>
                <a:lnTo>
                  <a:pt x="106" y="2692"/>
                </a:lnTo>
                <a:lnTo>
                  <a:pt x="110" y="2693"/>
                </a:lnTo>
                <a:lnTo>
                  <a:pt x="115" y="2693"/>
                </a:lnTo>
                <a:lnTo>
                  <a:pt x="120" y="2692"/>
                </a:lnTo>
                <a:lnTo>
                  <a:pt x="122" y="2691"/>
                </a:lnTo>
                <a:lnTo>
                  <a:pt x="125" y="2688"/>
                </a:lnTo>
                <a:lnTo>
                  <a:pt x="126" y="2687"/>
                </a:lnTo>
                <a:lnTo>
                  <a:pt x="128" y="2681"/>
                </a:lnTo>
                <a:lnTo>
                  <a:pt x="130" y="2674"/>
                </a:lnTo>
                <a:lnTo>
                  <a:pt x="131" y="2666"/>
                </a:lnTo>
                <a:lnTo>
                  <a:pt x="133" y="2657"/>
                </a:lnTo>
                <a:lnTo>
                  <a:pt x="135" y="2649"/>
                </a:lnTo>
                <a:lnTo>
                  <a:pt x="140" y="2642"/>
                </a:lnTo>
                <a:lnTo>
                  <a:pt x="145" y="2635"/>
                </a:lnTo>
                <a:lnTo>
                  <a:pt x="150" y="2629"/>
                </a:lnTo>
                <a:lnTo>
                  <a:pt x="157" y="2619"/>
                </a:lnTo>
                <a:lnTo>
                  <a:pt x="165" y="2610"/>
                </a:lnTo>
                <a:lnTo>
                  <a:pt x="170" y="2605"/>
                </a:lnTo>
                <a:lnTo>
                  <a:pt x="175" y="2601"/>
                </a:lnTo>
                <a:lnTo>
                  <a:pt x="179" y="2598"/>
                </a:lnTo>
                <a:lnTo>
                  <a:pt x="184" y="2595"/>
                </a:lnTo>
                <a:lnTo>
                  <a:pt x="189" y="2594"/>
                </a:lnTo>
                <a:lnTo>
                  <a:pt x="195" y="2594"/>
                </a:lnTo>
                <a:lnTo>
                  <a:pt x="206" y="2597"/>
                </a:lnTo>
                <a:lnTo>
                  <a:pt x="217" y="2601"/>
                </a:lnTo>
                <a:lnTo>
                  <a:pt x="229" y="2606"/>
                </a:lnTo>
                <a:lnTo>
                  <a:pt x="241" y="2612"/>
                </a:lnTo>
                <a:lnTo>
                  <a:pt x="250" y="2616"/>
                </a:lnTo>
                <a:lnTo>
                  <a:pt x="257" y="2617"/>
                </a:lnTo>
                <a:lnTo>
                  <a:pt x="264" y="2618"/>
                </a:lnTo>
                <a:lnTo>
                  <a:pt x="269" y="2618"/>
                </a:lnTo>
                <a:lnTo>
                  <a:pt x="284" y="2611"/>
                </a:lnTo>
                <a:lnTo>
                  <a:pt x="301" y="2603"/>
                </a:lnTo>
                <a:lnTo>
                  <a:pt x="305" y="2603"/>
                </a:lnTo>
                <a:lnTo>
                  <a:pt x="309" y="2603"/>
                </a:lnTo>
                <a:lnTo>
                  <a:pt x="310" y="2604"/>
                </a:lnTo>
                <a:lnTo>
                  <a:pt x="311" y="2604"/>
                </a:lnTo>
                <a:lnTo>
                  <a:pt x="314" y="2605"/>
                </a:lnTo>
                <a:lnTo>
                  <a:pt x="317" y="2607"/>
                </a:lnTo>
                <a:lnTo>
                  <a:pt x="320" y="2607"/>
                </a:lnTo>
                <a:lnTo>
                  <a:pt x="321" y="2607"/>
                </a:lnTo>
                <a:lnTo>
                  <a:pt x="322" y="2607"/>
                </a:lnTo>
                <a:lnTo>
                  <a:pt x="323" y="2607"/>
                </a:lnTo>
                <a:lnTo>
                  <a:pt x="324" y="2606"/>
                </a:lnTo>
                <a:lnTo>
                  <a:pt x="326" y="2606"/>
                </a:lnTo>
                <a:lnTo>
                  <a:pt x="329" y="2604"/>
                </a:lnTo>
                <a:lnTo>
                  <a:pt x="333" y="2601"/>
                </a:lnTo>
                <a:lnTo>
                  <a:pt x="338" y="2597"/>
                </a:lnTo>
                <a:lnTo>
                  <a:pt x="342" y="2595"/>
                </a:lnTo>
                <a:lnTo>
                  <a:pt x="345" y="2597"/>
                </a:lnTo>
                <a:lnTo>
                  <a:pt x="347" y="2600"/>
                </a:lnTo>
                <a:lnTo>
                  <a:pt x="348" y="2604"/>
                </a:lnTo>
                <a:lnTo>
                  <a:pt x="349" y="2606"/>
                </a:lnTo>
                <a:lnTo>
                  <a:pt x="351" y="2609"/>
                </a:lnTo>
                <a:lnTo>
                  <a:pt x="352" y="2610"/>
                </a:lnTo>
                <a:lnTo>
                  <a:pt x="353" y="2613"/>
                </a:lnTo>
                <a:lnTo>
                  <a:pt x="354" y="2616"/>
                </a:lnTo>
                <a:lnTo>
                  <a:pt x="357" y="2619"/>
                </a:lnTo>
                <a:lnTo>
                  <a:pt x="359" y="2623"/>
                </a:lnTo>
                <a:lnTo>
                  <a:pt x="365" y="2629"/>
                </a:lnTo>
                <a:lnTo>
                  <a:pt x="371" y="2634"/>
                </a:lnTo>
                <a:lnTo>
                  <a:pt x="378" y="2637"/>
                </a:lnTo>
                <a:lnTo>
                  <a:pt x="383" y="2638"/>
                </a:lnTo>
                <a:lnTo>
                  <a:pt x="387" y="2638"/>
                </a:lnTo>
                <a:lnTo>
                  <a:pt x="390" y="2637"/>
                </a:lnTo>
                <a:lnTo>
                  <a:pt x="395" y="2635"/>
                </a:lnTo>
                <a:lnTo>
                  <a:pt x="397" y="2631"/>
                </a:lnTo>
                <a:lnTo>
                  <a:pt x="399" y="2626"/>
                </a:lnTo>
                <a:lnTo>
                  <a:pt x="401" y="2620"/>
                </a:lnTo>
                <a:lnTo>
                  <a:pt x="403" y="2611"/>
                </a:lnTo>
                <a:lnTo>
                  <a:pt x="403" y="2601"/>
                </a:lnTo>
                <a:lnTo>
                  <a:pt x="403" y="2593"/>
                </a:lnTo>
                <a:lnTo>
                  <a:pt x="402" y="2587"/>
                </a:lnTo>
                <a:lnTo>
                  <a:pt x="401" y="2582"/>
                </a:lnTo>
                <a:lnTo>
                  <a:pt x="399" y="2579"/>
                </a:lnTo>
                <a:lnTo>
                  <a:pt x="398" y="2575"/>
                </a:lnTo>
                <a:lnTo>
                  <a:pt x="396" y="2572"/>
                </a:lnTo>
                <a:lnTo>
                  <a:pt x="386" y="2565"/>
                </a:lnTo>
                <a:lnTo>
                  <a:pt x="378" y="2557"/>
                </a:lnTo>
                <a:lnTo>
                  <a:pt x="372" y="2550"/>
                </a:lnTo>
                <a:lnTo>
                  <a:pt x="367" y="2543"/>
                </a:lnTo>
                <a:lnTo>
                  <a:pt x="366" y="2540"/>
                </a:lnTo>
                <a:lnTo>
                  <a:pt x="365" y="2536"/>
                </a:lnTo>
                <a:lnTo>
                  <a:pt x="364" y="2532"/>
                </a:lnTo>
                <a:lnTo>
                  <a:pt x="364" y="2529"/>
                </a:lnTo>
                <a:lnTo>
                  <a:pt x="365" y="2522"/>
                </a:lnTo>
                <a:lnTo>
                  <a:pt x="366" y="2516"/>
                </a:lnTo>
                <a:lnTo>
                  <a:pt x="370" y="2509"/>
                </a:lnTo>
                <a:lnTo>
                  <a:pt x="373" y="2503"/>
                </a:lnTo>
                <a:lnTo>
                  <a:pt x="377" y="2497"/>
                </a:lnTo>
                <a:lnTo>
                  <a:pt x="379" y="2491"/>
                </a:lnTo>
                <a:lnTo>
                  <a:pt x="379" y="2489"/>
                </a:lnTo>
                <a:lnTo>
                  <a:pt x="377" y="2487"/>
                </a:lnTo>
                <a:lnTo>
                  <a:pt x="373" y="2486"/>
                </a:lnTo>
                <a:lnTo>
                  <a:pt x="370" y="2486"/>
                </a:lnTo>
                <a:lnTo>
                  <a:pt x="365" y="2485"/>
                </a:lnTo>
                <a:lnTo>
                  <a:pt x="361" y="2485"/>
                </a:lnTo>
                <a:lnTo>
                  <a:pt x="357" y="2481"/>
                </a:lnTo>
                <a:lnTo>
                  <a:pt x="352" y="2477"/>
                </a:lnTo>
                <a:lnTo>
                  <a:pt x="352" y="2471"/>
                </a:lnTo>
                <a:lnTo>
                  <a:pt x="354" y="2462"/>
                </a:lnTo>
                <a:lnTo>
                  <a:pt x="362" y="2449"/>
                </a:lnTo>
                <a:lnTo>
                  <a:pt x="368" y="2440"/>
                </a:lnTo>
                <a:lnTo>
                  <a:pt x="371" y="2434"/>
                </a:lnTo>
                <a:lnTo>
                  <a:pt x="372" y="2428"/>
                </a:lnTo>
                <a:lnTo>
                  <a:pt x="372" y="2421"/>
                </a:lnTo>
                <a:lnTo>
                  <a:pt x="373" y="2415"/>
                </a:lnTo>
                <a:lnTo>
                  <a:pt x="377" y="2410"/>
                </a:lnTo>
                <a:lnTo>
                  <a:pt x="380" y="2405"/>
                </a:lnTo>
                <a:lnTo>
                  <a:pt x="389" y="2397"/>
                </a:lnTo>
                <a:lnTo>
                  <a:pt x="398" y="2385"/>
                </a:lnTo>
                <a:lnTo>
                  <a:pt x="403" y="2379"/>
                </a:lnTo>
                <a:lnTo>
                  <a:pt x="408" y="2371"/>
                </a:lnTo>
                <a:lnTo>
                  <a:pt x="411" y="2363"/>
                </a:lnTo>
                <a:lnTo>
                  <a:pt x="414" y="2353"/>
                </a:lnTo>
                <a:lnTo>
                  <a:pt x="415" y="2348"/>
                </a:lnTo>
                <a:lnTo>
                  <a:pt x="415" y="2342"/>
                </a:lnTo>
                <a:lnTo>
                  <a:pt x="415" y="2338"/>
                </a:lnTo>
                <a:lnTo>
                  <a:pt x="414" y="2333"/>
                </a:lnTo>
                <a:lnTo>
                  <a:pt x="409" y="2328"/>
                </a:lnTo>
                <a:lnTo>
                  <a:pt x="402" y="2322"/>
                </a:lnTo>
                <a:lnTo>
                  <a:pt x="395" y="2317"/>
                </a:lnTo>
                <a:lnTo>
                  <a:pt x="393" y="2315"/>
                </a:lnTo>
                <a:lnTo>
                  <a:pt x="397" y="2313"/>
                </a:lnTo>
                <a:lnTo>
                  <a:pt x="404" y="2311"/>
                </a:lnTo>
                <a:lnTo>
                  <a:pt x="412" y="2310"/>
                </a:lnTo>
                <a:lnTo>
                  <a:pt x="421" y="2310"/>
                </a:lnTo>
                <a:lnTo>
                  <a:pt x="430" y="2308"/>
                </a:lnTo>
                <a:lnTo>
                  <a:pt x="436" y="2305"/>
                </a:lnTo>
                <a:lnTo>
                  <a:pt x="441" y="2300"/>
                </a:lnTo>
                <a:lnTo>
                  <a:pt x="446" y="2292"/>
                </a:lnTo>
                <a:lnTo>
                  <a:pt x="448" y="2288"/>
                </a:lnTo>
                <a:lnTo>
                  <a:pt x="450" y="2284"/>
                </a:lnTo>
                <a:lnTo>
                  <a:pt x="453" y="2279"/>
                </a:lnTo>
                <a:lnTo>
                  <a:pt x="454" y="2273"/>
                </a:lnTo>
                <a:lnTo>
                  <a:pt x="454" y="2271"/>
                </a:lnTo>
                <a:lnTo>
                  <a:pt x="453" y="2269"/>
                </a:lnTo>
                <a:lnTo>
                  <a:pt x="450" y="2266"/>
                </a:lnTo>
                <a:lnTo>
                  <a:pt x="447" y="2264"/>
                </a:lnTo>
                <a:lnTo>
                  <a:pt x="439" y="2259"/>
                </a:lnTo>
                <a:lnTo>
                  <a:pt x="430" y="2253"/>
                </a:lnTo>
                <a:lnTo>
                  <a:pt x="423" y="2247"/>
                </a:lnTo>
                <a:lnTo>
                  <a:pt x="417" y="2241"/>
                </a:lnTo>
                <a:lnTo>
                  <a:pt x="406" y="2226"/>
                </a:lnTo>
                <a:lnTo>
                  <a:pt x="397" y="2213"/>
                </a:lnTo>
                <a:lnTo>
                  <a:pt x="393" y="2210"/>
                </a:lnTo>
                <a:lnTo>
                  <a:pt x="389" y="2208"/>
                </a:lnTo>
                <a:lnTo>
                  <a:pt x="382" y="2206"/>
                </a:lnTo>
                <a:lnTo>
                  <a:pt x="373" y="2203"/>
                </a:lnTo>
                <a:lnTo>
                  <a:pt x="361" y="2201"/>
                </a:lnTo>
                <a:lnTo>
                  <a:pt x="349" y="2198"/>
                </a:lnTo>
                <a:lnTo>
                  <a:pt x="343" y="2195"/>
                </a:lnTo>
                <a:lnTo>
                  <a:pt x="338" y="2191"/>
                </a:lnTo>
                <a:lnTo>
                  <a:pt x="335" y="2185"/>
                </a:lnTo>
                <a:lnTo>
                  <a:pt x="334" y="2179"/>
                </a:lnTo>
                <a:lnTo>
                  <a:pt x="334" y="2178"/>
                </a:lnTo>
                <a:lnTo>
                  <a:pt x="334" y="2176"/>
                </a:lnTo>
                <a:lnTo>
                  <a:pt x="336" y="2166"/>
                </a:lnTo>
                <a:lnTo>
                  <a:pt x="341" y="2158"/>
                </a:lnTo>
                <a:lnTo>
                  <a:pt x="343" y="2155"/>
                </a:lnTo>
                <a:lnTo>
                  <a:pt x="347" y="2152"/>
                </a:lnTo>
                <a:lnTo>
                  <a:pt x="352" y="2147"/>
                </a:lnTo>
                <a:lnTo>
                  <a:pt x="357" y="2144"/>
                </a:lnTo>
                <a:lnTo>
                  <a:pt x="361" y="2139"/>
                </a:lnTo>
                <a:lnTo>
                  <a:pt x="366" y="2135"/>
                </a:lnTo>
                <a:lnTo>
                  <a:pt x="377" y="2126"/>
                </a:lnTo>
                <a:lnTo>
                  <a:pt x="386" y="2116"/>
                </a:lnTo>
                <a:lnTo>
                  <a:pt x="393" y="2109"/>
                </a:lnTo>
                <a:lnTo>
                  <a:pt x="399" y="2103"/>
                </a:lnTo>
                <a:lnTo>
                  <a:pt x="403" y="2099"/>
                </a:lnTo>
                <a:lnTo>
                  <a:pt x="405" y="2093"/>
                </a:lnTo>
                <a:lnTo>
                  <a:pt x="406" y="2086"/>
                </a:lnTo>
                <a:lnTo>
                  <a:pt x="406" y="2075"/>
                </a:lnTo>
                <a:lnTo>
                  <a:pt x="405" y="2059"/>
                </a:lnTo>
                <a:lnTo>
                  <a:pt x="403" y="2042"/>
                </a:lnTo>
                <a:lnTo>
                  <a:pt x="402" y="2033"/>
                </a:lnTo>
                <a:lnTo>
                  <a:pt x="401" y="2024"/>
                </a:lnTo>
                <a:lnTo>
                  <a:pt x="401" y="2018"/>
                </a:lnTo>
                <a:lnTo>
                  <a:pt x="401" y="2013"/>
                </a:lnTo>
                <a:lnTo>
                  <a:pt x="401" y="2009"/>
                </a:lnTo>
                <a:lnTo>
                  <a:pt x="401" y="2007"/>
                </a:lnTo>
                <a:lnTo>
                  <a:pt x="401" y="2001"/>
                </a:lnTo>
                <a:lnTo>
                  <a:pt x="401" y="1994"/>
                </a:lnTo>
                <a:lnTo>
                  <a:pt x="401" y="1992"/>
                </a:lnTo>
                <a:lnTo>
                  <a:pt x="401" y="1990"/>
                </a:lnTo>
                <a:lnTo>
                  <a:pt x="402" y="1986"/>
                </a:lnTo>
                <a:lnTo>
                  <a:pt x="402" y="1981"/>
                </a:lnTo>
                <a:lnTo>
                  <a:pt x="403" y="1975"/>
                </a:lnTo>
                <a:lnTo>
                  <a:pt x="405" y="1970"/>
                </a:lnTo>
                <a:lnTo>
                  <a:pt x="408" y="1966"/>
                </a:lnTo>
                <a:lnTo>
                  <a:pt x="410" y="1962"/>
                </a:lnTo>
                <a:lnTo>
                  <a:pt x="418" y="1958"/>
                </a:lnTo>
                <a:lnTo>
                  <a:pt x="429" y="1955"/>
                </a:lnTo>
                <a:lnTo>
                  <a:pt x="440" y="1952"/>
                </a:lnTo>
                <a:lnTo>
                  <a:pt x="453" y="1950"/>
                </a:lnTo>
                <a:lnTo>
                  <a:pt x="462" y="1949"/>
                </a:lnTo>
                <a:lnTo>
                  <a:pt x="472" y="1949"/>
                </a:lnTo>
                <a:lnTo>
                  <a:pt x="481" y="1949"/>
                </a:lnTo>
                <a:lnTo>
                  <a:pt x="491" y="1949"/>
                </a:lnTo>
                <a:lnTo>
                  <a:pt x="502" y="1950"/>
                </a:lnTo>
                <a:lnTo>
                  <a:pt x="511" y="1951"/>
                </a:lnTo>
                <a:lnTo>
                  <a:pt x="521" y="1954"/>
                </a:lnTo>
                <a:lnTo>
                  <a:pt x="529" y="1956"/>
                </a:lnTo>
                <a:lnTo>
                  <a:pt x="541" y="1961"/>
                </a:lnTo>
                <a:lnTo>
                  <a:pt x="552" y="1966"/>
                </a:lnTo>
                <a:lnTo>
                  <a:pt x="561" y="1971"/>
                </a:lnTo>
                <a:lnTo>
                  <a:pt x="571" y="1979"/>
                </a:lnTo>
                <a:lnTo>
                  <a:pt x="582" y="1989"/>
                </a:lnTo>
                <a:lnTo>
                  <a:pt x="592" y="1999"/>
                </a:lnTo>
                <a:lnTo>
                  <a:pt x="604" y="2015"/>
                </a:lnTo>
                <a:lnTo>
                  <a:pt x="612" y="2027"/>
                </a:lnTo>
                <a:lnTo>
                  <a:pt x="618" y="2037"/>
                </a:lnTo>
                <a:lnTo>
                  <a:pt x="624" y="2045"/>
                </a:lnTo>
                <a:lnTo>
                  <a:pt x="628" y="2049"/>
                </a:lnTo>
                <a:lnTo>
                  <a:pt x="630" y="2050"/>
                </a:lnTo>
                <a:lnTo>
                  <a:pt x="634" y="2051"/>
                </a:lnTo>
                <a:lnTo>
                  <a:pt x="636" y="2050"/>
                </a:lnTo>
                <a:lnTo>
                  <a:pt x="643" y="2046"/>
                </a:lnTo>
                <a:lnTo>
                  <a:pt x="653" y="2039"/>
                </a:lnTo>
                <a:lnTo>
                  <a:pt x="657" y="2036"/>
                </a:lnTo>
                <a:lnTo>
                  <a:pt x="663" y="2032"/>
                </a:lnTo>
                <a:lnTo>
                  <a:pt x="670" y="2031"/>
                </a:lnTo>
                <a:lnTo>
                  <a:pt x="678" y="2030"/>
                </a:lnTo>
                <a:lnTo>
                  <a:pt x="685" y="2030"/>
                </a:lnTo>
                <a:lnTo>
                  <a:pt x="693" y="2031"/>
                </a:lnTo>
                <a:lnTo>
                  <a:pt x="700" y="2033"/>
                </a:lnTo>
                <a:lnTo>
                  <a:pt x="708" y="2036"/>
                </a:lnTo>
                <a:lnTo>
                  <a:pt x="716" y="2038"/>
                </a:lnTo>
                <a:lnTo>
                  <a:pt x="723" y="2039"/>
                </a:lnTo>
                <a:lnTo>
                  <a:pt x="729" y="2040"/>
                </a:lnTo>
                <a:lnTo>
                  <a:pt x="735" y="2039"/>
                </a:lnTo>
                <a:lnTo>
                  <a:pt x="744" y="2036"/>
                </a:lnTo>
                <a:lnTo>
                  <a:pt x="752" y="2031"/>
                </a:lnTo>
                <a:lnTo>
                  <a:pt x="757" y="2029"/>
                </a:lnTo>
                <a:lnTo>
                  <a:pt x="761" y="2026"/>
                </a:lnTo>
                <a:lnTo>
                  <a:pt x="765" y="2025"/>
                </a:lnTo>
                <a:lnTo>
                  <a:pt x="770" y="2025"/>
                </a:lnTo>
                <a:lnTo>
                  <a:pt x="780" y="2025"/>
                </a:lnTo>
                <a:lnTo>
                  <a:pt x="792" y="2026"/>
                </a:lnTo>
                <a:lnTo>
                  <a:pt x="806" y="2029"/>
                </a:lnTo>
                <a:lnTo>
                  <a:pt x="821" y="2029"/>
                </a:lnTo>
                <a:lnTo>
                  <a:pt x="830" y="2027"/>
                </a:lnTo>
                <a:lnTo>
                  <a:pt x="837" y="2026"/>
                </a:lnTo>
                <a:lnTo>
                  <a:pt x="843" y="2023"/>
                </a:lnTo>
                <a:lnTo>
                  <a:pt x="848" y="2019"/>
                </a:lnTo>
                <a:lnTo>
                  <a:pt x="851" y="2014"/>
                </a:lnTo>
                <a:lnTo>
                  <a:pt x="853" y="2009"/>
                </a:lnTo>
                <a:lnTo>
                  <a:pt x="853" y="2004"/>
                </a:lnTo>
                <a:lnTo>
                  <a:pt x="852" y="1999"/>
                </a:lnTo>
                <a:lnTo>
                  <a:pt x="851" y="1993"/>
                </a:lnTo>
                <a:lnTo>
                  <a:pt x="848" y="1988"/>
                </a:lnTo>
                <a:lnTo>
                  <a:pt x="844" y="1983"/>
                </a:lnTo>
                <a:lnTo>
                  <a:pt x="839" y="1980"/>
                </a:lnTo>
                <a:lnTo>
                  <a:pt x="831" y="1971"/>
                </a:lnTo>
                <a:lnTo>
                  <a:pt x="823" y="1962"/>
                </a:lnTo>
                <a:lnTo>
                  <a:pt x="819" y="1957"/>
                </a:lnTo>
                <a:lnTo>
                  <a:pt x="817" y="1951"/>
                </a:lnTo>
                <a:lnTo>
                  <a:pt x="815" y="1945"/>
                </a:lnTo>
                <a:lnTo>
                  <a:pt x="814" y="1938"/>
                </a:lnTo>
                <a:lnTo>
                  <a:pt x="814" y="1925"/>
                </a:lnTo>
                <a:lnTo>
                  <a:pt x="813" y="1918"/>
                </a:lnTo>
                <a:lnTo>
                  <a:pt x="812" y="1916"/>
                </a:lnTo>
                <a:lnTo>
                  <a:pt x="811" y="1914"/>
                </a:lnTo>
                <a:lnTo>
                  <a:pt x="807" y="1913"/>
                </a:lnTo>
                <a:lnTo>
                  <a:pt x="804" y="1912"/>
                </a:lnTo>
                <a:lnTo>
                  <a:pt x="800" y="1911"/>
                </a:lnTo>
                <a:lnTo>
                  <a:pt x="798" y="1908"/>
                </a:lnTo>
                <a:lnTo>
                  <a:pt x="796" y="1906"/>
                </a:lnTo>
                <a:lnTo>
                  <a:pt x="795" y="1904"/>
                </a:lnTo>
                <a:lnTo>
                  <a:pt x="796" y="1901"/>
                </a:lnTo>
                <a:lnTo>
                  <a:pt x="798" y="1899"/>
                </a:lnTo>
                <a:lnTo>
                  <a:pt x="801" y="1895"/>
                </a:lnTo>
                <a:lnTo>
                  <a:pt x="806" y="1893"/>
                </a:lnTo>
                <a:lnTo>
                  <a:pt x="811" y="1889"/>
                </a:lnTo>
                <a:lnTo>
                  <a:pt x="817" y="1885"/>
                </a:lnTo>
                <a:lnTo>
                  <a:pt x="820" y="1880"/>
                </a:lnTo>
                <a:lnTo>
                  <a:pt x="824" y="1874"/>
                </a:lnTo>
                <a:lnTo>
                  <a:pt x="830" y="1864"/>
                </a:lnTo>
                <a:lnTo>
                  <a:pt x="833" y="1861"/>
                </a:lnTo>
                <a:lnTo>
                  <a:pt x="838" y="1866"/>
                </a:lnTo>
                <a:lnTo>
                  <a:pt x="848" y="1874"/>
                </a:lnTo>
                <a:lnTo>
                  <a:pt x="855" y="1878"/>
                </a:lnTo>
                <a:lnTo>
                  <a:pt x="865" y="1882"/>
                </a:lnTo>
                <a:lnTo>
                  <a:pt x="876" y="1886"/>
                </a:lnTo>
                <a:lnTo>
                  <a:pt x="883" y="1887"/>
                </a:lnTo>
                <a:lnTo>
                  <a:pt x="887" y="1889"/>
                </a:lnTo>
                <a:lnTo>
                  <a:pt x="889" y="1892"/>
                </a:lnTo>
                <a:lnTo>
                  <a:pt x="890" y="1894"/>
                </a:lnTo>
                <a:lnTo>
                  <a:pt x="890" y="1898"/>
                </a:lnTo>
                <a:lnTo>
                  <a:pt x="891" y="1901"/>
                </a:lnTo>
                <a:lnTo>
                  <a:pt x="893" y="1905"/>
                </a:lnTo>
                <a:lnTo>
                  <a:pt x="894" y="1906"/>
                </a:lnTo>
                <a:lnTo>
                  <a:pt x="895" y="1906"/>
                </a:lnTo>
                <a:lnTo>
                  <a:pt x="897" y="1906"/>
                </a:lnTo>
                <a:lnTo>
                  <a:pt x="900" y="1904"/>
                </a:lnTo>
                <a:lnTo>
                  <a:pt x="908" y="1899"/>
                </a:lnTo>
                <a:lnTo>
                  <a:pt x="914" y="1894"/>
                </a:lnTo>
                <a:lnTo>
                  <a:pt x="915" y="1894"/>
                </a:lnTo>
                <a:lnTo>
                  <a:pt x="916" y="1893"/>
                </a:lnTo>
                <a:lnTo>
                  <a:pt x="930" y="1885"/>
                </a:lnTo>
                <a:lnTo>
                  <a:pt x="943" y="1878"/>
                </a:lnTo>
                <a:lnTo>
                  <a:pt x="957" y="1872"/>
                </a:lnTo>
                <a:lnTo>
                  <a:pt x="970" y="1868"/>
                </a:lnTo>
                <a:lnTo>
                  <a:pt x="976" y="1868"/>
                </a:lnTo>
                <a:lnTo>
                  <a:pt x="982" y="1868"/>
                </a:lnTo>
                <a:lnTo>
                  <a:pt x="987" y="1870"/>
                </a:lnTo>
                <a:lnTo>
                  <a:pt x="991" y="1874"/>
                </a:lnTo>
                <a:lnTo>
                  <a:pt x="996" y="1878"/>
                </a:lnTo>
                <a:lnTo>
                  <a:pt x="1002" y="1880"/>
                </a:lnTo>
                <a:lnTo>
                  <a:pt x="1009" y="1882"/>
                </a:lnTo>
                <a:lnTo>
                  <a:pt x="1017" y="1884"/>
                </a:lnTo>
                <a:lnTo>
                  <a:pt x="1026" y="1885"/>
                </a:lnTo>
                <a:lnTo>
                  <a:pt x="1035" y="1885"/>
                </a:lnTo>
                <a:lnTo>
                  <a:pt x="1046" y="1885"/>
                </a:lnTo>
                <a:lnTo>
                  <a:pt x="1056" y="1884"/>
                </a:lnTo>
                <a:lnTo>
                  <a:pt x="1067" y="1881"/>
                </a:lnTo>
                <a:lnTo>
                  <a:pt x="1078" y="1878"/>
                </a:lnTo>
                <a:lnTo>
                  <a:pt x="1089" y="1873"/>
                </a:lnTo>
                <a:lnTo>
                  <a:pt x="1100" y="1866"/>
                </a:lnTo>
                <a:lnTo>
                  <a:pt x="1109" y="1859"/>
                </a:lnTo>
                <a:lnTo>
                  <a:pt x="1116" y="1851"/>
                </a:lnTo>
                <a:lnTo>
                  <a:pt x="1122" y="1844"/>
                </a:lnTo>
                <a:lnTo>
                  <a:pt x="1126" y="1837"/>
                </a:lnTo>
                <a:lnTo>
                  <a:pt x="1127" y="1824"/>
                </a:lnTo>
                <a:lnTo>
                  <a:pt x="1127" y="1811"/>
                </a:lnTo>
                <a:lnTo>
                  <a:pt x="1127" y="1796"/>
                </a:lnTo>
                <a:lnTo>
                  <a:pt x="1126" y="1778"/>
                </a:lnTo>
                <a:lnTo>
                  <a:pt x="1124" y="1769"/>
                </a:lnTo>
                <a:lnTo>
                  <a:pt x="1123" y="1762"/>
                </a:lnTo>
                <a:lnTo>
                  <a:pt x="1122" y="1756"/>
                </a:lnTo>
                <a:lnTo>
                  <a:pt x="1121" y="1752"/>
                </a:lnTo>
                <a:lnTo>
                  <a:pt x="1116" y="1747"/>
                </a:lnTo>
                <a:lnTo>
                  <a:pt x="1113" y="1743"/>
                </a:lnTo>
                <a:lnTo>
                  <a:pt x="1110" y="1741"/>
                </a:lnTo>
                <a:lnTo>
                  <a:pt x="1109" y="1737"/>
                </a:lnTo>
                <a:lnTo>
                  <a:pt x="1107" y="1731"/>
                </a:lnTo>
                <a:lnTo>
                  <a:pt x="1105" y="1725"/>
                </a:lnTo>
                <a:lnTo>
                  <a:pt x="1102" y="1710"/>
                </a:lnTo>
                <a:lnTo>
                  <a:pt x="1100" y="1695"/>
                </a:lnTo>
                <a:lnTo>
                  <a:pt x="1098" y="1674"/>
                </a:lnTo>
                <a:lnTo>
                  <a:pt x="1097" y="1652"/>
                </a:lnTo>
                <a:lnTo>
                  <a:pt x="1097" y="1641"/>
                </a:lnTo>
                <a:lnTo>
                  <a:pt x="1097" y="1630"/>
                </a:lnTo>
                <a:lnTo>
                  <a:pt x="1100" y="1622"/>
                </a:lnTo>
                <a:lnTo>
                  <a:pt x="1102" y="1615"/>
                </a:lnTo>
                <a:lnTo>
                  <a:pt x="1115" y="1602"/>
                </a:lnTo>
                <a:lnTo>
                  <a:pt x="1133" y="1585"/>
                </a:lnTo>
                <a:lnTo>
                  <a:pt x="1142" y="1577"/>
                </a:lnTo>
                <a:lnTo>
                  <a:pt x="1151" y="1567"/>
                </a:lnTo>
                <a:lnTo>
                  <a:pt x="1154" y="1563"/>
                </a:lnTo>
                <a:lnTo>
                  <a:pt x="1157" y="1558"/>
                </a:lnTo>
                <a:lnTo>
                  <a:pt x="1159" y="1554"/>
                </a:lnTo>
                <a:lnTo>
                  <a:pt x="1160" y="1550"/>
                </a:lnTo>
                <a:lnTo>
                  <a:pt x="1161" y="1540"/>
                </a:lnTo>
                <a:lnTo>
                  <a:pt x="1161" y="1529"/>
                </a:lnTo>
                <a:lnTo>
                  <a:pt x="1161" y="1519"/>
                </a:lnTo>
                <a:lnTo>
                  <a:pt x="1161" y="1508"/>
                </a:lnTo>
                <a:lnTo>
                  <a:pt x="1159" y="1498"/>
                </a:lnTo>
                <a:lnTo>
                  <a:pt x="1158" y="1488"/>
                </a:lnTo>
                <a:lnTo>
                  <a:pt x="1154" y="1479"/>
                </a:lnTo>
                <a:lnTo>
                  <a:pt x="1151" y="1472"/>
                </a:lnTo>
                <a:lnTo>
                  <a:pt x="1148" y="1466"/>
                </a:lnTo>
                <a:lnTo>
                  <a:pt x="1147" y="1460"/>
                </a:lnTo>
                <a:lnTo>
                  <a:pt x="1146" y="1456"/>
                </a:lnTo>
                <a:lnTo>
                  <a:pt x="1147" y="1451"/>
                </a:lnTo>
                <a:lnTo>
                  <a:pt x="1151" y="1443"/>
                </a:lnTo>
                <a:lnTo>
                  <a:pt x="1157" y="1435"/>
                </a:lnTo>
                <a:lnTo>
                  <a:pt x="1159" y="1432"/>
                </a:lnTo>
                <a:lnTo>
                  <a:pt x="1163" y="1427"/>
                </a:lnTo>
                <a:lnTo>
                  <a:pt x="1164" y="1422"/>
                </a:lnTo>
                <a:lnTo>
                  <a:pt x="1165" y="1416"/>
                </a:lnTo>
                <a:lnTo>
                  <a:pt x="1165" y="1412"/>
                </a:lnTo>
                <a:lnTo>
                  <a:pt x="1164" y="1406"/>
                </a:lnTo>
                <a:lnTo>
                  <a:pt x="1161" y="1400"/>
                </a:lnTo>
                <a:lnTo>
                  <a:pt x="1157" y="1395"/>
                </a:lnTo>
                <a:lnTo>
                  <a:pt x="1144" y="1384"/>
                </a:lnTo>
                <a:lnTo>
                  <a:pt x="1127" y="1374"/>
                </a:lnTo>
                <a:lnTo>
                  <a:pt x="1119" y="1369"/>
                </a:lnTo>
                <a:lnTo>
                  <a:pt x="1111" y="1364"/>
                </a:lnTo>
                <a:lnTo>
                  <a:pt x="1105" y="1362"/>
                </a:lnTo>
                <a:lnTo>
                  <a:pt x="1100" y="1362"/>
                </a:lnTo>
                <a:lnTo>
                  <a:pt x="1084" y="1363"/>
                </a:lnTo>
                <a:lnTo>
                  <a:pt x="1070" y="1363"/>
                </a:lnTo>
                <a:lnTo>
                  <a:pt x="1066" y="1362"/>
                </a:lnTo>
                <a:lnTo>
                  <a:pt x="1064" y="1359"/>
                </a:lnTo>
                <a:lnTo>
                  <a:pt x="1059" y="1352"/>
                </a:lnTo>
                <a:lnTo>
                  <a:pt x="1054" y="1342"/>
                </a:lnTo>
                <a:lnTo>
                  <a:pt x="1051" y="1337"/>
                </a:lnTo>
                <a:lnTo>
                  <a:pt x="1046" y="1332"/>
                </a:lnTo>
                <a:lnTo>
                  <a:pt x="1041" y="1327"/>
                </a:lnTo>
                <a:lnTo>
                  <a:pt x="1034" y="1324"/>
                </a:lnTo>
                <a:lnTo>
                  <a:pt x="1021" y="1318"/>
                </a:lnTo>
                <a:lnTo>
                  <a:pt x="1012" y="1314"/>
                </a:lnTo>
                <a:lnTo>
                  <a:pt x="1006" y="1311"/>
                </a:lnTo>
                <a:lnTo>
                  <a:pt x="1001" y="1306"/>
                </a:lnTo>
                <a:lnTo>
                  <a:pt x="998" y="1303"/>
                </a:lnTo>
                <a:lnTo>
                  <a:pt x="997" y="1302"/>
                </a:lnTo>
                <a:lnTo>
                  <a:pt x="995" y="1302"/>
                </a:lnTo>
                <a:lnTo>
                  <a:pt x="993" y="1302"/>
                </a:lnTo>
                <a:lnTo>
                  <a:pt x="989" y="1305"/>
                </a:lnTo>
                <a:lnTo>
                  <a:pt x="985" y="1311"/>
                </a:lnTo>
                <a:lnTo>
                  <a:pt x="984" y="1313"/>
                </a:lnTo>
                <a:lnTo>
                  <a:pt x="982" y="1314"/>
                </a:lnTo>
                <a:lnTo>
                  <a:pt x="978" y="1315"/>
                </a:lnTo>
                <a:lnTo>
                  <a:pt x="975" y="1317"/>
                </a:lnTo>
                <a:lnTo>
                  <a:pt x="971" y="1317"/>
                </a:lnTo>
                <a:lnTo>
                  <a:pt x="966" y="1315"/>
                </a:lnTo>
                <a:lnTo>
                  <a:pt x="962" y="1313"/>
                </a:lnTo>
                <a:lnTo>
                  <a:pt x="957" y="1309"/>
                </a:lnTo>
                <a:lnTo>
                  <a:pt x="949" y="1302"/>
                </a:lnTo>
                <a:lnTo>
                  <a:pt x="941" y="1294"/>
                </a:lnTo>
                <a:lnTo>
                  <a:pt x="937" y="1286"/>
                </a:lnTo>
                <a:lnTo>
                  <a:pt x="934" y="1275"/>
                </a:lnTo>
                <a:lnTo>
                  <a:pt x="933" y="1270"/>
                </a:lnTo>
                <a:lnTo>
                  <a:pt x="931" y="1267"/>
                </a:lnTo>
                <a:lnTo>
                  <a:pt x="928" y="1264"/>
                </a:lnTo>
                <a:lnTo>
                  <a:pt x="927" y="1263"/>
                </a:lnTo>
                <a:lnTo>
                  <a:pt x="921" y="1263"/>
                </a:lnTo>
                <a:lnTo>
                  <a:pt x="914" y="1265"/>
                </a:lnTo>
                <a:lnTo>
                  <a:pt x="912" y="1267"/>
                </a:lnTo>
                <a:lnTo>
                  <a:pt x="909" y="1267"/>
                </a:lnTo>
                <a:lnTo>
                  <a:pt x="907" y="1265"/>
                </a:lnTo>
                <a:lnTo>
                  <a:pt x="906" y="1264"/>
                </a:lnTo>
                <a:lnTo>
                  <a:pt x="901" y="1261"/>
                </a:lnTo>
                <a:lnTo>
                  <a:pt x="899" y="1256"/>
                </a:lnTo>
                <a:lnTo>
                  <a:pt x="897" y="1249"/>
                </a:lnTo>
                <a:lnTo>
                  <a:pt x="896" y="1243"/>
                </a:lnTo>
                <a:lnTo>
                  <a:pt x="895" y="1237"/>
                </a:lnTo>
                <a:lnTo>
                  <a:pt x="890" y="1231"/>
                </a:lnTo>
                <a:lnTo>
                  <a:pt x="883" y="1224"/>
                </a:lnTo>
                <a:lnTo>
                  <a:pt x="874" y="1218"/>
                </a:lnTo>
                <a:lnTo>
                  <a:pt x="864" y="1213"/>
                </a:lnTo>
                <a:lnTo>
                  <a:pt x="857" y="1208"/>
                </a:lnTo>
                <a:lnTo>
                  <a:pt x="848" y="1202"/>
                </a:lnTo>
                <a:lnTo>
                  <a:pt x="837" y="1197"/>
                </a:lnTo>
                <a:lnTo>
                  <a:pt x="827" y="1191"/>
                </a:lnTo>
                <a:lnTo>
                  <a:pt x="820" y="1188"/>
                </a:lnTo>
                <a:lnTo>
                  <a:pt x="817" y="1187"/>
                </a:lnTo>
                <a:lnTo>
                  <a:pt x="811" y="1187"/>
                </a:lnTo>
                <a:lnTo>
                  <a:pt x="804" y="1187"/>
                </a:lnTo>
                <a:lnTo>
                  <a:pt x="793" y="1189"/>
                </a:lnTo>
                <a:lnTo>
                  <a:pt x="785" y="1189"/>
                </a:lnTo>
                <a:lnTo>
                  <a:pt x="779" y="1189"/>
                </a:lnTo>
                <a:lnTo>
                  <a:pt x="774" y="1188"/>
                </a:lnTo>
                <a:lnTo>
                  <a:pt x="770" y="1186"/>
                </a:lnTo>
                <a:lnTo>
                  <a:pt x="767" y="1179"/>
                </a:lnTo>
                <a:lnTo>
                  <a:pt x="764" y="1169"/>
                </a:lnTo>
                <a:lnTo>
                  <a:pt x="763" y="1166"/>
                </a:lnTo>
                <a:lnTo>
                  <a:pt x="761" y="1163"/>
                </a:lnTo>
                <a:lnTo>
                  <a:pt x="758" y="1161"/>
                </a:lnTo>
                <a:lnTo>
                  <a:pt x="755" y="1160"/>
                </a:lnTo>
                <a:lnTo>
                  <a:pt x="746" y="1157"/>
                </a:lnTo>
                <a:lnTo>
                  <a:pt x="737" y="1155"/>
                </a:lnTo>
                <a:lnTo>
                  <a:pt x="717" y="1155"/>
                </a:lnTo>
                <a:lnTo>
                  <a:pt x="700" y="1154"/>
                </a:lnTo>
                <a:lnTo>
                  <a:pt x="692" y="1154"/>
                </a:lnTo>
                <a:lnTo>
                  <a:pt x="687" y="1151"/>
                </a:lnTo>
                <a:lnTo>
                  <a:pt x="686" y="1150"/>
                </a:lnTo>
                <a:lnTo>
                  <a:pt x="685" y="1147"/>
                </a:lnTo>
                <a:lnTo>
                  <a:pt x="685" y="1143"/>
                </a:lnTo>
                <a:lnTo>
                  <a:pt x="685" y="1137"/>
                </a:lnTo>
                <a:lnTo>
                  <a:pt x="683" y="1128"/>
                </a:lnTo>
                <a:lnTo>
                  <a:pt x="683" y="1117"/>
                </a:lnTo>
                <a:lnTo>
                  <a:pt x="685" y="1110"/>
                </a:lnTo>
                <a:lnTo>
                  <a:pt x="686" y="1103"/>
                </a:lnTo>
                <a:lnTo>
                  <a:pt x="687" y="1098"/>
                </a:lnTo>
                <a:lnTo>
                  <a:pt x="689" y="1093"/>
                </a:lnTo>
                <a:lnTo>
                  <a:pt x="691" y="1088"/>
                </a:lnTo>
                <a:lnTo>
                  <a:pt x="692" y="1085"/>
                </a:lnTo>
                <a:lnTo>
                  <a:pt x="692" y="1081"/>
                </a:lnTo>
                <a:lnTo>
                  <a:pt x="692" y="1078"/>
                </a:lnTo>
                <a:lnTo>
                  <a:pt x="688" y="1069"/>
                </a:lnTo>
                <a:lnTo>
                  <a:pt x="683" y="1063"/>
                </a:lnTo>
                <a:lnTo>
                  <a:pt x="680" y="1061"/>
                </a:lnTo>
                <a:lnTo>
                  <a:pt x="679" y="1059"/>
                </a:lnTo>
                <a:lnTo>
                  <a:pt x="682" y="1060"/>
                </a:lnTo>
                <a:lnTo>
                  <a:pt x="688" y="1061"/>
                </a:lnTo>
                <a:lnTo>
                  <a:pt x="692" y="1061"/>
                </a:lnTo>
                <a:lnTo>
                  <a:pt x="697" y="1061"/>
                </a:lnTo>
                <a:lnTo>
                  <a:pt x="698" y="1061"/>
                </a:lnTo>
                <a:lnTo>
                  <a:pt x="699" y="1060"/>
                </a:lnTo>
                <a:lnTo>
                  <a:pt x="700" y="1059"/>
                </a:lnTo>
                <a:lnTo>
                  <a:pt x="700" y="1056"/>
                </a:lnTo>
                <a:lnTo>
                  <a:pt x="700" y="1054"/>
                </a:lnTo>
                <a:lnTo>
                  <a:pt x="702" y="1053"/>
                </a:lnTo>
                <a:lnTo>
                  <a:pt x="704" y="1051"/>
                </a:lnTo>
                <a:lnTo>
                  <a:pt x="706" y="1050"/>
                </a:lnTo>
                <a:lnTo>
                  <a:pt x="711" y="1049"/>
                </a:lnTo>
                <a:lnTo>
                  <a:pt x="713" y="1047"/>
                </a:lnTo>
                <a:lnTo>
                  <a:pt x="716" y="1041"/>
                </a:lnTo>
                <a:lnTo>
                  <a:pt x="716" y="1037"/>
                </a:lnTo>
                <a:lnTo>
                  <a:pt x="713" y="1032"/>
                </a:lnTo>
                <a:lnTo>
                  <a:pt x="710" y="1029"/>
                </a:lnTo>
                <a:lnTo>
                  <a:pt x="701" y="1023"/>
                </a:lnTo>
                <a:lnTo>
                  <a:pt x="695" y="1018"/>
                </a:lnTo>
                <a:lnTo>
                  <a:pt x="693" y="1016"/>
                </a:lnTo>
                <a:lnTo>
                  <a:pt x="692" y="1012"/>
                </a:lnTo>
                <a:lnTo>
                  <a:pt x="694" y="1009"/>
                </a:lnTo>
                <a:lnTo>
                  <a:pt x="697" y="1006"/>
                </a:lnTo>
                <a:lnTo>
                  <a:pt x="699" y="1004"/>
                </a:lnTo>
                <a:lnTo>
                  <a:pt x="701" y="1002"/>
                </a:lnTo>
                <a:lnTo>
                  <a:pt x="701" y="999"/>
                </a:lnTo>
                <a:lnTo>
                  <a:pt x="701" y="998"/>
                </a:lnTo>
                <a:lnTo>
                  <a:pt x="699" y="993"/>
                </a:lnTo>
                <a:lnTo>
                  <a:pt x="694" y="986"/>
                </a:lnTo>
                <a:lnTo>
                  <a:pt x="692" y="984"/>
                </a:lnTo>
                <a:lnTo>
                  <a:pt x="691" y="980"/>
                </a:lnTo>
                <a:lnTo>
                  <a:pt x="691" y="975"/>
                </a:lnTo>
                <a:lnTo>
                  <a:pt x="691" y="969"/>
                </a:lnTo>
                <a:lnTo>
                  <a:pt x="691" y="952"/>
                </a:lnTo>
                <a:lnTo>
                  <a:pt x="691" y="934"/>
                </a:lnTo>
                <a:lnTo>
                  <a:pt x="692" y="923"/>
                </a:lnTo>
                <a:lnTo>
                  <a:pt x="695" y="914"/>
                </a:lnTo>
                <a:lnTo>
                  <a:pt x="700" y="904"/>
                </a:lnTo>
                <a:lnTo>
                  <a:pt x="706" y="897"/>
                </a:lnTo>
                <a:lnTo>
                  <a:pt x="712" y="890"/>
                </a:lnTo>
                <a:lnTo>
                  <a:pt x="717" y="883"/>
                </a:lnTo>
                <a:lnTo>
                  <a:pt x="718" y="880"/>
                </a:lnTo>
                <a:lnTo>
                  <a:pt x="719" y="877"/>
                </a:lnTo>
                <a:lnTo>
                  <a:pt x="718" y="873"/>
                </a:lnTo>
                <a:lnTo>
                  <a:pt x="714" y="871"/>
                </a:lnTo>
                <a:lnTo>
                  <a:pt x="708" y="866"/>
                </a:lnTo>
                <a:lnTo>
                  <a:pt x="705" y="861"/>
                </a:lnTo>
                <a:lnTo>
                  <a:pt x="705" y="858"/>
                </a:lnTo>
                <a:lnTo>
                  <a:pt x="705" y="855"/>
                </a:lnTo>
                <a:lnTo>
                  <a:pt x="706" y="853"/>
                </a:lnTo>
                <a:lnTo>
                  <a:pt x="708" y="849"/>
                </a:lnTo>
                <a:lnTo>
                  <a:pt x="716" y="842"/>
                </a:lnTo>
                <a:lnTo>
                  <a:pt x="726" y="832"/>
                </a:lnTo>
                <a:lnTo>
                  <a:pt x="736" y="823"/>
                </a:lnTo>
                <a:lnTo>
                  <a:pt x="744" y="817"/>
                </a:lnTo>
                <a:lnTo>
                  <a:pt x="750" y="815"/>
                </a:lnTo>
                <a:lnTo>
                  <a:pt x="755" y="811"/>
                </a:lnTo>
                <a:lnTo>
                  <a:pt x="758" y="807"/>
                </a:lnTo>
                <a:lnTo>
                  <a:pt x="761" y="801"/>
                </a:lnTo>
                <a:lnTo>
                  <a:pt x="763" y="797"/>
                </a:lnTo>
                <a:lnTo>
                  <a:pt x="765" y="794"/>
                </a:lnTo>
                <a:lnTo>
                  <a:pt x="769" y="791"/>
                </a:lnTo>
                <a:lnTo>
                  <a:pt x="773" y="788"/>
                </a:lnTo>
                <a:lnTo>
                  <a:pt x="783" y="783"/>
                </a:lnTo>
                <a:lnTo>
                  <a:pt x="796" y="779"/>
                </a:lnTo>
                <a:lnTo>
                  <a:pt x="808" y="776"/>
                </a:lnTo>
                <a:lnTo>
                  <a:pt x="817" y="771"/>
                </a:lnTo>
                <a:lnTo>
                  <a:pt x="821" y="766"/>
                </a:lnTo>
                <a:lnTo>
                  <a:pt x="825" y="759"/>
                </a:lnTo>
                <a:lnTo>
                  <a:pt x="826" y="754"/>
                </a:lnTo>
                <a:lnTo>
                  <a:pt x="826" y="751"/>
                </a:lnTo>
                <a:lnTo>
                  <a:pt x="825" y="746"/>
                </a:lnTo>
                <a:lnTo>
                  <a:pt x="824" y="742"/>
                </a:lnTo>
                <a:lnTo>
                  <a:pt x="824" y="740"/>
                </a:lnTo>
                <a:lnTo>
                  <a:pt x="825" y="740"/>
                </a:lnTo>
                <a:lnTo>
                  <a:pt x="826" y="739"/>
                </a:lnTo>
                <a:lnTo>
                  <a:pt x="830" y="740"/>
                </a:lnTo>
                <a:lnTo>
                  <a:pt x="834" y="741"/>
                </a:lnTo>
                <a:lnTo>
                  <a:pt x="840" y="744"/>
                </a:lnTo>
                <a:lnTo>
                  <a:pt x="855" y="746"/>
                </a:lnTo>
                <a:lnTo>
                  <a:pt x="875" y="750"/>
                </a:lnTo>
                <a:lnTo>
                  <a:pt x="886" y="753"/>
                </a:lnTo>
                <a:lnTo>
                  <a:pt x="896" y="756"/>
                </a:lnTo>
                <a:lnTo>
                  <a:pt x="907" y="759"/>
                </a:lnTo>
                <a:lnTo>
                  <a:pt x="915" y="764"/>
                </a:lnTo>
                <a:lnTo>
                  <a:pt x="922" y="769"/>
                </a:lnTo>
                <a:lnTo>
                  <a:pt x="927" y="772"/>
                </a:lnTo>
                <a:lnTo>
                  <a:pt x="932" y="777"/>
                </a:lnTo>
                <a:lnTo>
                  <a:pt x="934" y="782"/>
                </a:lnTo>
                <a:lnTo>
                  <a:pt x="939" y="794"/>
                </a:lnTo>
                <a:lnTo>
                  <a:pt x="943" y="810"/>
                </a:lnTo>
                <a:lnTo>
                  <a:pt x="946" y="826"/>
                </a:lnTo>
                <a:lnTo>
                  <a:pt x="950" y="839"/>
                </a:lnTo>
                <a:lnTo>
                  <a:pt x="953" y="842"/>
                </a:lnTo>
                <a:lnTo>
                  <a:pt x="957" y="847"/>
                </a:lnTo>
                <a:lnTo>
                  <a:pt x="962" y="849"/>
                </a:lnTo>
                <a:lnTo>
                  <a:pt x="966" y="852"/>
                </a:lnTo>
                <a:lnTo>
                  <a:pt x="974" y="854"/>
                </a:lnTo>
                <a:lnTo>
                  <a:pt x="979" y="854"/>
                </a:lnTo>
                <a:lnTo>
                  <a:pt x="987" y="854"/>
                </a:lnTo>
                <a:lnTo>
                  <a:pt x="994" y="853"/>
                </a:lnTo>
                <a:lnTo>
                  <a:pt x="1007" y="849"/>
                </a:lnTo>
                <a:lnTo>
                  <a:pt x="1019" y="845"/>
                </a:lnTo>
                <a:lnTo>
                  <a:pt x="1029" y="841"/>
                </a:lnTo>
                <a:lnTo>
                  <a:pt x="1044" y="839"/>
                </a:lnTo>
                <a:lnTo>
                  <a:pt x="1059" y="838"/>
                </a:lnTo>
                <a:lnTo>
                  <a:pt x="1076" y="836"/>
                </a:lnTo>
                <a:lnTo>
                  <a:pt x="1091" y="835"/>
                </a:lnTo>
                <a:lnTo>
                  <a:pt x="1105" y="833"/>
                </a:lnTo>
                <a:lnTo>
                  <a:pt x="1121" y="832"/>
                </a:lnTo>
                <a:lnTo>
                  <a:pt x="1140" y="832"/>
                </a:lnTo>
                <a:lnTo>
                  <a:pt x="1160" y="832"/>
                </a:lnTo>
                <a:lnTo>
                  <a:pt x="1176" y="832"/>
                </a:lnTo>
                <a:lnTo>
                  <a:pt x="1183" y="830"/>
                </a:lnTo>
                <a:lnTo>
                  <a:pt x="1190" y="828"/>
                </a:lnTo>
                <a:lnTo>
                  <a:pt x="1195" y="827"/>
                </a:lnTo>
                <a:lnTo>
                  <a:pt x="1201" y="823"/>
                </a:lnTo>
                <a:lnTo>
                  <a:pt x="1204" y="820"/>
                </a:lnTo>
                <a:lnTo>
                  <a:pt x="1207" y="815"/>
                </a:lnTo>
                <a:lnTo>
                  <a:pt x="1208" y="808"/>
                </a:lnTo>
                <a:lnTo>
                  <a:pt x="1208" y="801"/>
                </a:lnTo>
                <a:lnTo>
                  <a:pt x="1207" y="786"/>
                </a:lnTo>
                <a:lnTo>
                  <a:pt x="1205" y="773"/>
                </a:lnTo>
                <a:lnTo>
                  <a:pt x="1205" y="760"/>
                </a:lnTo>
                <a:lnTo>
                  <a:pt x="1204" y="744"/>
                </a:lnTo>
                <a:lnTo>
                  <a:pt x="1204" y="725"/>
                </a:lnTo>
                <a:lnTo>
                  <a:pt x="1207" y="708"/>
                </a:lnTo>
                <a:lnTo>
                  <a:pt x="1208" y="701"/>
                </a:lnTo>
                <a:lnTo>
                  <a:pt x="1211" y="695"/>
                </a:lnTo>
                <a:lnTo>
                  <a:pt x="1214" y="690"/>
                </a:lnTo>
                <a:lnTo>
                  <a:pt x="1217" y="687"/>
                </a:lnTo>
                <a:lnTo>
                  <a:pt x="1221" y="685"/>
                </a:lnTo>
                <a:lnTo>
                  <a:pt x="1224" y="684"/>
                </a:lnTo>
                <a:lnTo>
                  <a:pt x="1228" y="687"/>
                </a:lnTo>
                <a:lnTo>
                  <a:pt x="1230" y="689"/>
                </a:lnTo>
                <a:lnTo>
                  <a:pt x="1245" y="708"/>
                </a:lnTo>
                <a:lnTo>
                  <a:pt x="1258" y="723"/>
                </a:lnTo>
                <a:lnTo>
                  <a:pt x="1260" y="725"/>
                </a:lnTo>
                <a:lnTo>
                  <a:pt x="1262" y="726"/>
                </a:lnTo>
                <a:lnTo>
                  <a:pt x="1266" y="726"/>
                </a:lnTo>
                <a:lnTo>
                  <a:pt x="1268" y="725"/>
                </a:lnTo>
                <a:lnTo>
                  <a:pt x="1273" y="719"/>
                </a:lnTo>
                <a:lnTo>
                  <a:pt x="1279" y="708"/>
                </a:lnTo>
                <a:lnTo>
                  <a:pt x="1286" y="695"/>
                </a:lnTo>
                <a:lnTo>
                  <a:pt x="1291" y="679"/>
                </a:lnTo>
                <a:lnTo>
                  <a:pt x="1294" y="665"/>
                </a:lnTo>
                <a:lnTo>
                  <a:pt x="1298" y="652"/>
                </a:lnTo>
                <a:lnTo>
                  <a:pt x="1298" y="647"/>
                </a:lnTo>
                <a:lnTo>
                  <a:pt x="1298" y="643"/>
                </a:lnTo>
                <a:lnTo>
                  <a:pt x="1297" y="639"/>
                </a:lnTo>
                <a:lnTo>
                  <a:pt x="1294" y="635"/>
                </a:lnTo>
                <a:lnTo>
                  <a:pt x="1289" y="631"/>
                </a:lnTo>
                <a:lnTo>
                  <a:pt x="1280" y="626"/>
                </a:lnTo>
                <a:lnTo>
                  <a:pt x="1274" y="622"/>
                </a:lnTo>
                <a:lnTo>
                  <a:pt x="1268" y="619"/>
                </a:lnTo>
                <a:lnTo>
                  <a:pt x="1262" y="614"/>
                </a:lnTo>
                <a:lnTo>
                  <a:pt x="1258" y="608"/>
                </a:lnTo>
                <a:lnTo>
                  <a:pt x="1253" y="602"/>
                </a:lnTo>
                <a:lnTo>
                  <a:pt x="1249" y="596"/>
                </a:lnTo>
                <a:lnTo>
                  <a:pt x="1248" y="590"/>
                </a:lnTo>
                <a:lnTo>
                  <a:pt x="1249" y="584"/>
                </a:lnTo>
                <a:lnTo>
                  <a:pt x="1253" y="576"/>
                </a:lnTo>
                <a:lnTo>
                  <a:pt x="1258" y="569"/>
                </a:lnTo>
                <a:lnTo>
                  <a:pt x="1259" y="565"/>
                </a:lnTo>
                <a:lnTo>
                  <a:pt x="1260" y="562"/>
                </a:lnTo>
                <a:lnTo>
                  <a:pt x="1261" y="557"/>
                </a:lnTo>
                <a:lnTo>
                  <a:pt x="1261" y="551"/>
                </a:lnTo>
                <a:lnTo>
                  <a:pt x="1261" y="539"/>
                </a:lnTo>
                <a:lnTo>
                  <a:pt x="1261" y="530"/>
                </a:lnTo>
                <a:lnTo>
                  <a:pt x="1262" y="526"/>
                </a:lnTo>
                <a:lnTo>
                  <a:pt x="1264" y="523"/>
                </a:lnTo>
                <a:lnTo>
                  <a:pt x="1266" y="520"/>
                </a:lnTo>
                <a:lnTo>
                  <a:pt x="1270" y="519"/>
                </a:lnTo>
                <a:lnTo>
                  <a:pt x="1278" y="518"/>
                </a:lnTo>
                <a:lnTo>
                  <a:pt x="1284" y="517"/>
                </a:lnTo>
                <a:lnTo>
                  <a:pt x="1286" y="515"/>
                </a:lnTo>
                <a:lnTo>
                  <a:pt x="1289" y="513"/>
                </a:lnTo>
                <a:lnTo>
                  <a:pt x="1291" y="509"/>
                </a:lnTo>
                <a:lnTo>
                  <a:pt x="1293" y="505"/>
                </a:lnTo>
                <a:lnTo>
                  <a:pt x="1299" y="494"/>
                </a:lnTo>
                <a:lnTo>
                  <a:pt x="1308" y="483"/>
                </a:lnTo>
                <a:lnTo>
                  <a:pt x="1316" y="473"/>
                </a:lnTo>
                <a:lnTo>
                  <a:pt x="1323" y="461"/>
                </a:lnTo>
                <a:lnTo>
                  <a:pt x="1325" y="456"/>
                </a:lnTo>
                <a:lnTo>
                  <a:pt x="1328" y="452"/>
                </a:lnTo>
                <a:lnTo>
                  <a:pt x="1330" y="449"/>
                </a:lnTo>
                <a:lnTo>
                  <a:pt x="1334" y="445"/>
                </a:lnTo>
                <a:lnTo>
                  <a:pt x="1343" y="439"/>
                </a:lnTo>
                <a:lnTo>
                  <a:pt x="1357" y="432"/>
                </a:lnTo>
                <a:lnTo>
                  <a:pt x="1373" y="424"/>
                </a:lnTo>
                <a:lnTo>
                  <a:pt x="1385" y="418"/>
                </a:lnTo>
                <a:lnTo>
                  <a:pt x="1388" y="414"/>
                </a:lnTo>
                <a:lnTo>
                  <a:pt x="1392" y="411"/>
                </a:lnTo>
                <a:lnTo>
                  <a:pt x="1394" y="408"/>
                </a:lnTo>
                <a:lnTo>
                  <a:pt x="1394" y="404"/>
                </a:lnTo>
                <a:lnTo>
                  <a:pt x="1394" y="395"/>
                </a:lnTo>
                <a:lnTo>
                  <a:pt x="1393" y="386"/>
                </a:lnTo>
                <a:lnTo>
                  <a:pt x="1393" y="381"/>
                </a:lnTo>
                <a:lnTo>
                  <a:pt x="1394" y="378"/>
                </a:lnTo>
                <a:lnTo>
                  <a:pt x="1397" y="375"/>
                </a:lnTo>
                <a:lnTo>
                  <a:pt x="1400" y="374"/>
                </a:lnTo>
                <a:lnTo>
                  <a:pt x="1407" y="372"/>
                </a:lnTo>
                <a:lnTo>
                  <a:pt x="1413" y="368"/>
                </a:lnTo>
                <a:lnTo>
                  <a:pt x="1416" y="366"/>
                </a:lnTo>
                <a:lnTo>
                  <a:pt x="1418" y="362"/>
                </a:lnTo>
                <a:lnTo>
                  <a:pt x="1420" y="359"/>
                </a:lnTo>
                <a:lnTo>
                  <a:pt x="1422" y="353"/>
                </a:lnTo>
                <a:lnTo>
                  <a:pt x="1425" y="343"/>
                </a:lnTo>
                <a:lnTo>
                  <a:pt x="1429" y="336"/>
                </a:lnTo>
                <a:lnTo>
                  <a:pt x="1431" y="334"/>
                </a:lnTo>
                <a:lnTo>
                  <a:pt x="1435" y="331"/>
                </a:lnTo>
                <a:lnTo>
                  <a:pt x="1441" y="330"/>
                </a:lnTo>
                <a:lnTo>
                  <a:pt x="1447" y="330"/>
                </a:lnTo>
                <a:lnTo>
                  <a:pt x="1460" y="329"/>
                </a:lnTo>
                <a:lnTo>
                  <a:pt x="1469" y="328"/>
                </a:lnTo>
                <a:lnTo>
                  <a:pt x="1472" y="325"/>
                </a:lnTo>
                <a:lnTo>
                  <a:pt x="1474" y="323"/>
                </a:lnTo>
                <a:lnTo>
                  <a:pt x="1476" y="321"/>
                </a:lnTo>
                <a:lnTo>
                  <a:pt x="1478" y="317"/>
                </a:lnTo>
                <a:lnTo>
                  <a:pt x="1481" y="309"/>
                </a:lnTo>
                <a:lnTo>
                  <a:pt x="1486" y="300"/>
                </a:lnTo>
                <a:lnTo>
                  <a:pt x="1492" y="293"/>
                </a:lnTo>
                <a:lnTo>
                  <a:pt x="1499" y="287"/>
                </a:lnTo>
                <a:lnTo>
                  <a:pt x="1505" y="284"/>
                </a:lnTo>
                <a:lnTo>
                  <a:pt x="1508" y="280"/>
                </a:lnTo>
                <a:lnTo>
                  <a:pt x="1508" y="274"/>
                </a:lnTo>
                <a:lnTo>
                  <a:pt x="1508" y="263"/>
                </a:lnTo>
                <a:lnTo>
                  <a:pt x="1508" y="249"/>
                </a:lnTo>
                <a:lnTo>
                  <a:pt x="1508" y="235"/>
                </a:lnTo>
                <a:lnTo>
                  <a:pt x="1510" y="229"/>
                </a:lnTo>
                <a:lnTo>
                  <a:pt x="1512" y="223"/>
                </a:lnTo>
                <a:lnTo>
                  <a:pt x="1514" y="219"/>
                </a:lnTo>
                <a:lnTo>
                  <a:pt x="1519" y="217"/>
                </a:lnTo>
                <a:lnTo>
                  <a:pt x="1530" y="215"/>
                </a:lnTo>
                <a:lnTo>
                  <a:pt x="1541" y="212"/>
                </a:lnTo>
                <a:lnTo>
                  <a:pt x="1545" y="210"/>
                </a:lnTo>
                <a:lnTo>
                  <a:pt x="1551" y="208"/>
                </a:lnTo>
                <a:lnTo>
                  <a:pt x="1555" y="204"/>
                </a:lnTo>
                <a:lnTo>
                  <a:pt x="1560" y="200"/>
                </a:lnTo>
                <a:lnTo>
                  <a:pt x="1568" y="190"/>
                </a:lnTo>
                <a:lnTo>
                  <a:pt x="1577" y="177"/>
                </a:lnTo>
                <a:lnTo>
                  <a:pt x="1583" y="171"/>
                </a:lnTo>
                <a:lnTo>
                  <a:pt x="1589" y="165"/>
                </a:lnTo>
                <a:lnTo>
                  <a:pt x="1595" y="160"/>
                </a:lnTo>
                <a:lnTo>
                  <a:pt x="1601" y="158"/>
                </a:lnTo>
                <a:lnTo>
                  <a:pt x="1612" y="153"/>
                </a:lnTo>
                <a:lnTo>
                  <a:pt x="1619" y="152"/>
                </a:lnTo>
                <a:lnTo>
                  <a:pt x="1626" y="152"/>
                </a:lnTo>
                <a:lnTo>
                  <a:pt x="1632" y="152"/>
                </a:lnTo>
                <a:lnTo>
                  <a:pt x="1638" y="151"/>
                </a:lnTo>
                <a:lnTo>
                  <a:pt x="1645" y="148"/>
                </a:lnTo>
                <a:lnTo>
                  <a:pt x="1652" y="143"/>
                </a:lnTo>
                <a:lnTo>
                  <a:pt x="1661" y="139"/>
                </a:lnTo>
                <a:lnTo>
                  <a:pt x="1668" y="135"/>
                </a:lnTo>
                <a:lnTo>
                  <a:pt x="1675" y="129"/>
                </a:lnTo>
                <a:lnTo>
                  <a:pt x="1676" y="127"/>
                </a:lnTo>
                <a:lnTo>
                  <a:pt x="1675" y="122"/>
                </a:lnTo>
                <a:lnTo>
                  <a:pt x="1673" y="117"/>
                </a:lnTo>
                <a:lnTo>
                  <a:pt x="1670" y="111"/>
                </a:lnTo>
                <a:lnTo>
                  <a:pt x="1663" y="98"/>
                </a:lnTo>
                <a:lnTo>
                  <a:pt x="1658" y="89"/>
                </a:lnTo>
                <a:lnTo>
                  <a:pt x="1652" y="78"/>
                </a:lnTo>
                <a:lnTo>
                  <a:pt x="1644" y="64"/>
                </a:lnTo>
                <a:lnTo>
                  <a:pt x="1640" y="57"/>
                </a:lnTo>
                <a:lnTo>
                  <a:pt x="1639" y="54"/>
                </a:lnTo>
                <a:lnTo>
                  <a:pt x="1643" y="53"/>
                </a:lnTo>
                <a:lnTo>
                  <a:pt x="1652" y="52"/>
                </a:lnTo>
                <a:lnTo>
                  <a:pt x="1662" y="53"/>
                </a:lnTo>
                <a:lnTo>
                  <a:pt x="1671" y="54"/>
                </a:lnTo>
                <a:lnTo>
                  <a:pt x="1676" y="57"/>
                </a:lnTo>
                <a:lnTo>
                  <a:pt x="1681" y="59"/>
                </a:lnTo>
                <a:lnTo>
                  <a:pt x="1684" y="61"/>
                </a:lnTo>
                <a:lnTo>
                  <a:pt x="1688" y="65"/>
                </a:lnTo>
                <a:lnTo>
                  <a:pt x="1696" y="79"/>
                </a:lnTo>
                <a:lnTo>
                  <a:pt x="1706" y="93"/>
                </a:lnTo>
                <a:lnTo>
                  <a:pt x="1714" y="104"/>
                </a:lnTo>
                <a:lnTo>
                  <a:pt x="1722" y="113"/>
                </a:lnTo>
                <a:lnTo>
                  <a:pt x="1726" y="115"/>
                </a:lnTo>
                <a:lnTo>
                  <a:pt x="1730" y="116"/>
                </a:lnTo>
                <a:lnTo>
                  <a:pt x="1732" y="116"/>
                </a:lnTo>
                <a:lnTo>
                  <a:pt x="1736" y="115"/>
                </a:lnTo>
                <a:lnTo>
                  <a:pt x="1738" y="114"/>
                </a:lnTo>
                <a:lnTo>
                  <a:pt x="1740" y="110"/>
                </a:lnTo>
                <a:lnTo>
                  <a:pt x="1744" y="107"/>
                </a:lnTo>
                <a:lnTo>
                  <a:pt x="1746" y="102"/>
                </a:lnTo>
                <a:lnTo>
                  <a:pt x="1750" y="96"/>
                </a:lnTo>
                <a:lnTo>
                  <a:pt x="1755" y="92"/>
                </a:lnTo>
                <a:lnTo>
                  <a:pt x="1759" y="90"/>
                </a:lnTo>
                <a:lnTo>
                  <a:pt x="1765" y="90"/>
                </a:lnTo>
                <a:lnTo>
                  <a:pt x="1770" y="90"/>
                </a:lnTo>
                <a:lnTo>
                  <a:pt x="1776" y="92"/>
                </a:lnTo>
                <a:lnTo>
                  <a:pt x="1781" y="95"/>
                </a:lnTo>
                <a:lnTo>
                  <a:pt x="1783" y="98"/>
                </a:lnTo>
                <a:lnTo>
                  <a:pt x="1789" y="109"/>
                </a:lnTo>
                <a:lnTo>
                  <a:pt x="1796" y="121"/>
                </a:lnTo>
                <a:lnTo>
                  <a:pt x="1800" y="127"/>
                </a:lnTo>
                <a:lnTo>
                  <a:pt x="1803" y="132"/>
                </a:lnTo>
                <a:lnTo>
                  <a:pt x="1807" y="135"/>
                </a:lnTo>
                <a:lnTo>
                  <a:pt x="1810" y="137"/>
                </a:lnTo>
                <a:lnTo>
                  <a:pt x="1814" y="139"/>
                </a:lnTo>
                <a:lnTo>
                  <a:pt x="1818" y="139"/>
                </a:lnTo>
                <a:lnTo>
                  <a:pt x="1822" y="137"/>
                </a:lnTo>
                <a:lnTo>
                  <a:pt x="1826" y="136"/>
                </a:lnTo>
                <a:lnTo>
                  <a:pt x="1829" y="133"/>
                </a:lnTo>
                <a:lnTo>
                  <a:pt x="1834" y="128"/>
                </a:lnTo>
                <a:lnTo>
                  <a:pt x="1838" y="122"/>
                </a:lnTo>
                <a:lnTo>
                  <a:pt x="1840" y="115"/>
                </a:lnTo>
                <a:lnTo>
                  <a:pt x="1847" y="99"/>
                </a:lnTo>
                <a:lnTo>
                  <a:pt x="1854" y="83"/>
                </a:lnTo>
                <a:lnTo>
                  <a:pt x="1864" y="67"/>
                </a:lnTo>
                <a:lnTo>
                  <a:pt x="1875" y="50"/>
                </a:lnTo>
                <a:lnTo>
                  <a:pt x="1881" y="42"/>
                </a:lnTo>
                <a:lnTo>
                  <a:pt x="1889" y="35"/>
                </a:lnTo>
                <a:lnTo>
                  <a:pt x="1896" y="29"/>
                </a:lnTo>
                <a:lnTo>
                  <a:pt x="1904" y="23"/>
                </a:lnTo>
                <a:lnTo>
                  <a:pt x="1921" y="16"/>
                </a:lnTo>
                <a:lnTo>
                  <a:pt x="1938" y="9"/>
                </a:lnTo>
                <a:lnTo>
                  <a:pt x="1952" y="3"/>
                </a:lnTo>
                <a:lnTo>
                  <a:pt x="1965" y="1"/>
                </a:lnTo>
                <a:lnTo>
                  <a:pt x="1971" y="0"/>
                </a:lnTo>
                <a:lnTo>
                  <a:pt x="1976" y="0"/>
                </a:lnTo>
                <a:lnTo>
                  <a:pt x="1979" y="1"/>
                </a:lnTo>
                <a:lnTo>
                  <a:pt x="1983" y="2"/>
                </a:lnTo>
                <a:lnTo>
                  <a:pt x="1984" y="4"/>
                </a:lnTo>
                <a:lnTo>
                  <a:pt x="1985" y="8"/>
                </a:lnTo>
                <a:lnTo>
                  <a:pt x="1985" y="11"/>
                </a:lnTo>
                <a:lnTo>
                  <a:pt x="1984" y="15"/>
                </a:lnTo>
                <a:lnTo>
                  <a:pt x="1980" y="23"/>
                </a:lnTo>
                <a:lnTo>
                  <a:pt x="1976" y="32"/>
                </a:lnTo>
                <a:lnTo>
                  <a:pt x="1968" y="40"/>
                </a:lnTo>
                <a:lnTo>
                  <a:pt x="1963" y="50"/>
                </a:lnTo>
                <a:lnTo>
                  <a:pt x="1958" y="58"/>
                </a:lnTo>
                <a:lnTo>
                  <a:pt x="1955" y="66"/>
                </a:lnTo>
                <a:lnTo>
                  <a:pt x="1955" y="71"/>
                </a:lnTo>
                <a:lnTo>
                  <a:pt x="1958" y="74"/>
                </a:lnTo>
                <a:lnTo>
                  <a:pt x="1960" y="78"/>
                </a:lnTo>
                <a:lnTo>
                  <a:pt x="1964" y="82"/>
                </a:lnTo>
                <a:lnTo>
                  <a:pt x="1965" y="84"/>
                </a:lnTo>
                <a:lnTo>
                  <a:pt x="1966" y="89"/>
                </a:lnTo>
                <a:lnTo>
                  <a:pt x="1968" y="90"/>
                </a:lnTo>
                <a:lnTo>
                  <a:pt x="1971" y="91"/>
                </a:lnTo>
                <a:lnTo>
                  <a:pt x="1976" y="91"/>
                </a:lnTo>
                <a:lnTo>
                  <a:pt x="1979" y="92"/>
                </a:lnTo>
                <a:lnTo>
                  <a:pt x="1990" y="91"/>
                </a:lnTo>
                <a:lnTo>
                  <a:pt x="1998" y="90"/>
                </a:lnTo>
                <a:lnTo>
                  <a:pt x="2007" y="90"/>
                </a:lnTo>
                <a:lnTo>
                  <a:pt x="2012" y="91"/>
                </a:lnTo>
                <a:lnTo>
                  <a:pt x="2017" y="93"/>
                </a:lnTo>
                <a:lnTo>
                  <a:pt x="2022" y="98"/>
                </a:lnTo>
                <a:lnTo>
                  <a:pt x="2027" y="105"/>
                </a:lnTo>
                <a:lnTo>
                  <a:pt x="2030" y="114"/>
                </a:lnTo>
                <a:lnTo>
                  <a:pt x="2030" y="117"/>
                </a:lnTo>
                <a:lnTo>
                  <a:pt x="2030" y="121"/>
                </a:lnTo>
                <a:lnTo>
                  <a:pt x="2029" y="123"/>
                </a:lnTo>
                <a:lnTo>
                  <a:pt x="2027" y="126"/>
                </a:lnTo>
                <a:lnTo>
                  <a:pt x="2021" y="129"/>
                </a:lnTo>
                <a:lnTo>
                  <a:pt x="2014" y="132"/>
                </a:lnTo>
                <a:lnTo>
                  <a:pt x="2010" y="133"/>
                </a:lnTo>
                <a:lnTo>
                  <a:pt x="2007" y="135"/>
                </a:lnTo>
                <a:lnTo>
                  <a:pt x="2003" y="139"/>
                </a:lnTo>
                <a:lnTo>
                  <a:pt x="2001" y="143"/>
                </a:lnTo>
                <a:lnTo>
                  <a:pt x="1996" y="155"/>
                </a:lnTo>
                <a:lnTo>
                  <a:pt x="1992" y="167"/>
                </a:lnTo>
                <a:lnTo>
                  <a:pt x="1991" y="179"/>
                </a:lnTo>
                <a:lnTo>
                  <a:pt x="1990" y="190"/>
                </a:lnTo>
                <a:lnTo>
                  <a:pt x="1989" y="200"/>
                </a:lnTo>
                <a:lnTo>
                  <a:pt x="1988" y="210"/>
                </a:lnTo>
                <a:lnTo>
                  <a:pt x="1984" y="219"/>
                </a:lnTo>
                <a:lnTo>
                  <a:pt x="1979" y="225"/>
                </a:lnTo>
                <a:lnTo>
                  <a:pt x="1972" y="233"/>
                </a:lnTo>
                <a:lnTo>
                  <a:pt x="1963" y="239"/>
                </a:lnTo>
                <a:lnTo>
                  <a:pt x="1952" y="244"/>
                </a:lnTo>
                <a:lnTo>
                  <a:pt x="1944" y="249"/>
                </a:lnTo>
                <a:lnTo>
                  <a:pt x="1941" y="250"/>
                </a:lnTo>
                <a:lnTo>
                  <a:pt x="1940" y="253"/>
                </a:lnTo>
                <a:lnTo>
                  <a:pt x="1939" y="255"/>
                </a:lnTo>
                <a:lnTo>
                  <a:pt x="1938" y="258"/>
                </a:lnTo>
                <a:lnTo>
                  <a:pt x="1939" y="263"/>
                </a:lnTo>
                <a:lnTo>
                  <a:pt x="1941" y="271"/>
                </a:lnTo>
                <a:lnTo>
                  <a:pt x="1944" y="279"/>
                </a:lnTo>
                <a:lnTo>
                  <a:pt x="1946" y="288"/>
                </a:lnTo>
                <a:lnTo>
                  <a:pt x="1947" y="294"/>
                </a:lnTo>
                <a:lnTo>
                  <a:pt x="1947" y="299"/>
                </a:lnTo>
                <a:lnTo>
                  <a:pt x="1946" y="304"/>
                </a:lnTo>
                <a:lnTo>
                  <a:pt x="1945" y="309"/>
                </a:lnTo>
                <a:lnTo>
                  <a:pt x="1940" y="318"/>
                </a:lnTo>
                <a:lnTo>
                  <a:pt x="1934" y="328"/>
                </a:lnTo>
                <a:lnTo>
                  <a:pt x="1927" y="338"/>
                </a:lnTo>
                <a:lnTo>
                  <a:pt x="1923" y="350"/>
                </a:lnTo>
                <a:lnTo>
                  <a:pt x="1920" y="363"/>
                </a:lnTo>
                <a:lnTo>
                  <a:pt x="1917" y="374"/>
                </a:lnTo>
                <a:lnTo>
                  <a:pt x="1914" y="385"/>
                </a:lnTo>
                <a:lnTo>
                  <a:pt x="1910" y="395"/>
                </a:lnTo>
                <a:lnTo>
                  <a:pt x="1905" y="408"/>
                </a:lnTo>
                <a:lnTo>
                  <a:pt x="1902" y="422"/>
                </a:lnTo>
                <a:lnTo>
                  <a:pt x="1901" y="436"/>
                </a:lnTo>
                <a:lnTo>
                  <a:pt x="1900" y="448"/>
                </a:lnTo>
                <a:lnTo>
                  <a:pt x="1900" y="458"/>
                </a:lnTo>
                <a:lnTo>
                  <a:pt x="1898" y="467"/>
                </a:lnTo>
                <a:lnTo>
                  <a:pt x="1895" y="476"/>
                </a:lnTo>
                <a:lnTo>
                  <a:pt x="1890" y="485"/>
                </a:lnTo>
                <a:lnTo>
                  <a:pt x="1884" y="493"/>
                </a:lnTo>
                <a:lnTo>
                  <a:pt x="1878" y="496"/>
                </a:lnTo>
                <a:lnTo>
                  <a:pt x="1873" y="499"/>
                </a:lnTo>
                <a:lnTo>
                  <a:pt x="1869" y="500"/>
                </a:lnTo>
                <a:lnTo>
                  <a:pt x="1864" y="501"/>
                </a:lnTo>
                <a:lnTo>
                  <a:pt x="1860" y="505"/>
                </a:lnTo>
                <a:lnTo>
                  <a:pt x="1858" y="508"/>
                </a:lnTo>
                <a:lnTo>
                  <a:pt x="1857" y="513"/>
                </a:lnTo>
                <a:lnTo>
                  <a:pt x="1854" y="520"/>
                </a:lnTo>
                <a:lnTo>
                  <a:pt x="1850" y="530"/>
                </a:lnTo>
                <a:lnTo>
                  <a:pt x="1842" y="539"/>
                </a:lnTo>
                <a:lnTo>
                  <a:pt x="1837" y="546"/>
                </a:lnTo>
                <a:lnTo>
                  <a:pt x="1831" y="552"/>
                </a:lnTo>
                <a:lnTo>
                  <a:pt x="1823" y="557"/>
                </a:lnTo>
                <a:lnTo>
                  <a:pt x="1818" y="561"/>
                </a:lnTo>
                <a:lnTo>
                  <a:pt x="1809" y="563"/>
                </a:lnTo>
                <a:lnTo>
                  <a:pt x="1802" y="564"/>
                </a:lnTo>
                <a:lnTo>
                  <a:pt x="1796" y="568"/>
                </a:lnTo>
                <a:lnTo>
                  <a:pt x="1794" y="570"/>
                </a:lnTo>
                <a:lnTo>
                  <a:pt x="1793" y="572"/>
                </a:lnTo>
                <a:lnTo>
                  <a:pt x="1791" y="576"/>
                </a:lnTo>
                <a:lnTo>
                  <a:pt x="1791" y="580"/>
                </a:lnTo>
                <a:lnTo>
                  <a:pt x="1790" y="587"/>
                </a:lnTo>
                <a:lnTo>
                  <a:pt x="1789" y="593"/>
                </a:lnTo>
                <a:lnTo>
                  <a:pt x="1787" y="599"/>
                </a:lnTo>
                <a:lnTo>
                  <a:pt x="1783" y="603"/>
                </a:lnTo>
                <a:lnTo>
                  <a:pt x="1779" y="609"/>
                </a:lnTo>
                <a:lnTo>
                  <a:pt x="1776" y="616"/>
                </a:lnTo>
                <a:lnTo>
                  <a:pt x="1775" y="624"/>
                </a:lnTo>
                <a:lnTo>
                  <a:pt x="1775" y="633"/>
                </a:lnTo>
                <a:lnTo>
                  <a:pt x="1776" y="645"/>
                </a:lnTo>
                <a:lnTo>
                  <a:pt x="1776" y="660"/>
                </a:lnTo>
                <a:lnTo>
                  <a:pt x="1775" y="675"/>
                </a:lnTo>
                <a:lnTo>
                  <a:pt x="1774" y="688"/>
                </a:lnTo>
                <a:lnTo>
                  <a:pt x="1774" y="697"/>
                </a:lnTo>
                <a:lnTo>
                  <a:pt x="1774" y="706"/>
                </a:lnTo>
                <a:lnTo>
                  <a:pt x="1775" y="709"/>
                </a:lnTo>
                <a:lnTo>
                  <a:pt x="1776" y="713"/>
                </a:lnTo>
                <a:lnTo>
                  <a:pt x="1778" y="715"/>
                </a:lnTo>
                <a:lnTo>
                  <a:pt x="1782" y="719"/>
                </a:lnTo>
                <a:lnTo>
                  <a:pt x="1789" y="725"/>
                </a:lnTo>
                <a:lnTo>
                  <a:pt x="1797" y="731"/>
                </a:lnTo>
                <a:lnTo>
                  <a:pt x="1806" y="739"/>
                </a:lnTo>
                <a:lnTo>
                  <a:pt x="1812" y="747"/>
                </a:lnTo>
                <a:lnTo>
                  <a:pt x="1820" y="765"/>
                </a:lnTo>
                <a:lnTo>
                  <a:pt x="1826" y="780"/>
                </a:lnTo>
                <a:lnTo>
                  <a:pt x="1829" y="786"/>
                </a:lnTo>
                <a:lnTo>
                  <a:pt x="1834" y="790"/>
                </a:lnTo>
                <a:lnTo>
                  <a:pt x="1839" y="791"/>
                </a:lnTo>
                <a:lnTo>
                  <a:pt x="1844" y="794"/>
                </a:lnTo>
                <a:lnTo>
                  <a:pt x="1847" y="796"/>
                </a:lnTo>
                <a:lnTo>
                  <a:pt x="1851" y="801"/>
                </a:lnTo>
                <a:lnTo>
                  <a:pt x="1851" y="804"/>
                </a:lnTo>
                <a:lnTo>
                  <a:pt x="1852" y="807"/>
                </a:lnTo>
                <a:lnTo>
                  <a:pt x="1851" y="810"/>
                </a:lnTo>
                <a:lnTo>
                  <a:pt x="1850" y="814"/>
                </a:lnTo>
                <a:lnTo>
                  <a:pt x="1847" y="820"/>
                </a:lnTo>
                <a:lnTo>
                  <a:pt x="1846" y="823"/>
                </a:lnTo>
                <a:lnTo>
                  <a:pt x="1848" y="828"/>
                </a:lnTo>
                <a:lnTo>
                  <a:pt x="1852" y="832"/>
                </a:lnTo>
                <a:lnTo>
                  <a:pt x="1857" y="835"/>
                </a:lnTo>
                <a:lnTo>
                  <a:pt x="1862" y="840"/>
                </a:lnTo>
                <a:lnTo>
                  <a:pt x="1864" y="843"/>
                </a:lnTo>
                <a:lnTo>
                  <a:pt x="1866" y="847"/>
                </a:lnTo>
                <a:lnTo>
                  <a:pt x="1869" y="851"/>
                </a:lnTo>
                <a:lnTo>
                  <a:pt x="1870" y="857"/>
                </a:lnTo>
                <a:lnTo>
                  <a:pt x="1871" y="867"/>
                </a:lnTo>
                <a:lnTo>
                  <a:pt x="1872" y="878"/>
                </a:lnTo>
                <a:lnTo>
                  <a:pt x="1872" y="889"/>
                </a:lnTo>
                <a:lnTo>
                  <a:pt x="1871" y="899"/>
                </a:lnTo>
                <a:lnTo>
                  <a:pt x="1870" y="904"/>
                </a:lnTo>
                <a:lnTo>
                  <a:pt x="1867" y="909"/>
                </a:lnTo>
                <a:lnTo>
                  <a:pt x="1865" y="914"/>
                </a:lnTo>
                <a:lnTo>
                  <a:pt x="1863" y="918"/>
                </a:lnTo>
                <a:lnTo>
                  <a:pt x="1856" y="927"/>
                </a:lnTo>
                <a:lnTo>
                  <a:pt x="1846" y="934"/>
                </a:lnTo>
                <a:lnTo>
                  <a:pt x="1837" y="940"/>
                </a:lnTo>
                <a:lnTo>
                  <a:pt x="1828" y="945"/>
                </a:lnTo>
                <a:lnTo>
                  <a:pt x="1826" y="947"/>
                </a:lnTo>
                <a:lnTo>
                  <a:pt x="1822" y="948"/>
                </a:lnTo>
                <a:lnTo>
                  <a:pt x="1821" y="950"/>
                </a:lnTo>
                <a:lnTo>
                  <a:pt x="1820" y="953"/>
                </a:lnTo>
                <a:lnTo>
                  <a:pt x="1820" y="959"/>
                </a:lnTo>
                <a:lnTo>
                  <a:pt x="1822" y="966"/>
                </a:lnTo>
                <a:lnTo>
                  <a:pt x="1826" y="972"/>
                </a:lnTo>
                <a:lnTo>
                  <a:pt x="1829" y="979"/>
                </a:lnTo>
                <a:lnTo>
                  <a:pt x="1834" y="984"/>
                </a:lnTo>
                <a:lnTo>
                  <a:pt x="1837" y="989"/>
                </a:lnTo>
                <a:lnTo>
                  <a:pt x="1838" y="994"/>
                </a:lnTo>
                <a:lnTo>
                  <a:pt x="1837" y="1003"/>
                </a:lnTo>
                <a:lnTo>
                  <a:pt x="1827" y="1019"/>
                </a:lnTo>
                <a:lnTo>
                  <a:pt x="1815" y="1036"/>
                </a:lnTo>
                <a:lnTo>
                  <a:pt x="1809" y="1047"/>
                </a:lnTo>
                <a:lnTo>
                  <a:pt x="1801" y="1060"/>
                </a:lnTo>
                <a:lnTo>
                  <a:pt x="1791" y="1074"/>
                </a:lnTo>
                <a:lnTo>
                  <a:pt x="1782" y="1087"/>
                </a:lnTo>
                <a:lnTo>
                  <a:pt x="1771" y="1098"/>
                </a:lnTo>
                <a:lnTo>
                  <a:pt x="1760" y="1109"/>
                </a:lnTo>
                <a:lnTo>
                  <a:pt x="1751" y="1118"/>
                </a:lnTo>
                <a:lnTo>
                  <a:pt x="1745" y="1124"/>
                </a:lnTo>
                <a:lnTo>
                  <a:pt x="1741" y="1130"/>
                </a:lnTo>
                <a:lnTo>
                  <a:pt x="1739" y="1136"/>
                </a:lnTo>
                <a:lnTo>
                  <a:pt x="1739" y="1142"/>
                </a:lnTo>
                <a:lnTo>
                  <a:pt x="1741" y="1148"/>
                </a:lnTo>
                <a:lnTo>
                  <a:pt x="1744" y="1155"/>
                </a:lnTo>
                <a:lnTo>
                  <a:pt x="1745" y="1162"/>
                </a:lnTo>
                <a:lnTo>
                  <a:pt x="1746" y="1169"/>
                </a:lnTo>
                <a:lnTo>
                  <a:pt x="1745" y="1179"/>
                </a:lnTo>
                <a:lnTo>
                  <a:pt x="1743" y="1186"/>
                </a:lnTo>
                <a:lnTo>
                  <a:pt x="1741" y="1192"/>
                </a:lnTo>
                <a:lnTo>
                  <a:pt x="1741" y="1197"/>
                </a:lnTo>
                <a:lnTo>
                  <a:pt x="1744" y="1201"/>
                </a:lnTo>
                <a:lnTo>
                  <a:pt x="1746" y="1207"/>
                </a:lnTo>
                <a:lnTo>
                  <a:pt x="1749" y="1214"/>
                </a:lnTo>
                <a:lnTo>
                  <a:pt x="1749" y="1221"/>
                </a:lnTo>
                <a:lnTo>
                  <a:pt x="1746" y="1229"/>
                </a:lnTo>
                <a:lnTo>
                  <a:pt x="1743" y="1236"/>
                </a:lnTo>
                <a:lnTo>
                  <a:pt x="1741" y="1243"/>
                </a:lnTo>
                <a:lnTo>
                  <a:pt x="1741" y="1245"/>
                </a:lnTo>
                <a:lnTo>
                  <a:pt x="1743" y="1248"/>
                </a:lnTo>
                <a:lnTo>
                  <a:pt x="1744" y="1250"/>
                </a:lnTo>
                <a:lnTo>
                  <a:pt x="1746" y="1251"/>
                </a:lnTo>
                <a:lnTo>
                  <a:pt x="1752" y="1255"/>
                </a:lnTo>
                <a:lnTo>
                  <a:pt x="1757" y="1258"/>
                </a:lnTo>
                <a:lnTo>
                  <a:pt x="1758" y="1262"/>
                </a:lnTo>
                <a:lnTo>
                  <a:pt x="1759" y="1264"/>
                </a:lnTo>
                <a:lnTo>
                  <a:pt x="1760" y="1268"/>
                </a:lnTo>
                <a:lnTo>
                  <a:pt x="1759" y="1273"/>
                </a:lnTo>
                <a:lnTo>
                  <a:pt x="1759" y="1282"/>
                </a:lnTo>
                <a:lnTo>
                  <a:pt x="1759" y="1290"/>
                </a:lnTo>
                <a:lnTo>
                  <a:pt x="1762" y="1299"/>
                </a:lnTo>
                <a:lnTo>
                  <a:pt x="1766" y="1308"/>
                </a:lnTo>
                <a:lnTo>
                  <a:pt x="1769" y="1313"/>
                </a:lnTo>
                <a:lnTo>
                  <a:pt x="1771" y="1318"/>
                </a:lnTo>
                <a:lnTo>
                  <a:pt x="1772" y="1324"/>
                </a:lnTo>
                <a:lnTo>
                  <a:pt x="1774" y="1328"/>
                </a:lnTo>
                <a:lnTo>
                  <a:pt x="1774" y="1340"/>
                </a:lnTo>
                <a:lnTo>
                  <a:pt x="1771" y="1350"/>
                </a:lnTo>
                <a:lnTo>
                  <a:pt x="1769" y="1359"/>
                </a:lnTo>
                <a:lnTo>
                  <a:pt x="1766" y="1368"/>
                </a:lnTo>
                <a:lnTo>
                  <a:pt x="1766" y="1377"/>
                </a:lnTo>
                <a:lnTo>
                  <a:pt x="1768" y="1387"/>
                </a:lnTo>
                <a:lnTo>
                  <a:pt x="1770" y="1399"/>
                </a:lnTo>
                <a:lnTo>
                  <a:pt x="1771" y="1412"/>
                </a:lnTo>
                <a:lnTo>
                  <a:pt x="1772" y="1418"/>
                </a:lnTo>
                <a:lnTo>
                  <a:pt x="1771" y="1425"/>
                </a:lnTo>
                <a:lnTo>
                  <a:pt x="1771" y="1432"/>
                </a:lnTo>
                <a:lnTo>
                  <a:pt x="1770" y="1438"/>
                </a:lnTo>
                <a:lnTo>
                  <a:pt x="1766" y="1451"/>
                </a:lnTo>
                <a:lnTo>
                  <a:pt x="1763" y="1465"/>
                </a:lnTo>
                <a:lnTo>
                  <a:pt x="1760" y="1481"/>
                </a:lnTo>
                <a:lnTo>
                  <a:pt x="1759" y="1495"/>
                </a:lnTo>
                <a:lnTo>
                  <a:pt x="1760" y="1509"/>
                </a:lnTo>
                <a:lnTo>
                  <a:pt x="1763" y="1521"/>
                </a:lnTo>
                <a:lnTo>
                  <a:pt x="1765" y="1534"/>
                </a:lnTo>
                <a:lnTo>
                  <a:pt x="1769" y="1546"/>
                </a:lnTo>
                <a:lnTo>
                  <a:pt x="1774" y="1559"/>
                </a:lnTo>
                <a:lnTo>
                  <a:pt x="1777" y="1569"/>
                </a:lnTo>
                <a:lnTo>
                  <a:pt x="1779" y="1578"/>
                </a:lnTo>
                <a:lnTo>
                  <a:pt x="1781" y="1589"/>
                </a:lnTo>
                <a:lnTo>
                  <a:pt x="1782" y="1601"/>
                </a:lnTo>
                <a:lnTo>
                  <a:pt x="1783" y="1610"/>
                </a:lnTo>
                <a:lnTo>
                  <a:pt x="1785" y="1620"/>
                </a:lnTo>
                <a:lnTo>
                  <a:pt x="1790" y="1626"/>
                </a:lnTo>
                <a:lnTo>
                  <a:pt x="1795" y="1629"/>
                </a:lnTo>
                <a:lnTo>
                  <a:pt x="1800" y="1633"/>
                </a:lnTo>
                <a:lnTo>
                  <a:pt x="1801" y="1636"/>
                </a:lnTo>
                <a:lnTo>
                  <a:pt x="1802" y="1640"/>
                </a:lnTo>
                <a:lnTo>
                  <a:pt x="1803" y="1645"/>
                </a:lnTo>
                <a:lnTo>
                  <a:pt x="1804" y="1652"/>
                </a:lnTo>
                <a:lnTo>
                  <a:pt x="1806" y="1670"/>
                </a:lnTo>
                <a:lnTo>
                  <a:pt x="1808" y="1692"/>
                </a:lnTo>
                <a:lnTo>
                  <a:pt x="1809" y="1714"/>
                </a:lnTo>
                <a:lnTo>
                  <a:pt x="1810" y="1728"/>
                </a:lnTo>
                <a:lnTo>
                  <a:pt x="1808" y="1746"/>
                </a:lnTo>
                <a:lnTo>
                  <a:pt x="1801" y="1772"/>
                </a:lnTo>
                <a:lnTo>
                  <a:pt x="1791" y="1800"/>
                </a:lnTo>
                <a:lnTo>
                  <a:pt x="1782" y="1823"/>
                </a:lnTo>
                <a:lnTo>
                  <a:pt x="1772" y="1842"/>
                </a:lnTo>
                <a:lnTo>
                  <a:pt x="1760" y="1860"/>
                </a:lnTo>
                <a:lnTo>
                  <a:pt x="1750" y="1875"/>
                </a:lnTo>
                <a:lnTo>
                  <a:pt x="1741" y="1887"/>
                </a:lnTo>
                <a:lnTo>
                  <a:pt x="1736" y="1900"/>
                </a:lnTo>
                <a:lnTo>
                  <a:pt x="1731" y="1917"/>
                </a:lnTo>
                <a:lnTo>
                  <a:pt x="1727" y="1932"/>
                </a:lnTo>
                <a:lnTo>
                  <a:pt x="1725" y="1945"/>
                </a:lnTo>
                <a:lnTo>
                  <a:pt x="1725" y="1957"/>
                </a:lnTo>
                <a:lnTo>
                  <a:pt x="1722" y="1970"/>
                </a:lnTo>
                <a:lnTo>
                  <a:pt x="1719" y="1983"/>
                </a:lnTo>
                <a:lnTo>
                  <a:pt x="1713" y="1996"/>
                </a:lnTo>
                <a:lnTo>
                  <a:pt x="1708" y="2009"/>
                </a:lnTo>
                <a:lnTo>
                  <a:pt x="1705" y="2024"/>
                </a:lnTo>
                <a:lnTo>
                  <a:pt x="1702" y="2040"/>
                </a:lnTo>
                <a:lnTo>
                  <a:pt x="1701" y="2057"/>
                </a:lnTo>
                <a:lnTo>
                  <a:pt x="1701" y="2075"/>
                </a:lnTo>
                <a:lnTo>
                  <a:pt x="1701" y="2094"/>
                </a:lnTo>
                <a:lnTo>
                  <a:pt x="1701" y="2112"/>
                </a:lnTo>
                <a:lnTo>
                  <a:pt x="1701" y="2125"/>
                </a:lnTo>
                <a:lnTo>
                  <a:pt x="1702" y="2139"/>
                </a:lnTo>
                <a:lnTo>
                  <a:pt x="1706" y="2156"/>
                </a:lnTo>
                <a:lnTo>
                  <a:pt x="1708" y="2163"/>
                </a:lnTo>
                <a:lnTo>
                  <a:pt x="1711" y="2171"/>
                </a:lnTo>
                <a:lnTo>
                  <a:pt x="1714" y="2177"/>
                </a:lnTo>
                <a:lnTo>
                  <a:pt x="1719" y="2183"/>
                </a:lnTo>
                <a:lnTo>
                  <a:pt x="1722" y="2187"/>
                </a:lnTo>
                <a:lnTo>
                  <a:pt x="1728" y="2188"/>
                </a:lnTo>
                <a:lnTo>
                  <a:pt x="1734" y="2190"/>
                </a:lnTo>
                <a:lnTo>
                  <a:pt x="1740" y="2190"/>
                </a:lnTo>
                <a:lnTo>
                  <a:pt x="1745" y="2190"/>
                </a:lnTo>
                <a:lnTo>
                  <a:pt x="1747" y="2190"/>
                </a:lnTo>
                <a:lnTo>
                  <a:pt x="1749" y="2190"/>
                </a:lnTo>
                <a:lnTo>
                  <a:pt x="1749" y="2193"/>
                </a:lnTo>
                <a:lnTo>
                  <a:pt x="1746" y="2196"/>
                </a:lnTo>
                <a:lnTo>
                  <a:pt x="1744" y="2202"/>
                </a:lnTo>
                <a:lnTo>
                  <a:pt x="1741" y="2209"/>
                </a:lnTo>
                <a:lnTo>
                  <a:pt x="1739" y="2218"/>
                </a:lnTo>
                <a:lnTo>
                  <a:pt x="1738" y="2227"/>
                </a:lnTo>
                <a:lnTo>
                  <a:pt x="1739" y="2237"/>
                </a:lnTo>
                <a:lnTo>
                  <a:pt x="1740" y="2246"/>
                </a:lnTo>
                <a:lnTo>
                  <a:pt x="1744" y="2253"/>
                </a:lnTo>
                <a:lnTo>
                  <a:pt x="1747" y="2259"/>
                </a:lnTo>
                <a:lnTo>
                  <a:pt x="1752" y="2264"/>
                </a:lnTo>
                <a:lnTo>
                  <a:pt x="1762" y="2272"/>
                </a:lnTo>
                <a:lnTo>
                  <a:pt x="1770" y="2279"/>
                </a:lnTo>
                <a:lnTo>
                  <a:pt x="1772" y="2283"/>
                </a:lnTo>
                <a:lnTo>
                  <a:pt x="1775" y="2288"/>
                </a:lnTo>
                <a:lnTo>
                  <a:pt x="1776" y="2291"/>
                </a:lnTo>
                <a:lnTo>
                  <a:pt x="1777" y="2295"/>
                </a:lnTo>
                <a:lnTo>
                  <a:pt x="1776" y="2298"/>
                </a:lnTo>
                <a:lnTo>
                  <a:pt x="1775" y="2302"/>
                </a:lnTo>
                <a:lnTo>
                  <a:pt x="1772" y="2305"/>
                </a:lnTo>
                <a:lnTo>
                  <a:pt x="1770" y="2309"/>
                </a:lnTo>
                <a:lnTo>
                  <a:pt x="1763" y="2317"/>
                </a:lnTo>
                <a:lnTo>
                  <a:pt x="1758" y="2327"/>
                </a:lnTo>
                <a:lnTo>
                  <a:pt x="1757" y="2332"/>
                </a:lnTo>
                <a:lnTo>
                  <a:pt x="1758" y="2335"/>
                </a:lnTo>
                <a:lnTo>
                  <a:pt x="1759" y="2340"/>
                </a:lnTo>
                <a:lnTo>
                  <a:pt x="1764" y="2343"/>
                </a:lnTo>
                <a:lnTo>
                  <a:pt x="1778" y="2351"/>
                </a:lnTo>
                <a:lnTo>
                  <a:pt x="1795" y="2359"/>
                </a:lnTo>
                <a:lnTo>
                  <a:pt x="1813" y="2366"/>
                </a:lnTo>
                <a:lnTo>
                  <a:pt x="1826" y="2373"/>
                </a:lnTo>
                <a:lnTo>
                  <a:pt x="1829" y="2377"/>
                </a:lnTo>
                <a:lnTo>
                  <a:pt x="1833" y="2379"/>
                </a:lnTo>
                <a:lnTo>
                  <a:pt x="1834" y="2383"/>
                </a:lnTo>
                <a:lnTo>
                  <a:pt x="1835" y="2385"/>
                </a:lnTo>
                <a:lnTo>
                  <a:pt x="1834" y="2391"/>
                </a:lnTo>
                <a:lnTo>
                  <a:pt x="1832" y="2396"/>
                </a:lnTo>
                <a:lnTo>
                  <a:pt x="1827" y="2402"/>
                </a:lnTo>
                <a:lnTo>
                  <a:pt x="1821" y="2409"/>
                </a:lnTo>
                <a:lnTo>
                  <a:pt x="1819" y="2412"/>
                </a:lnTo>
                <a:lnTo>
                  <a:pt x="1818" y="2417"/>
                </a:lnTo>
                <a:lnTo>
                  <a:pt x="1816" y="2423"/>
                </a:lnTo>
                <a:lnTo>
                  <a:pt x="1816" y="2429"/>
                </a:lnTo>
                <a:lnTo>
                  <a:pt x="1818" y="2435"/>
                </a:lnTo>
                <a:lnTo>
                  <a:pt x="1820" y="2441"/>
                </a:lnTo>
                <a:lnTo>
                  <a:pt x="1822" y="2446"/>
                </a:lnTo>
                <a:lnTo>
                  <a:pt x="1826" y="2450"/>
                </a:lnTo>
                <a:lnTo>
                  <a:pt x="1832" y="2458"/>
                </a:lnTo>
                <a:lnTo>
                  <a:pt x="1837" y="2464"/>
                </a:lnTo>
                <a:lnTo>
                  <a:pt x="1838" y="2466"/>
                </a:lnTo>
                <a:lnTo>
                  <a:pt x="1838" y="2469"/>
                </a:lnTo>
                <a:lnTo>
                  <a:pt x="1838" y="2472"/>
                </a:lnTo>
                <a:lnTo>
                  <a:pt x="1837" y="2475"/>
                </a:lnTo>
                <a:lnTo>
                  <a:pt x="1833" y="2481"/>
                </a:lnTo>
                <a:lnTo>
                  <a:pt x="1828" y="2489"/>
                </a:lnTo>
                <a:lnTo>
                  <a:pt x="1826" y="2492"/>
                </a:lnTo>
                <a:lnTo>
                  <a:pt x="1823" y="2496"/>
                </a:lnTo>
                <a:lnTo>
                  <a:pt x="1822" y="2500"/>
                </a:lnTo>
                <a:lnTo>
                  <a:pt x="1822" y="2504"/>
                </a:lnTo>
                <a:lnTo>
                  <a:pt x="1822" y="2508"/>
                </a:lnTo>
                <a:lnTo>
                  <a:pt x="1825" y="2511"/>
                </a:lnTo>
                <a:lnTo>
                  <a:pt x="1828" y="2513"/>
                </a:lnTo>
                <a:lnTo>
                  <a:pt x="1833" y="2516"/>
                </a:lnTo>
                <a:lnTo>
                  <a:pt x="1847" y="2518"/>
                </a:lnTo>
                <a:lnTo>
                  <a:pt x="1860" y="2523"/>
                </a:lnTo>
                <a:lnTo>
                  <a:pt x="1867" y="2525"/>
                </a:lnTo>
                <a:lnTo>
                  <a:pt x="1873" y="2529"/>
                </a:lnTo>
                <a:lnTo>
                  <a:pt x="1878" y="2534"/>
                </a:lnTo>
                <a:lnTo>
                  <a:pt x="1883" y="2541"/>
                </a:lnTo>
                <a:lnTo>
                  <a:pt x="1888" y="2555"/>
                </a:lnTo>
                <a:lnTo>
                  <a:pt x="1890" y="2568"/>
                </a:lnTo>
                <a:lnTo>
                  <a:pt x="1892" y="2575"/>
                </a:lnTo>
                <a:lnTo>
                  <a:pt x="1895" y="2582"/>
                </a:lnTo>
                <a:lnTo>
                  <a:pt x="1898" y="2588"/>
                </a:lnTo>
                <a:lnTo>
                  <a:pt x="1903" y="2594"/>
                </a:lnTo>
                <a:lnTo>
                  <a:pt x="1917" y="2607"/>
                </a:lnTo>
                <a:lnTo>
                  <a:pt x="1932" y="2618"/>
                </a:lnTo>
                <a:lnTo>
                  <a:pt x="1946" y="2630"/>
                </a:lnTo>
                <a:lnTo>
                  <a:pt x="1958" y="2642"/>
                </a:lnTo>
                <a:lnTo>
                  <a:pt x="1963" y="2648"/>
                </a:lnTo>
                <a:lnTo>
                  <a:pt x="1967" y="2654"/>
                </a:lnTo>
                <a:lnTo>
                  <a:pt x="1970" y="2660"/>
                </a:lnTo>
                <a:lnTo>
                  <a:pt x="1972" y="2667"/>
                </a:lnTo>
                <a:lnTo>
                  <a:pt x="1974" y="2680"/>
                </a:lnTo>
                <a:lnTo>
                  <a:pt x="1974" y="2694"/>
                </a:lnTo>
                <a:lnTo>
                  <a:pt x="1973" y="2711"/>
                </a:lnTo>
                <a:lnTo>
                  <a:pt x="1973" y="2727"/>
                </a:lnTo>
                <a:lnTo>
                  <a:pt x="1971" y="2742"/>
                </a:lnTo>
                <a:lnTo>
                  <a:pt x="1968" y="2754"/>
                </a:lnTo>
                <a:lnTo>
                  <a:pt x="1964" y="2763"/>
                </a:lnTo>
                <a:lnTo>
                  <a:pt x="1957" y="2775"/>
                </a:lnTo>
                <a:lnTo>
                  <a:pt x="1949" y="2787"/>
                </a:lnTo>
                <a:lnTo>
                  <a:pt x="1942" y="2795"/>
                </a:lnTo>
                <a:lnTo>
                  <a:pt x="1938" y="2801"/>
                </a:lnTo>
                <a:lnTo>
                  <a:pt x="1934" y="2802"/>
                </a:lnTo>
                <a:lnTo>
                  <a:pt x="1930" y="2802"/>
                </a:lnTo>
                <a:lnTo>
                  <a:pt x="1926" y="2800"/>
                </a:lnTo>
                <a:lnTo>
                  <a:pt x="1922" y="2799"/>
                </a:lnTo>
                <a:lnTo>
                  <a:pt x="1919" y="2800"/>
                </a:lnTo>
                <a:lnTo>
                  <a:pt x="1914" y="2801"/>
                </a:lnTo>
                <a:lnTo>
                  <a:pt x="1910" y="2802"/>
                </a:lnTo>
                <a:lnTo>
                  <a:pt x="1902" y="2808"/>
                </a:lnTo>
                <a:lnTo>
                  <a:pt x="1892" y="2815"/>
                </a:lnTo>
                <a:lnTo>
                  <a:pt x="1876" y="2826"/>
                </a:lnTo>
                <a:lnTo>
                  <a:pt x="1864" y="2833"/>
                </a:lnTo>
                <a:lnTo>
                  <a:pt x="1863" y="2836"/>
                </a:lnTo>
                <a:lnTo>
                  <a:pt x="1860" y="2837"/>
                </a:lnTo>
                <a:lnTo>
                  <a:pt x="1858" y="2837"/>
                </a:lnTo>
                <a:lnTo>
                  <a:pt x="1854" y="2838"/>
                </a:lnTo>
                <a:lnTo>
                  <a:pt x="1852" y="2837"/>
                </a:lnTo>
                <a:lnTo>
                  <a:pt x="1850" y="2836"/>
                </a:lnTo>
                <a:lnTo>
                  <a:pt x="1847" y="2834"/>
                </a:lnTo>
                <a:lnTo>
                  <a:pt x="1845" y="2831"/>
                </a:lnTo>
                <a:lnTo>
                  <a:pt x="1842" y="2827"/>
                </a:lnTo>
                <a:lnTo>
                  <a:pt x="1839" y="2825"/>
                </a:lnTo>
                <a:lnTo>
                  <a:pt x="1837" y="2825"/>
                </a:lnTo>
                <a:lnTo>
                  <a:pt x="1832" y="2826"/>
                </a:lnTo>
                <a:lnTo>
                  <a:pt x="1827" y="2826"/>
                </a:lnTo>
                <a:lnTo>
                  <a:pt x="1823" y="2824"/>
                </a:lnTo>
                <a:lnTo>
                  <a:pt x="1822" y="2819"/>
                </a:lnTo>
                <a:lnTo>
                  <a:pt x="1820" y="2809"/>
                </a:lnTo>
                <a:lnTo>
                  <a:pt x="1819" y="2799"/>
                </a:lnTo>
                <a:lnTo>
                  <a:pt x="1815" y="2792"/>
                </a:lnTo>
                <a:lnTo>
                  <a:pt x="1812" y="2788"/>
                </a:lnTo>
                <a:lnTo>
                  <a:pt x="1808" y="2784"/>
                </a:lnTo>
                <a:lnTo>
                  <a:pt x="1806" y="2784"/>
                </a:lnTo>
                <a:lnTo>
                  <a:pt x="1803" y="2784"/>
                </a:lnTo>
                <a:lnTo>
                  <a:pt x="1801" y="2784"/>
                </a:lnTo>
                <a:lnTo>
                  <a:pt x="1799" y="2786"/>
                </a:lnTo>
                <a:lnTo>
                  <a:pt x="1793" y="2790"/>
                </a:lnTo>
                <a:lnTo>
                  <a:pt x="1788" y="2796"/>
                </a:lnTo>
                <a:lnTo>
                  <a:pt x="1782" y="2801"/>
                </a:lnTo>
                <a:lnTo>
                  <a:pt x="1776" y="2805"/>
                </a:lnTo>
                <a:lnTo>
                  <a:pt x="1769" y="2807"/>
                </a:lnTo>
                <a:lnTo>
                  <a:pt x="1759" y="2809"/>
                </a:lnTo>
                <a:lnTo>
                  <a:pt x="1747" y="2809"/>
                </a:lnTo>
                <a:lnTo>
                  <a:pt x="1737" y="2811"/>
                </a:lnTo>
                <a:lnTo>
                  <a:pt x="1725" y="2813"/>
                </a:lnTo>
                <a:lnTo>
                  <a:pt x="1711" y="2817"/>
                </a:lnTo>
                <a:lnTo>
                  <a:pt x="1703" y="2818"/>
                </a:lnTo>
                <a:lnTo>
                  <a:pt x="1697" y="2819"/>
                </a:lnTo>
                <a:lnTo>
                  <a:pt x="1692" y="2818"/>
                </a:lnTo>
                <a:lnTo>
                  <a:pt x="1687" y="2817"/>
                </a:lnTo>
                <a:lnTo>
                  <a:pt x="1678" y="2813"/>
                </a:lnTo>
                <a:lnTo>
                  <a:pt x="1670" y="2808"/>
                </a:lnTo>
                <a:lnTo>
                  <a:pt x="1667" y="2805"/>
                </a:lnTo>
                <a:lnTo>
                  <a:pt x="1661" y="2802"/>
                </a:lnTo>
                <a:lnTo>
                  <a:pt x="1655" y="2801"/>
                </a:lnTo>
                <a:lnTo>
                  <a:pt x="1649" y="2800"/>
                </a:lnTo>
                <a:lnTo>
                  <a:pt x="1636" y="2799"/>
                </a:lnTo>
                <a:lnTo>
                  <a:pt x="1625" y="2800"/>
                </a:lnTo>
                <a:lnTo>
                  <a:pt x="1614" y="2801"/>
                </a:lnTo>
                <a:lnTo>
                  <a:pt x="1601" y="2801"/>
                </a:lnTo>
                <a:lnTo>
                  <a:pt x="1586" y="2800"/>
                </a:lnTo>
                <a:lnTo>
                  <a:pt x="1571" y="2796"/>
                </a:lnTo>
                <a:lnTo>
                  <a:pt x="1556" y="2793"/>
                </a:lnTo>
                <a:lnTo>
                  <a:pt x="1541" y="2790"/>
                </a:lnTo>
                <a:lnTo>
                  <a:pt x="1526" y="2790"/>
                </a:lnTo>
                <a:lnTo>
                  <a:pt x="1519" y="2790"/>
                </a:lnTo>
                <a:lnTo>
                  <a:pt x="1513" y="2788"/>
                </a:lnTo>
                <a:lnTo>
                  <a:pt x="1504" y="2786"/>
                </a:lnTo>
                <a:lnTo>
                  <a:pt x="1498" y="2784"/>
                </a:lnTo>
                <a:lnTo>
                  <a:pt x="1492" y="2783"/>
                </a:lnTo>
                <a:lnTo>
                  <a:pt x="1486" y="2784"/>
                </a:lnTo>
                <a:lnTo>
                  <a:pt x="1480" y="2786"/>
                </a:lnTo>
                <a:lnTo>
                  <a:pt x="1470" y="2788"/>
                </a:lnTo>
                <a:lnTo>
                  <a:pt x="1462" y="2790"/>
                </a:lnTo>
                <a:lnTo>
                  <a:pt x="1454" y="2790"/>
                </a:lnTo>
                <a:lnTo>
                  <a:pt x="1444" y="2790"/>
                </a:lnTo>
                <a:lnTo>
                  <a:pt x="1438" y="2790"/>
                </a:lnTo>
                <a:lnTo>
                  <a:pt x="1434" y="2792"/>
                </a:lnTo>
                <a:lnTo>
                  <a:pt x="1428" y="2794"/>
                </a:lnTo>
                <a:lnTo>
                  <a:pt x="1423" y="2798"/>
                </a:lnTo>
                <a:lnTo>
                  <a:pt x="1415" y="2803"/>
                </a:lnTo>
                <a:lnTo>
                  <a:pt x="1409" y="2811"/>
                </a:lnTo>
                <a:lnTo>
                  <a:pt x="1407" y="2814"/>
                </a:lnTo>
                <a:lnTo>
                  <a:pt x="1405" y="2817"/>
                </a:lnTo>
                <a:lnTo>
                  <a:pt x="1405" y="2820"/>
                </a:lnTo>
                <a:lnTo>
                  <a:pt x="1405" y="2824"/>
                </a:lnTo>
                <a:lnTo>
                  <a:pt x="1406" y="2827"/>
                </a:lnTo>
                <a:lnTo>
                  <a:pt x="1407" y="2831"/>
                </a:lnTo>
                <a:lnTo>
                  <a:pt x="1411" y="2833"/>
                </a:lnTo>
                <a:lnTo>
                  <a:pt x="1416" y="2834"/>
                </a:lnTo>
                <a:lnTo>
                  <a:pt x="1430" y="2838"/>
                </a:lnTo>
                <a:lnTo>
                  <a:pt x="1449" y="2840"/>
                </a:lnTo>
                <a:lnTo>
                  <a:pt x="1468" y="2843"/>
                </a:lnTo>
                <a:lnTo>
                  <a:pt x="1483" y="2845"/>
                </a:lnTo>
                <a:lnTo>
                  <a:pt x="1491" y="2846"/>
                </a:lnTo>
                <a:lnTo>
                  <a:pt x="1497" y="2849"/>
                </a:lnTo>
                <a:lnTo>
                  <a:pt x="1503" y="2852"/>
                </a:lnTo>
                <a:lnTo>
                  <a:pt x="1508" y="2856"/>
                </a:lnTo>
                <a:lnTo>
                  <a:pt x="1513" y="2861"/>
                </a:lnTo>
                <a:lnTo>
                  <a:pt x="1517" y="2864"/>
                </a:lnTo>
                <a:lnTo>
                  <a:pt x="1519" y="2869"/>
                </a:lnTo>
                <a:lnTo>
                  <a:pt x="1520" y="2874"/>
                </a:lnTo>
                <a:lnTo>
                  <a:pt x="1522" y="2884"/>
                </a:lnTo>
                <a:lnTo>
                  <a:pt x="1522" y="2901"/>
                </a:lnTo>
                <a:lnTo>
                  <a:pt x="1520" y="2919"/>
                </a:lnTo>
                <a:lnTo>
                  <a:pt x="1520" y="2935"/>
                </a:lnTo>
                <a:lnTo>
                  <a:pt x="1520" y="2943"/>
                </a:lnTo>
                <a:lnTo>
                  <a:pt x="1522" y="2947"/>
                </a:lnTo>
                <a:lnTo>
                  <a:pt x="1524" y="2950"/>
                </a:lnTo>
                <a:lnTo>
                  <a:pt x="1526" y="2951"/>
                </a:lnTo>
                <a:lnTo>
                  <a:pt x="1532" y="2952"/>
                </a:lnTo>
                <a:lnTo>
                  <a:pt x="1538" y="2950"/>
                </a:lnTo>
                <a:lnTo>
                  <a:pt x="1550" y="2946"/>
                </a:lnTo>
                <a:lnTo>
                  <a:pt x="1563" y="2943"/>
                </a:lnTo>
                <a:lnTo>
                  <a:pt x="1569" y="2943"/>
                </a:lnTo>
                <a:lnTo>
                  <a:pt x="1574" y="2944"/>
                </a:lnTo>
                <a:lnTo>
                  <a:pt x="1577" y="2946"/>
                </a:lnTo>
                <a:lnTo>
                  <a:pt x="1580" y="2948"/>
                </a:lnTo>
                <a:lnTo>
                  <a:pt x="1583" y="2951"/>
                </a:lnTo>
                <a:lnTo>
                  <a:pt x="1588" y="2954"/>
                </a:lnTo>
                <a:lnTo>
                  <a:pt x="1595" y="2956"/>
                </a:lnTo>
                <a:lnTo>
                  <a:pt x="1604" y="2957"/>
                </a:lnTo>
                <a:lnTo>
                  <a:pt x="1613" y="2956"/>
                </a:lnTo>
                <a:lnTo>
                  <a:pt x="1623" y="2956"/>
                </a:lnTo>
                <a:lnTo>
                  <a:pt x="1631" y="2958"/>
                </a:lnTo>
                <a:lnTo>
                  <a:pt x="1637" y="2960"/>
                </a:lnTo>
                <a:lnTo>
                  <a:pt x="1646" y="2969"/>
                </a:lnTo>
                <a:lnTo>
                  <a:pt x="1655" y="2975"/>
                </a:lnTo>
                <a:lnTo>
                  <a:pt x="1659" y="2978"/>
                </a:lnTo>
                <a:lnTo>
                  <a:pt x="1661" y="2981"/>
                </a:lnTo>
                <a:lnTo>
                  <a:pt x="1661" y="2985"/>
                </a:lnTo>
                <a:lnTo>
                  <a:pt x="1661" y="2991"/>
                </a:lnTo>
                <a:lnTo>
                  <a:pt x="1659" y="3001"/>
                </a:lnTo>
                <a:lnTo>
                  <a:pt x="1661" y="3011"/>
                </a:lnTo>
                <a:lnTo>
                  <a:pt x="1665" y="3030"/>
                </a:lnTo>
                <a:lnTo>
                  <a:pt x="1671" y="3046"/>
                </a:lnTo>
                <a:lnTo>
                  <a:pt x="1673" y="3055"/>
                </a:lnTo>
                <a:lnTo>
                  <a:pt x="1671" y="3063"/>
                </a:lnTo>
                <a:lnTo>
                  <a:pt x="1669" y="3065"/>
                </a:lnTo>
                <a:lnTo>
                  <a:pt x="1667" y="3067"/>
                </a:lnTo>
                <a:lnTo>
                  <a:pt x="1664" y="3067"/>
                </a:lnTo>
                <a:lnTo>
                  <a:pt x="1659" y="3067"/>
                </a:lnTo>
                <a:lnTo>
                  <a:pt x="1652" y="3067"/>
                </a:lnTo>
                <a:lnTo>
                  <a:pt x="1648" y="3069"/>
                </a:lnTo>
                <a:lnTo>
                  <a:pt x="1644" y="3072"/>
                </a:lnTo>
                <a:lnTo>
                  <a:pt x="1640" y="3077"/>
                </a:lnTo>
                <a:lnTo>
                  <a:pt x="1634" y="3083"/>
                </a:lnTo>
                <a:lnTo>
                  <a:pt x="1627" y="3089"/>
                </a:lnTo>
                <a:lnTo>
                  <a:pt x="1619" y="3096"/>
                </a:lnTo>
                <a:lnTo>
                  <a:pt x="1612" y="3101"/>
                </a:lnTo>
                <a:lnTo>
                  <a:pt x="1608" y="3102"/>
                </a:lnTo>
                <a:lnTo>
                  <a:pt x="1605" y="3101"/>
                </a:lnTo>
                <a:lnTo>
                  <a:pt x="1600" y="3098"/>
                </a:lnTo>
                <a:lnTo>
                  <a:pt x="1595" y="3096"/>
                </a:lnTo>
                <a:lnTo>
                  <a:pt x="1586" y="3088"/>
                </a:lnTo>
                <a:lnTo>
                  <a:pt x="1577" y="3079"/>
                </a:lnTo>
                <a:lnTo>
                  <a:pt x="1573" y="3077"/>
                </a:lnTo>
                <a:lnTo>
                  <a:pt x="1569" y="3074"/>
                </a:lnTo>
                <a:lnTo>
                  <a:pt x="1566" y="3074"/>
                </a:lnTo>
                <a:lnTo>
                  <a:pt x="1562" y="3074"/>
                </a:lnTo>
                <a:lnTo>
                  <a:pt x="1555" y="3077"/>
                </a:lnTo>
                <a:lnTo>
                  <a:pt x="1549" y="3082"/>
                </a:lnTo>
                <a:lnTo>
                  <a:pt x="1543" y="3086"/>
                </a:lnTo>
                <a:lnTo>
                  <a:pt x="1538" y="3089"/>
                </a:lnTo>
                <a:lnTo>
                  <a:pt x="1533" y="3088"/>
                </a:lnTo>
                <a:lnTo>
                  <a:pt x="1526" y="3085"/>
                </a:lnTo>
                <a:lnTo>
                  <a:pt x="1518" y="3083"/>
                </a:lnTo>
                <a:lnTo>
                  <a:pt x="1508" y="3083"/>
                </a:lnTo>
                <a:lnTo>
                  <a:pt x="1499" y="3083"/>
                </a:lnTo>
                <a:lnTo>
                  <a:pt x="1491" y="3082"/>
                </a:lnTo>
                <a:lnTo>
                  <a:pt x="1485" y="3080"/>
                </a:lnTo>
                <a:lnTo>
                  <a:pt x="1478" y="3080"/>
                </a:lnTo>
                <a:lnTo>
                  <a:pt x="1474" y="3080"/>
                </a:lnTo>
                <a:lnTo>
                  <a:pt x="1472" y="3082"/>
                </a:lnTo>
                <a:lnTo>
                  <a:pt x="1468" y="3084"/>
                </a:lnTo>
                <a:lnTo>
                  <a:pt x="1464" y="3086"/>
                </a:lnTo>
                <a:lnTo>
                  <a:pt x="1459" y="3095"/>
                </a:lnTo>
                <a:lnTo>
                  <a:pt x="1453" y="3105"/>
                </a:lnTo>
                <a:lnTo>
                  <a:pt x="1450" y="3111"/>
                </a:lnTo>
                <a:lnTo>
                  <a:pt x="1448" y="3118"/>
                </a:lnTo>
                <a:lnTo>
                  <a:pt x="1447" y="3124"/>
                </a:lnTo>
                <a:lnTo>
                  <a:pt x="1447" y="3132"/>
                </a:lnTo>
                <a:lnTo>
                  <a:pt x="1447" y="3137"/>
                </a:lnTo>
                <a:lnTo>
                  <a:pt x="1445" y="3143"/>
                </a:lnTo>
                <a:lnTo>
                  <a:pt x="1444" y="3147"/>
                </a:lnTo>
                <a:lnTo>
                  <a:pt x="1443" y="3151"/>
                </a:lnTo>
                <a:lnTo>
                  <a:pt x="1440" y="3155"/>
                </a:lnTo>
                <a:lnTo>
                  <a:pt x="1435" y="3159"/>
                </a:lnTo>
                <a:lnTo>
                  <a:pt x="1429" y="3165"/>
                </a:lnTo>
                <a:lnTo>
                  <a:pt x="1424" y="3173"/>
                </a:lnTo>
                <a:lnTo>
                  <a:pt x="1422" y="3179"/>
                </a:lnTo>
                <a:lnTo>
                  <a:pt x="1419" y="3186"/>
                </a:lnTo>
                <a:lnTo>
                  <a:pt x="1419" y="3192"/>
                </a:lnTo>
                <a:lnTo>
                  <a:pt x="1419" y="3200"/>
                </a:lnTo>
                <a:lnTo>
                  <a:pt x="1420" y="3208"/>
                </a:lnTo>
                <a:lnTo>
                  <a:pt x="1423" y="3214"/>
                </a:lnTo>
                <a:lnTo>
                  <a:pt x="1426" y="3218"/>
                </a:lnTo>
                <a:lnTo>
                  <a:pt x="1430" y="3223"/>
                </a:lnTo>
                <a:lnTo>
                  <a:pt x="1438" y="3229"/>
                </a:lnTo>
                <a:lnTo>
                  <a:pt x="1445" y="3235"/>
                </a:lnTo>
                <a:lnTo>
                  <a:pt x="1448" y="3238"/>
                </a:lnTo>
                <a:lnTo>
                  <a:pt x="1450" y="3243"/>
                </a:lnTo>
                <a:lnTo>
                  <a:pt x="1451" y="3249"/>
                </a:lnTo>
                <a:lnTo>
                  <a:pt x="1453" y="3256"/>
                </a:lnTo>
                <a:lnTo>
                  <a:pt x="1454" y="3273"/>
                </a:lnTo>
                <a:lnTo>
                  <a:pt x="1455" y="3291"/>
                </a:lnTo>
                <a:lnTo>
                  <a:pt x="1454" y="3313"/>
                </a:lnTo>
                <a:lnTo>
                  <a:pt x="1453" y="3343"/>
                </a:lnTo>
                <a:lnTo>
                  <a:pt x="1453" y="3359"/>
                </a:lnTo>
                <a:lnTo>
                  <a:pt x="1454" y="3374"/>
                </a:lnTo>
                <a:lnTo>
                  <a:pt x="1454" y="3387"/>
                </a:lnTo>
                <a:lnTo>
                  <a:pt x="1456" y="3398"/>
                </a:lnTo>
                <a:lnTo>
                  <a:pt x="1457" y="3407"/>
                </a:lnTo>
                <a:lnTo>
                  <a:pt x="1457" y="3416"/>
                </a:lnTo>
                <a:lnTo>
                  <a:pt x="1457" y="3423"/>
                </a:lnTo>
                <a:lnTo>
                  <a:pt x="1455" y="3430"/>
                </a:lnTo>
                <a:lnTo>
                  <a:pt x="1453" y="3436"/>
                </a:lnTo>
                <a:lnTo>
                  <a:pt x="1449" y="3442"/>
                </a:lnTo>
                <a:lnTo>
                  <a:pt x="1445" y="3447"/>
                </a:lnTo>
                <a:lnTo>
                  <a:pt x="1442" y="3450"/>
                </a:lnTo>
                <a:lnTo>
                  <a:pt x="1438" y="3452"/>
                </a:lnTo>
                <a:lnTo>
                  <a:pt x="1432" y="3455"/>
                </a:lnTo>
                <a:lnTo>
                  <a:pt x="1425" y="3457"/>
                </a:lnTo>
                <a:lnTo>
                  <a:pt x="1416" y="3460"/>
                </a:lnTo>
                <a:lnTo>
                  <a:pt x="1397" y="3462"/>
                </a:lnTo>
                <a:lnTo>
                  <a:pt x="1375" y="3463"/>
                </a:lnTo>
                <a:lnTo>
                  <a:pt x="1366" y="3462"/>
                </a:lnTo>
                <a:lnTo>
                  <a:pt x="1359" y="3461"/>
                </a:lnTo>
                <a:lnTo>
                  <a:pt x="1352" y="3460"/>
                </a:lnTo>
                <a:lnTo>
                  <a:pt x="1347" y="3457"/>
                </a:lnTo>
                <a:lnTo>
                  <a:pt x="1343" y="3455"/>
                </a:lnTo>
                <a:lnTo>
                  <a:pt x="1341" y="3450"/>
                </a:lnTo>
                <a:lnTo>
                  <a:pt x="1337" y="3445"/>
                </a:lnTo>
                <a:lnTo>
                  <a:pt x="1335" y="3441"/>
                </a:lnTo>
                <a:lnTo>
                  <a:pt x="1328" y="3427"/>
                </a:lnTo>
                <a:lnTo>
                  <a:pt x="1319" y="3416"/>
                </a:lnTo>
                <a:lnTo>
                  <a:pt x="1310" y="3404"/>
                </a:lnTo>
                <a:lnTo>
                  <a:pt x="1298" y="3391"/>
                </a:lnTo>
                <a:lnTo>
                  <a:pt x="1284" y="3376"/>
                </a:lnTo>
                <a:lnTo>
                  <a:pt x="1267" y="3361"/>
                </a:lnTo>
                <a:lnTo>
                  <a:pt x="1252" y="3348"/>
                </a:lnTo>
                <a:lnTo>
                  <a:pt x="1240" y="3341"/>
                </a:lnTo>
                <a:lnTo>
                  <a:pt x="1229" y="3336"/>
                </a:lnTo>
                <a:lnTo>
                  <a:pt x="1216" y="3331"/>
                </a:lnTo>
                <a:lnTo>
                  <a:pt x="1203" y="3326"/>
                </a:lnTo>
                <a:lnTo>
                  <a:pt x="1192" y="3322"/>
                </a:lnTo>
                <a:lnTo>
                  <a:pt x="1184" y="3316"/>
                </a:lnTo>
                <a:lnTo>
                  <a:pt x="1174" y="3307"/>
                </a:lnTo>
                <a:lnTo>
                  <a:pt x="1164" y="3299"/>
                </a:lnTo>
                <a:lnTo>
                  <a:pt x="1151" y="3290"/>
                </a:lnTo>
                <a:lnTo>
                  <a:pt x="1138" y="3282"/>
                </a:lnTo>
                <a:lnTo>
                  <a:pt x="1124" y="3274"/>
                </a:lnTo>
                <a:lnTo>
                  <a:pt x="1114" y="3268"/>
                </a:lnTo>
                <a:lnTo>
                  <a:pt x="1105" y="3263"/>
                </a:lnTo>
                <a:lnTo>
                  <a:pt x="1098" y="3259"/>
                </a:lnTo>
                <a:lnTo>
                  <a:pt x="1091" y="3254"/>
                </a:lnTo>
                <a:lnTo>
                  <a:pt x="1086" y="3248"/>
                </a:lnTo>
                <a:lnTo>
                  <a:pt x="1082" y="3243"/>
                </a:lnTo>
                <a:lnTo>
                  <a:pt x="1072" y="3233"/>
                </a:lnTo>
                <a:lnTo>
                  <a:pt x="1065" y="3224"/>
                </a:lnTo>
                <a:lnTo>
                  <a:pt x="1058" y="3218"/>
                </a:lnTo>
                <a:lnTo>
                  <a:pt x="1052" y="3214"/>
                </a:lnTo>
                <a:lnTo>
                  <a:pt x="1046" y="3210"/>
                </a:lnTo>
                <a:lnTo>
                  <a:pt x="1040" y="3210"/>
                </a:lnTo>
                <a:lnTo>
                  <a:pt x="1032" y="3211"/>
                </a:lnTo>
                <a:lnTo>
                  <a:pt x="1021" y="3214"/>
                </a:lnTo>
                <a:lnTo>
                  <a:pt x="1016" y="3215"/>
                </a:lnTo>
                <a:lnTo>
                  <a:pt x="1010" y="3215"/>
                </a:lnTo>
                <a:lnTo>
                  <a:pt x="1004" y="3214"/>
                </a:lnTo>
                <a:lnTo>
                  <a:pt x="998" y="3210"/>
                </a:lnTo>
                <a:lnTo>
                  <a:pt x="994" y="3208"/>
                </a:lnTo>
                <a:lnTo>
                  <a:pt x="989" y="3206"/>
                </a:lnTo>
                <a:lnTo>
                  <a:pt x="985" y="3205"/>
                </a:lnTo>
                <a:lnTo>
                  <a:pt x="982" y="3206"/>
                </a:lnTo>
                <a:lnTo>
                  <a:pt x="972" y="3211"/>
                </a:lnTo>
                <a:lnTo>
                  <a:pt x="959" y="3219"/>
                </a:lnTo>
                <a:lnTo>
                  <a:pt x="952" y="3223"/>
                </a:lnTo>
                <a:lnTo>
                  <a:pt x="945" y="3224"/>
                </a:lnTo>
                <a:lnTo>
                  <a:pt x="938" y="3224"/>
                </a:lnTo>
                <a:lnTo>
                  <a:pt x="931" y="3224"/>
                </a:lnTo>
                <a:lnTo>
                  <a:pt x="918" y="3223"/>
                </a:lnTo>
                <a:lnTo>
                  <a:pt x="903" y="3223"/>
                </a:lnTo>
                <a:lnTo>
                  <a:pt x="897" y="3225"/>
                </a:lnTo>
                <a:lnTo>
                  <a:pt x="893" y="3228"/>
                </a:lnTo>
                <a:lnTo>
                  <a:pt x="889" y="3231"/>
                </a:lnTo>
                <a:lnTo>
                  <a:pt x="887" y="3235"/>
                </a:lnTo>
                <a:lnTo>
                  <a:pt x="884" y="3244"/>
                </a:lnTo>
                <a:lnTo>
                  <a:pt x="881" y="3254"/>
                </a:lnTo>
                <a:lnTo>
                  <a:pt x="878" y="3258"/>
                </a:lnTo>
                <a:lnTo>
                  <a:pt x="876" y="3259"/>
                </a:lnTo>
                <a:lnTo>
                  <a:pt x="874" y="3259"/>
                </a:lnTo>
                <a:lnTo>
                  <a:pt x="870" y="3258"/>
                </a:lnTo>
                <a:lnTo>
                  <a:pt x="863" y="3252"/>
                </a:lnTo>
                <a:lnTo>
                  <a:pt x="856" y="3247"/>
                </a:lnTo>
                <a:lnTo>
                  <a:pt x="846" y="3241"/>
                </a:lnTo>
                <a:lnTo>
                  <a:pt x="836" y="3233"/>
                </a:lnTo>
                <a:lnTo>
                  <a:pt x="826" y="3224"/>
                </a:lnTo>
                <a:lnTo>
                  <a:pt x="818" y="3217"/>
                </a:lnTo>
                <a:lnTo>
                  <a:pt x="812" y="3209"/>
                </a:lnTo>
                <a:lnTo>
                  <a:pt x="805" y="3199"/>
                </a:lnTo>
                <a:lnTo>
                  <a:pt x="796" y="3190"/>
                </a:lnTo>
                <a:lnTo>
                  <a:pt x="788" y="3180"/>
                </a:lnTo>
                <a:lnTo>
                  <a:pt x="781" y="3172"/>
                </a:lnTo>
                <a:lnTo>
                  <a:pt x="774" y="3162"/>
                </a:lnTo>
                <a:lnTo>
                  <a:pt x="769" y="3154"/>
                </a:lnTo>
                <a:lnTo>
                  <a:pt x="765" y="3147"/>
                </a:lnTo>
                <a:lnTo>
                  <a:pt x="764" y="3143"/>
                </a:lnTo>
                <a:lnTo>
                  <a:pt x="761" y="3142"/>
                </a:lnTo>
                <a:lnTo>
                  <a:pt x="756" y="3140"/>
                </a:lnTo>
                <a:lnTo>
                  <a:pt x="750" y="3140"/>
                </a:lnTo>
                <a:lnTo>
                  <a:pt x="743" y="3140"/>
                </a:lnTo>
                <a:lnTo>
                  <a:pt x="736" y="3140"/>
                </a:lnTo>
                <a:lnTo>
                  <a:pt x="729" y="3142"/>
                </a:lnTo>
                <a:lnTo>
                  <a:pt x="722" y="3143"/>
                </a:lnTo>
                <a:lnTo>
                  <a:pt x="714" y="3146"/>
                </a:lnTo>
                <a:lnTo>
                  <a:pt x="706" y="3146"/>
                </a:lnTo>
                <a:lnTo>
                  <a:pt x="699" y="3146"/>
                </a:lnTo>
                <a:lnTo>
                  <a:pt x="693" y="3145"/>
                </a:lnTo>
                <a:lnTo>
                  <a:pt x="686" y="3142"/>
                </a:lnTo>
                <a:lnTo>
                  <a:pt x="680" y="3137"/>
                </a:lnTo>
                <a:lnTo>
                  <a:pt x="678" y="3135"/>
                </a:lnTo>
                <a:lnTo>
                  <a:pt x="676" y="3132"/>
                </a:lnTo>
                <a:lnTo>
                  <a:pt x="675" y="3128"/>
                </a:lnTo>
                <a:lnTo>
                  <a:pt x="676" y="3123"/>
                </a:lnTo>
                <a:lnTo>
                  <a:pt x="680" y="3104"/>
                </a:lnTo>
                <a:lnTo>
                  <a:pt x="682" y="3089"/>
                </a:lnTo>
                <a:lnTo>
                  <a:pt x="681" y="3086"/>
                </a:lnTo>
                <a:lnTo>
                  <a:pt x="679" y="3085"/>
                </a:lnTo>
                <a:lnTo>
                  <a:pt x="676" y="3084"/>
                </a:lnTo>
                <a:lnTo>
                  <a:pt x="672" y="3084"/>
                </a:lnTo>
                <a:lnTo>
                  <a:pt x="662" y="3085"/>
                </a:lnTo>
                <a:lnTo>
                  <a:pt x="654" y="3089"/>
                </a:lnTo>
                <a:lnTo>
                  <a:pt x="647" y="3095"/>
                </a:lnTo>
                <a:lnTo>
                  <a:pt x="639" y="3101"/>
                </a:lnTo>
                <a:lnTo>
                  <a:pt x="634" y="3109"/>
                </a:lnTo>
                <a:lnTo>
                  <a:pt x="629" y="3118"/>
                </a:lnTo>
                <a:lnTo>
                  <a:pt x="625" y="3123"/>
                </a:lnTo>
                <a:lnTo>
                  <a:pt x="622" y="3127"/>
                </a:lnTo>
                <a:lnTo>
                  <a:pt x="617" y="3130"/>
                </a:lnTo>
                <a:lnTo>
                  <a:pt x="612" y="3132"/>
                </a:lnTo>
                <a:lnTo>
                  <a:pt x="601" y="3133"/>
                </a:lnTo>
                <a:lnTo>
                  <a:pt x="593" y="3133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1" name="重庆"/>
          <p:cNvSpPr/>
          <p:nvPr/>
        </p:nvSpPr>
        <p:spPr bwMode="auto">
          <a:xfrm>
            <a:off x="5529580" y="4168140"/>
            <a:ext cx="728345" cy="713105"/>
          </a:xfrm>
          <a:custGeom>
            <a:avLst/>
            <a:gdLst>
              <a:gd name="T0" fmla="*/ 595 w 1775"/>
              <a:gd name="T1" fmla="*/ 1433 h 1753"/>
              <a:gd name="T2" fmla="*/ 546 w 1775"/>
              <a:gd name="T3" fmla="*/ 1466 h 1753"/>
              <a:gd name="T4" fmla="*/ 501 w 1775"/>
              <a:gd name="T5" fmla="*/ 1586 h 1753"/>
              <a:gd name="T6" fmla="*/ 438 w 1775"/>
              <a:gd name="T7" fmla="*/ 1581 h 1753"/>
              <a:gd name="T8" fmla="*/ 420 w 1775"/>
              <a:gd name="T9" fmla="*/ 1467 h 1753"/>
              <a:gd name="T10" fmla="*/ 411 w 1775"/>
              <a:gd name="T11" fmla="*/ 1505 h 1753"/>
              <a:gd name="T12" fmla="*/ 366 w 1775"/>
              <a:gd name="T13" fmla="*/ 1557 h 1753"/>
              <a:gd name="T14" fmla="*/ 313 w 1775"/>
              <a:gd name="T15" fmla="*/ 1467 h 1753"/>
              <a:gd name="T16" fmla="*/ 202 w 1775"/>
              <a:gd name="T17" fmla="*/ 1382 h 1753"/>
              <a:gd name="T18" fmla="*/ 115 w 1775"/>
              <a:gd name="T19" fmla="*/ 1292 h 1753"/>
              <a:gd name="T20" fmla="*/ 74 w 1775"/>
              <a:gd name="T21" fmla="*/ 1221 h 1753"/>
              <a:gd name="T22" fmla="*/ 18 w 1775"/>
              <a:gd name="T23" fmla="*/ 1127 h 1753"/>
              <a:gd name="T24" fmla="*/ 92 w 1775"/>
              <a:gd name="T25" fmla="*/ 988 h 1753"/>
              <a:gd name="T26" fmla="*/ 146 w 1775"/>
              <a:gd name="T27" fmla="*/ 910 h 1753"/>
              <a:gd name="T28" fmla="*/ 109 w 1775"/>
              <a:gd name="T29" fmla="*/ 843 h 1753"/>
              <a:gd name="T30" fmla="*/ 153 w 1775"/>
              <a:gd name="T31" fmla="*/ 754 h 1753"/>
              <a:gd name="T32" fmla="*/ 269 w 1775"/>
              <a:gd name="T33" fmla="*/ 767 h 1753"/>
              <a:gd name="T34" fmla="*/ 383 w 1775"/>
              <a:gd name="T35" fmla="*/ 825 h 1753"/>
              <a:gd name="T36" fmla="*/ 495 w 1775"/>
              <a:gd name="T37" fmla="*/ 888 h 1753"/>
              <a:gd name="T38" fmla="*/ 652 w 1775"/>
              <a:gd name="T39" fmla="*/ 868 h 1753"/>
              <a:gd name="T40" fmla="*/ 726 w 1775"/>
              <a:gd name="T41" fmla="*/ 770 h 1753"/>
              <a:gd name="T42" fmla="*/ 772 w 1775"/>
              <a:gd name="T43" fmla="*/ 624 h 1753"/>
              <a:gd name="T44" fmla="*/ 793 w 1775"/>
              <a:gd name="T45" fmla="*/ 560 h 1753"/>
              <a:gd name="T46" fmla="*/ 866 w 1775"/>
              <a:gd name="T47" fmla="*/ 561 h 1753"/>
              <a:gd name="T48" fmla="*/ 933 w 1775"/>
              <a:gd name="T49" fmla="*/ 550 h 1753"/>
              <a:gd name="T50" fmla="*/ 986 w 1775"/>
              <a:gd name="T51" fmla="*/ 458 h 1753"/>
              <a:gd name="T52" fmla="*/ 1045 w 1775"/>
              <a:gd name="T53" fmla="*/ 353 h 1753"/>
              <a:gd name="T54" fmla="*/ 1166 w 1775"/>
              <a:gd name="T55" fmla="*/ 229 h 1753"/>
              <a:gd name="T56" fmla="*/ 1140 w 1775"/>
              <a:gd name="T57" fmla="*/ 166 h 1753"/>
              <a:gd name="T58" fmla="*/ 1103 w 1775"/>
              <a:gd name="T59" fmla="*/ 52 h 1753"/>
              <a:gd name="T60" fmla="*/ 1244 w 1775"/>
              <a:gd name="T61" fmla="*/ 34 h 1753"/>
              <a:gd name="T62" fmla="*/ 1449 w 1775"/>
              <a:gd name="T63" fmla="*/ 207 h 1753"/>
              <a:gd name="T64" fmla="*/ 1605 w 1775"/>
              <a:gd name="T65" fmla="*/ 223 h 1753"/>
              <a:gd name="T66" fmla="*/ 1717 w 1775"/>
              <a:gd name="T67" fmla="*/ 330 h 1753"/>
              <a:gd name="T68" fmla="*/ 1763 w 1775"/>
              <a:gd name="T69" fmla="*/ 466 h 1753"/>
              <a:gd name="T70" fmla="*/ 1714 w 1775"/>
              <a:gd name="T71" fmla="*/ 597 h 1753"/>
              <a:gd name="T72" fmla="*/ 1562 w 1775"/>
              <a:gd name="T73" fmla="*/ 656 h 1753"/>
              <a:gd name="T74" fmla="*/ 1469 w 1775"/>
              <a:gd name="T75" fmla="*/ 732 h 1753"/>
              <a:gd name="T76" fmla="*/ 1392 w 1775"/>
              <a:gd name="T77" fmla="*/ 718 h 1753"/>
              <a:gd name="T78" fmla="*/ 1289 w 1775"/>
              <a:gd name="T79" fmla="*/ 727 h 1753"/>
              <a:gd name="T80" fmla="*/ 1207 w 1775"/>
              <a:gd name="T81" fmla="*/ 708 h 1753"/>
              <a:gd name="T82" fmla="*/ 1120 w 1775"/>
              <a:gd name="T83" fmla="*/ 794 h 1753"/>
              <a:gd name="T84" fmla="*/ 1164 w 1775"/>
              <a:gd name="T85" fmla="*/ 927 h 1753"/>
              <a:gd name="T86" fmla="*/ 1109 w 1775"/>
              <a:gd name="T87" fmla="*/ 1025 h 1753"/>
              <a:gd name="T88" fmla="*/ 1182 w 1775"/>
              <a:gd name="T89" fmla="*/ 1040 h 1753"/>
              <a:gd name="T90" fmla="*/ 1271 w 1775"/>
              <a:gd name="T91" fmla="*/ 1110 h 1753"/>
              <a:gd name="T92" fmla="*/ 1309 w 1775"/>
              <a:gd name="T93" fmla="*/ 1230 h 1753"/>
              <a:gd name="T94" fmla="*/ 1372 w 1775"/>
              <a:gd name="T95" fmla="*/ 1229 h 1753"/>
              <a:gd name="T96" fmla="*/ 1453 w 1775"/>
              <a:gd name="T97" fmla="*/ 1374 h 1753"/>
              <a:gd name="T98" fmla="*/ 1449 w 1775"/>
              <a:gd name="T99" fmla="*/ 1519 h 1753"/>
              <a:gd name="T100" fmla="*/ 1421 w 1775"/>
              <a:gd name="T101" fmla="*/ 1565 h 1753"/>
              <a:gd name="T102" fmla="*/ 1385 w 1775"/>
              <a:gd name="T103" fmla="*/ 1694 h 1753"/>
              <a:gd name="T104" fmla="*/ 1302 w 1775"/>
              <a:gd name="T105" fmla="*/ 1732 h 1753"/>
              <a:gd name="T106" fmla="*/ 1250 w 1775"/>
              <a:gd name="T107" fmla="*/ 1641 h 1753"/>
              <a:gd name="T108" fmla="*/ 1195 w 1775"/>
              <a:gd name="T109" fmla="*/ 1691 h 1753"/>
              <a:gd name="T110" fmla="*/ 1189 w 1775"/>
              <a:gd name="T111" fmla="*/ 1563 h 1753"/>
              <a:gd name="T112" fmla="*/ 1102 w 1775"/>
              <a:gd name="T113" fmla="*/ 1488 h 1753"/>
              <a:gd name="T114" fmla="*/ 1022 w 1775"/>
              <a:gd name="T115" fmla="*/ 1362 h 1753"/>
              <a:gd name="T116" fmla="*/ 885 w 1775"/>
              <a:gd name="T117" fmla="*/ 1315 h 1753"/>
              <a:gd name="T118" fmla="*/ 792 w 1775"/>
              <a:gd name="T119" fmla="*/ 1302 h 1753"/>
              <a:gd name="T120" fmla="*/ 764 w 1775"/>
              <a:gd name="T121" fmla="*/ 1418 h 1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75" h="1753">
                <a:moveTo>
                  <a:pt x="692" y="1479"/>
                </a:moveTo>
                <a:lnTo>
                  <a:pt x="687" y="1479"/>
                </a:lnTo>
                <a:lnTo>
                  <a:pt x="682" y="1479"/>
                </a:lnTo>
                <a:lnTo>
                  <a:pt x="680" y="1477"/>
                </a:lnTo>
                <a:lnTo>
                  <a:pt x="679" y="1475"/>
                </a:lnTo>
                <a:lnTo>
                  <a:pt x="678" y="1474"/>
                </a:lnTo>
                <a:lnTo>
                  <a:pt x="677" y="1471"/>
                </a:lnTo>
                <a:lnTo>
                  <a:pt x="674" y="1467"/>
                </a:lnTo>
                <a:lnTo>
                  <a:pt x="672" y="1460"/>
                </a:lnTo>
                <a:lnTo>
                  <a:pt x="667" y="1454"/>
                </a:lnTo>
                <a:lnTo>
                  <a:pt x="660" y="1448"/>
                </a:lnTo>
                <a:lnTo>
                  <a:pt x="653" y="1443"/>
                </a:lnTo>
                <a:lnTo>
                  <a:pt x="643" y="1441"/>
                </a:lnTo>
                <a:lnTo>
                  <a:pt x="634" y="1438"/>
                </a:lnTo>
                <a:lnTo>
                  <a:pt x="624" y="1437"/>
                </a:lnTo>
                <a:lnTo>
                  <a:pt x="617" y="1436"/>
                </a:lnTo>
                <a:lnTo>
                  <a:pt x="610" y="1435"/>
                </a:lnTo>
                <a:lnTo>
                  <a:pt x="605" y="1433"/>
                </a:lnTo>
                <a:lnTo>
                  <a:pt x="599" y="1433"/>
                </a:lnTo>
                <a:lnTo>
                  <a:pt x="595" y="1433"/>
                </a:lnTo>
                <a:lnTo>
                  <a:pt x="590" y="1435"/>
                </a:lnTo>
                <a:lnTo>
                  <a:pt x="587" y="1437"/>
                </a:lnTo>
                <a:lnTo>
                  <a:pt x="584" y="1441"/>
                </a:lnTo>
                <a:lnTo>
                  <a:pt x="583" y="1445"/>
                </a:lnTo>
                <a:lnTo>
                  <a:pt x="581" y="1450"/>
                </a:lnTo>
                <a:lnTo>
                  <a:pt x="581" y="1460"/>
                </a:lnTo>
                <a:lnTo>
                  <a:pt x="583" y="1469"/>
                </a:lnTo>
                <a:lnTo>
                  <a:pt x="583" y="1475"/>
                </a:lnTo>
                <a:lnTo>
                  <a:pt x="580" y="1479"/>
                </a:lnTo>
                <a:lnTo>
                  <a:pt x="578" y="1479"/>
                </a:lnTo>
                <a:lnTo>
                  <a:pt x="577" y="1479"/>
                </a:lnTo>
                <a:lnTo>
                  <a:pt x="574" y="1477"/>
                </a:lnTo>
                <a:lnTo>
                  <a:pt x="571" y="1475"/>
                </a:lnTo>
                <a:lnTo>
                  <a:pt x="566" y="1470"/>
                </a:lnTo>
                <a:lnTo>
                  <a:pt x="561" y="1466"/>
                </a:lnTo>
                <a:lnTo>
                  <a:pt x="556" y="1463"/>
                </a:lnTo>
                <a:lnTo>
                  <a:pt x="552" y="1463"/>
                </a:lnTo>
                <a:lnTo>
                  <a:pt x="551" y="1464"/>
                </a:lnTo>
                <a:lnTo>
                  <a:pt x="548" y="1464"/>
                </a:lnTo>
                <a:lnTo>
                  <a:pt x="546" y="1466"/>
                </a:lnTo>
                <a:lnTo>
                  <a:pt x="542" y="1468"/>
                </a:lnTo>
                <a:lnTo>
                  <a:pt x="535" y="1475"/>
                </a:lnTo>
                <a:lnTo>
                  <a:pt x="528" y="1485"/>
                </a:lnTo>
                <a:lnTo>
                  <a:pt x="523" y="1492"/>
                </a:lnTo>
                <a:lnTo>
                  <a:pt x="515" y="1502"/>
                </a:lnTo>
                <a:lnTo>
                  <a:pt x="509" y="1512"/>
                </a:lnTo>
                <a:lnTo>
                  <a:pt x="504" y="1521"/>
                </a:lnTo>
                <a:lnTo>
                  <a:pt x="503" y="1527"/>
                </a:lnTo>
                <a:lnTo>
                  <a:pt x="502" y="1533"/>
                </a:lnTo>
                <a:lnTo>
                  <a:pt x="501" y="1536"/>
                </a:lnTo>
                <a:lnTo>
                  <a:pt x="501" y="1542"/>
                </a:lnTo>
                <a:lnTo>
                  <a:pt x="502" y="1546"/>
                </a:lnTo>
                <a:lnTo>
                  <a:pt x="503" y="1551"/>
                </a:lnTo>
                <a:lnTo>
                  <a:pt x="504" y="1557"/>
                </a:lnTo>
                <a:lnTo>
                  <a:pt x="507" y="1563"/>
                </a:lnTo>
                <a:lnTo>
                  <a:pt x="507" y="1567"/>
                </a:lnTo>
                <a:lnTo>
                  <a:pt x="507" y="1570"/>
                </a:lnTo>
                <a:lnTo>
                  <a:pt x="505" y="1577"/>
                </a:lnTo>
                <a:lnTo>
                  <a:pt x="502" y="1583"/>
                </a:lnTo>
                <a:lnTo>
                  <a:pt x="501" y="1586"/>
                </a:lnTo>
                <a:lnTo>
                  <a:pt x="499" y="1588"/>
                </a:lnTo>
                <a:lnTo>
                  <a:pt x="496" y="1592"/>
                </a:lnTo>
                <a:lnTo>
                  <a:pt x="493" y="1595"/>
                </a:lnTo>
                <a:lnTo>
                  <a:pt x="488" y="1601"/>
                </a:lnTo>
                <a:lnTo>
                  <a:pt x="482" y="1605"/>
                </a:lnTo>
                <a:lnTo>
                  <a:pt x="479" y="1603"/>
                </a:lnTo>
                <a:lnTo>
                  <a:pt x="477" y="1602"/>
                </a:lnTo>
                <a:lnTo>
                  <a:pt x="476" y="1601"/>
                </a:lnTo>
                <a:lnTo>
                  <a:pt x="474" y="1600"/>
                </a:lnTo>
                <a:lnTo>
                  <a:pt x="473" y="1599"/>
                </a:lnTo>
                <a:lnTo>
                  <a:pt x="472" y="1599"/>
                </a:lnTo>
                <a:lnTo>
                  <a:pt x="468" y="1596"/>
                </a:lnTo>
                <a:lnTo>
                  <a:pt x="459" y="1593"/>
                </a:lnTo>
                <a:lnTo>
                  <a:pt x="454" y="1592"/>
                </a:lnTo>
                <a:lnTo>
                  <a:pt x="448" y="1592"/>
                </a:lnTo>
                <a:lnTo>
                  <a:pt x="446" y="1592"/>
                </a:lnTo>
                <a:lnTo>
                  <a:pt x="444" y="1590"/>
                </a:lnTo>
                <a:lnTo>
                  <a:pt x="440" y="1589"/>
                </a:lnTo>
                <a:lnTo>
                  <a:pt x="438" y="1584"/>
                </a:lnTo>
                <a:lnTo>
                  <a:pt x="438" y="1581"/>
                </a:lnTo>
                <a:lnTo>
                  <a:pt x="438" y="1576"/>
                </a:lnTo>
                <a:lnTo>
                  <a:pt x="439" y="1571"/>
                </a:lnTo>
                <a:lnTo>
                  <a:pt x="441" y="1565"/>
                </a:lnTo>
                <a:lnTo>
                  <a:pt x="446" y="1555"/>
                </a:lnTo>
                <a:lnTo>
                  <a:pt x="451" y="1543"/>
                </a:lnTo>
                <a:lnTo>
                  <a:pt x="453" y="1536"/>
                </a:lnTo>
                <a:lnTo>
                  <a:pt x="457" y="1527"/>
                </a:lnTo>
                <a:lnTo>
                  <a:pt x="458" y="1521"/>
                </a:lnTo>
                <a:lnTo>
                  <a:pt x="457" y="1518"/>
                </a:lnTo>
                <a:lnTo>
                  <a:pt x="455" y="1512"/>
                </a:lnTo>
                <a:lnTo>
                  <a:pt x="453" y="1508"/>
                </a:lnTo>
                <a:lnTo>
                  <a:pt x="451" y="1506"/>
                </a:lnTo>
                <a:lnTo>
                  <a:pt x="448" y="1505"/>
                </a:lnTo>
                <a:lnTo>
                  <a:pt x="436" y="1500"/>
                </a:lnTo>
                <a:lnTo>
                  <a:pt x="423" y="1494"/>
                </a:lnTo>
                <a:lnTo>
                  <a:pt x="421" y="1487"/>
                </a:lnTo>
                <a:lnTo>
                  <a:pt x="421" y="1479"/>
                </a:lnTo>
                <a:lnTo>
                  <a:pt x="421" y="1475"/>
                </a:lnTo>
                <a:lnTo>
                  <a:pt x="420" y="1473"/>
                </a:lnTo>
                <a:lnTo>
                  <a:pt x="420" y="1467"/>
                </a:lnTo>
                <a:lnTo>
                  <a:pt x="417" y="1463"/>
                </a:lnTo>
                <a:lnTo>
                  <a:pt x="416" y="1458"/>
                </a:lnTo>
                <a:lnTo>
                  <a:pt x="414" y="1455"/>
                </a:lnTo>
                <a:lnTo>
                  <a:pt x="409" y="1449"/>
                </a:lnTo>
                <a:lnTo>
                  <a:pt x="403" y="1443"/>
                </a:lnTo>
                <a:lnTo>
                  <a:pt x="398" y="1438"/>
                </a:lnTo>
                <a:lnTo>
                  <a:pt x="392" y="1435"/>
                </a:lnTo>
                <a:lnTo>
                  <a:pt x="389" y="1433"/>
                </a:lnTo>
                <a:lnTo>
                  <a:pt x="385" y="1433"/>
                </a:lnTo>
                <a:lnTo>
                  <a:pt x="384" y="1435"/>
                </a:lnTo>
                <a:lnTo>
                  <a:pt x="382" y="1436"/>
                </a:lnTo>
                <a:lnTo>
                  <a:pt x="381" y="1439"/>
                </a:lnTo>
                <a:lnTo>
                  <a:pt x="381" y="1444"/>
                </a:lnTo>
                <a:lnTo>
                  <a:pt x="383" y="1451"/>
                </a:lnTo>
                <a:lnTo>
                  <a:pt x="386" y="1457"/>
                </a:lnTo>
                <a:lnTo>
                  <a:pt x="392" y="1468"/>
                </a:lnTo>
                <a:lnTo>
                  <a:pt x="400" y="1479"/>
                </a:lnTo>
                <a:lnTo>
                  <a:pt x="405" y="1489"/>
                </a:lnTo>
                <a:lnTo>
                  <a:pt x="410" y="1501"/>
                </a:lnTo>
                <a:lnTo>
                  <a:pt x="411" y="1505"/>
                </a:lnTo>
                <a:lnTo>
                  <a:pt x="411" y="1510"/>
                </a:lnTo>
                <a:lnTo>
                  <a:pt x="410" y="1514"/>
                </a:lnTo>
                <a:lnTo>
                  <a:pt x="410" y="1519"/>
                </a:lnTo>
                <a:lnTo>
                  <a:pt x="408" y="1524"/>
                </a:lnTo>
                <a:lnTo>
                  <a:pt x="405" y="1527"/>
                </a:lnTo>
                <a:lnTo>
                  <a:pt x="403" y="1531"/>
                </a:lnTo>
                <a:lnTo>
                  <a:pt x="402" y="1533"/>
                </a:lnTo>
                <a:lnTo>
                  <a:pt x="401" y="1539"/>
                </a:lnTo>
                <a:lnTo>
                  <a:pt x="400" y="1552"/>
                </a:lnTo>
                <a:lnTo>
                  <a:pt x="400" y="1559"/>
                </a:lnTo>
                <a:lnTo>
                  <a:pt x="398" y="1565"/>
                </a:lnTo>
                <a:lnTo>
                  <a:pt x="398" y="1570"/>
                </a:lnTo>
                <a:lnTo>
                  <a:pt x="396" y="1574"/>
                </a:lnTo>
                <a:lnTo>
                  <a:pt x="394" y="1574"/>
                </a:lnTo>
                <a:lnTo>
                  <a:pt x="391" y="1574"/>
                </a:lnTo>
                <a:lnTo>
                  <a:pt x="386" y="1570"/>
                </a:lnTo>
                <a:lnTo>
                  <a:pt x="381" y="1567"/>
                </a:lnTo>
                <a:lnTo>
                  <a:pt x="376" y="1563"/>
                </a:lnTo>
                <a:lnTo>
                  <a:pt x="372" y="1561"/>
                </a:lnTo>
                <a:lnTo>
                  <a:pt x="366" y="1557"/>
                </a:lnTo>
                <a:lnTo>
                  <a:pt x="364" y="1555"/>
                </a:lnTo>
                <a:lnTo>
                  <a:pt x="362" y="1555"/>
                </a:lnTo>
                <a:lnTo>
                  <a:pt x="359" y="1553"/>
                </a:lnTo>
                <a:lnTo>
                  <a:pt x="357" y="1553"/>
                </a:lnTo>
                <a:lnTo>
                  <a:pt x="354" y="1552"/>
                </a:lnTo>
                <a:lnTo>
                  <a:pt x="351" y="1550"/>
                </a:lnTo>
                <a:lnTo>
                  <a:pt x="348" y="1546"/>
                </a:lnTo>
                <a:lnTo>
                  <a:pt x="339" y="1534"/>
                </a:lnTo>
                <a:lnTo>
                  <a:pt x="327" y="1521"/>
                </a:lnTo>
                <a:lnTo>
                  <a:pt x="318" y="1510"/>
                </a:lnTo>
                <a:lnTo>
                  <a:pt x="312" y="1498"/>
                </a:lnTo>
                <a:lnTo>
                  <a:pt x="310" y="1493"/>
                </a:lnTo>
                <a:lnTo>
                  <a:pt x="310" y="1487"/>
                </a:lnTo>
                <a:lnTo>
                  <a:pt x="312" y="1483"/>
                </a:lnTo>
                <a:lnTo>
                  <a:pt x="313" y="1480"/>
                </a:lnTo>
                <a:lnTo>
                  <a:pt x="313" y="1479"/>
                </a:lnTo>
                <a:lnTo>
                  <a:pt x="313" y="1476"/>
                </a:lnTo>
                <a:lnTo>
                  <a:pt x="314" y="1473"/>
                </a:lnTo>
                <a:lnTo>
                  <a:pt x="314" y="1471"/>
                </a:lnTo>
                <a:lnTo>
                  <a:pt x="313" y="1467"/>
                </a:lnTo>
                <a:lnTo>
                  <a:pt x="313" y="1463"/>
                </a:lnTo>
                <a:lnTo>
                  <a:pt x="310" y="1455"/>
                </a:lnTo>
                <a:lnTo>
                  <a:pt x="304" y="1444"/>
                </a:lnTo>
                <a:lnTo>
                  <a:pt x="297" y="1433"/>
                </a:lnTo>
                <a:lnTo>
                  <a:pt x="288" y="1422"/>
                </a:lnTo>
                <a:lnTo>
                  <a:pt x="284" y="1418"/>
                </a:lnTo>
                <a:lnTo>
                  <a:pt x="279" y="1413"/>
                </a:lnTo>
                <a:lnTo>
                  <a:pt x="276" y="1410"/>
                </a:lnTo>
                <a:lnTo>
                  <a:pt x="270" y="1407"/>
                </a:lnTo>
                <a:lnTo>
                  <a:pt x="263" y="1405"/>
                </a:lnTo>
                <a:lnTo>
                  <a:pt x="255" y="1404"/>
                </a:lnTo>
                <a:lnTo>
                  <a:pt x="245" y="1404"/>
                </a:lnTo>
                <a:lnTo>
                  <a:pt x="236" y="1404"/>
                </a:lnTo>
                <a:lnTo>
                  <a:pt x="226" y="1404"/>
                </a:lnTo>
                <a:lnTo>
                  <a:pt x="216" y="1403"/>
                </a:lnTo>
                <a:lnTo>
                  <a:pt x="213" y="1400"/>
                </a:lnTo>
                <a:lnTo>
                  <a:pt x="211" y="1397"/>
                </a:lnTo>
                <a:lnTo>
                  <a:pt x="209" y="1393"/>
                </a:lnTo>
                <a:lnTo>
                  <a:pt x="207" y="1389"/>
                </a:lnTo>
                <a:lnTo>
                  <a:pt x="202" y="1382"/>
                </a:lnTo>
                <a:lnTo>
                  <a:pt x="197" y="1376"/>
                </a:lnTo>
                <a:lnTo>
                  <a:pt x="195" y="1374"/>
                </a:lnTo>
                <a:lnTo>
                  <a:pt x="192" y="1373"/>
                </a:lnTo>
                <a:lnTo>
                  <a:pt x="187" y="1373"/>
                </a:lnTo>
                <a:lnTo>
                  <a:pt x="182" y="1372"/>
                </a:lnTo>
                <a:lnTo>
                  <a:pt x="176" y="1370"/>
                </a:lnTo>
                <a:lnTo>
                  <a:pt x="171" y="1366"/>
                </a:lnTo>
                <a:lnTo>
                  <a:pt x="163" y="1356"/>
                </a:lnTo>
                <a:lnTo>
                  <a:pt x="152" y="1347"/>
                </a:lnTo>
                <a:lnTo>
                  <a:pt x="144" y="1344"/>
                </a:lnTo>
                <a:lnTo>
                  <a:pt x="136" y="1342"/>
                </a:lnTo>
                <a:lnTo>
                  <a:pt x="129" y="1342"/>
                </a:lnTo>
                <a:lnTo>
                  <a:pt x="123" y="1340"/>
                </a:lnTo>
                <a:lnTo>
                  <a:pt x="120" y="1338"/>
                </a:lnTo>
                <a:lnTo>
                  <a:pt x="118" y="1336"/>
                </a:lnTo>
                <a:lnTo>
                  <a:pt x="115" y="1330"/>
                </a:lnTo>
                <a:lnTo>
                  <a:pt x="114" y="1322"/>
                </a:lnTo>
                <a:lnTo>
                  <a:pt x="114" y="1310"/>
                </a:lnTo>
                <a:lnTo>
                  <a:pt x="114" y="1299"/>
                </a:lnTo>
                <a:lnTo>
                  <a:pt x="115" y="1292"/>
                </a:lnTo>
                <a:lnTo>
                  <a:pt x="117" y="1284"/>
                </a:lnTo>
                <a:lnTo>
                  <a:pt x="118" y="1275"/>
                </a:lnTo>
                <a:lnTo>
                  <a:pt x="118" y="1267"/>
                </a:lnTo>
                <a:lnTo>
                  <a:pt x="118" y="1261"/>
                </a:lnTo>
                <a:lnTo>
                  <a:pt x="117" y="1255"/>
                </a:lnTo>
                <a:lnTo>
                  <a:pt x="115" y="1248"/>
                </a:lnTo>
                <a:lnTo>
                  <a:pt x="114" y="1241"/>
                </a:lnTo>
                <a:lnTo>
                  <a:pt x="115" y="1235"/>
                </a:lnTo>
                <a:lnTo>
                  <a:pt x="117" y="1231"/>
                </a:lnTo>
                <a:lnTo>
                  <a:pt x="117" y="1227"/>
                </a:lnTo>
                <a:lnTo>
                  <a:pt x="118" y="1223"/>
                </a:lnTo>
                <a:lnTo>
                  <a:pt x="118" y="1218"/>
                </a:lnTo>
                <a:lnTo>
                  <a:pt x="117" y="1216"/>
                </a:lnTo>
                <a:lnTo>
                  <a:pt x="114" y="1215"/>
                </a:lnTo>
                <a:lnTo>
                  <a:pt x="111" y="1214"/>
                </a:lnTo>
                <a:lnTo>
                  <a:pt x="107" y="1214"/>
                </a:lnTo>
                <a:lnTo>
                  <a:pt x="104" y="1215"/>
                </a:lnTo>
                <a:lnTo>
                  <a:pt x="95" y="1216"/>
                </a:lnTo>
                <a:lnTo>
                  <a:pt x="86" y="1218"/>
                </a:lnTo>
                <a:lnTo>
                  <a:pt x="74" y="1221"/>
                </a:lnTo>
                <a:lnTo>
                  <a:pt x="61" y="1224"/>
                </a:lnTo>
                <a:lnTo>
                  <a:pt x="52" y="1227"/>
                </a:lnTo>
                <a:lnTo>
                  <a:pt x="45" y="1229"/>
                </a:lnTo>
                <a:lnTo>
                  <a:pt x="41" y="1229"/>
                </a:lnTo>
                <a:lnTo>
                  <a:pt x="37" y="1229"/>
                </a:lnTo>
                <a:lnTo>
                  <a:pt x="35" y="1228"/>
                </a:lnTo>
                <a:lnTo>
                  <a:pt x="33" y="1227"/>
                </a:lnTo>
                <a:lnTo>
                  <a:pt x="32" y="1225"/>
                </a:lnTo>
                <a:lnTo>
                  <a:pt x="32" y="1223"/>
                </a:lnTo>
                <a:lnTo>
                  <a:pt x="32" y="1215"/>
                </a:lnTo>
                <a:lnTo>
                  <a:pt x="33" y="1205"/>
                </a:lnTo>
                <a:lnTo>
                  <a:pt x="36" y="1195"/>
                </a:lnTo>
                <a:lnTo>
                  <a:pt x="37" y="1183"/>
                </a:lnTo>
                <a:lnTo>
                  <a:pt x="36" y="1173"/>
                </a:lnTo>
                <a:lnTo>
                  <a:pt x="36" y="1164"/>
                </a:lnTo>
                <a:lnTo>
                  <a:pt x="35" y="1154"/>
                </a:lnTo>
                <a:lnTo>
                  <a:pt x="33" y="1145"/>
                </a:lnTo>
                <a:lnTo>
                  <a:pt x="32" y="1139"/>
                </a:lnTo>
                <a:lnTo>
                  <a:pt x="26" y="1133"/>
                </a:lnTo>
                <a:lnTo>
                  <a:pt x="18" y="1127"/>
                </a:lnTo>
                <a:lnTo>
                  <a:pt x="10" y="1120"/>
                </a:lnTo>
                <a:lnTo>
                  <a:pt x="6" y="1115"/>
                </a:lnTo>
                <a:lnTo>
                  <a:pt x="3" y="1109"/>
                </a:lnTo>
                <a:lnTo>
                  <a:pt x="1" y="1103"/>
                </a:lnTo>
                <a:lnTo>
                  <a:pt x="0" y="1098"/>
                </a:lnTo>
                <a:lnTo>
                  <a:pt x="1" y="1091"/>
                </a:lnTo>
                <a:lnTo>
                  <a:pt x="4" y="1083"/>
                </a:lnTo>
                <a:lnTo>
                  <a:pt x="7" y="1076"/>
                </a:lnTo>
                <a:lnTo>
                  <a:pt x="13" y="1069"/>
                </a:lnTo>
                <a:lnTo>
                  <a:pt x="23" y="1059"/>
                </a:lnTo>
                <a:lnTo>
                  <a:pt x="32" y="1052"/>
                </a:lnTo>
                <a:lnTo>
                  <a:pt x="42" y="1045"/>
                </a:lnTo>
                <a:lnTo>
                  <a:pt x="49" y="1039"/>
                </a:lnTo>
                <a:lnTo>
                  <a:pt x="58" y="1027"/>
                </a:lnTo>
                <a:lnTo>
                  <a:pt x="67" y="1014"/>
                </a:lnTo>
                <a:lnTo>
                  <a:pt x="71" y="1007"/>
                </a:lnTo>
                <a:lnTo>
                  <a:pt x="76" y="1001"/>
                </a:lnTo>
                <a:lnTo>
                  <a:pt x="82" y="995"/>
                </a:lnTo>
                <a:lnTo>
                  <a:pt x="88" y="990"/>
                </a:lnTo>
                <a:lnTo>
                  <a:pt x="92" y="988"/>
                </a:lnTo>
                <a:lnTo>
                  <a:pt x="98" y="985"/>
                </a:lnTo>
                <a:lnTo>
                  <a:pt x="102" y="984"/>
                </a:lnTo>
                <a:lnTo>
                  <a:pt x="108" y="983"/>
                </a:lnTo>
                <a:lnTo>
                  <a:pt x="118" y="982"/>
                </a:lnTo>
                <a:lnTo>
                  <a:pt x="127" y="978"/>
                </a:lnTo>
                <a:lnTo>
                  <a:pt x="131" y="977"/>
                </a:lnTo>
                <a:lnTo>
                  <a:pt x="133" y="975"/>
                </a:lnTo>
                <a:lnTo>
                  <a:pt x="139" y="966"/>
                </a:lnTo>
                <a:lnTo>
                  <a:pt x="145" y="958"/>
                </a:lnTo>
                <a:lnTo>
                  <a:pt x="151" y="953"/>
                </a:lnTo>
                <a:lnTo>
                  <a:pt x="156" y="947"/>
                </a:lnTo>
                <a:lnTo>
                  <a:pt x="159" y="943"/>
                </a:lnTo>
                <a:lnTo>
                  <a:pt x="163" y="938"/>
                </a:lnTo>
                <a:lnTo>
                  <a:pt x="164" y="934"/>
                </a:lnTo>
                <a:lnTo>
                  <a:pt x="165" y="929"/>
                </a:lnTo>
                <a:lnTo>
                  <a:pt x="165" y="926"/>
                </a:lnTo>
                <a:lnTo>
                  <a:pt x="163" y="922"/>
                </a:lnTo>
                <a:lnTo>
                  <a:pt x="161" y="918"/>
                </a:lnTo>
                <a:lnTo>
                  <a:pt x="156" y="914"/>
                </a:lnTo>
                <a:lnTo>
                  <a:pt x="146" y="910"/>
                </a:lnTo>
                <a:lnTo>
                  <a:pt x="137" y="907"/>
                </a:lnTo>
                <a:lnTo>
                  <a:pt x="129" y="902"/>
                </a:lnTo>
                <a:lnTo>
                  <a:pt x="120" y="897"/>
                </a:lnTo>
                <a:lnTo>
                  <a:pt x="111" y="893"/>
                </a:lnTo>
                <a:lnTo>
                  <a:pt x="104" y="887"/>
                </a:lnTo>
                <a:lnTo>
                  <a:pt x="96" y="882"/>
                </a:lnTo>
                <a:lnTo>
                  <a:pt x="89" y="876"/>
                </a:lnTo>
                <a:lnTo>
                  <a:pt x="87" y="872"/>
                </a:lnTo>
                <a:lnTo>
                  <a:pt x="85" y="870"/>
                </a:lnTo>
                <a:lnTo>
                  <a:pt x="83" y="866"/>
                </a:lnTo>
                <a:lnTo>
                  <a:pt x="83" y="863"/>
                </a:lnTo>
                <a:lnTo>
                  <a:pt x="85" y="861"/>
                </a:lnTo>
                <a:lnTo>
                  <a:pt x="87" y="857"/>
                </a:lnTo>
                <a:lnTo>
                  <a:pt x="89" y="855"/>
                </a:lnTo>
                <a:lnTo>
                  <a:pt x="93" y="852"/>
                </a:lnTo>
                <a:lnTo>
                  <a:pt x="99" y="850"/>
                </a:lnTo>
                <a:lnTo>
                  <a:pt x="104" y="849"/>
                </a:lnTo>
                <a:lnTo>
                  <a:pt x="106" y="847"/>
                </a:lnTo>
                <a:lnTo>
                  <a:pt x="107" y="846"/>
                </a:lnTo>
                <a:lnTo>
                  <a:pt x="109" y="843"/>
                </a:lnTo>
                <a:lnTo>
                  <a:pt x="111" y="838"/>
                </a:lnTo>
                <a:lnTo>
                  <a:pt x="112" y="832"/>
                </a:lnTo>
                <a:lnTo>
                  <a:pt x="113" y="826"/>
                </a:lnTo>
                <a:lnTo>
                  <a:pt x="114" y="823"/>
                </a:lnTo>
                <a:lnTo>
                  <a:pt x="115" y="820"/>
                </a:lnTo>
                <a:lnTo>
                  <a:pt x="118" y="817"/>
                </a:lnTo>
                <a:lnTo>
                  <a:pt x="120" y="814"/>
                </a:lnTo>
                <a:lnTo>
                  <a:pt x="131" y="807"/>
                </a:lnTo>
                <a:lnTo>
                  <a:pt x="140" y="800"/>
                </a:lnTo>
                <a:lnTo>
                  <a:pt x="145" y="796"/>
                </a:lnTo>
                <a:lnTo>
                  <a:pt x="150" y="792"/>
                </a:lnTo>
                <a:lnTo>
                  <a:pt x="152" y="788"/>
                </a:lnTo>
                <a:lnTo>
                  <a:pt x="155" y="783"/>
                </a:lnTo>
                <a:lnTo>
                  <a:pt x="156" y="781"/>
                </a:lnTo>
                <a:lnTo>
                  <a:pt x="156" y="777"/>
                </a:lnTo>
                <a:lnTo>
                  <a:pt x="155" y="774"/>
                </a:lnTo>
                <a:lnTo>
                  <a:pt x="155" y="770"/>
                </a:lnTo>
                <a:lnTo>
                  <a:pt x="153" y="764"/>
                </a:lnTo>
                <a:lnTo>
                  <a:pt x="153" y="760"/>
                </a:lnTo>
                <a:lnTo>
                  <a:pt x="153" y="754"/>
                </a:lnTo>
                <a:lnTo>
                  <a:pt x="156" y="749"/>
                </a:lnTo>
                <a:lnTo>
                  <a:pt x="161" y="744"/>
                </a:lnTo>
                <a:lnTo>
                  <a:pt x="168" y="742"/>
                </a:lnTo>
                <a:lnTo>
                  <a:pt x="175" y="740"/>
                </a:lnTo>
                <a:lnTo>
                  <a:pt x="182" y="742"/>
                </a:lnTo>
                <a:lnTo>
                  <a:pt x="187" y="744"/>
                </a:lnTo>
                <a:lnTo>
                  <a:pt x="192" y="748"/>
                </a:lnTo>
                <a:lnTo>
                  <a:pt x="195" y="752"/>
                </a:lnTo>
                <a:lnTo>
                  <a:pt x="200" y="755"/>
                </a:lnTo>
                <a:lnTo>
                  <a:pt x="202" y="756"/>
                </a:lnTo>
                <a:lnTo>
                  <a:pt x="205" y="757"/>
                </a:lnTo>
                <a:lnTo>
                  <a:pt x="209" y="760"/>
                </a:lnTo>
                <a:lnTo>
                  <a:pt x="214" y="760"/>
                </a:lnTo>
                <a:lnTo>
                  <a:pt x="225" y="761"/>
                </a:lnTo>
                <a:lnTo>
                  <a:pt x="236" y="762"/>
                </a:lnTo>
                <a:lnTo>
                  <a:pt x="245" y="762"/>
                </a:lnTo>
                <a:lnTo>
                  <a:pt x="253" y="762"/>
                </a:lnTo>
                <a:lnTo>
                  <a:pt x="259" y="763"/>
                </a:lnTo>
                <a:lnTo>
                  <a:pt x="264" y="765"/>
                </a:lnTo>
                <a:lnTo>
                  <a:pt x="269" y="767"/>
                </a:lnTo>
                <a:lnTo>
                  <a:pt x="271" y="768"/>
                </a:lnTo>
                <a:lnTo>
                  <a:pt x="284" y="777"/>
                </a:lnTo>
                <a:lnTo>
                  <a:pt x="299" y="787"/>
                </a:lnTo>
                <a:lnTo>
                  <a:pt x="303" y="792"/>
                </a:lnTo>
                <a:lnTo>
                  <a:pt x="307" y="796"/>
                </a:lnTo>
                <a:lnTo>
                  <a:pt x="309" y="802"/>
                </a:lnTo>
                <a:lnTo>
                  <a:pt x="310" y="808"/>
                </a:lnTo>
                <a:lnTo>
                  <a:pt x="312" y="815"/>
                </a:lnTo>
                <a:lnTo>
                  <a:pt x="312" y="821"/>
                </a:lnTo>
                <a:lnTo>
                  <a:pt x="312" y="827"/>
                </a:lnTo>
                <a:lnTo>
                  <a:pt x="313" y="832"/>
                </a:lnTo>
                <a:lnTo>
                  <a:pt x="315" y="837"/>
                </a:lnTo>
                <a:lnTo>
                  <a:pt x="318" y="840"/>
                </a:lnTo>
                <a:lnTo>
                  <a:pt x="320" y="842"/>
                </a:lnTo>
                <a:lnTo>
                  <a:pt x="323" y="842"/>
                </a:lnTo>
                <a:lnTo>
                  <a:pt x="332" y="839"/>
                </a:lnTo>
                <a:lnTo>
                  <a:pt x="340" y="836"/>
                </a:lnTo>
                <a:lnTo>
                  <a:pt x="354" y="832"/>
                </a:lnTo>
                <a:lnTo>
                  <a:pt x="370" y="827"/>
                </a:lnTo>
                <a:lnTo>
                  <a:pt x="383" y="825"/>
                </a:lnTo>
                <a:lnTo>
                  <a:pt x="395" y="823"/>
                </a:lnTo>
                <a:lnTo>
                  <a:pt x="408" y="820"/>
                </a:lnTo>
                <a:lnTo>
                  <a:pt x="420" y="820"/>
                </a:lnTo>
                <a:lnTo>
                  <a:pt x="425" y="819"/>
                </a:lnTo>
                <a:lnTo>
                  <a:pt x="428" y="818"/>
                </a:lnTo>
                <a:lnTo>
                  <a:pt x="433" y="814"/>
                </a:lnTo>
                <a:lnTo>
                  <a:pt x="436" y="811"/>
                </a:lnTo>
                <a:lnTo>
                  <a:pt x="442" y="807"/>
                </a:lnTo>
                <a:lnTo>
                  <a:pt x="446" y="806"/>
                </a:lnTo>
                <a:lnTo>
                  <a:pt x="452" y="805"/>
                </a:lnTo>
                <a:lnTo>
                  <a:pt x="457" y="806"/>
                </a:lnTo>
                <a:lnTo>
                  <a:pt x="461" y="808"/>
                </a:lnTo>
                <a:lnTo>
                  <a:pt x="466" y="812"/>
                </a:lnTo>
                <a:lnTo>
                  <a:pt x="471" y="820"/>
                </a:lnTo>
                <a:lnTo>
                  <a:pt x="476" y="828"/>
                </a:lnTo>
                <a:lnTo>
                  <a:pt x="479" y="838"/>
                </a:lnTo>
                <a:lnTo>
                  <a:pt x="483" y="849"/>
                </a:lnTo>
                <a:lnTo>
                  <a:pt x="488" y="864"/>
                </a:lnTo>
                <a:lnTo>
                  <a:pt x="492" y="878"/>
                </a:lnTo>
                <a:lnTo>
                  <a:pt x="495" y="888"/>
                </a:lnTo>
                <a:lnTo>
                  <a:pt x="497" y="895"/>
                </a:lnTo>
                <a:lnTo>
                  <a:pt x="501" y="899"/>
                </a:lnTo>
                <a:lnTo>
                  <a:pt x="504" y="901"/>
                </a:lnTo>
                <a:lnTo>
                  <a:pt x="521" y="907"/>
                </a:lnTo>
                <a:lnTo>
                  <a:pt x="537" y="912"/>
                </a:lnTo>
                <a:lnTo>
                  <a:pt x="553" y="914"/>
                </a:lnTo>
                <a:lnTo>
                  <a:pt x="567" y="915"/>
                </a:lnTo>
                <a:lnTo>
                  <a:pt x="581" y="914"/>
                </a:lnTo>
                <a:lnTo>
                  <a:pt x="590" y="913"/>
                </a:lnTo>
                <a:lnTo>
                  <a:pt x="597" y="910"/>
                </a:lnTo>
                <a:lnTo>
                  <a:pt x="603" y="906"/>
                </a:lnTo>
                <a:lnTo>
                  <a:pt x="609" y="901"/>
                </a:lnTo>
                <a:lnTo>
                  <a:pt x="614" y="897"/>
                </a:lnTo>
                <a:lnTo>
                  <a:pt x="623" y="896"/>
                </a:lnTo>
                <a:lnTo>
                  <a:pt x="633" y="895"/>
                </a:lnTo>
                <a:lnTo>
                  <a:pt x="636" y="891"/>
                </a:lnTo>
                <a:lnTo>
                  <a:pt x="640" y="887"/>
                </a:lnTo>
                <a:lnTo>
                  <a:pt x="643" y="877"/>
                </a:lnTo>
                <a:lnTo>
                  <a:pt x="647" y="870"/>
                </a:lnTo>
                <a:lnTo>
                  <a:pt x="652" y="868"/>
                </a:lnTo>
                <a:lnTo>
                  <a:pt x="656" y="868"/>
                </a:lnTo>
                <a:lnTo>
                  <a:pt x="659" y="868"/>
                </a:lnTo>
                <a:lnTo>
                  <a:pt x="662" y="866"/>
                </a:lnTo>
                <a:lnTo>
                  <a:pt x="667" y="865"/>
                </a:lnTo>
                <a:lnTo>
                  <a:pt x="669" y="864"/>
                </a:lnTo>
                <a:lnTo>
                  <a:pt x="675" y="861"/>
                </a:lnTo>
                <a:lnTo>
                  <a:pt x="681" y="857"/>
                </a:lnTo>
                <a:lnTo>
                  <a:pt x="682" y="853"/>
                </a:lnTo>
                <a:lnTo>
                  <a:pt x="685" y="851"/>
                </a:lnTo>
                <a:lnTo>
                  <a:pt x="687" y="846"/>
                </a:lnTo>
                <a:lnTo>
                  <a:pt x="688" y="842"/>
                </a:lnTo>
                <a:lnTo>
                  <a:pt x="690" y="832"/>
                </a:lnTo>
                <a:lnTo>
                  <a:pt x="692" y="821"/>
                </a:lnTo>
                <a:lnTo>
                  <a:pt x="694" y="817"/>
                </a:lnTo>
                <a:lnTo>
                  <a:pt x="697" y="811"/>
                </a:lnTo>
                <a:lnTo>
                  <a:pt x="701" y="805"/>
                </a:lnTo>
                <a:lnTo>
                  <a:pt x="706" y="800"/>
                </a:lnTo>
                <a:lnTo>
                  <a:pt x="715" y="789"/>
                </a:lnTo>
                <a:lnTo>
                  <a:pt x="723" y="776"/>
                </a:lnTo>
                <a:lnTo>
                  <a:pt x="726" y="770"/>
                </a:lnTo>
                <a:lnTo>
                  <a:pt x="730" y="763"/>
                </a:lnTo>
                <a:lnTo>
                  <a:pt x="738" y="750"/>
                </a:lnTo>
                <a:lnTo>
                  <a:pt x="748" y="737"/>
                </a:lnTo>
                <a:lnTo>
                  <a:pt x="756" y="725"/>
                </a:lnTo>
                <a:lnTo>
                  <a:pt x="766" y="714"/>
                </a:lnTo>
                <a:lnTo>
                  <a:pt x="773" y="705"/>
                </a:lnTo>
                <a:lnTo>
                  <a:pt x="780" y="693"/>
                </a:lnTo>
                <a:lnTo>
                  <a:pt x="785" y="685"/>
                </a:lnTo>
                <a:lnTo>
                  <a:pt x="788" y="678"/>
                </a:lnTo>
                <a:lnTo>
                  <a:pt x="788" y="672"/>
                </a:lnTo>
                <a:lnTo>
                  <a:pt x="788" y="667"/>
                </a:lnTo>
                <a:lnTo>
                  <a:pt x="787" y="661"/>
                </a:lnTo>
                <a:lnTo>
                  <a:pt x="785" y="655"/>
                </a:lnTo>
                <a:lnTo>
                  <a:pt x="781" y="649"/>
                </a:lnTo>
                <a:lnTo>
                  <a:pt x="779" y="645"/>
                </a:lnTo>
                <a:lnTo>
                  <a:pt x="778" y="644"/>
                </a:lnTo>
                <a:lnTo>
                  <a:pt x="776" y="642"/>
                </a:lnTo>
                <a:lnTo>
                  <a:pt x="773" y="635"/>
                </a:lnTo>
                <a:lnTo>
                  <a:pt x="772" y="628"/>
                </a:lnTo>
                <a:lnTo>
                  <a:pt x="772" y="624"/>
                </a:lnTo>
                <a:lnTo>
                  <a:pt x="773" y="620"/>
                </a:lnTo>
                <a:lnTo>
                  <a:pt x="774" y="619"/>
                </a:lnTo>
                <a:lnTo>
                  <a:pt x="776" y="618"/>
                </a:lnTo>
                <a:lnTo>
                  <a:pt x="779" y="617"/>
                </a:lnTo>
                <a:lnTo>
                  <a:pt x="781" y="615"/>
                </a:lnTo>
                <a:lnTo>
                  <a:pt x="784" y="612"/>
                </a:lnTo>
                <a:lnTo>
                  <a:pt x="786" y="609"/>
                </a:lnTo>
                <a:lnTo>
                  <a:pt x="787" y="605"/>
                </a:lnTo>
                <a:lnTo>
                  <a:pt x="787" y="601"/>
                </a:lnTo>
                <a:lnTo>
                  <a:pt x="787" y="599"/>
                </a:lnTo>
                <a:lnTo>
                  <a:pt x="787" y="597"/>
                </a:lnTo>
                <a:lnTo>
                  <a:pt x="787" y="593"/>
                </a:lnTo>
                <a:lnTo>
                  <a:pt x="787" y="590"/>
                </a:lnTo>
                <a:lnTo>
                  <a:pt x="786" y="579"/>
                </a:lnTo>
                <a:lnTo>
                  <a:pt x="786" y="571"/>
                </a:lnTo>
                <a:lnTo>
                  <a:pt x="786" y="567"/>
                </a:lnTo>
                <a:lnTo>
                  <a:pt x="787" y="565"/>
                </a:lnTo>
                <a:lnTo>
                  <a:pt x="788" y="562"/>
                </a:lnTo>
                <a:lnTo>
                  <a:pt x="791" y="561"/>
                </a:lnTo>
                <a:lnTo>
                  <a:pt x="793" y="560"/>
                </a:lnTo>
                <a:lnTo>
                  <a:pt x="797" y="559"/>
                </a:lnTo>
                <a:lnTo>
                  <a:pt x="800" y="560"/>
                </a:lnTo>
                <a:lnTo>
                  <a:pt x="805" y="561"/>
                </a:lnTo>
                <a:lnTo>
                  <a:pt x="808" y="563"/>
                </a:lnTo>
                <a:lnTo>
                  <a:pt x="812" y="567"/>
                </a:lnTo>
                <a:lnTo>
                  <a:pt x="820" y="573"/>
                </a:lnTo>
                <a:lnTo>
                  <a:pt x="826" y="578"/>
                </a:lnTo>
                <a:lnTo>
                  <a:pt x="830" y="579"/>
                </a:lnTo>
                <a:lnTo>
                  <a:pt x="832" y="580"/>
                </a:lnTo>
                <a:lnTo>
                  <a:pt x="833" y="581"/>
                </a:lnTo>
                <a:lnTo>
                  <a:pt x="835" y="581"/>
                </a:lnTo>
                <a:lnTo>
                  <a:pt x="838" y="581"/>
                </a:lnTo>
                <a:lnTo>
                  <a:pt x="841" y="580"/>
                </a:lnTo>
                <a:lnTo>
                  <a:pt x="844" y="578"/>
                </a:lnTo>
                <a:lnTo>
                  <a:pt x="848" y="575"/>
                </a:lnTo>
                <a:lnTo>
                  <a:pt x="854" y="568"/>
                </a:lnTo>
                <a:lnTo>
                  <a:pt x="860" y="562"/>
                </a:lnTo>
                <a:lnTo>
                  <a:pt x="862" y="561"/>
                </a:lnTo>
                <a:lnTo>
                  <a:pt x="863" y="561"/>
                </a:lnTo>
                <a:lnTo>
                  <a:pt x="866" y="561"/>
                </a:lnTo>
                <a:lnTo>
                  <a:pt x="868" y="563"/>
                </a:lnTo>
                <a:lnTo>
                  <a:pt x="871" y="574"/>
                </a:lnTo>
                <a:lnTo>
                  <a:pt x="876" y="588"/>
                </a:lnTo>
                <a:lnTo>
                  <a:pt x="880" y="592"/>
                </a:lnTo>
                <a:lnTo>
                  <a:pt x="883" y="595"/>
                </a:lnTo>
                <a:lnTo>
                  <a:pt x="887" y="598"/>
                </a:lnTo>
                <a:lnTo>
                  <a:pt x="892" y="599"/>
                </a:lnTo>
                <a:lnTo>
                  <a:pt x="896" y="600"/>
                </a:lnTo>
                <a:lnTo>
                  <a:pt x="902" y="601"/>
                </a:lnTo>
                <a:lnTo>
                  <a:pt x="907" y="601"/>
                </a:lnTo>
                <a:lnTo>
                  <a:pt x="913" y="600"/>
                </a:lnTo>
                <a:lnTo>
                  <a:pt x="918" y="599"/>
                </a:lnTo>
                <a:lnTo>
                  <a:pt x="923" y="597"/>
                </a:lnTo>
                <a:lnTo>
                  <a:pt x="925" y="593"/>
                </a:lnTo>
                <a:lnTo>
                  <a:pt x="927" y="588"/>
                </a:lnTo>
                <a:lnTo>
                  <a:pt x="929" y="579"/>
                </a:lnTo>
                <a:lnTo>
                  <a:pt x="930" y="568"/>
                </a:lnTo>
                <a:lnTo>
                  <a:pt x="931" y="562"/>
                </a:lnTo>
                <a:lnTo>
                  <a:pt x="932" y="556"/>
                </a:lnTo>
                <a:lnTo>
                  <a:pt x="933" y="550"/>
                </a:lnTo>
                <a:lnTo>
                  <a:pt x="937" y="544"/>
                </a:lnTo>
                <a:lnTo>
                  <a:pt x="940" y="538"/>
                </a:lnTo>
                <a:lnTo>
                  <a:pt x="944" y="534"/>
                </a:lnTo>
                <a:lnTo>
                  <a:pt x="950" y="529"/>
                </a:lnTo>
                <a:lnTo>
                  <a:pt x="956" y="525"/>
                </a:lnTo>
                <a:lnTo>
                  <a:pt x="961" y="522"/>
                </a:lnTo>
                <a:lnTo>
                  <a:pt x="967" y="518"/>
                </a:lnTo>
                <a:lnTo>
                  <a:pt x="970" y="516"/>
                </a:lnTo>
                <a:lnTo>
                  <a:pt x="973" y="513"/>
                </a:lnTo>
                <a:lnTo>
                  <a:pt x="976" y="509"/>
                </a:lnTo>
                <a:lnTo>
                  <a:pt x="980" y="504"/>
                </a:lnTo>
                <a:lnTo>
                  <a:pt x="983" y="499"/>
                </a:lnTo>
                <a:lnTo>
                  <a:pt x="984" y="493"/>
                </a:lnTo>
                <a:lnTo>
                  <a:pt x="982" y="484"/>
                </a:lnTo>
                <a:lnTo>
                  <a:pt x="977" y="473"/>
                </a:lnTo>
                <a:lnTo>
                  <a:pt x="977" y="472"/>
                </a:lnTo>
                <a:lnTo>
                  <a:pt x="977" y="471"/>
                </a:lnTo>
                <a:lnTo>
                  <a:pt x="978" y="466"/>
                </a:lnTo>
                <a:lnTo>
                  <a:pt x="982" y="461"/>
                </a:lnTo>
                <a:lnTo>
                  <a:pt x="986" y="458"/>
                </a:lnTo>
                <a:lnTo>
                  <a:pt x="990" y="455"/>
                </a:lnTo>
                <a:lnTo>
                  <a:pt x="999" y="448"/>
                </a:lnTo>
                <a:lnTo>
                  <a:pt x="1005" y="442"/>
                </a:lnTo>
                <a:lnTo>
                  <a:pt x="1006" y="440"/>
                </a:lnTo>
                <a:lnTo>
                  <a:pt x="1007" y="437"/>
                </a:lnTo>
                <a:lnTo>
                  <a:pt x="1008" y="435"/>
                </a:lnTo>
                <a:lnTo>
                  <a:pt x="1008" y="433"/>
                </a:lnTo>
                <a:lnTo>
                  <a:pt x="1006" y="428"/>
                </a:lnTo>
                <a:lnTo>
                  <a:pt x="1002" y="422"/>
                </a:lnTo>
                <a:lnTo>
                  <a:pt x="1000" y="417"/>
                </a:lnTo>
                <a:lnTo>
                  <a:pt x="1000" y="412"/>
                </a:lnTo>
                <a:lnTo>
                  <a:pt x="1001" y="409"/>
                </a:lnTo>
                <a:lnTo>
                  <a:pt x="1003" y="405"/>
                </a:lnTo>
                <a:lnTo>
                  <a:pt x="1006" y="403"/>
                </a:lnTo>
                <a:lnTo>
                  <a:pt x="1008" y="401"/>
                </a:lnTo>
                <a:lnTo>
                  <a:pt x="1017" y="391"/>
                </a:lnTo>
                <a:lnTo>
                  <a:pt x="1025" y="383"/>
                </a:lnTo>
                <a:lnTo>
                  <a:pt x="1032" y="373"/>
                </a:lnTo>
                <a:lnTo>
                  <a:pt x="1039" y="364"/>
                </a:lnTo>
                <a:lnTo>
                  <a:pt x="1045" y="353"/>
                </a:lnTo>
                <a:lnTo>
                  <a:pt x="1049" y="345"/>
                </a:lnTo>
                <a:lnTo>
                  <a:pt x="1052" y="334"/>
                </a:lnTo>
                <a:lnTo>
                  <a:pt x="1058" y="321"/>
                </a:lnTo>
                <a:lnTo>
                  <a:pt x="1062" y="313"/>
                </a:lnTo>
                <a:lnTo>
                  <a:pt x="1066" y="307"/>
                </a:lnTo>
                <a:lnTo>
                  <a:pt x="1071" y="302"/>
                </a:lnTo>
                <a:lnTo>
                  <a:pt x="1077" y="297"/>
                </a:lnTo>
                <a:lnTo>
                  <a:pt x="1082" y="292"/>
                </a:lnTo>
                <a:lnTo>
                  <a:pt x="1087" y="288"/>
                </a:lnTo>
                <a:lnTo>
                  <a:pt x="1091" y="281"/>
                </a:lnTo>
                <a:lnTo>
                  <a:pt x="1095" y="273"/>
                </a:lnTo>
                <a:lnTo>
                  <a:pt x="1099" y="266"/>
                </a:lnTo>
                <a:lnTo>
                  <a:pt x="1102" y="260"/>
                </a:lnTo>
                <a:lnTo>
                  <a:pt x="1104" y="257"/>
                </a:lnTo>
                <a:lnTo>
                  <a:pt x="1108" y="253"/>
                </a:lnTo>
                <a:lnTo>
                  <a:pt x="1119" y="248"/>
                </a:lnTo>
                <a:lnTo>
                  <a:pt x="1134" y="244"/>
                </a:lnTo>
                <a:lnTo>
                  <a:pt x="1146" y="240"/>
                </a:lnTo>
                <a:lnTo>
                  <a:pt x="1162" y="233"/>
                </a:lnTo>
                <a:lnTo>
                  <a:pt x="1166" y="229"/>
                </a:lnTo>
                <a:lnTo>
                  <a:pt x="1169" y="226"/>
                </a:lnTo>
                <a:lnTo>
                  <a:pt x="1171" y="223"/>
                </a:lnTo>
                <a:lnTo>
                  <a:pt x="1172" y="220"/>
                </a:lnTo>
                <a:lnTo>
                  <a:pt x="1175" y="215"/>
                </a:lnTo>
                <a:lnTo>
                  <a:pt x="1177" y="209"/>
                </a:lnTo>
                <a:lnTo>
                  <a:pt x="1178" y="196"/>
                </a:lnTo>
                <a:lnTo>
                  <a:pt x="1179" y="184"/>
                </a:lnTo>
                <a:lnTo>
                  <a:pt x="1178" y="181"/>
                </a:lnTo>
                <a:lnTo>
                  <a:pt x="1176" y="178"/>
                </a:lnTo>
                <a:lnTo>
                  <a:pt x="1173" y="178"/>
                </a:lnTo>
                <a:lnTo>
                  <a:pt x="1170" y="178"/>
                </a:lnTo>
                <a:lnTo>
                  <a:pt x="1164" y="179"/>
                </a:lnTo>
                <a:lnTo>
                  <a:pt x="1157" y="181"/>
                </a:lnTo>
                <a:lnTo>
                  <a:pt x="1153" y="181"/>
                </a:lnTo>
                <a:lnTo>
                  <a:pt x="1150" y="181"/>
                </a:lnTo>
                <a:lnTo>
                  <a:pt x="1147" y="181"/>
                </a:lnTo>
                <a:lnTo>
                  <a:pt x="1146" y="178"/>
                </a:lnTo>
                <a:lnTo>
                  <a:pt x="1145" y="176"/>
                </a:lnTo>
                <a:lnTo>
                  <a:pt x="1144" y="174"/>
                </a:lnTo>
                <a:lnTo>
                  <a:pt x="1140" y="166"/>
                </a:lnTo>
                <a:lnTo>
                  <a:pt x="1135" y="160"/>
                </a:lnTo>
                <a:lnTo>
                  <a:pt x="1129" y="155"/>
                </a:lnTo>
                <a:lnTo>
                  <a:pt x="1122" y="149"/>
                </a:lnTo>
                <a:lnTo>
                  <a:pt x="1113" y="140"/>
                </a:lnTo>
                <a:lnTo>
                  <a:pt x="1103" y="133"/>
                </a:lnTo>
                <a:lnTo>
                  <a:pt x="1090" y="124"/>
                </a:lnTo>
                <a:lnTo>
                  <a:pt x="1081" y="114"/>
                </a:lnTo>
                <a:lnTo>
                  <a:pt x="1077" y="109"/>
                </a:lnTo>
                <a:lnTo>
                  <a:pt x="1075" y="105"/>
                </a:lnTo>
                <a:lnTo>
                  <a:pt x="1072" y="100"/>
                </a:lnTo>
                <a:lnTo>
                  <a:pt x="1071" y="94"/>
                </a:lnTo>
                <a:lnTo>
                  <a:pt x="1071" y="89"/>
                </a:lnTo>
                <a:lnTo>
                  <a:pt x="1072" y="83"/>
                </a:lnTo>
                <a:lnTo>
                  <a:pt x="1075" y="77"/>
                </a:lnTo>
                <a:lnTo>
                  <a:pt x="1078" y="71"/>
                </a:lnTo>
                <a:lnTo>
                  <a:pt x="1082" y="65"/>
                </a:lnTo>
                <a:lnTo>
                  <a:pt x="1085" y="61"/>
                </a:lnTo>
                <a:lnTo>
                  <a:pt x="1090" y="57"/>
                </a:lnTo>
                <a:lnTo>
                  <a:pt x="1095" y="53"/>
                </a:lnTo>
                <a:lnTo>
                  <a:pt x="1103" y="52"/>
                </a:lnTo>
                <a:lnTo>
                  <a:pt x="1114" y="52"/>
                </a:lnTo>
                <a:lnTo>
                  <a:pt x="1120" y="51"/>
                </a:lnTo>
                <a:lnTo>
                  <a:pt x="1125" y="50"/>
                </a:lnTo>
                <a:lnTo>
                  <a:pt x="1131" y="48"/>
                </a:lnTo>
                <a:lnTo>
                  <a:pt x="1135" y="44"/>
                </a:lnTo>
                <a:lnTo>
                  <a:pt x="1144" y="36"/>
                </a:lnTo>
                <a:lnTo>
                  <a:pt x="1151" y="26"/>
                </a:lnTo>
                <a:lnTo>
                  <a:pt x="1152" y="25"/>
                </a:lnTo>
                <a:lnTo>
                  <a:pt x="1152" y="23"/>
                </a:lnTo>
                <a:lnTo>
                  <a:pt x="1153" y="12"/>
                </a:lnTo>
                <a:lnTo>
                  <a:pt x="1154" y="2"/>
                </a:lnTo>
                <a:lnTo>
                  <a:pt x="1154" y="1"/>
                </a:lnTo>
                <a:lnTo>
                  <a:pt x="1157" y="0"/>
                </a:lnTo>
                <a:lnTo>
                  <a:pt x="1165" y="1"/>
                </a:lnTo>
                <a:lnTo>
                  <a:pt x="1179" y="4"/>
                </a:lnTo>
                <a:lnTo>
                  <a:pt x="1196" y="8"/>
                </a:lnTo>
                <a:lnTo>
                  <a:pt x="1211" y="15"/>
                </a:lnTo>
                <a:lnTo>
                  <a:pt x="1220" y="20"/>
                </a:lnTo>
                <a:lnTo>
                  <a:pt x="1230" y="26"/>
                </a:lnTo>
                <a:lnTo>
                  <a:pt x="1244" y="34"/>
                </a:lnTo>
                <a:lnTo>
                  <a:pt x="1257" y="42"/>
                </a:lnTo>
                <a:lnTo>
                  <a:pt x="1270" y="51"/>
                </a:lnTo>
                <a:lnTo>
                  <a:pt x="1280" y="59"/>
                </a:lnTo>
                <a:lnTo>
                  <a:pt x="1290" y="68"/>
                </a:lnTo>
                <a:lnTo>
                  <a:pt x="1298" y="74"/>
                </a:lnTo>
                <a:lnTo>
                  <a:pt x="1309" y="78"/>
                </a:lnTo>
                <a:lnTo>
                  <a:pt x="1322" y="83"/>
                </a:lnTo>
                <a:lnTo>
                  <a:pt x="1335" y="88"/>
                </a:lnTo>
                <a:lnTo>
                  <a:pt x="1346" y="93"/>
                </a:lnTo>
                <a:lnTo>
                  <a:pt x="1358" y="100"/>
                </a:lnTo>
                <a:lnTo>
                  <a:pt x="1373" y="113"/>
                </a:lnTo>
                <a:lnTo>
                  <a:pt x="1390" y="128"/>
                </a:lnTo>
                <a:lnTo>
                  <a:pt x="1404" y="143"/>
                </a:lnTo>
                <a:lnTo>
                  <a:pt x="1416" y="156"/>
                </a:lnTo>
                <a:lnTo>
                  <a:pt x="1425" y="168"/>
                </a:lnTo>
                <a:lnTo>
                  <a:pt x="1434" y="179"/>
                </a:lnTo>
                <a:lnTo>
                  <a:pt x="1441" y="193"/>
                </a:lnTo>
                <a:lnTo>
                  <a:pt x="1443" y="197"/>
                </a:lnTo>
                <a:lnTo>
                  <a:pt x="1447" y="202"/>
                </a:lnTo>
                <a:lnTo>
                  <a:pt x="1449" y="207"/>
                </a:lnTo>
                <a:lnTo>
                  <a:pt x="1453" y="209"/>
                </a:lnTo>
                <a:lnTo>
                  <a:pt x="1458" y="212"/>
                </a:lnTo>
                <a:lnTo>
                  <a:pt x="1465" y="213"/>
                </a:lnTo>
                <a:lnTo>
                  <a:pt x="1472" y="214"/>
                </a:lnTo>
                <a:lnTo>
                  <a:pt x="1481" y="215"/>
                </a:lnTo>
                <a:lnTo>
                  <a:pt x="1493" y="214"/>
                </a:lnTo>
                <a:lnTo>
                  <a:pt x="1506" y="214"/>
                </a:lnTo>
                <a:lnTo>
                  <a:pt x="1518" y="212"/>
                </a:lnTo>
                <a:lnTo>
                  <a:pt x="1529" y="209"/>
                </a:lnTo>
                <a:lnTo>
                  <a:pt x="1540" y="207"/>
                </a:lnTo>
                <a:lnTo>
                  <a:pt x="1548" y="204"/>
                </a:lnTo>
                <a:lnTo>
                  <a:pt x="1555" y="203"/>
                </a:lnTo>
                <a:lnTo>
                  <a:pt x="1566" y="204"/>
                </a:lnTo>
                <a:lnTo>
                  <a:pt x="1578" y="207"/>
                </a:lnTo>
                <a:lnTo>
                  <a:pt x="1588" y="210"/>
                </a:lnTo>
                <a:lnTo>
                  <a:pt x="1593" y="212"/>
                </a:lnTo>
                <a:lnTo>
                  <a:pt x="1598" y="214"/>
                </a:lnTo>
                <a:lnTo>
                  <a:pt x="1601" y="216"/>
                </a:lnTo>
                <a:lnTo>
                  <a:pt x="1604" y="219"/>
                </a:lnTo>
                <a:lnTo>
                  <a:pt x="1605" y="223"/>
                </a:lnTo>
                <a:lnTo>
                  <a:pt x="1607" y="232"/>
                </a:lnTo>
                <a:lnTo>
                  <a:pt x="1607" y="240"/>
                </a:lnTo>
                <a:lnTo>
                  <a:pt x="1609" y="251"/>
                </a:lnTo>
                <a:lnTo>
                  <a:pt x="1609" y="260"/>
                </a:lnTo>
                <a:lnTo>
                  <a:pt x="1610" y="270"/>
                </a:lnTo>
                <a:lnTo>
                  <a:pt x="1611" y="277"/>
                </a:lnTo>
                <a:lnTo>
                  <a:pt x="1613" y="282"/>
                </a:lnTo>
                <a:lnTo>
                  <a:pt x="1617" y="284"/>
                </a:lnTo>
                <a:lnTo>
                  <a:pt x="1620" y="285"/>
                </a:lnTo>
                <a:lnTo>
                  <a:pt x="1626" y="288"/>
                </a:lnTo>
                <a:lnTo>
                  <a:pt x="1632" y="289"/>
                </a:lnTo>
                <a:lnTo>
                  <a:pt x="1643" y="290"/>
                </a:lnTo>
                <a:lnTo>
                  <a:pt x="1651" y="290"/>
                </a:lnTo>
                <a:lnTo>
                  <a:pt x="1657" y="290"/>
                </a:lnTo>
                <a:lnTo>
                  <a:pt x="1664" y="291"/>
                </a:lnTo>
                <a:lnTo>
                  <a:pt x="1673" y="292"/>
                </a:lnTo>
                <a:lnTo>
                  <a:pt x="1680" y="296"/>
                </a:lnTo>
                <a:lnTo>
                  <a:pt x="1696" y="310"/>
                </a:lnTo>
                <a:lnTo>
                  <a:pt x="1714" y="328"/>
                </a:lnTo>
                <a:lnTo>
                  <a:pt x="1717" y="330"/>
                </a:lnTo>
                <a:lnTo>
                  <a:pt x="1720" y="333"/>
                </a:lnTo>
                <a:lnTo>
                  <a:pt x="1723" y="334"/>
                </a:lnTo>
                <a:lnTo>
                  <a:pt x="1726" y="334"/>
                </a:lnTo>
                <a:lnTo>
                  <a:pt x="1735" y="334"/>
                </a:lnTo>
                <a:lnTo>
                  <a:pt x="1744" y="333"/>
                </a:lnTo>
                <a:lnTo>
                  <a:pt x="1749" y="333"/>
                </a:lnTo>
                <a:lnTo>
                  <a:pt x="1754" y="335"/>
                </a:lnTo>
                <a:lnTo>
                  <a:pt x="1758" y="339"/>
                </a:lnTo>
                <a:lnTo>
                  <a:pt x="1762" y="344"/>
                </a:lnTo>
                <a:lnTo>
                  <a:pt x="1765" y="349"/>
                </a:lnTo>
                <a:lnTo>
                  <a:pt x="1768" y="357"/>
                </a:lnTo>
                <a:lnTo>
                  <a:pt x="1770" y="364"/>
                </a:lnTo>
                <a:lnTo>
                  <a:pt x="1773" y="372"/>
                </a:lnTo>
                <a:lnTo>
                  <a:pt x="1775" y="395"/>
                </a:lnTo>
                <a:lnTo>
                  <a:pt x="1775" y="420"/>
                </a:lnTo>
                <a:lnTo>
                  <a:pt x="1774" y="431"/>
                </a:lnTo>
                <a:lnTo>
                  <a:pt x="1773" y="442"/>
                </a:lnTo>
                <a:lnTo>
                  <a:pt x="1770" y="452"/>
                </a:lnTo>
                <a:lnTo>
                  <a:pt x="1767" y="460"/>
                </a:lnTo>
                <a:lnTo>
                  <a:pt x="1763" y="466"/>
                </a:lnTo>
                <a:lnTo>
                  <a:pt x="1761" y="472"/>
                </a:lnTo>
                <a:lnTo>
                  <a:pt x="1761" y="478"/>
                </a:lnTo>
                <a:lnTo>
                  <a:pt x="1761" y="484"/>
                </a:lnTo>
                <a:lnTo>
                  <a:pt x="1762" y="496"/>
                </a:lnTo>
                <a:lnTo>
                  <a:pt x="1765" y="505"/>
                </a:lnTo>
                <a:lnTo>
                  <a:pt x="1768" y="515"/>
                </a:lnTo>
                <a:lnTo>
                  <a:pt x="1769" y="527"/>
                </a:lnTo>
                <a:lnTo>
                  <a:pt x="1769" y="538"/>
                </a:lnTo>
                <a:lnTo>
                  <a:pt x="1765" y="550"/>
                </a:lnTo>
                <a:lnTo>
                  <a:pt x="1761" y="562"/>
                </a:lnTo>
                <a:lnTo>
                  <a:pt x="1754" y="574"/>
                </a:lnTo>
                <a:lnTo>
                  <a:pt x="1750" y="580"/>
                </a:lnTo>
                <a:lnTo>
                  <a:pt x="1745" y="585"/>
                </a:lnTo>
                <a:lnTo>
                  <a:pt x="1740" y="590"/>
                </a:lnTo>
                <a:lnTo>
                  <a:pt x="1735" y="593"/>
                </a:lnTo>
                <a:lnTo>
                  <a:pt x="1730" y="595"/>
                </a:lnTo>
                <a:lnTo>
                  <a:pt x="1726" y="598"/>
                </a:lnTo>
                <a:lnTo>
                  <a:pt x="1721" y="598"/>
                </a:lnTo>
                <a:lnTo>
                  <a:pt x="1718" y="598"/>
                </a:lnTo>
                <a:lnTo>
                  <a:pt x="1714" y="597"/>
                </a:lnTo>
                <a:lnTo>
                  <a:pt x="1711" y="594"/>
                </a:lnTo>
                <a:lnTo>
                  <a:pt x="1707" y="591"/>
                </a:lnTo>
                <a:lnTo>
                  <a:pt x="1702" y="586"/>
                </a:lnTo>
                <a:lnTo>
                  <a:pt x="1696" y="582"/>
                </a:lnTo>
                <a:lnTo>
                  <a:pt x="1689" y="579"/>
                </a:lnTo>
                <a:lnTo>
                  <a:pt x="1681" y="576"/>
                </a:lnTo>
                <a:lnTo>
                  <a:pt x="1673" y="576"/>
                </a:lnTo>
                <a:lnTo>
                  <a:pt x="1662" y="576"/>
                </a:lnTo>
                <a:lnTo>
                  <a:pt x="1652" y="578"/>
                </a:lnTo>
                <a:lnTo>
                  <a:pt x="1642" y="580"/>
                </a:lnTo>
                <a:lnTo>
                  <a:pt x="1631" y="585"/>
                </a:lnTo>
                <a:lnTo>
                  <a:pt x="1622" y="590"/>
                </a:lnTo>
                <a:lnTo>
                  <a:pt x="1613" y="595"/>
                </a:lnTo>
                <a:lnTo>
                  <a:pt x="1605" y="603"/>
                </a:lnTo>
                <a:lnTo>
                  <a:pt x="1598" y="610"/>
                </a:lnTo>
                <a:lnTo>
                  <a:pt x="1586" y="624"/>
                </a:lnTo>
                <a:lnTo>
                  <a:pt x="1579" y="636"/>
                </a:lnTo>
                <a:lnTo>
                  <a:pt x="1573" y="645"/>
                </a:lnTo>
                <a:lnTo>
                  <a:pt x="1566" y="654"/>
                </a:lnTo>
                <a:lnTo>
                  <a:pt x="1562" y="656"/>
                </a:lnTo>
                <a:lnTo>
                  <a:pt x="1559" y="660"/>
                </a:lnTo>
                <a:lnTo>
                  <a:pt x="1555" y="661"/>
                </a:lnTo>
                <a:lnTo>
                  <a:pt x="1551" y="662"/>
                </a:lnTo>
                <a:lnTo>
                  <a:pt x="1544" y="663"/>
                </a:lnTo>
                <a:lnTo>
                  <a:pt x="1537" y="667"/>
                </a:lnTo>
                <a:lnTo>
                  <a:pt x="1529" y="672"/>
                </a:lnTo>
                <a:lnTo>
                  <a:pt x="1519" y="679"/>
                </a:lnTo>
                <a:lnTo>
                  <a:pt x="1509" y="691"/>
                </a:lnTo>
                <a:lnTo>
                  <a:pt x="1499" y="702"/>
                </a:lnTo>
                <a:lnTo>
                  <a:pt x="1491" y="716"/>
                </a:lnTo>
                <a:lnTo>
                  <a:pt x="1487" y="727"/>
                </a:lnTo>
                <a:lnTo>
                  <a:pt x="1485" y="732"/>
                </a:lnTo>
                <a:lnTo>
                  <a:pt x="1484" y="736"/>
                </a:lnTo>
                <a:lnTo>
                  <a:pt x="1481" y="738"/>
                </a:lnTo>
                <a:lnTo>
                  <a:pt x="1479" y="740"/>
                </a:lnTo>
                <a:lnTo>
                  <a:pt x="1478" y="740"/>
                </a:lnTo>
                <a:lnTo>
                  <a:pt x="1475" y="740"/>
                </a:lnTo>
                <a:lnTo>
                  <a:pt x="1473" y="739"/>
                </a:lnTo>
                <a:lnTo>
                  <a:pt x="1472" y="737"/>
                </a:lnTo>
                <a:lnTo>
                  <a:pt x="1469" y="732"/>
                </a:lnTo>
                <a:lnTo>
                  <a:pt x="1467" y="724"/>
                </a:lnTo>
                <a:lnTo>
                  <a:pt x="1465" y="716"/>
                </a:lnTo>
                <a:lnTo>
                  <a:pt x="1465" y="706"/>
                </a:lnTo>
                <a:lnTo>
                  <a:pt x="1463" y="698"/>
                </a:lnTo>
                <a:lnTo>
                  <a:pt x="1461" y="692"/>
                </a:lnTo>
                <a:lnTo>
                  <a:pt x="1460" y="689"/>
                </a:lnTo>
                <a:lnTo>
                  <a:pt x="1458" y="688"/>
                </a:lnTo>
                <a:lnTo>
                  <a:pt x="1455" y="687"/>
                </a:lnTo>
                <a:lnTo>
                  <a:pt x="1453" y="687"/>
                </a:lnTo>
                <a:lnTo>
                  <a:pt x="1447" y="688"/>
                </a:lnTo>
                <a:lnTo>
                  <a:pt x="1441" y="691"/>
                </a:lnTo>
                <a:lnTo>
                  <a:pt x="1435" y="697"/>
                </a:lnTo>
                <a:lnTo>
                  <a:pt x="1428" y="704"/>
                </a:lnTo>
                <a:lnTo>
                  <a:pt x="1419" y="711"/>
                </a:lnTo>
                <a:lnTo>
                  <a:pt x="1412" y="717"/>
                </a:lnTo>
                <a:lnTo>
                  <a:pt x="1408" y="719"/>
                </a:lnTo>
                <a:lnTo>
                  <a:pt x="1404" y="720"/>
                </a:lnTo>
                <a:lnTo>
                  <a:pt x="1400" y="720"/>
                </a:lnTo>
                <a:lnTo>
                  <a:pt x="1396" y="719"/>
                </a:lnTo>
                <a:lnTo>
                  <a:pt x="1392" y="718"/>
                </a:lnTo>
                <a:lnTo>
                  <a:pt x="1389" y="716"/>
                </a:lnTo>
                <a:lnTo>
                  <a:pt x="1386" y="713"/>
                </a:lnTo>
                <a:lnTo>
                  <a:pt x="1384" y="710"/>
                </a:lnTo>
                <a:lnTo>
                  <a:pt x="1379" y="701"/>
                </a:lnTo>
                <a:lnTo>
                  <a:pt x="1373" y="688"/>
                </a:lnTo>
                <a:lnTo>
                  <a:pt x="1371" y="682"/>
                </a:lnTo>
                <a:lnTo>
                  <a:pt x="1366" y="678"/>
                </a:lnTo>
                <a:lnTo>
                  <a:pt x="1361" y="674"/>
                </a:lnTo>
                <a:lnTo>
                  <a:pt x="1356" y="672"/>
                </a:lnTo>
                <a:lnTo>
                  <a:pt x="1352" y="670"/>
                </a:lnTo>
                <a:lnTo>
                  <a:pt x="1347" y="670"/>
                </a:lnTo>
                <a:lnTo>
                  <a:pt x="1342" y="670"/>
                </a:lnTo>
                <a:lnTo>
                  <a:pt x="1337" y="672"/>
                </a:lnTo>
                <a:lnTo>
                  <a:pt x="1333" y="675"/>
                </a:lnTo>
                <a:lnTo>
                  <a:pt x="1328" y="679"/>
                </a:lnTo>
                <a:lnTo>
                  <a:pt x="1322" y="685"/>
                </a:lnTo>
                <a:lnTo>
                  <a:pt x="1317" y="691"/>
                </a:lnTo>
                <a:lnTo>
                  <a:pt x="1305" y="706"/>
                </a:lnTo>
                <a:lnTo>
                  <a:pt x="1295" y="720"/>
                </a:lnTo>
                <a:lnTo>
                  <a:pt x="1289" y="727"/>
                </a:lnTo>
                <a:lnTo>
                  <a:pt x="1283" y="732"/>
                </a:lnTo>
                <a:lnTo>
                  <a:pt x="1278" y="737"/>
                </a:lnTo>
                <a:lnTo>
                  <a:pt x="1273" y="739"/>
                </a:lnTo>
                <a:lnTo>
                  <a:pt x="1269" y="742"/>
                </a:lnTo>
                <a:lnTo>
                  <a:pt x="1264" y="742"/>
                </a:lnTo>
                <a:lnTo>
                  <a:pt x="1259" y="742"/>
                </a:lnTo>
                <a:lnTo>
                  <a:pt x="1255" y="742"/>
                </a:lnTo>
                <a:lnTo>
                  <a:pt x="1252" y="740"/>
                </a:lnTo>
                <a:lnTo>
                  <a:pt x="1247" y="738"/>
                </a:lnTo>
                <a:lnTo>
                  <a:pt x="1244" y="735"/>
                </a:lnTo>
                <a:lnTo>
                  <a:pt x="1240" y="731"/>
                </a:lnTo>
                <a:lnTo>
                  <a:pt x="1233" y="724"/>
                </a:lnTo>
                <a:lnTo>
                  <a:pt x="1228" y="716"/>
                </a:lnTo>
                <a:lnTo>
                  <a:pt x="1223" y="708"/>
                </a:lnTo>
                <a:lnTo>
                  <a:pt x="1219" y="702"/>
                </a:lnTo>
                <a:lnTo>
                  <a:pt x="1216" y="700"/>
                </a:lnTo>
                <a:lnTo>
                  <a:pt x="1214" y="699"/>
                </a:lnTo>
                <a:lnTo>
                  <a:pt x="1213" y="699"/>
                </a:lnTo>
                <a:lnTo>
                  <a:pt x="1210" y="701"/>
                </a:lnTo>
                <a:lnTo>
                  <a:pt x="1207" y="708"/>
                </a:lnTo>
                <a:lnTo>
                  <a:pt x="1204" y="718"/>
                </a:lnTo>
                <a:lnTo>
                  <a:pt x="1202" y="727"/>
                </a:lnTo>
                <a:lnTo>
                  <a:pt x="1197" y="738"/>
                </a:lnTo>
                <a:lnTo>
                  <a:pt x="1195" y="743"/>
                </a:lnTo>
                <a:lnTo>
                  <a:pt x="1192" y="745"/>
                </a:lnTo>
                <a:lnTo>
                  <a:pt x="1189" y="746"/>
                </a:lnTo>
                <a:lnTo>
                  <a:pt x="1184" y="748"/>
                </a:lnTo>
                <a:lnTo>
                  <a:pt x="1175" y="746"/>
                </a:lnTo>
                <a:lnTo>
                  <a:pt x="1162" y="743"/>
                </a:lnTo>
                <a:lnTo>
                  <a:pt x="1154" y="743"/>
                </a:lnTo>
                <a:lnTo>
                  <a:pt x="1148" y="744"/>
                </a:lnTo>
                <a:lnTo>
                  <a:pt x="1143" y="746"/>
                </a:lnTo>
                <a:lnTo>
                  <a:pt x="1138" y="751"/>
                </a:lnTo>
                <a:lnTo>
                  <a:pt x="1128" y="761"/>
                </a:lnTo>
                <a:lnTo>
                  <a:pt x="1122" y="771"/>
                </a:lnTo>
                <a:lnTo>
                  <a:pt x="1118" y="780"/>
                </a:lnTo>
                <a:lnTo>
                  <a:pt x="1116" y="786"/>
                </a:lnTo>
                <a:lnTo>
                  <a:pt x="1116" y="789"/>
                </a:lnTo>
                <a:lnTo>
                  <a:pt x="1118" y="792"/>
                </a:lnTo>
                <a:lnTo>
                  <a:pt x="1120" y="794"/>
                </a:lnTo>
                <a:lnTo>
                  <a:pt x="1123" y="798"/>
                </a:lnTo>
                <a:lnTo>
                  <a:pt x="1132" y="803"/>
                </a:lnTo>
                <a:lnTo>
                  <a:pt x="1143" y="811"/>
                </a:lnTo>
                <a:lnTo>
                  <a:pt x="1153" y="819"/>
                </a:lnTo>
                <a:lnTo>
                  <a:pt x="1163" y="828"/>
                </a:lnTo>
                <a:lnTo>
                  <a:pt x="1167" y="833"/>
                </a:lnTo>
                <a:lnTo>
                  <a:pt x="1170" y="839"/>
                </a:lnTo>
                <a:lnTo>
                  <a:pt x="1172" y="844"/>
                </a:lnTo>
                <a:lnTo>
                  <a:pt x="1175" y="849"/>
                </a:lnTo>
                <a:lnTo>
                  <a:pt x="1176" y="861"/>
                </a:lnTo>
                <a:lnTo>
                  <a:pt x="1177" y="878"/>
                </a:lnTo>
                <a:lnTo>
                  <a:pt x="1177" y="888"/>
                </a:lnTo>
                <a:lnTo>
                  <a:pt x="1176" y="894"/>
                </a:lnTo>
                <a:lnTo>
                  <a:pt x="1175" y="900"/>
                </a:lnTo>
                <a:lnTo>
                  <a:pt x="1173" y="903"/>
                </a:lnTo>
                <a:lnTo>
                  <a:pt x="1170" y="909"/>
                </a:lnTo>
                <a:lnTo>
                  <a:pt x="1165" y="918"/>
                </a:lnTo>
                <a:lnTo>
                  <a:pt x="1163" y="921"/>
                </a:lnTo>
                <a:lnTo>
                  <a:pt x="1163" y="925"/>
                </a:lnTo>
                <a:lnTo>
                  <a:pt x="1164" y="927"/>
                </a:lnTo>
                <a:lnTo>
                  <a:pt x="1165" y="929"/>
                </a:lnTo>
                <a:lnTo>
                  <a:pt x="1169" y="937"/>
                </a:lnTo>
                <a:lnTo>
                  <a:pt x="1172" y="947"/>
                </a:lnTo>
                <a:lnTo>
                  <a:pt x="1173" y="954"/>
                </a:lnTo>
                <a:lnTo>
                  <a:pt x="1173" y="962"/>
                </a:lnTo>
                <a:lnTo>
                  <a:pt x="1172" y="970"/>
                </a:lnTo>
                <a:lnTo>
                  <a:pt x="1171" y="977"/>
                </a:lnTo>
                <a:lnTo>
                  <a:pt x="1169" y="984"/>
                </a:lnTo>
                <a:lnTo>
                  <a:pt x="1166" y="991"/>
                </a:lnTo>
                <a:lnTo>
                  <a:pt x="1163" y="997"/>
                </a:lnTo>
                <a:lnTo>
                  <a:pt x="1158" y="1001"/>
                </a:lnTo>
                <a:lnTo>
                  <a:pt x="1153" y="1004"/>
                </a:lnTo>
                <a:lnTo>
                  <a:pt x="1147" y="1008"/>
                </a:lnTo>
                <a:lnTo>
                  <a:pt x="1140" y="1010"/>
                </a:lnTo>
                <a:lnTo>
                  <a:pt x="1134" y="1013"/>
                </a:lnTo>
                <a:lnTo>
                  <a:pt x="1122" y="1015"/>
                </a:lnTo>
                <a:lnTo>
                  <a:pt x="1113" y="1019"/>
                </a:lnTo>
                <a:lnTo>
                  <a:pt x="1112" y="1021"/>
                </a:lnTo>
                <a:lnTo>
                  <a:pt x="1109" y="1022"/>
                </a:lnTo>
                <a:lnTo>
                  <a:pt x="1109" y="1025"/>
                </a:lnTo>
                <a:lnTo>
                  <a:pt x="1109" y="1027"/>
                </a:lnTo>
                <a:lnTo>
                  <a:pt x="1110" y="1032"/>
                </a:lnTo>
                <a:lnTo>
                  <a:pt x="1115" y="1035"/>
                </a:lnTo>
                <a:lnTo>
                  <a:pt x="1120" y="1040"/>
                </a:lnTo>
                <a:lnTo>
                  <a:pt x="1126" y="1045"/>
                </a:lnTo>
                <a:lnTo>
                  <a:pt x="1129" y="1052"/>
                </a:lnTo>
                <a:lnTo>
                  <a:pt x="1134" y="1061"/>
                </a:lnTo>
                <a:lnTo>
                  <a:pt x="1138" y="1071"/>
                </a:lnTo>
                <a:lnTo>
                  <a:pt x="1141" y="1079"/>
                </a:lnTo>
                <a:lnTo>
                  <a:pt x="1144" y="1082"/>
                </a:lnTo>
                <a:lnTo>
                  <a:pt x="1146" y="1084"/>
                </a:lnTo>
                <a:lnTo>
                  <a:pt x="1148" y="1085"/>
                </a:lnTo>
                <a:lnTo>
                  <a:pt x="1151" y="1086"/>
                </a:lnTo>
                <a:lnTo>
                  <a:pt x="1154" y="1085"/>
                </a:lnTo>
                <a:lnTo>
                  <a:pt x="1159" y="1084"/>
                </a:lnTo>
                <a:lnTo>
                  <a:pt x="1163" y="1080"/>
                </a:lnTo>
                <a:lnTo>
                  <a:pt x="1167" y="1073"/>
                </a:lnTo>
                <a:lnTo>
                  <a:pt x="1171" y="1063"/>
                </a:lnTo>
                <a:lnTo>
                  <a:pt x="1176" y="1051"/>
                </a:lnTo>
                <a:lnTo>
                  <a:pt x="1182" y="1040"/>
                </a:lnTo>
                <a:lnTo>
                  <a:pt x="1187" y="1032"/>
                </a:lnTo>
                <a:lnTo>
                  <a:pt x="1194" y="1027"/>
                </a:lnTo>
                <a:lnTo>
                  <a:pt x="1202" y="1025"/>
                </a:lnTo>
                <a:lnTo>
                  <a:pt x="1206" y="1023"/>
                </a:lnTo>
                <a:lnTo>
                  <a:pt x="1208" y="1023"/>
                </a:lnTo>
                <a:lnTo>
                  <a:pt x="1211" y="1025"/>
                </a:lnTo>
                <a:lnTo>
                  <a:pt x="1213" y="1026"/>
                </a:lnTo>
                <a:lnTo>
                  <a:pt x="1215" y="1032"/>
                </a:lnTo>
                <a:lnTo>
                  <a:pt x="1215" y="1041"/>
                </a:lnTo>
                <a:lnTo>
                  <a:pt x="1215" y="1054"/>
                </a:lnTo>
                <a:lnTo>
                  <a:pt x="1215" y="1069"/>
                </a:lnTo>
                <a:lnTo>
                  <a:pt x="1216" y="1077"/>
                </a:lnTo>
                <a:lnTo>
                  <a:pt x="1219" y="1083"/>
                </a:lnTo>
                <a:lnTo>
                  <a:pt x="1222" y="1088"/>
                </a:lnTo>
                <a:lnTo>
                  <a:pt x="1227" y="1092"/>
                </a:lnTo>
                <a:lnTo>
                  <a:pt x="1236" y="1099"/>
                </a:lnTo>
                <a:lnTo>
                  <a:pt x="1247" y="1103"/>
                </a:lnTo>
                <a:lnTo>
                  <a:pt x="1257" y="1105"/>
                </a:lnTo>
                <a:lnTo>
                  <a:pt x="1266" y="1109"/>
                </a:lnTo>
                <a:lnTo>
                  <a:pt x="1271" y="1110"/>
                </a:lnTo>
                <a:lnTo>
                  <a:pt x="1274" y="1113"/>
                </a:lnTo>
                <a:lnTo>
                  <a:pt x="1278" y="1115"/>
                </a:lnTo>
                <a:lnTo>
                  <a:pt x="1282" y="1118"/>
                </a:lnTo>
                <a:lnTo>
                  <a:pt x="1288" y="1129"/>
                </a:lnTo>
                <a:lnTo>
                  <a:pt x="1295" y="1145"/>
                </a:lnTo>
                <a:lnTo>
                  <a:pt x="1297" y="1153"/>
                </a:lnTo>
                <a:lnTo>
                  <a:pt x="1298" y="1161"/>
                </a:lnTo>
                <a:lnTo>
                  <a:pt x="1298" y="1168"/>
                </a:lnTo>
                <a:lnTo>
                  <a:pt x="1297" y="1174"/>
                </a:lnTo>
                <a:lnTo>
                  <a:pt x="1295" y="1179"/>
                </a:lnTo>
                <a:lnTo>
                  <a:pt x="1293" y="1184"/>
                </a:lnTo>
                <a:lnTo>
                  <a:pt x="1293" y="1187"/>
                </a:lnTo>
                <a:lnTo>
                  <a:pt x="1295" y="1192"/>
                </a:lnTo>
                <a:lnTo>
                  <a:pt x="1298" y="1199"/>
                </a:lnTo>
                <a:lnTo>
                  <a:pt x="1304" y="1206"/>
                </a:lnTo>
                <a:lnTo>
                  <a:pt x="1307" y="1210"/>
                </a:lnTo>
                <a:lnTo>
                  <a:pt x="1308" y="1214"/>
                </a:lnTo>
                <a:lnTo>
                  <a:pt x="1309" y="1217"/>
                </a:lnTo>
                <a:lnTo>
                  <a:pt x="1310" y="1221"/>
                </a:lnTo>
                <a:lnTo>
                  <a:pt x="1309" y="1230"/>
                </a:lnTo>
                <a:lnTo>
                  <a:pt x="1308" y="1241"/>
                </a:lnTo>
                <a:lnTo>
                  <a:pt x="1307" y="1246"/>
                </a:lnTo>
                <a:lnTo>
                  <a:pt x="1308" y="1249"/>
                </a:lnTo>
                <a:lnTo>
                  <a:pt x="1310" y="1252"/>
                </a:lnTo>
                <a:lnTo>
                  <a:pt x="1313" y="1254"/>
                </a:lnTo>
                <a:lnTo>
                  <a:pt x="1315" y="1254"/>
                </a:lnTo>
                <a:lnTo>
                  <a:pt x="1318" y="1254"/>
                </a:lnTo>
                <a:lnTo>
                  <a:pt x="1322" y="1253"/>
                </a:lnTo>
                <a:lnTo>
                  <a:pt x="1326" y="1252"/>
                </a:lnTo>
                <a:lnTo>
                  <a:pt x="1333" y="1247"/>
                </a:lnTo>
                <a:lnTo>
                  <a:pt x="1340" y="1242"/>
                </a:lnTo>
                <a:lnTo>
                  <a:pt x="1347" y="1235"/>
                </a:lnTo>
                <a:lnTo>
                  <a:pt x="1352" y="1229"/>
                </a:lnTo>
                <a:lnTo>
                  <a:pt x="1356" y="1223"/>
                </a:lnTo>
                <a:lnTo>
                  <a:pt x="1360" y="1220"/>
                </a:lnTo>
                <a:lnTo>
                  <a:pt x="1361" y="1220"/>
                </a:lnTo>
                <a:lnTo>
                  <a:pt x="1364" y="1221"/>
                </a:lnTo>
                <a:lnTo>
                  <a:pt x="1366" y="1222"/>
                </a:lnTo>
                <a:lnTo>
                  <a:pt x="1368" y="1224"/>
                </a:lnTo>
                <a:lnTo>
                  <a:pt x="1372" y="1229"/>
                </a:lnTo>
                <a:lnTo>
                  <a:pt x="1374" y="1234"/>
                </a:lnTo>
                <a:lnTo>
                  <a:pt x="1376" y="1239"/>
                </a:lnTo>
                <a:lnTo>
                  <a:pt x="1378" y="1244"/>
                </a:lnTo>
                <a:lnTo>
                  <a:pt x="1380" y="1259"/>
                </a:lnTo>
                <a:lnTo>
                  <a:pt x="1381" y="1274"/>
                </a:lnTo>
                <a:lnTo>
                  <a:pt x="1383" y="1291"/>
                </a:lnTo>
                <a:lnTo>
                  <a:pt x="1385" y="1305"/>
                </a:lnTo>
                <a:lnTo>
                  <a:pt x="1386" y="1311"/>
                </a:lnTo>
                <a:lnTo>
                  <a:pt x="1390" y="1317"/>
                </a:lnTo>
                <a:lnTo>
                  <a:pt x="1393" y="1323"/>
                </a:lnTo>
                <a:lnTo>
                  <a:pt x="1398" y="1328"/>
                </a:lnTo>
                <a:lnTo>
                  <a:pt x="1409" y="1336"/>
                </a:lnTo>
                <a:lnTo>
                  <a:pt x="1418" y="1340"/>
                </a:lnTo>
                <a:lnTo>
                  <a:pt x="1424" y="1343"/>
                </a:lnTo>
                <a:lnTo>
                  <a:pt x="1428" y="1345"/>
                </a:lnTo>
                <a:lnTo>
                  <a:pt x="1431" y="1349"/>
                </a:lnTo>
                <a:lnTo>
                  <a:pt x="1434" y="1354"/>
                </a:lnTo>
                <a:lnTo>
                  <a:pt x="1442" y="1362"/>
                </a:lnTo>
                <a:lnTo>
                  <a:pt x="1450" y="1370"/>
                </a:lnTo>
                <a:lnTo>
                  <a:pt x="1453" y="1374"/>
                </a:lnTo>
                <a:lnTo>
                  <a:pt x="1454" y="1379"/>
                </a:lnTo>
                <a:lnTo>
                  <a:pt x="1454" y="1384"/>
                </a:lnTo>
                <a:lnTo>
                  <a:pt x="1453" y="1388"/>
                </a:lnTo>
                <a:lnTo>
                  <a:pt x="1447" y="1399"/>
                </a:lnTo>
                <a:lnTo>
                  <a:pt x="1441" y="1410"/>
                </a:lnTo>
                <a:lnTo>
                  <a:pt x="1435" y="1422"/>
                </a:lnTo>
                <a:lnTo>
                  <a:pt x="1431" y="1435"/>
                </a:lnTo>
                <a:lnTo>
                  <a:pt x="1429" y="1449"/>
                </a:lnTo>
                <a:lnTo>
                  <a:pt x="1428" y="1461"/>
                </a:lnTo>
                <a:lnTo>
                  <a:pt x="1429" y="1467"/>
                </a:lnTo>
                <a:lnTo>
                  <a:pt x="1430" y="1473"/>
                </a:lnTo>
                <a:lnTo>
                  <a:pt x="1431" y="1480"/>
                </a:lnTo>
                <a:lnTo>
                  <a:pt x="1434" y="1486"/>
                </a:lnTo>
                <a:lnTo>
                  <a:pt x="1440" y="1496"/>
                </a:lnTo>
                <a:lnTo>
                  <a:pt x="1446" y="1505"/>
                </a:lnTo>
                <a:lnTo>
                  <a:pt x="1448" y="1508"/>
                </a:lnTo>
                <a:lnTo>
                  <a:pt x="1449" y="1511"/>
                </a:lnTo>
                <a:lnTo>
                  <a:pt x="1450" y="1514"/>
                </a:lnTo>
                <a:lnTo>
                  <a:pt x="1450" y="1517"/>
                </a:lnTo>
                <a:lnTo>
                  <a:pt x="1449" y="1519"/>
                </a:lnTo>
                <a:lnTo>
                  <a:pt x="1448" y="1521"/>
                </a:lnTo>
                <a:lnTo>
                  <a:pt x="1446" y="1524"/>
                </a:lnTo>
                <a:lnTo>
                  <a:pt x="1442" y="1526"/>
                </a:lnTo>
                <a:lnTo>
                  <a:pt x="1440" y="1527"/>
                </a:lnTo>
                <a:lnTo>
                  <a:pt x="1439" y="1531"/>
                </a:lnTo>
                <a:lnTo>
                  <a:pt x="1437" y="1533"/>
                </a:lnTo>
                <a:lnTo>
                  <a:pt x="1436" y="1537"/>
                </a:lnTo>
                <a:lnTo>
                  <a:pt x="1435" y="1539"/>
                </a:lnTo>
                <a:lnTo>
                  <a:pt x="1434" y="1542"/>
                </a:lnTo>
                <a:lnTo>
                  <a:pt x="1431" y="1543"/>
                </a:lnTo>
                <a:lnTo>
                  <a:pt x="1428" y="1544"/>
                </a:lnTo>
                <a:lnTo>
                  <a:pt x="1419" y="1545"/>
                </a:lnTo>
                <a:lnTo>
                  <a:pt x="1415" y="1549"/>
                </a:lnTo>
                <a:lnTo>
                  <a:pt x="1412" y="1551"/>
                </a:lnTo>
                <a:lnTo>
                  <a:pt x="1411" y="1553"/>
                </a:lnTo>
                <a:lnTo>
                  <a:pt x="1411" y="1557"/>
                </a:lnTo>
                <a:lnTo>
                  <a:pt x="1411" y="1559"/>
                </a:lnTo>
                <a:lnTo>
                  <a:pt x="1414" y="1563"/>
                </a:lnTo>
                <a:lnTo>
                  <a:pt x="1417" y="1564"/>
                </a:lnTo>
                <a:lnTo>
                  <a:pt x="1421" y="1565"/>
                </a:lnTo>
                <a:lnTo>
                  <a:pt x="1424" y="1565"/>
                </a:lnTo>
                <a:lnTo>
                  <a:pt x="1428" y="1567"/>
                </a:lnTo>
                <a:lnTo>
                  <a:pt x="1430" y="1568"/>
                </a:lnTo>
                <a:lnTo>
                  <a:pt x="1433" y="1570"/>
                </a:lnTo>
                <a:lnTo>
                  <a:pt x="1434" y="1574"/>
                </a:lnTo>
                <a:lnTo>
                  <a:pt x="1435" y="1587"/>
                </a:lnTo>
                <a:lnTo>
                  <a:pt x="1436" y="1607"/>
                </a:lnTo>
                <a:lnTo>
                  <a:pt x="1436" y="1612"/>
                </a:lnTo>
                <a:lnTo>
                  <a:pt x="1436" y="1615"/>
                </a:lnTo>
                <a:lnTo>
                  <a:pt x="1435" y="1616"/>
                </a:lnTo>
                <a:lnTo>
                  <a:pt x="1434" y="1618"/>
                </a:lnTo>
                <a:lnTo>
                  <a:pt x="1421" y="1624"/>
                </a:lnTo>
                <a:lnTo>
                  <a:pt x="1408" y="1631"/>
                </a:lnTo>
                <a:lnTo>
                  <a:pt x="1405" y="1636"/>
                </a:lnTo>
                <a:lnTo>
                  <a:pt x="1403" y="1640"/>
                </a:lnTo>
                <a:lnTo>
                  <a:pt x="1400" y="1647"/>
                </a:lnTo>
                <a:lnTo>
                  <a:pt x="1399" y="1655"/>
                </a:lnTo>
                <a:lnTo>
                  <a:pt x="1396" y="1669"/>
                </a:lnTo>
                <a:lnTo>
                  <a:pt x="1391" y="1682"/>
                </a:lnTo>
                <a:lnTo>
                  <a:pt x="1385" y="1694"/>
                </a:lnTo>
                <a:lnTo>
                  <a:pt x="1380" y="1707"/>
                </a:lnTo>
                <a:lnTo>
                  <a:pt x="1379" y="1714"/>
                </a:lnTo>
                <a:lnTo>
                  <a:pt x="1378" y="1721"/>
                </a:lnTo>
                <a:lnTo>
                  <a:pt x="1378" y="1728"/>
                </a:lnTo>
                <a:lnTo>
                  <a:pt x="1378" y="1734"/>
                </a:lnTo>
                <a:lnTo>
                  <a:pt x="1378" y="1740"/>
                </a:lnTo>
                <a:lnTo>
                  <a:pt x="1377" y="1745"/>
                </a:lnTo>
                <a:lnTo>
                  <a:pt x="1373" y="1747"/>
                </a:lnTo>
                <a:lnTo>
                  <a:pt x="1370" y="1748"/>
                </a:lnTo>
                <a:lnTo>
                  <a:pt x="1359" y="1750"/>
                </a:lnTo>
                <a:lnTo>
                  <a:pt x="1349" y="1751"/>
                </a:lnTo>
                <a:lnTo>
                  <a:pt x="1339" y="1752"/>
                </a:lnTo>
                <a:lnTo>
                  <a:pt x="1328" y="1753"/>
                </a:lnTo>
                <a:lnTo>
                  <a:pt x="1323" y="1753"/>
                </a:lnTo>
                <a:lnTo>
                  <a:pt x="1318" y="1752"/>
                </a:lnTo>
                <a:lnTo>
                  <a:pt x="1315" y="1750"/>
                </a:lnTo>
                <a:lnTo>
                  <a:pt x="1313" y="1747"/>
                </a:lnTo>
                <a:lnTo>
                  <a:pt x="1309" y="1740"/>
                </a:lnTo>
                <a:lnTo>
                  <a:pt x="1305" y="1734"/>
                </a:lnTo>
                <a:lnTo>
                  <a:pt x="1302" y="1732"/>
                </a:lnTo>
                <a:lnTo>
                  <a:pt x="1298" y="1731"/>
                </a:lnTo>
                <a:lnTo>
                  <a:pt x="1292" y="1729"/>
                </a:lnTo>
                <a:lnTo>
                  <a:pt x="1286" y="1728"/>
                </a:lnTo>
                <a:lnTo>
                  <a:pt x="1279" y="1728"/>
                </a:lnTo>
                <a:lnTo>
                  <a:pt x="1273" y="1729"/>
                </a:lnTo>
                <a:lnTo>
                  <a:pt x="1269" y="1731"/>
                </a:lnTo>
                <a:lnTo>
                  <a:pt x="1263" y="1733"/>
                </a:lnTo>
                <a:lnTo>
                  <a:pt x="1254" y="1738"/>
                </a:lnTo>
                <a:lnTo>
                  <a:pt x="1247" y="1739"/>
                </a:lnTo>
                <a:lnTo>
                  <a:pt x="1245" y="1738"/>
                </a:lnTo>
                <a:lnTo>
                  <a:pt x="1244" y="1737"/>
                </a:lnTo>
                <a:lnTo>
                  <a:pt x="1242" y="1734"/>
                </a:lnTo>
                <a:lnTo>
                  <a:pt x="1241" y="1731"/>
                </a:lnTo>
                <a:lnTo>
                  <a:pt x="1241" y="1722"/>
                </a:lnTo>
                <a:lnTo>
                  <a:pt x="1242" y="1712"/>
                </a:lnTo>
                <a:lnTo>
                  <a:pt x="1245" y="1700"/>
                </a:lnTo>
                <a:lnTo>
                  <a:pt x="1248" y="1687"/>
                </a:lnTo>
                <a:lnTo>
                  <a:pt x="1250" y="1671"/>
                </a:lnTo>
                <a:lnTo>
                  <a:pt x="1251" y="1651"/>
                </a:lnTo>
                <a:lnTo>
                  <a:pt x="1250" y="1641"/>
                </a:lnTo>
                <a:lnTo>
                  <a:pt x="1247" y="1632"/>
                </a:lnTo>
                <a:lnTo>
                  <a:pt x="1244" y="1626"/>
                </a:lnTo>
                <a:lnTo>
                  <a:pt x="1240" y="1620"/>
                </a:lnTo>
                <a:lnTo>
                  <a:pt x="1235" y="1618"/>
                </a:lnTo>
                <a:lnTo>
                  <a:pt x="1230" y="1616"/>
                </a:lnTo>
                <a:lnTo>
                  <a:pt x="1226" y="1616"/>
                </a:lnTo>
                <a:lnTo>
                  <a:pt x="1221" y="1619"/>
                </a:lnTo>
                <a:lnTo>
                  <a:pt x="1217" y="1624"/>
                </a:lnTo>
                <a:lnTo>
                  <a:pt x="1216" y="1628"/>
                </a:lnTo>
                <a:lnTo>
                  <a:pt x="1215" y="1634"/>
                </a:lnTo>
                <a:lnTo>
                  <a:pt x="1216" y="1640"/>
                </a:lnTo>
                <a:lnTo>
                  <a:pt x="1219" y="1653"/>
                </a:lnTo>
                <a:lnTo>
                  <a:pt x="1222" y="1665"/>
                </a:lnTo>
                <a:lnTo>
                  <a:pt x="1222" y="1671"/>
                </a:lnTo>
                <a:lnTo>
                  <a:pt x="1220" y="1676"/>
                </a:lnTo>
                <a:lnTo>
                  <a:pt x="1216" y="1681"/>
                </a:lnTo>
                <a:lnTo>
                  <a:pt x="1211" y="1684"/>
                </a:lnTo>
                <a:lnTo>
                  <a:pt x="1206" y="1688"/>
                </a:lnTo>
                <a:lnTo>
                  <a:pt x="1201" y="1690"/>
                </a:lnTo>
                <a:lnTo>
                  <a:pt x="1195" y="1691"/>
                </a:lnTo>
                <a:lnTo>
                  <a:pt x="1190" y="1690"/>
                </a:lnTo>
                <a:lnTo>
                  <a:pt x="1185" y="1689"/>
                </a:lnTo>
                <a:lnTo>
                  <a:pt x="1182" y="1687"/>
                </a:lnTo>
                <a:lnTo>
                  <a:pt x="1179" y="1684"/>
                </a:lnTo>
                <a:lnTo>
                  <a:pt x="1178" y="1681"/>
                </a:lnTo>
                <a:lnTo>
                  <a:pt x="1177" y="1677"/>
                </a:lnTo>
                <a:lnTo>
                  <a:pt x="1177" y="1672"/>
                </a:lnTo>
                <a:lnTo>
                  <a:pt x="1178" y="1668"/>
                </a:lnTo>
                <a:lnTo>
                  <a:pt x="1179" y="1662"/>
                </a:lnTo>
                <a:lnTo>
                  <a:pt x="1183" y="1652"/>
                </a:lnTo>
                <a:lnTo>
                  <a:pt x="1184" y="1643"/>
                </a:lnTo>
                <a:lnTo>
                  <a:pt x="1183" y="1633"/>
                </a:lnTo>
                <a:lnTo>
                  <a:pt x="1178" y="1620"/>
                </a:lnTo>
                <a:lnTo>
                  <a:pt x="1177" y="1612"/>
                </a:lnTo>
                <a:lnTo>
                  <a:pt x="1176" y="1605"/>
                </a:lnTo>
                <a:lnTo>
                  <a:pt x="1176" y="1599"/>
                </a:lnTo>
                <a:lnTo>
                  <a:pt x="1177" y="1593"/>
                </a:lnTo>
                <a:lnTo>
                  <a:pt x="1181" y="1583"/>
                </a:lnTo>
                <a:lnTo>
                  <a:pt x="1185" y="1574"/>
                </a:lnTo>
                <a:lnTo>
                  <a:pt x="1189" y="1563"/>
                </a:lnTo>
                <a:lnTo>
                  <a:pt x="1190" y="1552"/>
                </a:lnTo>
                <a:lnTo>
                  <a:pt x="1189" y="1548"/>
                </a:lnTo>
                <a:lnTo>
                  <a:pt x="1188" y="1544"/>
                </a:lnTo>
                <a:lnTo>
                  <a:pt x="1184" y="1543"/>
                </a:lnTo>
                <a:lnTo>
                  <a:pt x="1178" y="1542"/>
                </a:lnTo>
                <a:lnTo>
                  <a:pt x="1166" y="1543"/>
                </a:lnTo>
                <a:lnTo>
                  <a:pt x="1154" y="1546"/>
                </a:lnTo>
                <a:lnTo>
                  <a:pt x="1146" y="1550"/>
                </a:lnTo>
                <a:lnTo>
                  <a:pt x="1141" y="1552"/>
                </a:lnTo>
                <a:lnTo>
                  <a:pt x="1137" y="1552"/>
                </a:lnTo>
                <a:lnTo>
                  <a:pt x="1129" y="1549"/>
                </a:lnTo>
                <a:lnTo>
                  <a:pt x="1120" y="1545"/>
                </a:lnTo>
                <a:lnTo>
                  <a:pt x="1114" y="1543"/>
                </a:lnTo>
                <a:lnTo>
                  <a:pt x="1112" y="1542"/>
                </a:lnTo>
                <a:lnTo>
                  <a:pt x="1110" y="1539"/>
                </a:lnTo>
                <a:lnTo>
                  <a:pt x="1109" y="1537"/>
                </a:lnTo>
                <a:lnTo>
                  <a:pt x="1108" y="1533"/>
                </a:lnTo>
                <a:lnTo>
                  <a:pt x="1103" y="1517"/>
                </a:lnTo>
                <a:lnTo>
                  <a:pt x="1101" y="1500"/>
                </a:lnTo>
                <a:lnTo>
                  <a:pt x="1102" y="1488"/>
                </a:lnTo>
                <a:lnTo>
                  <a:pt x="1102" y="1470"/>
                </a:lnTo>
                <a:lnTo>
                  <a:pt x="1100" y="1455"/>
                </a:lnTo>
                <a:lnTo>
                  <a:pt x="1096" y="1435"/>
                </a:lnTo>
                <a:lnTo>
                  <a:pt x="1091" y="1412"/>
                </a:lnTo>
                <a:lnTo>
                  <a:pt x="1085" y="1392"/>
                </a:lnTo>
                <a:lnTo>
                  <a:pt x="1081" y="1378"/>
                </a:lnTo>
                <a:lnTo>
                  <a:pt x="1078" y="1370"/>
                </a:lnTo>
                <a:lnTo>
                  <a:pt x="1076" y="1369"/>
                </a:lnTo>
                <a:lnTo>
                  <a:pt x="1075" y="1369"/>
                </a:lnTo>
                <a:lnTo>
                  <a:pt x="1071" y="1372"/>
                </a:lnTo>
                <a:lnTo>
                  <a:pt x="1068" y="1374"/>
                </a:lnTo>
                <a:lnTo>
                  <a:pt x="1063" y="1376"/>
                </a:lnTo>
                <a:lnTo>
                  <a:pt x="1059" y="1379"/>
                </a:lnTo>
                <a:lnTo>
                  <a:pt x="1055" y="1382"/>
                </a:lnTo>
                <a:lnTo>
                  <a:pt x="1051" y="1382"/>
                </a:lnTo>
                <a:lnTo>
                  <a:pt x="1049" y="1380"/>
                </a:lnTo>
                <a:lnTo>
                  <a:pt x="1045" y="1378"/>
                </a:lnTo>
                <a:lnTo>
                  <a:pt x="1039" y="1372"/>
                </a:lnTo>
                <a:lnTo>
                  <a:pt x="1032" y="1367"/>
                </a:lnTo>
                <a:lnTo>
                  <a:pt x="1022" y="1362"/>
                </a:lnTo>
                <a:lnTo>
                  <a:pt x="1011" y="1359"/>
                </a:lnTo>
                <a:lnTo>
                  <a:pt x="1002" y="1359"/>
                </a:lnTo>
                <a:lnTo>
                  <a:pt x="994" y="1360"/>
                </a:lnTo>
                <a:lnTo>
                  <a:pt x="984" y="1362"/>
                </a:lnTo>
                <a:lnTo>
                  <a:pt x="975" y="1366"/>
                </a:lnTo>
                <a:lnTo>
                  <a:pt x="957" y="1374"/>
                </a:lnTo>
                <a:lnTo>
                  <a:pt x="943" y="1384"/>
                </a:lnTo>
                <a:lnTo>
                  <a:pt x="936" y="1387"/>
                </a:lnTo>
                <a:lnTo>
                  <a:pt x="929" y="1389"/>
                </a:lnTo>
                <a:lnTo>
                  <a:pt x="921" y="1391"/>
                </a:lnTo>
                <a:lnTo>
                  <a:pt x="915" y="1389"/>
                </a:lnTo>
                <a:lnTo>
                  <a:pt x="908" y="1389"/>
                </a:lnTo>
                <a:lnTo>
                  <a:pt x="904" y="1387"/>
                </a:lnTo>
                <a:lnTo>
                  <a:pt x="899" y="1384"/>
                </a:lnTo>
                <a:lnTo>
                  <a:pt x="895" y="1380"/>
                </a:lnTo>
                <a:lnTo>
                  <a:pt x="892" y="1369"/>
                </a:lnTo>
                <a:lnTo>
                  <a:pt x="889" y="1354"/>
                </a:lnTo>
                <a:lnTo>
                  <a:pt x="887" y="1338"/>
                </a:lnTo>
                <a:lnTo>
                  <a:pt x="886" y="1322"/>
                </a:lnTo>
                <a:lnTo>
                  <a:pt x="885" y="1315"/>
                </a:lnTo>
                <a:lnTo>
                  <a:pt x="882" y="1311"/>
                </a:lnTo>
                <a:lnTo>
                  <a:pt x="880" y="1309"/>
                </a:lnTo>
                <a:lnTo>
                  <a:pt x="876" y="1307"/>
                </a:lnTo>
                <a:lnTo>
                  <a:pt x="873" y="1307"/>
                </a:lnTo>
                <a:lnTo>
                  <a:pt x="869" y="1309"/>
                </a:lnTo>
                <a:lnTo>
                  <a:pt x="866" y="1311"/>
                </a:lnTo>
                <a:lnTo>
                  <a:pt x="862" y="1313"/>
                </a:lnTo>
                <a:lnTo>
                  <a:pt x="856" y="1318"/>
                </a:lnTo>
                <a:lnTo>
                  <a:pt x="850" y="1321"/>
                </a:lnTo>
                <a:lnTo>
                  <a:pt x="842" y="1322"/>
                </a:lnTo>
                <a:lnTo>
                  <a:pt x="832" y="1322"/>
                </a:lnTo>
                <a:lnTo>
                  <a:pt x="823" y="1321"/>
                </a:lnTo>
                <a:lnTo>
                  <a:pt x="816" y="1318"/>
                </a:lnTo>
                <a:lnTo>
                  <a:pt x="811" y="1313"/>
                </a:lnTo>
                <a:lnTo>
                  <a:pt x="807" y="1307"/>
                </a:lnTo>
                <a:lnTo>
                  <a:pt x="805" y="1305"/>
                </a:lnTo>
                <a:lnTo>
                  <a:pt x="803" y="1303"/>
                </a:lnTo>
                <a:lnTo>
                  <a:pt x="800" y="1302"/>
                </a:lnTo>
                <a:lnTo>
                  <a:pt x="798" y="1300"/>
                </a:lnTo>
                <a:lnTo>
                  <a:pt x="792" y="1302"/>
                </a:lnTo>
                <a:lnTo>
                  <a:pt x="784" y="1306"/>
                </a:lnTo>
                <a:lnTo>
                  <a:pt x="773" y="1312"/>
                </a:lnTo>
                <a:lnTo>
                  <a:pt x="762" y="1318"/>
                </a:lnTo>
                <a:lnTo>
                  <a:pt x="753" y="1325"/>
                </a:lnTo>
                <a:lnTo>
                  <a:pt x="743" y="1331"/>
                </a:lnTo>
                <a:lnTo>
                  <a:pt x="736" y="1336"/>
                </a:lnTo>
                <a:lnTo>
                  <a:pt x="732" y="1342"/>
                </a:lnTo>
                <a:lnTo>
                  <a:pt x="731" y="1344"/>
                </a:lnTo>
                <a:lnTo>
                  <a:pt x="731" y="1347"/>
                </a:lnTo>
                <a:lnTo>
                  <a:pt x="732" y="1350"/>
                </a:lnTo>
                <a:lnTo>
                  <a:pt x="734" y="1354"/>
                </a:lnTo>
                <a:lnTo>
                  <a:pt x="736" y="1367"/>
                </a:lnTo>
                <a:lnTo>
                  <a:pt x="738" y="1384"/>
                </a:lnTo>
                <a:lnTo>
                  <a:pt x="740" y="1388"/>
                </a:lnTo>
                <a:lnTo>
                  <a:pt x="741" y="1392"/>
                </a:lnTo>
                <a:lnTo>
                  <a:pt x="743" y="1395"/>
                </a:lnTo>
                <a:lnTo>
                  <a:pt x="747" y="1399"/>
                </a:lnTo>
                <a:lnTo>
                  <a:pt x="753" y="1406"/>
                </a:lnTo>
                <a:lnTo>
                  <a:pt x="761" y="1413"/>
                </a:lnTo>
                <a:lnTo>
                  <a:pt x="764" y="1418"/>
                </a:lnTo>
                <a:lnTo>
                  <a:pt x="766" y="1422"/>
                </a:lnTo>
                <a:lnTo>
                  <a:pt x="767" y="1425"/>
                </a:lnTo>
                <a:lnTo>
                  <a:pt x="764" y="1429"/>
                </a:lnTo>
                <a:lnTo>
                  <a:pt x="762" y="1432"/>
                </a:lnTo>
                <a:lnTo>
                  <a:pt x="759" y="1436"/>
                </a:lnTo>
                <a:lnTo>
                  <a:pt x="754" y="1439"/>
                </a:lnTo>
                <a:lnTo>
                  <a:pt x="748" y="1442"/>
                </a:lnTo>
                <a:lnTo>
                  <a:pt x="735" y="1449"/>
                </a:lnTo>
                <a:lnTo>
                  <a:pt x="723" y="1456"/>
                </a:lnTo>
                <a:lnTo>
                  <a:pt x="711" y="1464"/>
                </a:lnTo>
                <a:lnTo>
                  <a:pt x="700" y="1473"/>
                </a:lnTo>
                <a:lnTo>
                  <a:pt x="696" y="1476"/>
                </a:lnTo>
                <a:lnTo>
                  <a:pt x="692" y="1479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2" name="广西"/>
          <p:cNvSpPr/>
          <p:nvPr/>
        </p:nvSpPr>
        <p:spPr bwMode="auto">
          <a:xfrm>
            <a:off x="5347335" y="5208270"/>
            <a:ext cx="1233170" cy="891540"/>
          </a:xfrm>
          <a:custGeom>
            <a:avLst/>
            <a:gdLst>
              <a:gd name="T0" fmla="*/ 1018 w 2980"/>
              <a:gd name="T1" fmla="*/ 1986 h 2145"/>
              <a:gd name="T2" fmla="*/ 879 w 2980"/>
              <a:gd name="T3" fmla="*/ 1879 h 2145"/>
              <a:gd name="T4" fmla="*/ 786 w 2980"/>
              <a:gd name="T5" fmla="*/ 1722 h 2145"/>
              <a:gd name="T6" fmla="*/ 867 w 2980"/>
              <a:gd name="T7" fmla="*/ 1563 h 2145"/>
              <a:gd name="T8" fmla="*/ 768 w 2980"/>
              <a:gd name="T9" fmla="*/ 1472 h 2145"/>
              <a:gd name="T10" fmla="*/ 558 w 2980"/>
              <a:gd name="T11" fmla="*/ 1450 h 2145"/>
              <a:gd name="T12" fmla="*/ 427 w 2980"/>
              <a:gd name="T13" fmla="*/ 1403 h 2145"/>
              <a:gd name="T14" fmla="*/ 413 w 2980"/>
              <a:gd name="T15" fmla="*/ 1291 h 2145"/>
              <a:gd name="T16" fmla="*/ 499 w 2980"/>
              <a:gd name="T17" fmla="*/ 1229 h 2145"/>
              <a:gd name="T18" fmla="*/ 602 w 2980"/>
              <a:gd name="T19" fmla="*/ 1225 h 2145"/>
              <a:gd name="T20" fmla="*/ 617 w 2980"/>
              <a:gd name="T21" fmla="*/ 976 h 2145"/>
              <a:gd name="T22" fmla="*/ 500 w 2980"/>
              <a:gd name="T23" fmla="*/ 983 h 2145"/>
              <a:gd name="T24" fmla="*/ 408 w 2980"/>
              <a:gd name="T25" fmla="*/ 940 h 2145"/>
              <a:gd name="T26" fmla="*/ 340 w 2980"/>
              <a:gd name="T27" fmla="*/ 955 h 2145"/>
              <a:gd name="T28" fmla="*/ 269 w 2980"/>
              <a:gd name="T29" fmla="*/ 871 h 2145"/>
              <a:gd name="T30" fmla="*/ 112 w 2980"/>
              <a:gd name="T31" fmla="*/ 783 h 2145"/>
              <a:gd name="T32" fmla="*/ 19 w 2980"/>
              <a:gd name="T33" fmla="*/ 776 h 2145"/>
              <a:gd name="T34" fmla="*/ 86 w 2980"/>
              <a:gd name="T35" fmla="*/ 708 h 2145"/>
              <a:gd name="T36" fmla="*/ 220 w 2980"/>
              <a:gd name="T37" fmla="*/ 624 h 2145"/>
              <a:gd name="T38" fmla="*/ 353 w 2980"/>
              <a:gd name="T39" fmla="*/ 589 h 2145"/>
              <a:gd name="T40" fmla="*/ 491 w 2980"/>
              <a:gd name="T41" fmla="*/ 669 h 2145"/>
              <a:gd name="T42" fmla="*/ 641 w 2980"/>
              <a:gd name="T43" fmla="*/ 694 h 2145"/>
              <a:gd name="T44" fmla="*/ 757 w 2980"/>
              <a:gd name="T45" fmla="*/ 584 h 2145"/>
              <a:gd name="T46" fmla="*/ 980 w 2980"/>
              <a:gd name="T47" fmla="*/ 480 h 2145"/>
              <a:gd name="T48" fmla="*/ 1012 w 2980"/>
              <a:gd name="T49" fmla="*/ 374 h 2145"/>
              <a:gd name="T50" fmla="*/ 1129 w 2980"/>
              <a:gd name="T51" fmla="*/ 416 h 2145"/>
              <a:gd name="T52" fmla="*/ 1255 w 2980"/>
              <a:gd name="T53" fmla="*/ 458 h 2145"/>
              <a:gd name="T54" fmla="*/ 1328 w 2980"/>
              <a:gd name="T55" fmla="*/ 538 h 2145"/>
              <a:gd name="T56" fmla="*/ 1471 w 2980"/>
              <a:gd name="T57" fmla="*/ 401 h 2145"/>
              <a:gd name="T58" fmla="*/ 1613 w 2980"/>
              <a:gd name="T59" fmla="*/ 444 h 2145"/>
              <a:gd name="T60" fmla="*/ 1670 w 2980"/>
              <a:gd name="T61" fmla="*/ 331 h 2145"/>
              <a:gd name="T62" fmla="*/ 1796 w 2980"/>
              <a:gd name="T63" fmla="*/ 346 h 2145"/>
              <a:gd name="T64" fmla="*/ 1784 w 2980"/>
              <a:gd name="T65" fmla="*/ 261 h 2145"/>
              <a:gd name="T66" fmla="*/ 1935 w 2980"/>
              <a:gd name="T67" fmla="*/ 224 h 2145"/>
              <a:gd name="T68" fmla="*/ 2060 w 2980"/>
              <a:gd name="T69" fmla="*/ 189 h 2145"/>
              <a:gd name="T70" fmla="*/ 2121 w 2980"/>
              <a:gd name="T71" fmla="*/ 149 h 2145"/>
              <a:gd name="T72" fmla="*/ 2240 w 2980"/>
              <a:gd name="T73" fmla="*/ 155 h 2145"/>
              <a:gd name="T74" fmla="*/ 2370 w 2980"/>
              <a:gd name="T75" fmla="*/ 78 h 2145"/>
              <a:gd name="T76" fmla="*/ 2533 w 2980"/>
              <a:gd name="T77" fmla="*/ 1 h 2145"/>
              <a:gd name="T78" fmla="*/ 2634 w 2980"/>
              <a:gd name="T79" fmla="*/ 171 h 2145"/>
              <a:gd name="T80" fmla="*/ 2735 w 2980"/>
              <a:gd name="T81" fmla="*/ 231 h 2145"/>
              <a:gd name="T82" fmla="*/ 2668 w 2980"/>
              <a:gd name="T83" fmla="*/ 413 h 2145"/>
              <a:gd name="T84" fmla="*/ 2569 w 2980"/>
              <a:gd name="T85" fmla="*/ 637 h 2145"/>
              <a:gd name="T86" fmla="*/ 2713 w 2980"/>
              <a:gd name="T87" fmla="*/ 544 h 2145"/>
              <a:gd name="T88" fmla="*/ 2739 w 2980"/>
              <a:gd name="T89" fmla="*/ 734 h 2145"/>
              <a:gd name="T90" fmla="*/ 2961 w 2980"/>
              <a:gd name="T91" fmla="*/ 705 h 2145"/>
              <a:gd name="T92" fmla="*/ 2959 w 2980"/>
              <a:gd name="T93" fmla="*/ 903 h 2145"/>
              <a:gd name="T94" fmla="*/ 2897 w 2980"/>
              <a:gd name="T95" fmla="*/ 1092 h 2145"/>
              <a:gd name="T96" fmla="*/ 2752 w 2980"/>
              <a:gd name="T97" fmla="*/ 1239 h 2145"/>
              <a:gd name="T98" fmla="*/ 2676 w 2980"/>
              <a:gd name="T99" fmla="*/ 1546 h 2145"/>
              <a:gd name="T100" fmla="*/ 2500 w 2980"/>
              <a:gd name="T101" fmla="*/ 1644 h 2145"/>
              <a:gd name="T102" fmla="*/ 2481 w 2980"/>
              <a:gd name="T103" fmla="*/ 1772 h 2145"/>
              <a:gd name="T104" fmla="*/ 2335 w 2980"/>
              <a:gd name="T105" fmla="*/ 1809 h 2145"/>
              <a:gd name="T106" fmla="*/ 2278 w 2980"/>
              <a:gd name="T107" fmla="*/ 1928 h 2145"/>
              <a:gd name="T108" fmla="*/ 2137 w 2980"/>
              <a:gd name="T109" fmla="*/ 2010 h 2145"/>
              <a:gd name="T110" fmla="*/ 2004 w 2980"/>
              <a:gd name="T111" fmla="*/ 2068 h 2145"/>
              <a:gd name="T112" fmla="*/ 1953 w 2980"/>
              <a:gd name="T113" fmla="*/ 2042 h 2145"/>
              <a:gd name="T114" fmla="*/ 1857 w 2980"/>
              <a:gd name="T115" fmla="*/ 2112 h 2145"/>
              <a:gd name="T116" fmla="*/ 1733 w 2980"/>
              <a:gd name="T117" fmla="*/ 2048 h 2145"/>
              <a:gd name="T118" fmla="*/ 1608 w 2980"/>
              <a:gd name="T119" fmla="*/ 2002 h 2145"/>
              <a:gd name="T120" fmla="*/ 1566 w 2980"/>
              <a:gd name="T121" fmla="*/ 2055 h 2145"/>
              <a:gd name="T122" fmla="*/ 1211 w 2980"/>
              <a:gd name="T123" fmla="*/ 2041 h 2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80" h="2145">
                <a:moveTo>
                  <a:pt x="1151" y="2037"/>
                </a:moveTo>
                <a:lnTo>
                  <a:pt x="1141" y="2031"/>
                </a:lnTo>
                <a:lnTo>
                  <a:pt x="1132" y="2025"/>
                </a:lnTo>
                <a:lnTo>
                  <a:pt x="1128" y="2024"/>
                </a:lnTo>
                <a:lnTo>
                  <a:pt x="1123" y="2024"/>
                </a:lnTo>
                <a:lnTo>
                  <a:pt x="1120" y="2026"/>
                </a:lnTo>
                <a:lnTo>
                  <a:pt x="1115" y="2029"/>
                </a:lnTo>
                <a:lnTo>
                  <a:pt x="1112" y="2033"/>
                </a:lnTo>
                <a:lnTo>
                  <a:pt x="1107" y="2036"/>
                </a:lnTo>
                <a:lnTo>
                  <a:pt x="1103" y="2038"/>
                </a:lnTo>
                <a:lnTo>
                  <a:pt x="1100" y="2038"/>
                </a:lnTo>
                <a:lnTo>
                  <a:pt x="1097" y="2037"/>
                </a:lnTo>
                <a:lnTo>
                  <a:pt x="1095" y="2035"/>
                </a:lnTo>
                <a:lnTo>
                  <a:pt x="1091" y="2030"/>
                </a:lnTo>
                <a:lnTo>
                  <a:pt x="1089" y="2025"/>
                </a:lnTo>
                <a:lnTo>
                  <a:pt x="1085" y="2018"/>
                </a:lnTo>
                <a:lnTo>
                  <a:pt x="1082" y="2008"/>
                </a:lnTo>
                <a:lnTo>
                  <a:pt x="1078" y="1998"/>
                </a:lnTo>
                <a:lnTo>
                  <a:pt x="1072" y="1989"/>
                </a:lnTo>
                <a:lnTo>
                  <a:pt x="1068" y="1986"/>
                </a:lnTo>
                <a:lnTo>
                  <a:pt x="1063" y="1983"/>
                </a:lnTo>
                <a:lnTo>
                  <a:pt x="1060" y="1983"/>
                </a:lnTo>
                <a:lnTo>
                  <a:pt x="1057" y="1985"/>
                </a:lnTo>
                <a:lnTo>
                  <a:pt x="1053" y="1986"/>
                </a:lnTo>
                <a:lnTo>
                  <a:pt x="1050" y="1989"/>
                </a:lnTo>
                <a:lnTo>
                  <a:pt x="1046" y="1992"/>
                </a:lnTo>
                <a:lnTo>
                  <a:pt x="1043" y="1994"/>
                </a:lnTo>
                <a:lnTo>
                  <a:pt x="1038" y="1997"/>
                </a:lnTo>
                <a:lnTo>
                  <a:pt x="1034" y="1995"/>
                </a:lnTo>
                <a:lnTo>
                  <a:pt x="1029" y="1993"/>
                </a:lnTo>
                <a:lnTo>
                  <a:pt x="1024" y="1991"/>
                </a:lnTo>
                <a:lnTo>
                  <a:pt x="1018" y="1986"/>
                </a:lnTo>
                <a:lnTo>
                  <a:pt x="1013" y="1981"/>
                </a:lnTo>
                <a:lnTo>
                  <a:pt x="1003" y="1973"/>
                </a:lnTo>
                <a:lnTo>
                  <a:pt x="995" y="1964"/>
                </a:lnTo>
                <a:lnTo>
                  <a:pt x="987" y="1957"/>
                </a:lnTo>
                <a:lnTo>
                  <a:pt x="980" y="1953"/>
                </a:lnTo>
                <a:lnTo>
                  <a:pt x="963" y="1948"/>
                </a:lnTo>
                <a:lnTo>
                  <a:pt x="950" y="1943"/>
                </a:lnTo>
                <a:lnTo>
                  <a:pt x="949" y="1941"/>
                </a:lnTo>
                <a:lnTo>
                  <a:pt x="949" y="1938"/>
                </a:lnTo>
                <a:lnTo>
                  <a:pt x="950" y="1935"/>
                </a:lnTo>
                <a:lnTo>
                  <a:pt x="952" y="1931"/>
                </a:lnTo>
                <a:lnTo>
                  <a:pt x="957" y="1923"/>
                </a:lnTo>
                <a:lnTo>
                  <a:pt x="963" y="1916"/>
                </a:lnTo>
                <a:lnTo>
                  <a:pt x="964" y="1911"/>
                </a:lnTo>
                <a:lnTo>
                  <a:pt x="964" y="1907"/>
                </a:lnTo>
                <a:lnTo>
                  <a:pt x="962" y="1905"/>
                </a:lnTo>
                <a:lnTo>
                  <a:pt x="959" y="1903"/>
                </a:lnTo>
                <a:lnTo>
                  <a:pt x="955" y="1900"/>
                </a:lnTo>
                <a:lnTo>
                  <a:pt x="950" y="1899"/>
                </a:lnTo>
                <a:lnTo>
                  <a:pt x="945" y="1900"/>
                </a:lnTo>
                <a:lnTo>
                  <a:pt x="940" y="1900"/>
                </a:lnTo>
                <a:lnTo>
                  <a:pt x="934" y="1903"/>
                </a:lnTo>
                <a:lnTo>
                  <a:pt x="925" y="1904"/>
                </a:lnTo>
                <a:lnTo>
                  <a:pt x="921" y="1903"/>
                </a:lnTo>
                <a:lnTo>
                  <a:pt x="918" y="1901"/>
                </a:lnTo>
                <a:lnTo>
                  <a:pt x="915" y="1899"/>
                </a:lnTo>
                <a:lnTo>
                  <a:pt x="912" y="1897"/>
                </a:lnTo>
                <a:lnTo>
                  <a:pt x="906" y="1890"/>
                </a:lnTo>
                <a:lnTo>
                  <a:pt x="900" y="1884"/>
                </a:lnTo>
                <a:lnTo>
                  <a:pt x="893" y="1881"/>
                </a:lnTo>
                <a:lnTo>
                  <a:pt x="886" y="1879"/>
                </a:lnTo>
                <a:lnTo>
                  <a:pt x="879" y="1879"/>
                </a:lnTo>
                <a:lnTo>
                  <a:pt x="873" y="1878"/>
                </a:lnTo>
                <a:lnTo>
                  <a:pt x="863" y="1876"/>
                </a:lnTo>
                <a:lnTo>
                  <a:pt x="852" y="1879"/>
                </a:lnTo>
                <a:lnTo>
                  <a:pt x="846" y="1881"/>
                </a:lnTo>
                <a:lnTo>
                  <a:pt x="839" y="1885"/>
                </a:lnTo>
                <a:lnTo>
                  <a:pt x="837" y="1886"/>
                </a:lnTo>
                <a:lnTo>
                  <a:pt x="833" y="1886"/>
                </a:lnTo>
                <a:lnTo>
                  <a:pt x="831" y="1885"/>
                </a:lnTo>
                <a:lnTo>
                  <a:pt x="829" y="1882"/>
                </a:lnTo>
                <a:lnTo>
                  <a:pt x="826" y="1876"/>
                </a:lnTo>
                <a:lnTo>
                  <a:pt x="825" y="1871"/>
                </a:lnTo>
                <a:lnTo>
                  <a:pt x="825" y="1863"/>
                </a:lnTo>
                <a:lnTo>
                  <a:pt x="824" y="1853"/>
                </a:lnTo>
                <a:lnTo>
                  <a:pt x="826" y="1846"/>
                </a:lnTo>
                <a:lnTo>
                  <a:pt x="829" y="1837"/>
                </a:lnTo>
                <a:lnTo>
                  <a:pt x="829" y="1828"/>
                </a:lnTo>
                <a:lnTo>
                  <a:pt x="827" y="1817"/>
                </a:lnTo>
                <a:lnTo>
                  <a:pt x="826" y="1808"/>
                </a:lnTo>
                <a:lnTo>
                  <a:pt x="825" y="1797"/>
                </a:lnTo>
                <a:lnTo>
                  <a:pt x="825" y="1783"/>
                </a:lnTo>
                <a:lnTo>
                  <a:pt x="824" y="1771"/>
                </a:lnTo>
                <a:lnTo>
                  <a:pt x="823" y="1760"/>
                </a:lnTo>
                <a:lnTo>
                  <a:pt x="821" y="1750"/>
                </a:lnTo>
                <a:lnTo>
                  <a:pt x="820" y="1743"/>
                </a:lnTo>
                <a:lnTo>
                  <a:pt x="818" y="1737"/>
                </a:lnTo>
                <a:lnTo>
                  <a:pt x="814" y="1734"/>
                </a:lnTo>
                <a:lnTo>
                  <a:pt x="810" y="1731"/>
                </a:lnTo>
                <a:lnTo>
                  <a:pt x="804" y="1730"/>
                </a:lnTo>
                <a:lnTo>
                  <a:pt x="798" y="1729"/>
                </a:lnTo>
                <a:lnTo>
                  <a:pt x="793" y="1728"/>
                </a:lnTo>
                <a:lnTo>
                  <a:pt x="788" y="1724"/>
                </a:lnTo>
                <a:lnTo>
                  <a:pt x="786" y="1722"/>
                </a:lnTo>
                <a:lnTo>
                  <a:pt x="786" y="1718"/>
                </a:lnTo>
                <a:lnTo>
                  <a:pt x="786" y="1715"/>
                </a:lnTo>
                <a:lnTo>
                  <a:pt x="786" y="1710"/>
                </a:lnTo>
                <a:lnTo>
                  <a:pt x="785" y="1705"/>
                </a:lnTo>
                <a:lnTo>
                  <a:pt x="783" y="1701"/>
                </a:lnTo>
                <a:lnTo>
                  <a:pt x="780" y="1697"/>
                </a:lnTo>
                <a:lnTo>
                  <a:pt x="776" y="1693"/>
                </a:lnTo>
                <a:lnTo>
                  <a:pt x="774" y="1689"/>
                </a:lnTo>
                <a:lnTo>
                  <a:pt x="773" y="1684"/>
                </a:lnTo>
                <a:lnTo>
                  <a:pt x="774" y="1678"/>
                </a:lnTo>
                <a:lnTo>
                  <a:pt x="775" y="1673"/>
                </a:lnTo>
                <a:lnTo>
                  <a:pt x="777" y="1667"/>
                </a:lnTo>
                <a:lnTo>
                  <a:pt x="780" y="1663"/>
                </a:lnTo>
                <a:lnTo>
                  <a:pt x="786" y="1654"/>
                </a:lnTo>
                <a:lnTo>
                  <a:pt x="791" y="1647"/>
                </a:lnTo>
                <a:lnTo>
                  <a:pt x="792" y="1641"/>
                </a:lnTo>
                <a:lnTo>
                  <a:pt x="794" y="1634"/>
                </a:lnTo>
                <a:lnTo>
                  <a:pt x="795" y="1632"/>
                </a:lnTo>
                <a:lnTo>
                  <a:pt x="796" y="1628"/>
                </a:lnTo>
                <a:lnTo>
                  <a:pt x="798" y="1626"/>
                </a:lnTo>
                <a:lnTo>
                  <a:pt x="800" y="1625"/>
                </a:lnTo>
                <a:lnTo>
                  <a:pt x="808" y="1625"/>
                </a:lnTo>
                <a:lnTo>
                  <a:pt x="817" y="1627"/>
                </a:lnTo>
                <a:lnTo>
                  <a:pt x="820" y="1628"/>
                </a:lnTo>
                <a:lnTo>
                  <a:pt x="824" y="1628"/>
                </a:lnTo>
                <a:lnTo>
                  <a:pt x="827" y="1628"/>
                </a:lnTo>
                <a:lnTo>
                  <a:pt x="831" y="1626"/>
                </a:lnTo>
                <a:lnTo>
                  <a:pt x="839" y="1615"/>
                </a:lnTo>
                <a:lnTo>
                  <a:pt x="845" y="1602"/>
                </a:lnTo>
                <a:lnTo>
                  <a:pt x="852" y="1589"/>
                </a:lnTo>
                <a:lnTo>
                  <a:pt x="858" y="1577"/>
                </a:lnTo>
                <a:lnTo>
                  <a:pt x="867" y="1563"/>
                </a:lnTo>
                <a:lnTo>
                  <a:pt x="873" y="1550"/>
                </a:lnTo>
                <a:lnTo>
                  <a:pt x="880" y="1540"/>
                </a:lnTo>
                <a:lnTo>
                  <a:pt x="883" y="1532"/>
                </a:lnTo>
                <a:lnTo>
                  <a:pt x="883" y="1529"/>
                </a:lnTo>
                <a:lnTo>
                  <a:pt x="881" y="1527"/>
                </a:lnTo>
                <a:lnTo>
                  <a:pt x="876" y="1525"/>
                </a:lnTo>
                <a:lnTo>
                  <a:pt x="870" y="1523"/>
                </a:lnTo>
                <a:lnTo>
                  <a:pt x="864" y="1521"/>
                </a:lnTo>
                <a:lnTo>
                  <a:pt x="858" y="1519"/>
                </a:lnTo>
                <a:lnTo>
                  <a:pt x="856" y="1519"/>
                </a:lnTo>
                <a:lnTo>
                  <a:pt x="854" y="1518"/>
                </a:lnTo>
                <a:lnTo>
                  <a:pt x="852" y="1516"/>
                </a:lnTo>
                <a:lnTo>
                  <a:pt x="851" y="1514"/>
                </a:lnTo>
                <a:lnTo>
                  <a:pt x="850" y="1512"/>
                </a:lnTo>
                <a:lnTo>
                  <a:pt x="850" y="1508"/>
                </a:lnTo>
                <a:lnTo>
                  <a:pt x="849" y="1506"/>
                </a:lnTo>
                <a:lnTo>
                  <a:pt x="849" y="1504"/>
                </a:lnTo>
                <a:lnTo>
                  <a:pt x="848" y="1502"/>
                </a:lnTo>
                <a:lnTo>
                  <a:pt x="846" y="1502"/>
                </a:lnTo>
                <a:lnTo>
                  <a:pt x="837" y="1500"/>
                </a:lnTo>
                <a:lnTo>
                  <a:pt x="827" y="1500"/>
                </a:lnTo>
                <a:lnTo>
                  <a:pt x="819" y="1500"/>
                </a:lnTo>
                <a:lnTo>
                  <a:pt x="812" y="1497"/>
                </a:lnTo>
                <a:lnTo>
                  <a:pt x="808" y="1493"/>
                </a:lnTo>
                <a:lnTo>
                  <a:pt x="804" y="1485"/>
                </a:lnTo>
                <a:lnTo>
                  <a:pt x="799" y="1482"/>
                </a:lnTo>
                <a:lnTo>
                  <a:pt x="795" y="1478"/>
                </a:lnTo>
                <a:lnTo>
                  <a:pt x="789" y="1475"/>
                </a:lnTo>
                <a:lnTo>
                  <a:pt x="783" y="1472"/>
                </a:lnTo>
                <a:lnTo>
                  <a:pt x="779" y="1471"/>
                </a:lnTo>
                <a:lnTo>
                  <a:pt x="774" y="1471"/>
                </a:lnTo>
                <a:lnTo>
                  <a:pt x="768" y="1472"/>
                </a:lnTo>
                <a:lnTo>
                  <a:pt x="762" y="1475"/>
                </a:lnTo>
                <a:lnTo>
                  <a:pt x="754" y="1481"/>
                </a:lnTo>
                <a:lnTo>
                  <a:pt x="744" y="1487"/>
                </a:lnTo>
                <a:lnTo>
                  <a:pt x="736" y="1491"/>
                </a:lnTo>
                <a:lnTo>
                  <a:pt x="728" y="1496"/>
                </a:lnTo>
                <a:lnTo>
                  <a:pt x="720" y="1499"/>
                </a:lnTo>
                <a:lnTo>
                  <a:pt x="713" y="1500"/>
                </a:lnTo>
                <a:lnTo>
                  <a:pt x="706" y="1501"/>
                </a:lnTo>
                <a:lnTo>
                  <a:pt x="699" y="1501"/>
                </a:lnTo>
                <a:lnTo>
                  <a:pt x="692" y="1501"/>
                </a:lnTo>
                <a:lnTo>
                  <a:pt x="685" y="1501"/>
                </a:lnTo>
                <a:lnTo>
                  <a:pt x="678" y="1499"/>
                </a:lnTo>
                <a:lnTo>
                  <a:pt x="670" y="1496"/>
                </a:lnTo>
                <a:lnTo>
                  <a:pt x="668" y="1494"/>
                </a:lnTo>
                <a:lnTo>
                  <a:pt x="665" y="1490"/>
                </a:lnTo>
                <a:lnTo>
                  <a:pt x="662" y="1488"/>
                </a:lnTo>
                <a:lnTo>
                  <a:pt x="660" y="1483"/>
                </a:lnTo>
                <a:lnTo>
                  <a:pt x="656" y="1472"/>
                </a:lnTo>
                <a:lnTo>
                  <a:pt x="651" y="1464"/>
                </a:lnTo>
                <a:lnTo>
                  <a:pt x="644" y="1459"/>
                </a:lnTo>
                <a:lnTo>
                  <a:pt x="637" y="1456"/>
                </a:lnTo>
                <a:lnTo>
                  <a:pt x="631" y="1452"/>
                </a:lnTo>
                <a:lnTo>
                  <a:pt x="625" y="1450"/>
                </a:lnTo>
                <a:lnTo>
                  <a:pt x="616" y="1446"/>
                </a:lnTo>
                <a:lnTo>
                  <a:pt x="604" y="1445"/>
                </a:lnTo>
                <a:lnTo>
                  <a:pt x="590" y="1445"/>
                </a:lnTo>
                <a:lnTo>
                  <a:pt x="574" y="1443"/>
                </a:lnTo>
                <a:lnTo>
                  <a:pt x="569" y="1443"/>
                </a:lnTo>
                <a:lnTo>
                  <a:pt x="565" y="1443"/>
                </a:lnTo>
                <a:lnTo>
                  <a:pt x="561" y="1444"/>
                </a:lnTo>
                <a:lnTo>
                  <a:pt x="559" y="1445"/>
                </a:lnTo>
                <a:lnTo>
                  <a:pt x="558" y="1450"/>
                </a:lnTo>
                <a:lnTo>
                  <a:pt x="558" y="1455"/>
                </a:lnTo>
                <a:lnTo>
                  <a:pt x="556" y="1459"/>
                </a:lnTo>
                <a:lnTo>
                  <a:pt x="554" y="1463"/>
                </a:lnTo>
                <a:lnTo>
                  <a:pt x="552" y="1464"/>
                </a:lnTo>
                <a:lnTo>
                  <a:pt x="549" y="1465"/>
                </a:lnTo>
                <a:lnTo>
                  <a:pt x="543" y="1466"/>
                </a:lnTo>
                <a:lnTo>
                  <a:pt x="539" y="1465"/>
                </a:lnTo>
                <a:lnTo>
                  <a:pt x="531" y="1465"/>
                </a:lnTo>
                <a:lnTo>
                  <a:pt x="525" y="1465"/>
                </a:lnTo>
                <a:lnTo>
                  <a:pt x="518" y="1468"/>
                </a:lnTo>
                <a:lnTo>
                  <a:pt x="512" y="1469"/>
                </a:lnTo>
                <a:lnTo>
                  <a:pt x="509" y="1468"/>
                </a:lnTo>
                <a:lnTo>
                  <a:pt x="505" y="1464"/>
                </a:lnTo>
                <a:lnTo>
                  <a:pt x="498" y="1453"/>
                </a:lnTo>
                <a:lnTo>
                  <a:pt x="491" y="1444"/>
                </a:lnTo>
                <a:lnTo>
                  <a:pt x="484" y="1439"/>
                </a:lnTo>
                <a:lnTo>
                  <a:pt x="476" y="1434"/>
                </a:lnTo>
                <a:lnTo>
                  <a:pt x="473" y="1433"/>
                </a:lnTo>
                <a:lnTo>
                  <a:pt x="470" y="1432"/>
                </a:lnTo>
                <a:lnTo>
                  <a:pt x="467" y="1431"/>
                </a:lnTo>
                <a:lnTo>
                  <a:pt x="465" y="1430"/>
                </a:lnTo>
                <a:lnTo>
                  <a:pt x="462" y="1428"/>
                </a:lnTo>
                <a:lnTo>
                  <a:pt x="461" y="1426"/>
                </a:lnTo>
                <a:lnTo>
                  <a:pt x="461" y="1424"/>
                </a:lnTo>
                <a:lnTo>
                  <a:pt x="459" y="1421"/>
                </a:lnTo>
                <a:lnTo>
                  <a:pt x="457" y="1419"/>
                </a:lnTo>
                <a:lnTo>
                  <a:pt x="453" y="1417"/>
                </a:lnTo>
                <a:lnTo>
                  <a:pt x="446" y="1412"/>
                </a:lnTo>
                <a:lnTo>
                  <a:pt x="441" y="1408"/>
                </a:lnTo>
                <a:lnTo>
                  <a:pt x="437" y="1407"/>
                </a:lnTo>
                <a:lnTo>
                  <a:pt x="433" y="1405"/>
                </a:lnTo>
                <a:lnTo>
                  <a:pt x="427" y="1403"/>
                </a:lnTo>
                <a:lnTo>
                  <a:pt x="420" y="1402"/>
                </a:lnTo>
                <a:lnTo>
                  <a:pt x="410" y="1400"/>
                </a:lnTo>
                <a:lnTo>
                  <a:pt x="403" y="1400"/>
                </a:lnTo>
                <a:lnTo>
                  <a:pt x="399" y="1401"/>
                </a:lnTo>
                <a:lnTo>
                  <a:pt x="396" y="1402"/>
                </a:lnTo>
                <a:lnTo>
                  <a:pt x="390" y="1405"/>
                </a:lnTo>
                <a:lnTo>
                  <a:pt x="386" y="1406"/>
                </a:lnTo>
                <a:lnTo>
                  <a:pt x="385" y="1405"/>
                </a:lnTo>
                <a:lnTo>
                  <a:pt x="384" y="1401"/>
                </a:lnTo>
                <a:lnTo>
                  <a:pt x="385" y="1397"/>
                </a:lnTo>
                <a:lnTo>
                  <a:pt x="385" y="1394"/>
                </a:lnTo>
                <a:lnTo>
                  <a:pt x="385" y="1389"/>
                </a:lnTo>
                <a:lnTo>
                  <a:pt x="385" y="1383"/>
                </a:lnTo>
                <a:lnTo>
                  <a:pt x="385" y="1378"/>
                </a:lnTo>
                <a:lnTo>
                  <a:pt x="384" y="1374"/>
                </a:lnTo>
                <a:lnTo>
                  <a:pt x="382" y="1365"/>
                </a:lnTo>
                <a:lnTo>
                  <a:pt x="378" y="1357"/>
                </a:lnTo>
                <a:lnTo>
                  <a:pt x="374" y="1351"/>
                </a:lnTo>
                <a:lnTo>
                  <a:pt x="372" y="1345"/>
                </a:lnTo>
                <a:lnTo>
                  <a:pt x="373" y="1342"/>
                </a:lnTo>
                <a:lnTo>
                  <a:pt x="377" y="1338"/>
                </a:lnTo>
                <a:lnTo>
                  <a:pt x="379" y="1333"/>
                </a:lnTo>
                <a:lnTo>
                  <a:pt x="382" y="1330"/>
                </a:lnTo>
                <a:lnTo>
                  <a:pt x="385" y="1325"/>
                </a:lnTo>
                <a:lnTo>
                  <a:pt x="389" y="1320"/>
                </a:lnTo>
                <a:lnTo>
                  <a:pt x="394" y="1314"/>
                </a:lnTo>
                <a:lnTo>
                  <a:pt x="398" y="1308"/>
                </a:lnTo>
                <a:lnTo>
                  <a:pt x="402" y="1304"/>
                </a:lnTo>
                <a:lnTo>
                  <a:pt x="407" y="1299"/>
                </a:lnTo>
                <a:lnTo>
                  <a:pt x="409" y="1295"/>
                </a:lnTo>
                <a:lnTo>
                  <a:pt x="410" y="1293"/>
                </a:lnTo>
                <a:lnTo>
                  <a:pt x="413" y="1291"/>
                </a:lnTo>
                <a:lnTo>
                  <a:pt x="415" y="1289"/>
                </a:lnTo>
                <a:lnTo>
                  <a:pt x="423" y="1286"/>
                </a:lnTo>
                <a:lnTo>
                  <a:pt x="430" y="1285"/>
                </a:lnTo>
                <a:lnTo>
                  <a:pt x="435" y="1283"/>
                </a:lnTo>
                <a:lnTo>
                  <a:pt x="439" y="1283"/>
                </a:lnTo>
                <a:lnTo>
                  <a:pt x="441" y="1283"/>
                </a:lnTo>
                <a:lnTo>
                  <a:pt x="443" y="1283"/>
                </a:lnTo>
                <a:lnTo>
                  <a:pt x="445" y="1282"/>
                </a:lnTo>
                <a:lnTo>
                  <a:pt x="446" y="1281"/>
                </a:lnTo>
                <a:lnTo>
                  <a:pt x="447" y="1280"/>
                </a:lnTo>
                <a:lnTo>
                  <a:pt x="447" y="1277"/>
                </a:lnTo>
                <a:lnTo>
                  <a:pt x="447" y="1275"/>
                </a:lnTo>
                <a:lnTo>
                  <a:pt x="446" y="1274"/>
                </a:lnTo>
                <a:lnTo>
                  <a:pt x="445" y="1273"/>
                </a:lnTo>
                <a:lnTo>
                  <a:pt x="445" y="1271"/>
                </a:lnTo>
                <a:lnTo>
                  <a:pt x="442" y="1266"/>
                </a:lnTo>
                <a:lnTo>
                  <a:pt x="440" y="1260"/>
                </a:lnTo>
                <a:lnTo>
                  <a:pt x="440" y="1257"/>
                </a:lnTo>
                <a:lnTo>
                  <a:pt x="441" y="1254"/>
                </a:lnTo>
                <a:lnTo>
                  <a:pt x="445" y="1250"/>
                </a:lnTo>
                <a:lnTo>
                  <a:pt x="451" y="1248"/>
                </a:lnTo>
                <a:lnTo>
                  <a:pt x="455" y="1247"/>
                </a:lnTo>
                <a:lnTo>
                  <a:pt x="460" y="1247"/>
                </a:lnTo>
                <a:lnTo>
                  <a:pt x="470" y="1244"/>
                </a:lnTo>
                <a:lnTo>
                  <a:pt x="476" y="1243"/>
                </a:lnTo>
                <a:lnTo>
                  <a:pt x="479" y="1242"/>
                </a:lnTo>
                <a:lnTo>
                  <a:pt x="483" y="1241"/>
                </a:lnTo>
                <a:lnTo>
                  <a:pt x="486" y="1238"/>
                </a:lnTo>
                <a:lnTo>
                  <a:pt x="491" y="1236"/>
                </a:lnTo>
                <a:lnTo>
                  <a:pt x="493" y="1233"/>
                </a:lnTo>
                <a:lnTo>
                  <a:pt x="497" y="1232"/>
                </a:lnTo>
                <a:lnTo>
                  <a:pt x="499" y="1229"/>
                </a:lnTo>
                <a:lnTo>
                  <a:pt x="500" y="1225"/>
                </a:lnTo>
                <a:lnTo>
                  <a:pt x="502" y="1224"/>
                </a:lnTo>
                <a:lnTo>
                  <a:pt x="503" y="1223"/>
                </a:lnTo>
                <a:lnTo>
                  <a:pt x="504" y="1219"/>
                </a:lnTo>
                <a:lnTo>
                  <a:pt x="505" y="1217"/>
                </a:lnTo>
                <a:lnTo>
                  <a:pt x="506" y="1213"/>
                </a:lnTo>
                <a:lnTo>
                  <a:pt x="509" y="1211"/>
                </a:lnTo>
                <a:lnTo>
                  <a:pt x="512" y="1207"/>
                </a:lnTo>
                <a:lnTo>
                  <a:pt x="516" y="1206"/>
                </a:lnTo>
                <a:lnTo>
                  <a:pt x="517" y="1206"/>
                </a:lnTo>
                <a:lnTo>
                  <a:pt x="518" y="1206"/>
                </a:lnTo>
                <a:lnTo>
                  <a:pt x="521" y="1206"/>
                </a:lnTo>
                <a:lnTo>
                  <a:pt x="524" y="1206"/>
                </a:lnTo>
                <a:lnTo>
                  <a:pt x="533" y="1208"/>
                </a:lnTo>
                <a:lnTo>
                  <a:pt x="541" y="1211"/>
                </a:lnTo>
                <a:lnTo>
                  <a:pt x="552" y="1213"/>
                </a:lnTo>
                <a:lnTo>
                  <a:pt x="561" y="1218"/>
                </a:lnTo>
                <a:lnTo>
                  <a:pt x="566" y="1220"/>
                </a:lnTo>
                <a:lnTo>
                  <a:pt x="568" y="1223"/>
                </a:lnTo>
                <a:lnTo>
                  <a:pt x="571" y="1228"/>
                </a:lnTo>
                <a:lnTo>
                  <a:pt x="572" y="1232"/>
                </a:lnTo>
                <a:lnTo>
                  <a:pt x="573" y="1235"/>
                </a:lnTo>
                <a:lnTo>
                  <a:pt x="574" y="1236"/>
                </a:lnTo>
                <a:lnTo>
                  <a:pt x="575" y="1237"/>
                </a:lnTo>
                <a:lnTo>
                  <a:pt x="577" y="1237"/>
                </a:lnTo>
                <a:lnTo>
                  <a:pt x="581" y="1236"/>
                </a:lnTo>
                <a:lnTo>
                  <a:pt x="585" y="1235"/>
                </a:lnTo>
                <a:lnTo>
                  <a:pt x="587" y="1233"/>
                </a:lnTo>
                <a:lnTo>
                  <a:pt x="590" y="1231"/>
                </a:lnTo>
                <a:lnTo>
                  <a:pt x="592" y="1230"/>
                </a:lnTo>
                <a:lnTo>
                  <a:pt x="594" y="1229"/>
                </a:lnTo>
                <a:lnTo>
                  <a:pt x="602" y="1225"/>
                </a:lnTo>
                <a:lnTo>
                  <a:pt x="606" y="1223"/>
                </a:lnTo>
                <a:lnTo>
                  <a:pt x="611" y="1220"/>
                </a:lnTo>
                <a:lnTo>
                  <a:pt x="616" y="1218"/>
                </a:lnTo>
                <a:lnTo>
                  <a:pt x="618" y="1216"/>
                </a:lnTo>
                <a:lnTo>
                  <a:pt x="621" y="1213"/>
                </a:lnTo>
                <a:lnTo>
                  <a:pt x="622" y="1211"/>
                </a:lnTo>
                <a:lnTo>
                  <a:pt x="623" y="1208"/>
                </a:lnTo>
                <a:lnTo>
                  <a:pt x="625" y="1204"/>
                </a:lnTo>
                <a:lnTo>
                  <a:pt x="626" y="1199"/>
                </a:lnTo>
                <a:lnTo>
                  <a:pt x="629" y="1188"/>
                </a:lnTo>
                <a:lnTo>
                  <a:pt x="631" y="1179"/>
                </a:lnTo>
                <a:lnTo>
                  <a:pt x="634" y="1166"/>
                </a:lnTo>
                <a:lnTo>
                  <a:pt x="635" y="1153"/>
                </a:lnTo>
                <a:lnTo>
                  <a:pt x="637" y="1141"/>
                </a:lnTo>
                <a:lnTo>
                  <a:pt x="638" y="1128"/>
                </a:lnTo>
                <a:lnTo>
                  <a:pt x="640" y="1118"/>
                </a:lnTo>
                <a:lnTo>
                  <a:pt x="640" y="1110"/>
                </a:lnTo>
                <a:lnTo>
                  <a:pt x="642" y="1098"/>
                </a:lnTo>
                <a:lnTo>
                  <a:pt x="647" y="1087"/>
                </a:lnTo>
                <a:lnTo>
                  <a:pt x="654" y="1078"/>
                </a:lnTo>
                <a:lnTo>
                  <a:pt x="659" y="1068"/>
                </a:lnTo>
                <a:lnTo>
                  <a:pt x="659" y="1065"/>
                </a:lnTo>
                <a:lnTo>
                  <a:pt x="660" y="1060"/>
                </a:lnTo>
                <a:lnTo>
                  <a:pt x="659" y="1055"/>
                </a:lnTo>
                <a:lnTo>
                  <a:pt x="657" y="1049"/>
                </a:lnTo>
                <a:lnTo>
                  <a:pt x="655" y="1042"/>
                </a:lnTo>
                <a:lnTo>
                  <a:pt x="651" y="1034"/>
                </a:lnTo>
                <a:lnTo>
                  <a:pt x="646" y="1023"/>
                </a:lnTo>
                <a:lnTo>
                  <a:pt x="638" y="1012"/>
                </a:lnTo>
                <a:lnTo>
                  <a:pt x="631" y="1002"/>
                </a:lnTo>
                <a:lnTo>
                  <a:pt x="625" y="991"/>
                </a:lnTo>
                <a:lnTo>
                  <a:pt x="617" y="976"/>
                </a:lnTo>
                <a:lnTo>
                  <a:pt x="609" y="962"/>
                </a:lnTo>
                <a:lnTo>
                  <a:pt x="605" y="957"/>
                </a:lnTo>
                <a:lnTo>
                  <a:pt x="600" y="953"/>
                </a:lnTo>
                <a:lnTo>
                  <a:pt x="594" y="952"/>
                </a:lnTo>
                <a:lnTo>
                  <a:pt x="584" y="951"/>
                </a:lnTo>
                <a:lnTo>
                  <a:pt x="574" y="952"/>
                </a:lnTo>
                <a:lnTo>
                  <a:pt x="561" y="953"/>
                </a:lnTo>
                <a:lnTo>
                  <a:pt x="558" y="954"/>
                </a:lnTo>
                <a:lnTo>
                  <a:pt x="552" y="957"/>
                </a:lnTo>
                <a:lnTo>
                  <a:pt x="549" y="958"/>
                </a:lnTo>
                <a:lnTo>
                  <a:pt x="547" y="961"/>
                </a:lnTo>
                <a:lnTo>
                  <a:pt x="544" y="966"/>
                </a:lnTo>
                <a:lnTo>
                  <a:pt x="543" y="971"/>
                </a:lnTo>
                <a:lnTo>
                  <a:pt x="543" y="973"/>
                </a:lnTo>
                <a:lnTo>
                  <a:pt x="543" y="974"/>
                </a:lnTo>
                <a:lnTo>
                  <a:pt x="543" y="977"/>
                </a:lnTo>
                <a:lnTo>
                  <a:pt x="543" y="978"/>
                </a:lnTo>
                <a:lnTo>
                  <a:pt x="543" y="981"/>
                </a:lnTo>
                <a:lnTo>
                  <a:pt x="541" y="984"/>
                </a:lnTo>
                <a:lnTo>
                  <a:pt x="539" y="986"/>
                </a:lnTo>
                <a:lnTo>
                  <a:pt x="536" y="987"/>
                </a:lnTo>
                <a:lnTo>
                  <a:pt x="533" y="990"/>
                </a:lnTo>
                <a:lnTo>
                  <a:pt x="528" y="992"/>
                </a:lnTo>
                <a:lnTo>
                  <a:pt x="523" y="993"/>
                </a:lnTo>
                <a:lnTo>
                  <a:pt x="518" y="993"/>
                </a:lnTo>
                <a:lnTo>
                  <a:pt x="516" y="993"/>
                </a:lnTo>
                <a:lnTo>
                  <a:pt x="512" y="993"/>
                </a:lnTo>
                <a:lnTo>
                  <a:pt x="511" y="993"/>
                </a:lnTo>
                <a:lnTo>
                  <a:pt x="509" y="992"/>
                </a:lnTo>
                <a:lnTo>
                  <a:pt x="506" y="991"/>
                </a:lnTo>
                <a:lnTo>
                  <a:pt x="504" y="989"/>
                </a:lnTo>
                <a:lnTo>
                  <a:pt x="500" y="983"/>
                </a:lnTo>
                <a:lnTo>
                  <a:pt x="498" y="977"/>
                </a:lnTo>
                <a:lnTo>
                  <a:pt x="497" y="973"/>
                </a:lnTo>
                <a:lnTo>
                  <a:pt x="495" y="971"/>
                </a:lnTo>
                <a:lnTo>
                  <a:pt x="493" y="970"/>
                </a:lnTo>
                <a:lnTo>
                  <a:pt x="492" y="968"/>
                </a:lnTo>
                <a:lnTo>
                  <a:pt x="491" y="968"/>
                </a:lnTo>
                <a:lnTo>
                  <a:pt x="490" y="968"/>
                </a:lnTo>
                <a:lnTo>
                  <a:pt x="486" y="967"/>
                </a:lnTo>
                <a:lnTo>
                  <a:pt x="483" y="967"/>
                </a:lnTo>
                <a:lnTo>
                  <a:pt x="478" y="968"/>
                </a:lnTo>
                <a:lnTo>
                  <a:pt x="472" y="971"/>
                </a:lnTo>
                <a:lnTo>
                  <a:pt x="467" y="972"/>
                </a:lnTo>
                <a:lnTo>
                  <a:pt x="462" y="972"/>
                </a:lnTo>
                <a:lnTo>
                  <a:pt x="457" y="972"/>
                </a:lnTo>
                <a:lnTo>
                  <a:pt x="452" y="971"/>
                </a:lnTo>
                <a:lnTo>
                  <a:pt x="448" y="968"/>
                </a:lnTo>
                <a:lnTo>
                  <a:pt x="446" y="965"/>
                </a:lnTo>
                <a:lnTo>
                  <a:pt x="445" y="961"/>
                </a:lnTo>
                <a:lnTo>
                  <a:pt x="442" y="957"/>
                </a:lnTo>
                <a:lnTo>
                  <a:pt x="441" y="954"/>
                </a:lnTo>
                <a:lnTo>
                  <a:pt x="440" y="952"/>
                </a:lnTo>
                <a:lnTo>
                  <a:pt x="437" y="949"/>
                </a:lnTo>
                <a:lnTo>
                  <a:pt x="434" y="947"/>
                </a:lnTo>
                <a:lnTo>
                  <a:pt x="432" y="946"/>
                </a:lnTo>
                <a:lnTo>
                  <a:pt x="430" y="946"/>
                </a:lnTo>
                <a:lnTo>
                  <a:pt x="427" y="946"/>
                </a:lnTo>
                <a:lnTo>
                  <a:pt x="423" y="945"/>
                </a:lnTo>
                <a:lnTo>
                  <a:pt x="420" y="942"/>
                </a:lnTo>
                <a:lnTo>
                  <a:pt x="416" y="941"/>
                </a:lnTo>
                <a:lnTo>
                  <a:pt x="413" y="940"/>
                </a:lnTo>
                <a:lnTo>
                  <a:pt x="409" y="940"/>
                </a:lnTo>
                <a:lnTo>
                  <a:pt x="408" y="940"/>
                </a:lnTo>
                <a:lnTo>
                  <a:pt x="405" y="941"/>
                </a:lnTo>
                <a:lnTo>
                  <a:pt x="403" y="943"/>
                </a:lnTo>
                <a:lnTo>
                  <a:pt x="402" y="946"/>
                </a:lnTo>
                <a:lnTo>
                  <a:pt x="401" y="949"/>
                </a:lnTo>
                <a:lnTo>
                  <a:pt x="401" y="952"/>
                </a:lnTo>
                <a:lnTo>
                  <a:pt x="401" y="955"/>
                </a:lnTo>
                <a:lnTo>
                  <a:pt x="399" y="960"/>
                </a:lnTo>
                <a:lnTo>
                  <a:pt x="399" y="965"/>
                </a:lnTo>
                <a:lnTo>
                  <a:pt x="401" y="970"/>
                </a:lnTo>
                <a:lnTo>
                  <a:pt x="401" y="974"/>
                </a:lnTo>
                <a:lnTo>
                  <a:pt x="401" y="979"/>
                </a:lnTo>
                <a:lnTo>
                  <a:pt x="401" y="980"/>
                </a:lnTo>
                <a:lnTo>
                  <a:pt x="401" y="981"/>
                </a:lnTo>
                <a:lnTo>
                  <a:pt x="401" y="981"/>
                </a:lnTo>
                <a:lnTo>
                  <a:pt x="401" y="983"/>
                </a:lnTo>
                <a:lnTo>
                  <a:pt x="399" y="984"/>
                </a:lnTo>
                <a:lnTo>
                  <a:pt x="398" y="985"/>
                </a:lnTo>
                <a:lnTo>
                  <a:pt x="397" y="986"/>
                </a:lnTo>
                <a:lnTo>
                  <a:pt x="395" y="987"/>
                </a:lnTo>
                <a:lnTo>
                  <a:pt x="391" y="987"/>
                </a:lnTo>
                <a:lnTo>
                  <a:pt x="388" y="989"/>
                </a:lnTo>
                <a:lnTo>
                  <a:pt x="380" y="989"/>
                </a:lnTo>
                <a:lnTo>
                  <a:pt x="374" y="989"/>
                </a:lnTo>
                <a:lnTo>
                  <a:pt x="371" y="989"/>
                </a:lnTo>
                <a:lnTo>
                  <a:pt x="366" y="987"/>
                </a:lnTo>
                <a:lnTo>
                  <a:pt x="363" y="986"/>
                </a:lnTo>
                <a:lnTo>
                  <a:pt x="359" y="983"/>
                </a:lnTo>
                <a:lnTo>
                  <a:pt x="355" y="980"/>
                </a:lnTo>
                <a:lnTo>
                  <a:pt x="353" y="976"/>
                </a:lnTo>
                <a:lnTo>
                  <a:pt x="347" y="967"/>
                </a:lnTo>
                <a:lnTo>
                  <a:pt x="342" y="959"/>
                </a:lnTo>
                <a:lnTo>
                  <a:pt x="340" y="955"/>
                </a:lnTo>
                <a:lnTo>
                  <a:pt x="338" y="952"/>
                </a:lnTo>
                <a:lnTo>
                  <a:pt x="333" y="949"/>
                </a:lnTo>
                <a:lnTo>
                  <a:pt x="329" y="948"/>
                </a:lnTo>
                <a:lnTo>
                  <a:pt x="326" y="948"/>
                </a:lnTo>
                <a:lnTo>
                  <a:pt x="321" y="951"/>
                </a:lnTo>
                <a:lnTo>
                  <a:pt x="319" y="953"/>
                </a:lnTo>
                <a:lnTo>
                  <a:pt x="315" y="957"/>
                </a:lnTo>
                <a:lnTo>
                  <a:pt x="313" y="958"/>
                </a:lnTo>
                <a:lnTo>
                  <a:pt x="309" y="959"/>
                </a:lnTo>
                <a:lnTo>
                  <a:pt x="304" y="960"/>
                </a:lnTo>
                <a:lnTo>
                  <a:pt x="300" y="959"/>
                </a:lnTo>
                <a:lnTo>
                  <a:pt x="295" y="957"/>
                </a:lnTo>
                <a:lnTo>
                  <a:pt x="291" y="955"/>
                </a:lnTo>
                <a:lnTo>
                  <a:pt x="277" y="948"/>
                </a:lnTo>
                <a:lnTo>
                  <a:pt x="266" y="941"/>
                </a:lnTo>
                <a:lnTo>
                  <a:pt x="263" y="937"/>
                </a:lnTo>
                <a:lnTo>
                  <a:pt x="260" y="934"/>
                </a:lnTo>
                <a:lnTo>
                  <a:pt x="259" y="932"/>
                </a:lnTo>
                <a:lnTo>
                  <a:pt x="260" y="929"/>
                </a:lnTo>
                <a:lnTo>
                  <a:pt x="263" y="926"/>
                </a:lnTo>
                <a:lnTo>
                  <a:pt x="267" y="921"/>
                </a:lnTo>
                <a:lnTo>
                  <a:pt x="279" y="915"/>
                </a:lnTo>
                <a:lnTo>
                  <a:pt x="288" y="910"/>
                </a:lnTo>
                <a:lnTo>
                  <a:pt x="289" y="908"/>
                </a:lnTo>
                <a:lnTo>
                  <a:pt x="290" y="903"/>
                </a:lnTo>
                <a:lnTo>
                  <a:pt x="289" y="899"/>
                </a:lnTo>
                <a:lnTo>
                  <a:pt x="287" y="896"/>
                </a:lnTo>
                <a:lnTo>
                  <a:pt x="283" y="892"/>
                </a:lnTo>
                <a:lnTo>
                  <a:pt x="278" y="888"/>
                </a:lnTo>
                <a:lnTo>
                  <a:pt x="275" y="883"/>
                </a:lnTo>
                <a:lnTo>
                  <a:pt x="271" y="878"/>
                </a:lnTo>
                <a:lnTo>
                  <a:pt x="269" y="871"/>
                </a:lnTo>
                <a:lnTo>
                  <a:pt x="267" y="864"/>
                </a:lnTo>
                <a:lnTo>
                  <a:pt x="267" y="852"/>
                </a:lnTo>
                <a:lnTo>
                  <a:pt x="267" y="842"/>
                </a:lnTo>
                <a:lnTo>
                  <a:pt x="264" y="835"/>
                </a:lnTo>
                <a:lnTo>
                  <a:pt x="260" y="829"/>
                </a:lnTo>
                <a:lnTo>
                  <a:pt x="257" y="826"/>
                </a:lnTo>
                <a:lnTo>
                  <a:pt x="253" y="822"/>
                </a:lnTo>
                <a:lnTo>
                  <a:pt x="245" y="815"/>
                </a:lnTo>
                <a:lnTo>
                  <a:pt x="234" y="808"/>
                </a:lnTo>
                <a:lnTo>
                  <a:pt x="229" y="804"/>
                </a:lnTo>
                <a:lnTo>
                  <a:pt x="226" y="802"/>
                </a:lnTo>
                <a:lnTo>
                  <a:pt x="219" y="800"/>
                </a:lnTo>
                <a:lnTo>
                  <a:pt x="212" y="798"/>
                </a:lnTo>
                <a:lnTo>
                  <a:pt x="209" y="798"/>
                </a:lnTo>
                <a:lnTo>
                  <a:pt x="206" y="800"/>
                </a:lnTo>
                <a:lnTo>
                  <a:pt x="203" y="801"/>
                </a:lnTo>
                <a:lnTo>
                  <a:pt x="201" y="802"/>
                </a:lnTo>
                <a:lnTo>
                  <a:pt x="197" y="804"/>
                </a:lnTo>
                <a:lnTo>
                  <a:pt x="195" y="807"/>
                </a:lnTo>
                <a:lnTo>
                  <a:pt x="190" y="808"/>
                </a:lnTo>
                <a:lnTo>
                  <a:pt x="187" y="809"/>
                </a:lnTo>
                <a:lnTo>
                  <a:pt x="180" y="809"/>
                </a:lnTo>
                <a:lnTo>
                  <a:pt x="171" y="807"/>
                </a:lnTo>
                <a:lnTo>
                  <a:pt x="159" y="802"/>
                </a:lnTo>
                <a:lnTo>
                  <a:pt x="150" y="798"/>
                </a:lnTo>
                <a:lnTo>
                  <a:pt x="146" y="796"/>
                </a:lnTo>
                <a:lnTo>
                  <a:pt x="143" y="795"/>
                </a:lnTo>
                <a:lnTo>
                  <a:pt x="137" y="792"/>
                </a:lnTo>
                <a:lnTo>
                  <a:pt x="131" y="789"/>
                </a:lnTo>
                <a:lnTo>
                  <a:pt x="122" y="787"/>
                </a:lnTo>
                <a:lnTo>
                  <a:pt x="115" y="784"/>
                </a:lnTo>
                <a:lnTo>
                  <a:pt x="112" y="783"/>
                </a:lnTo>
                <a:lnTo>
                  <a:pt x="109" y="782"/>
                </a:lnTo>
                <a:lnTo>
                  <a:pt x="107" y="782"/>
                </a:lnTo>
                <a:lnTo>
                  <a:pt x="105" y="782"/>
                </a:lnTo>
                <a:lnTo>
                  <a:pt x="102" y="782"/>
                </a:lnTo>
                <a:lnTo>
                  <a:pt x="98" y="783"/>
                </a:lnTo>
                <a:lnTo>
                  <a:pt x="92" y="785"/>
                </a:lnTo>
                <a:lnTo>
                  <a:pt x="86" y="790"/>
                </a:lnTo>
                <a:lnTo>
                  <a:pt x="83" y="794"/>
                </a:lnTo>
                <a:lnTo>
                  <a:pt x="82" y="796"/>
                </a:lnTo>
                <a:lnTo>
                  <a:pt x="80" y="800"/>
                </a:lnTo>
                <a:lnTo>
                  <a:pt x="78" y="804"/>
                </a:lnTo>
                <a:lnTo>
                  <a:pt x="78" y="808"/>
                </a:lnTo>
                <a:lnTo>
                  <a:pt x="78" y="812"/>
                </a:lnTo>
                <a:lnTo>
                  <a:pt x="80" y="816"/>
                </a:lnTo>
                <a:lnTo>
                  <a:pt x="81" y="820"/>
                </a:lnTo>
                <a:lnTo>
                  <a:pt x="82" y="825"/>
                </a:lnTo>
                <a:lnTo>
                  <a:pt x="82" y="829"/>
                </a:lnTo>
                <a:lnTo>
                  <a:pt x="82" y="833"/>
                </a:lnTo>
                <a:lnTo>
                  <a:pt x="81" y="834"/>
                </a:lnTo>
                <a:lnTo>
                  <a:pt x="80" y="835"/>
                </a:lnTo>
                <a:lnTo>
                  <a:pt x="78" y="835"/>
                </a:lnTo>
                <a:lnTo>
                  <a:pt x="70" y="835"/>
                </a:lnTo>
                <a:lnTo>
                  <a:pt x="62" y="833"/>
                </a:lnTo>
                <a:lnTo>
                  <a:pt x="56" y="829"/>
                </a:lnTo>
                <a:lnTo>
                  <a:pt x="51" y="825"/>
                </a:lnTo>
                <a:lnTo>
                  <a:pt x="49" y="822"/>
                </a:lnTo>
                <a:lnTo>
                  <a:pt x="48" y="820"/>
                </a:lnTo>
                <a:lnTo>
                  <a:pt x="43" y="813"/>
                </a:lnTo>
                <a:lnTo>
                  <a:pt x="38" y="804"/>
                </a:lnTo>
                <a:lnTo>
                  <a:pt x="27" y="788"/>
                </a:lnTo>
                <a:lnTo>
                  <a:pt x="21" y="778"/>
                </a:lnTo>
                <a:lnTo>
                  <a:pt x="19" y="776"/>
                </a:lnTo>
                <a:lnTo>
                  <a:pt x="18" y="771"/>
                </a:lnTo>
                <a:lnTo>
                  <a:pt x="18" y="766"/>
                </a:lnTo>
                <a:lnTo>
                  <a:pt x="18" y="762"/>
                </a:lnTo>
                <a:lnTo>
                  <a:pt x="18" y="757"/>
                </a:lnTo>
                <a:lnTo>
                  <a:pt x="18" y="754"/>
                </a:lnTo>
                <a:lnTo>
                  <a:pt x="18" y="752"/>
                </a:lnTo>
                <a:lnTo>
                  <a:pt x="17" y="751"/>
                </a:lnTo>
                <a:lnTo>
                  <a:pt x="13" y="740"/>
                </a:lnTo>
                <a:lnTo>
                  <a:pt x="7" y="726"/>
                </a:lnTo>
                <a:lnTo>
                  <a:pt x="4" y="712"/>
                </a:lnTo>
                <a:lnTo>
                  <a:pt x="0" y="697"/>
                </a:lnTo>
                <a:lnTo>
                  <a:pt x="0" y="688"/>
                </a:lnTo>
                <a:lnTo>
                  <a:pt x="0" y="680"/>
                </a:lnTo>
                <a:lnTo>
                  <a:pt x="1" y="675"/>
                </a:lnTo>
                <a:lnTo>
                  <a:pt x="2" y="672"/>
                </a:lnTo>
                <a:lnTo>
                  <a:pt x="5" y="670"/>
                </a:lnTo>
                <a:lnTo>
                  <a:pt x="7" y="669"/>
                </a:lnTo>
                <a:lnTo>
                  <a:pt x="11" y="668"/>
                </a:lnTo>
                <a:lnTo>
                  <a:pt x="15" y="667"/>
                </a:lnTo>
                <a:lnTo>
                  <a:pt x="20" y="665"/>
                </a:lnTo>
                <a:lnTo>
                  <a:pt x="25" y="664"/>
                </a:lnTo>
                <a:lnTo>
                  <a:pt x="31" y="664"/>
                </a:lnTo>
                <a:lnTo>
                  <a:pt x="37" y="665"/>
                </a:lnTo>
                <a:lnTo>
                  <a:pt x="42" y="668"/>
                </a:lnTo>
                <a:lnTo>
                  <a:pt x="46" y="672"/>
                </a:lnTo>
                <a:lnTo>
                  <a:pt x="54" y="680"/>
                </a:lnTo>
                <a:lnTo>
                  <a:pt x="61" y="686"/>
                </a:lnTo>
                <a:lnTo>
                  <a:pt x="68" y="690"/>
                </a:lnTo>
                <a:lnTo>
                  <a:pt x="76" y="695"/>
                </a:lnTo>
                <a:lnTo>
                  <a:pt x="80" y="700"/>
                </a:lnTo>
                <a:lnTo>
                  <a:pt x="83" y="705"/>
                </a:lnTo>
                <a:lnTo>
                  <a:pt x="86" y="708"/>
                </a:lnTo>
                <a:lnTo>
                  <a:pt x="89" y="712"/>
                </a:lnTo>
                <a:lnTo>
                  <a:pt x="92" y="715"/>
                </a:lnTo>
                <a:lnTo>
                  <a:pt x="96" y="716"/>
                </a:lnTo>
                <a:lnTo>
                  <a:pt x="99" y="718"/>
                </a:lnTo>
                <a:lnTo>
                  <a:pt x="100" y="716"/>
                </a:lnTo>
                <a:lnTo>
                  <a:pt x="103" y="715"/>
                </a:lnTo>
                <a:lnTo>
                  <a:pt x="105" y="714"/>
                </a:lnTo>
                <a:lnTo>
                  <a:pt x="107" y="712"/>
                </a:lnTo>
                <a:lnTo>
                  <a:pt x="108" y="708"/>
                </a:lnTo>
                <a:lnTo>
                  <a:pt x="112" y="703"/>
                </a:lnTo>
                <a:lnTo>
                  <a:pt x="117" y="699"/>
                </a:lnTo>
                <a:lnTo>
                  <a:pt x="121" y="696"/>
                </a:lnTo>
                <a:lnTo>
                  <a:pt x="127" y="695"/>
                </a:lnTo>
                <a:lnTo>
                  <a:pt x="133" y="693"/>
                </a:lnTo>
                <a:lnTo>
                  <a:pt x="137" y="691"/>
                </a:lnTo>
                <a:lnTo>
                  <a:pt x="139" y="689"/>
                </a:lnTo>
                <a:lnTo>
                  <a:pt x="141" y="688"/>
                </a:lnTo>
                <a:lnTo>
                  <a:pt x="144" y="684"/>
                </a:lnTo>
                <a:lnTo>
                  <a:pt x="147" y="681"/>
                </a:lnTo>
                <a:lnTo>
                  <a:pt x="152" y="675"/>
                </a:lnTo>
                <a:lnTo>
                  <a:pt x="158" y="668"/>
                </a:lnTo>
                <a:lnTo>
                  <a:pt x="164" y="661"/>
                </a:lnTo>
                <a:lnTo>
                  <a:pt x="171" y="656"/>
                </a:lnTo>
                <a:lnTo>
                  <a:pt x="178" y="653"/>
                </a:lnTo>
                <a:lnTo>
                  <a:pt x="185" y="652"/>
                </a:lnTo>
                <a:lnTo>
                  <a:pt x="195" y="651"/>
                </a:lnTo>
                <a:lnTo>
                  <a:pt x="200" y="649"/>
                </a:lnTo>
                <a:lnTo>
                  <a:pt x="206" y="646"/>
                </a:lnTo>
                <a:lnTo>
                  <a:pt x="210" y="642"/>
                </a:lnTo>
                <a:lnTo>
                  <a:pt x="214" y="637"/>
                </a:lnTo>
                <a:lnTo>
                  <a:pt x="216" y="632"/>
                </a:lnTo>
                <a:lnTo>
                  <a:pt x="220" y="624"/>
                </a:lnTo>
                <a:lnTo>
                  <a:pt x="224" y="614"/>
                </a:lnTo>
                <a:lnTo>
                  <a:pt x="228" y="605"/>
                </a:lnTo>
                <a:lnTo>
                  <a:pt x="233" y="596"/>
                </a:lnTo>
                <a:lnTo>
                  <a:pt x="235" y="593"/>
                </a:lnTo>
                <a:lnTo>
                  <a:pt x="239" y="592"/>
                </a:lnTo>
                <a:lnTo>
                  <a:pt x="243" y="589"/>
                </a:lnTo>
                <a:lnTo>
                  <a:pt x="247" y="587"/>
                </a:lnTo>
                <a:lnTo>
                  <a:pt x="251" y="584"/>
                </a:lnTo>
                <a:lnTo>
                  <a:pt x="256" y="582"/>
                </a:lnTo>
                <a:lnTo>
                  <a:pt x="260" y="577"/>
                </a:lnTo>
                <a:lnTo>
                  <a:pt x="265" y="574"/>
                </a:lnTo>
                <a:lnTo>
                  <a:pt x="269" y="569"/>
                </a:lnTo>
                <a:lnTo>
                  <a:pt x="272" y="563"/>
                </a:lnTo>
                <a:lnTo>
                  <a:pt x="276" y="561"/>
                </a:lnTo>
                <a:lnTo>
                  <a:pt x="279" y="558"/>
                </a:lnTo>
                <a:lnTo>
                  <a:pt x="283" y="557"/>
                </a:lnTo>
                <a:lnTo>
                  <a:pt x="287" y="556"/>
                </a:lnTo>
                <a:lnTo>
                  <a:pt x="289" y="557"/>
                </a:lnTo>
                <a:lnTo>
                  <a:pt x="292" y="560"/>
                </a:lnTo>
                <a:lnTo>
                  <a:pt x="295" y="562"/>
                </a:lnTo>
                <a:lnTo>
                  <a:pt x="296" y="563"/>
                </a:lnTo>
                <a:lnTo>
                  <a:pt x="300" y="569"/>
                </a:lnTo>
                <a:lnTo>
                  <a:pt x="302" y="575"/>
                </a:lnTo>
                <a:lnTo>
                  <a:pt x="304" y="577"/>
                </a:lnTo>
                <a:lnTo>
                  <a:pt x="306" y="580"/>
                </a:lnTo>
                <a:lnTo>
                  <a:pt x="308" y="584"/>
                </a:lnTo>
                <a:lnTo>
                  <a:pt x="311" y="587"/>
                </a:lnTo>
                <a:lnTo>
                  <a:pt x="315" y="588"/>
                </a:lnTo>
                <a:lnTo>
                  <a:pt x="317" y="589"/>
                </a:lnTo>
                <a:lnTo>
                  <a:pt x="329" y="589"/>
                </a:lnTo>
                <a:lnTo>
                  <a:pt x="345" y="589"/>
                </a:lnTo>
                <a:lnTo>
                  <a:pt x="353" y="589"/>
                </a:lnTo>
                <a:lnTo>
                  <a:pt x="361" y="589"/>
                </a:lnTo>
                <a:lnTo>
                  <a:pt x="367" y="590"/>
                </a:lnTo>
                <a:lnTo>
                  <a:pt x="373" y="592"/>
                </a:lnTo>
                <a:lnTo>
                  <a:pt x="376" y="593"/>
                </a:lnTo>
                <a:lnTo>
                  <a:pt x="377" y="594"/>
                </a:lnTo>
                <a:lnTo>
                  <a:pt x="379" y="598"/>
                </a:lnTo>
                <a:lnTo>
                  <a:pt x="380" y="601"/>
                </a:lnTo>
                <a:lnTo>
                  <a:pt x="383" y="606"/>
                </a:lnTo>
                <a:lnTo>
                  <a:pt x="385" y="612"/>
                </a:lnTo>
                <a:lnTo>
                  <a:pt x="388" y="618"/>
                </a:lnTo>
                <a:lnTo>
                  <a:pt x="390" y="624"/>
                </a:lnTo>
                <a:lnTo>
                  <a:pt x="392" y="630"/>
                </a:lnTo>
                <a:lnTo>
                  <a:pt x="395" y="636"/>
                </a:lnTo>
                <a:lnTo>
                  <a:pt x="398" y="639"/>
                </a:lnTo>
                <a:lnTo>
                  <a:pt x="402" y="643"/>
                </a:lnTo>
                <a:lnTo>
                  <a:pt x="405" y="646"/>
                </a:lnTo>
                <a:lnTo>
                  <a:pt x="411" y="647"/>
                </a:lnTo>
                <a:lnTo>
                  <a:pt x="414" y="647"/>
                </a:lnTo>
                <a:lnTo>
                  <a:pt x="415" y="647"/>
                </a:lnTo>
                <a:lnTo>
                  <a:pt x="418" y="649"/>
                </a:lnTo>
                <a:lnTo>
                  <a:pt x="422" y="649"/>
                </a:lnTo>
                <a:lnTo>
                  <a:pt x="429" y="650"/>
                </a:lnTo>
                <a:lnTo>
                  <a:pt x="435" y="652"/>
                </a:lnTo>
                <a:lnTo>
                  <a:pt x="440" y="653"/>
                </a:lnTo>
                <a:lnTo>
                  <a:pt x="445" y="657"/>
                </a:lnTo>
                <a:lnTo>
                  <a:pt x="449" y="659"/>
                </a:lnTo>
                <a:lnTo>
                  <a:pt x="453" y="661"/>
                </a:lnTo>
                <a:lnTo>
                  <a:pt x="461" y="664"/>
                </a:lnTo>
                <a:lnTo>
                  <a:pt x="470" y="667"/>
                </a:lnTo>
                <a:lnTo>
                  <a:pt x="477" y="668"/>
                </a:lnTo>
                <a:lnTo>
                  <a:pt x="485" y="669"/>
                </a:lnTo>
                <a:lnTo>
                  <a:pt x="491" y="669"/>
                </a:lnTo>
                <a:lnTo>
                  <a:pt x="497" y="670"/>
                </a:lnTo>
                <a:lnTo>
                  <a:pt x="499" y="672"/>
                </a:lnTo>
                <a:lnTo>
                  <a:pt x="502" y="676"/>
                </a:lnTo>
                <a:lnTo>
                  <a:pt x="503" y="680"/>
                </a:lnTo>
                <a:lnTo>
                  <a:pt x="504" y="683"/>
                </a:lnTo>
                <a:lnTo>
                  <a:pt x="506" y="688"/>
                </a:lnTo>
                <a:lnTo>
                  <a:pt x="508" y="691"/>
                </a:lnTo>
                <a:lnTo>
                  <a:pt x="511" y="694"/>
                </a:lnTo>
                <a:lnTo>
                  <a:pt x="515" y="697"/>
                </a:lnTo>
                <a:lnTo>
                  <a:pt x="521" y="700"/>
                </a:lnTo>
                <a:lnTo>
                  <a:pt x="528" y="700"/>
                </a:lnTo>
                <a:lnTo>
                  <a:pt x="534" y="700"/>
                </a:lnTo>
                <a:lnTo>
                  <a:pt x="541" y="697"/>
                </a:lnTo>
                <a:lnTo>
                  <a:pt x="546" y="696"/>
                </a:lnTo>
                <a:lnTo>
                  <a:pt x="552" y="695"/>
                </a:lnTo>
                <a:lnTo>
                  <a:pt x="561" y="695"/>
                </a:lnTo>
                <a:lnTo>
                  <a:pt x="569" y="697"/>
                </a:lnTo>
                <a:lnTo>
                  <a:pt x="575" y="700"/>
                </a:lnTo>
                <a:lnTo>
                  <a:pt x="580" y="705"/>
                </a:lnTo>
                <a:lnTo>
                  <a:pt x="585" y="710"/>
                </a:lnTo>
                <a:lnTo>
                  <a:pt x="590" y="716"/>
                </a:lnTo>
                <a:lnTo>
                  <a:pt x="594" y="721"/>
                </a:lnTo>
                <a:lnTo>
                  <a:pt x="599" y="722"/>
                </a:lnTo>
                <a:lnTo>
                  <a:pt x="603" y="724"/>
                </a:lnTo>
                <a:lnTo>
                  <a:pt x="605" y="724"/>
                </a:lnTo>
                <a:lnTo>
                  <a:pt x="607" y="722"/>
                </a:lnTo>
                <a:lnTo>
                  <a:pt x="611" y="720"/>
                </a:lnTo>
                <a:lnTo>
                  <a:pt x="616" y="716"/>
                </a:lnTo>
                <a:lnTo>
                  <a:pt x="621" y="712"/>
                </a:lnTo>
                <a:lnTo>
                  <a:pt x="628" y="703"/>
                </a:lnTo>
                <a:lnTo>
                  <a:pt x="635" y="697"/>
                </a:lnTo>
                <a:lnTo>
                  <a:pt x="641" y="694"/>
                </a:lnTo>
                <a:lnTo>
                  <a:pt x="646" y="690"/>
                </a:lnTo>
                <a:lnTo>
                  <a:pt x="654" y="687"/>
                </a:lnTo>
                <a:lnTo>
                  <a:pt x="661" y="682"/>
                </a:lnTo>
                <a:lnTo>
                  <a:pt x="666" y="678"/>
                </a:lnTo>
                <a:lnTo>
                  <a:pt x="669" y="675"/>
                </a:lnTo>
                <a:lnTo>
                  <a:pt x="673" y="671"/>
                </a:lnTo>
                <a:lnTo>
                  <a:pt x="675" y="669"/>
                </a:lnTo>
                <a:lnTo>
                  <a:pt x="678" y="663"/>
                </a:lnTo>
                <a:lnTo>
                  <a:pt x="680" y="657"/>
                </a:lnTo>
                <a:lnTo>
                  <a:pt x="682" y="652"/>
                </a:lnTo>
                <a:lnTo>
                  <a:pt x="682" y="646"/>
                </a:lnTo>
                <a:lnTo>
                  <a:pt x="684" y="640"/>
                </a:lnTo>
                <a:lnTo>
                  <a:pt x="682" y="636"/>
                </a:lnTo>
                <a:lnTo>
                  <a:pt x="681" y="630"/>
                </a:lnTo>
                <a:lnTo>
                  <a:pt x="679" y="625"/>
                </a:lnTo>
                <a:lnTo>
                  <a:pt x="675" y="618"/>
                </a:lnTo>
                <a:lnTo>
                  <a:pt x="673" y="612"/>
                </a:lnTo>
                <a:lnTo>
                  <a:pt x="670" y="607"/>
                </a:lnTo>
                <a:lnTo>
                  <a:pt x="669" y="601"/>
                </a:lnTo>
                <a:lnTo>
                  <a:pt x="669" y="599"/>
                </a:lnTo>
                <a:lnTo>
                  <a:pt x="670" y="595"/>
                </a:lnTo>
                <a:lnTo>
                  <a:pt x="672" y="593"/>
                </a:lnTo>
                <a:lnTo>
                  <a:pt x="673" y="590"/>
                </a:lnTo>
                <a:lnTo>
                  <a:pt x="675" y="589"/>
                </a:lnTo>
                <a:lnTo>
                  <a:pt x="678" y="588"/>
                </a:lnTo>
                <a:lnTo>
                  <a:pt x="684" y="588"/>
                </a:lnTo>
                <a:lnTo>
                  <a:pt x="690" y="588"/>
                </a:lnTo>
                <a:lnTo>
                  <a:pt x="701" y="590"/>
                </a:lnTo>
                <a:lnTo>
                  <a:pt x="713" y="593"/>
                </a:lnTo>
                <a:lnTo>
                  <a:pt x="728" y="592"/>
                </a:lnTo>
                <a:lnTo>
                  <a:pt x="742" y="589"/>
                </a:lnTo>
                <a:lnTo>
                  <a:pt x="757" y="584"/>
                </a:lnTo>
                <a:lnTo>
                  <a:pt x="770" y="577"/>
                </a:lnTo>
                <a:lnTo>
                  <a:pt x="781" y="571"/>
                </a:lnTo>
                <a:lnTo>
                  <a:pt x="793" y="564"/>
                </a:lnTo>
                <a:lnTo>
                  <a:pt x="805" y="557"/>
                </a:lnTo>
                <a:lnTo>
                  <a:pt x="817" y="549"/>
                </a:lnTo>
                <a:lnTo>
                  <a:pt x="831" y="535"/>
                </a:lnTo>
                <a:lnTo>
                  <a:pt x="845" y="521"/>
                </a:lnTo>
                <a:lnTo>
                  <a:pt x="852" y="516"/>
                </a:lnTo>
                <a:lnTo>
                  <a:pt x="859" y="512"/>
                </a:lnTo>
                <a:lnTo>
                  <a:pt x="865" y="508"/>
                </a:lnTo>
                <a:lnTo>
                  <a:pt x="873" y="506"/>
                </a:lnTo>
                <a:lnTo>
                  <a:pt x="881" y="505"/>
                </a:lnTo>
                <a:lnTo>
                  <a:pt x="890" y="505"/>
                </a:lnTo>
                <a:lnTo>
                  <a:pt x="902" y="506"/>
                </a:lnTo>
                <a:lnTo>
                  <a:pt x="914" y="510"/>
                </a:lnTo>
                <a:lnTo>
                  <a:pt x="921" y="512"/>
                </a:lnTo>
                <a:lnTo>
                  <a:pt x="928" y="513"/>
                </a:lnTo>
                <a:lnTo>
                  <a:pt x="936" y="513"/>
                </a:lnTo>
                <a:lnTo>
                  <a:pt x="942" y="512"/>
                </a:lnTo>
                <a:lnTo>
                  <a:pt x="945" y="511"/>
                </a:lnTo>
                <a:lnTo>
                  <a:pt x="950" y="508"/>
                </a:lnTo>
                <a:lnTo>
                  <a:pt x="953" y="505"/>
                </a:lnTo>
                <a:lnTo>
                  <a:pt x="956" y="500"/>
                </a:lnTo>
                <a:lnTo>
                  <a:pt x="961" y="491"/>
                </a:lnTo>
                <a:lnTo>
                  <a:pt x="963" y="480"/>
                </a:lnTo>
                <a:lnTo>
                  <a:pt x="964" y="476"/>
                </a:lnTo>
                <a:lnTo>
                  <a:pt x="966" y="475"/>
                </a:lnTo>
                <a:lnTo>
                  <a:pt x="968" y="474"/>
                </a:lnTo>
                <a:lnTo>
                  <a:pt x="971" y="473"/>
                </a:lnTo>
                <a:lnTo>
                  <a:pt x="975" y="474"/>
                </a:lnTo>
                <a:lnTo>
                  <a:pt x="977" y="476"/>
                </a:lnTo>
                <a:lnTo>
                  <a:pt x="980" y="480"/>
                </a:lnTo>
                <a:lnTo>
                  <a:pt x="982" y="483"/>
                </a:lnTo>
                <a:lnTo>
                  <a:pt x="983" y="491"/>
                </a:lnTo>
                <a:lnTo>
                  <a:pt x="984" y="498"/>
                </a:lnTo>
                <a:lnTo>
                  <a:pt x="984" y="501"/>
                </a:lnTo>
                <a:lnTo>
                  <a:pt x="986" y="502"/>
                </a:lnTo>
                <a:lnTo>
                  <a:pt x="987" y="502"/>
                </a:lnTo>
                <a:lnTo>
                  <a:pt x="987" y="502"/>
                </a:lnTo>
                <a:lnTo>
                  <a:pt x="987" y="502"/>
                </a:lnTo>
                <a:lnTo>
                  <a:pt x="987" y="502"/>
                </a:lnTo>
                <a:lnTo>
                  <a:pt x="988" y="501"/>
                </a:lnTo>
                <a:lnTo>
                  <a:pt x="988" y="499"/>
                </a:lnTo>
                <a:lnTo>
                  <a:pt x="989" y="498"/>
                </a:lnTo>
                <a:lnTo>
                  <a:pt x="989" y="497"/>
                </a:lnTo>
                <a:lnTo>
                  <a:pt x="991" y="491"/>
                </a:lnTo>
                <a:lnTo>
                  <a:pt x="993" y="485"/>
                </a:lnTo>
                <a:lnTo>
                  <a:pt x="997" y="473"/>
                </a:lnTo>
                <a:lnTo>
                  <a:pt x="1001" y="463"/>
                </a:lnTo>
                <a:lnTo>
                  <a:pt x="1002" y="458"/>
                </a:lnTo>
                <a:lnTo>
                  <a:pt x="1002" y="453"/>
                </a:lnTo>
                <a:lnTo>
                  <a:pt x="1001" y="447"/>
                </a:lnTo>
                <a:lnTo>
                  <a:pt x="1000" y="441"/>
                </a:lnTo>
                <a:lnTo>
                  <a:pt x="999" y="436"/>
                </a:lnTo>
                <a:lnTo>
                  <a:pt x="996" y="431"/>
                </a:lnTo>
                <a:lnTo>
                  <a:pt x="994" y="424"/>
                </a:lnTo>
                <a:lnTo>
                  <a:pt x="990" y="417"/>
                </a:lnTo>
                <a:lnTo>
                  <a:pt x="989" y="410"/>
                </a:lnTo>
                <a:lnTo>
                  <a:pt x="990" y="401"/>
                </a:lnTo>
                <a:lnTo>
                  <a:pt x="993" y="394"/>
                </a:lnTo>
                <a:lnTo>
                  <a:pt x="997" y="386"/>
                </a:lnTo>
                <a:lnTo>
                  <a:pt x="1005" y="380"/>
                </a:lnTo>
                <a:lnTo>
                  <a:pt x="1009" y="375"/>
                </a:lnTo>
                <a:lnTo>
                  <a:pt x="1012" y="374"/>
                </a:lnTo>
                <a:lnTo>
                  <a:pt x="1013" y="372"/>
                </a:lnTo>
                <a:lnTo>
                  <a:pt x="1016" y="369"/>
                </a:lnTo>
                <a:lnTo>
                  <a:pt x="1019" y="366"/>
                </a:lnTo>
                <a:lnTo>
                  <a:pt x="1021" y="362"/>
                </a:lnTo>
                <a:lnTo>
                  <a:pt x="1022" y="360"/>
                </a:lnTo>
                <a:lnTo>
                  <a:pt x="1025" y="355"/>
                </a:lnTo>
                <a:lnTo>
                  <a:pt x="1028" y="352"/>
                </a:lnTo>
                <a:lnTo>
                  <a:pt x="1037" y="348"/>
                </a:lnTo>
                <a:lnTo>
                  <a:pt x="1047" y="347"/>
                </a:lnTo>
                <a:lnTo>
                  <a:pt x="1054" y="346"/>
                </a:lnTo>
                <a:lnTo>
                  <a:pt x="1063" y="341"/>
                </a:lnTo>
                <a:lnTo>
                  <a:pt x="1069" y="337"/>
                </a:lnTo>
                <a:lnTo>
                  <a:pt x="1073" y="334"/>
                </a:lnTo>
                <a:lnTo>
                  <a:pt x="1079" y="330"/>
                </a:lnTo>
                <a:lnTo>
                  <a:pt x="1084" y="330"/>
                </a:lnTo>
                <a:lnTo>
                  <a:pt x="1088" y="333"/>
                </a:lnTo>
                <a:lnTo>
                  <a:pt x="1090" y="337"/>
                </a:lnTo>
                <a:lnTo>
                  <a:pt x="1092" y="342"/>
                </a:lnTo>
                <a:lnTo>
                  <a:pt x="1094" y="348"/>
                </a:lnTo>
                <a:lnTo>
                  <a:pt x="1098" y="355"/>
                </a:lnTo>
                <a:lnTo>
                  <a:pt x="1102" y="357"/>
                </a:lnTo>
                <a:lnTo>
                  <a:pt x="1107" y="362"/>
                </a:lnTo>
                <a:lnTo>
                  <a:pt x="1110" y="365"/>
                </a:lnTo>
                <a:lnTo>
                  <a:pt x="1113" y="366"/>
                </a:lnTo>
                <a:lnTo>
                  <a:pt x="1116" y="368"/>
                </a:lnTo>
                <a:lnTo>
                  <a:pt x="1119" y="371"/>
                </a:lnTo>
                <a:lnTo>
                  <a:pt x="1120" y="375"/>
                </a:lnTo>
                <a:lnTo>
                  <a:pt x="1122" y="387"/>
                </a:lnTo>
                <a:lnTo>
                  <a:pt x="1125" y="401"/>
                </a:lnTo>
                <a:lnTo>
                  <a:pt x="1126" y="407"/>
                </a:lnTo>
                <a:lnTo>
                  <a:pt x="1128" y="412"/>
                </a:lnTo>
                <a:lnTo>
                  <a:pt x="1129" y="416"/>
                </a:lnTo>
                <a:lnTo>
                  <a:pt x="1132" y="418"/>
                </a:lnTo>
                <a:lnTo>
                  <a:pt x="1135" y="420"/>
                </a:lnTo>
                <a:lnTo>
                  <a:pt x="1138" y="422"/>
                </a:lnTo>
                <a:lnTo>
                  <a:pt x="1144" y="423"/>
                </a:lnTo>
                <a:lnTo>
                  <a:pt x="1148" y="423"/>
                </a:lnTo>
                <a:lnTo>
                  <a:pt x="1157" y="425"/>
                </a:lnTo>
                <a:lnTo>
                  <a:pt x="1161" y="429"/>
                </a:lnTo>
                <a:lnTo>
                  <a:pt x="1163" y="431"/>
                </a:lnTo>
                <a:lnTo>
                  <a:pt x="1164" y="434"/>
                </a:lnTo>
                <a:lnTo>
                  <a:pt x="1165" y="438"/>
                </a:lnTo>
                <a:lnTo>
                  <a:pt x="1165" y="443"/>
                </a:lnTo>
                <a:lnTo>
                  <a:pt x="1165" y="450"/>
                </a:lnTo>
                <a:lnTo>
                  <a:pt x="1165" y="457"/>
                </a:lnTo>
                <a:lnTo>
                  <a:pt x="1166" y="463"/>
                </a:lnTo>
                <a:lnTo>
                  <a:pt x="1169" y="470"/>
                </a:lnTo>
                <a:lnTo>
                  <a:pt x="1171" y="476"/>
                </a:lnTo>
                <a:lnTo>
                  <a:pt x="1173" y="482"/>
                </a:lnTo>
                <a:lnTo>
                  <a:pt x="1177" y="487"/>
                </a:lnTo>
                <a:lnTo>
                  <a:pt x="1182" y="492"/>
                </a:lnTo>
                <a:lnTo>
                  <a:pt x="1188" y="494"/>
                </a:lnTo>
                <a:lnTo>
                  <a:pt x="1194" y="497"/>
                </a:lnTo>
                <a:lnTo>
                  <a:pt x="1199" y="497"/>
                </a:lnTo>
                <a:lnTo>
                  <a:pt x="1207" y="495"/>
                </a:lnTo>
                <a:lnTo>
                  <a:pt x="1213" y="493"/>
                </a:lnTo>
                <a:lnTo>
                  <a:pt x="1220" y="489"/>
                </a:lnTo>
                <a:lnTo>
                  <a:pt x="1227" y="483"/>
                </a:lnTo>
                <a:lnTo>
                  <a:pt x="1233" y="476"/>
                </a:lnTo>
                <a:lnTo>
                  <a:pt x="1239" y="470"/>
                </a:lnTo>
                <a:lnTo>
                  <a:pt x="1243" y="464"/>
                </a:lnTo>
                <a:lnTo>
                  <a:pt x="1248" y="461"/>
                </a:lnTo>
                <a:lnTo>
                  <a:pt x="1253" y="458"/>
                </a:lnTo>
                <a:lnTo>
                  <a:pt x="1255" y="458"/>
                </a:lnTo>
                <a:lnTo>
                  <a:pt x="1259" y="460"/>
                </a:lnTo>
                <a:lnTo>
                  <a:pt x="1260" y="463"/>
                </a:lnTo>
                <a:lnTo>
                  <a:pt x="1260" y="469"/>
                </a:lnTo>
                <a:lnTo>
                  <a:pt x="1260" y="482"/>
                </a:lnTo>
                <a:lnTo>
                  <a:pt x="1260" y="493"/>
                </a:lnTo>
                <a:lnTo>
                  <a:pt x="1261" y="498"/>
                </a:lnTo>
                <a:lnTo>
                  <a:pt x="1262" y="502"/>
                </a:lnTo>
                <a:lnTo>
                  <a:pt x="1265" y="505"/>
                </a:lnTo>
                <a:lnTo>
                  <a:pt x="1268" y="508"/>
                </a:lnTo>
                <a:lnTo>
                  <a:pt x="1270" y="510"/>
                </a:lnTo>
                <a:lnTo>
                  <a:pt x="1272" y="510"/>
                </a:lnTo>
                <a:lnTo>
                  <a:pt x="1274" y="508"/>
                </a:lnTo>
                <a:lnTo>
                  <a:pt x="1276" y="507"/>
                </a:lnTo>
                <a:lnTo>
                  <a:pt x="1280" y="504"/>
                </a:lnTo>
                <a:lnTo>
                  <a:pt x="1284" y="500"/>
                </a:lnTo>
                <a:lnTo>
                  <a:pt x="1289" y="498"/>
                </a:lnTo>
                <a:lnTo>
                  <a:pt x="1292" y="495"/>
                </a:lnTo>
                <a:lnTo>
                  <a:pt x="1293" y="495"/>
                </a:lnTo>
                <a:lnTo>
                  <a:pt x="1295" y="497"/>
                </a:lnTo>
                <a:lnTo>
                  <a:pt x="1296" y="499"/>
                </a:lnTo>
                <a:lnTo>
                  <a:pt x="1297" y="501"/>
                </a:lnTo>
                <a:lnTo>
                  <a:pt x="1299" y="516"/>
                </a:lnTo>
                <a:lnTo>
                  <a:pt x="1299" y="530"/>
                </a:lnTo>
                <a:lnTo>
                  <a:pt x="1301" y="535"/>
                </a:lnTo>
                <a:lnTo>
                  <a:pt x="1302" y="539"/>
                </a:lnTo>
                <a:lnTo>
                  <a:pt x="1304" y="541"/>
                </a:lnTo>
                <a:lnTo>
                  <a:pt x="1305" y="542"/>
                </a:lnTo>
                <a:lnTo>
                  <a:pt x="1308" y="543"/>
                </a:lnTo>
                <a:lnTo>
                  <a:pt x="1310" y="543"/>
                </a:lnTo>
                <a:lnTo>
                  <a:pt x="1316" y="542"/>
                </a:lnTo>
                <a:lnTo>
                  <a:pt x="1322" y="541"/>
                </a:lnTo>
                <a:lnTo>
                  <a:pt x="1328" y="538"/>
                </a:lnTo>
                <a:lnTo>
                  <a:pt x="1335" y="535"/>
                </a:lnTo>
                <a:lnTo>
                  <a:pt x="1342" y="531"/>
                </a:lnTo>
                <a:lnTo>
                  <a:pt x="1352" y="527"/>
                </a:lnTo>
                <a:lnTo>
                  <a:pt x="1364" y="524"/>
                </a:lnTo>
                <a:lnTo>
                  <a:pt x="1377" y="519"/>
                </a:lnTo>
                <a:lnTo>
                  <a:pt x="1403" y="514"/>
                </a:lnTo>
                <a:lnTo>
                  <a:pt x="1421" y="510"/>
                </a:lnTo>
                <a:lnTo>
                  <a:pt x="1428" y="507"/>
                </a:lnTo>
                <a:lnTo>
                  <a:pt x="1434" y="504"/>
                </a:lnTo>
                <a:lnTo>
                  <a:pt x="1438" y="499"/>
                </a:lnTo>
                <a:lnTo>
                  <a:pt x="1443" y="493"/>
                </a:lnTo>
                <a:lnTo>
                  <a:pt x="1447" y="486"/>
                </a:lnTo>
                <a:lnTo>
                  <a:pt x="1448" y="479"/>
                </a:lnTo>
                <a:lnTo>
                  <a:pt x="1448" y="472"/>
                </a:lnTo>
                <a:lnTo>
                  <a:pt x="1447" y="463"/>
                </a:lnTo>
                <a:lnTo>
                  <a:pt x="1446" y="456"/>
                </a:lnTo>
                <a:lnTo>
                  <a:pt x="1446" y="449"/>
                </a:lnTo>
                <a:lnTo>
                  <a:pt x="1446" y="443"/>
                </a:lnTo>
                <a:lnTo>
                  <a:pt x="1447" y="437"/>
                </a:lnTo>
                <a:lnTo>
                  <a:pt x="1453" y="430"/>
                </a:lnTo>
                <a:lnTo>
                  <a:pt x="1457" y="428"/>
                </a:lnTo>
                <a:lnTo>
                  <a:pt x="1459" y="425"/>
                </a:lnTo>
                <a:lnTo>
                  <a:pt x="1459" y="424"/>
                </a:lnTo>
                <a:lnTo>
                  <a:pt x="1459" y="420"/>
                </a:lnTo>
                <a:lnTo>
                  <a:pt x="1457" y="416"/>
                </a:lnTo>
                <a:lnTo>
                  <a:pt x="1456" y="410"/>
                </a:lnTo>
                <a:lnTo>
                  <a:pt x="1456" y="406"/>
                </a:lnTo>
                <a:lnTo>
                  <a:pt x="1457" y="404"/>
                </a:lnTo>
                <a:lnTo>
                  <a:pt x="1460" y="401"/>
                </a:lnTo>
                <a:lnTo>
                  <a:pt x="1462" y="400"/>
                </a:lnTo>
                <a:lnTo>
                  <a:pt x="1466" y="400"/>
                </a:lnTo>
                <a:lnTo>
                  <a:pt x="1471" y="401"/>
                </a:lnTo>
                <a:lnTo>
                  <a:pt x="1475" y="404"/>
                </a:lnTo>
                <a:lnTo>
                  <a:pt x="1480" y="405"/>
                </a:lnTo>
                <a:lnTo>
                  <a:pt x="1485" y="406"/>
                </a:lnTo>
                <a:lnTo>
                  <a:pt x="1490" y="406"/>
                </a:lnTo>
                <a:lnTo>
                  <a:pt x="1494" y="405"/>
                </a:lnTo>
                <a:lnTo>
                  <a:pt x="1498" y="403"/>
                </a:lnTo>
                <a:lnTo>
                  <a:pt x="1501" y="399"/>
                </a:lnTo>
                <a:lnTo>
                  <a:pt x="1505" y="394"/>
                </a:lnTo>
                <a:lnTo>
                  <a:pt x="1507" y="388"/>
                </a:lnTo>
                <a:lnTo>
                  <a:pt x="1510" y="376"/>
                </a:lnTo>
                <a:lnTo>
                  <a:pt x="1514" y="368"/>
                </a:lnTo>
                <a:lnTo>
                  <a:pt x="1517" y="367"/>
                </a:lnTo>
                <a:lnTo>
                  <a:pt x="1520" y="367"/>
                </a:lnTo>
                <a:lnTo>
                  <a:pt x="1525" y="368"/>
                </a:lnTo>
                <a:lnTo>
                  <a:pt x="1531" y="373"/>
                </a:lnTo>
                <a:lnTo>
                  <a:pt x="1536" y="379"/>
                </a:lnTo>
                <a:lnTo>
                  <a:pt x="1539" y="385"/>
                </a:lnTo>
                <a:lnTo>
                  <a:pt x="1543" y="391"/>
                </a:lnTo>
                <a:lnTo>
                  <a:pt x="1545" y="396"/>
                </a:lnTo>
                <a:lnTo>
                  <a:pt x="1548" y="400"/>
                </a:lnTo>
                <a:lnTo>
                  <a:pt x="1553" y="404"/>
                </a:lnTo>
                <a:lnTo>
                  <a:pt x="1558" y="407"/>
                </a:lnTo>
                <a:lnTo>
                  <a:pt x="1566" y="410"/>
                </a:lnTo>
                <a:lnTo>
                  <a:pt x="1579" y="411"/>
                </a:lnTo>
                <a:lnTo>
                  <a:pt x="1589" y="412"/>
                </a:lnTo>
                <a:lnTo>
                  <a:pt x="1594" y="412"/>
                </a:lnTo>
                <a:lnTo>
                  <a:pt x="1598" y="413"/>
                </a:lnTo>
                <a:lnTo>
                  <a:pt x="1601" y="415"/>
                </a:lnTo>
                <a:lnTo>
                  <a:pt x="1605" y="417"/>
                </a:lnTo>
                <a:lnTo>
                  <a:pt x="1608" y="422"/>
                </a:lnTo>
                <a:lnTo>
                  <a:pt x="1611" y="429"/>
                </a:lnTo>
                <a:lnTo>
                  <a:pt x="1613" y="444"/>
                </a:lnTo>
                <a:lnTo>
                  <a:pt x="1616" y="454"/>
                </a:lnTo>
                <a:lnTo>
                  <a:pt x="1618" y="457"/>
                </a:lnTo>
                <a:lnTo>
                  <a:pt x="1619" y="460"/>
                </a:lnTo>
                <a:lnTo>
                  <a:pt x="1623" y="461"/>
                </a:lnTo>
                <a:lnTo>
                  <a:pt x="1626" y="461"/>
                </a:lnTo>
                <a:lnTo>
                  <a:pt x="1630" y="460"/>
                </a:lnTo>
                <a:lnTo>
                  <a:pt x="1633" y="458"/>
                </a:lnTo>
                <a:lnTo>
                  <a:pt x="1637" y="454"/>
                </a:lnTo>
                <a:lnTo>
                  <a:pt x="1639" y="449"/>
                </a:lnTo>
                <a:lnTo>
                  <a:pt x="1641" y="443"/>
                </a:lnTo>
                <a:lnTo>
                  <a:pt x="1641" y="437"/>
                </a:lnTo>
                <a:lnTo>
                  <a:pt x="1642" y="429"/>
                </a:lnTo>
                <a:lnTo>
                  <a:pt x="1641" y="420"/>
                </a:lnTo>
                <a:lnTo>
                  <a:pt x="1639" y="404"/>
                </a:lnTo>
                <a:lnTo>
                  <a:pt x="1639" y="391"/>
                </a:lnTo>
                <a:lnTo>
                  <a:pt x="1639" y="385"/>
                </a:lnTo>
                <a:lnTo>
                  <a:pt x="1641" y="381"/>
                </a:lnTo>
                <a:lnTo>
                  <a:pt x="1642" y="379"/>
                </a:lnTo>
                <a:lnTo>
                  <a:pt x="1644" y="378"/>
                </a:lnTo>
                <a:lnTo>
                  <a:pt x="1649" y="378"/>
                </a:lnTo>
                <a:lnTo>
                  <a:pt x="1652" y="376"/>
                </a:lnTo>
                <a:lnTo>
                  <a:pt x="1654" y="375"/>
                </a:lnTo>
                <a:lnTo>
                  <a:pt x="1655" y="373"/>
                </a:lnTo>
                <a:lnTo>
                  <a:pt x="1655" y="369"/>
                </a:lnTo>
                <a:lnTo>
                  <a:pt x="1654" y="366"/>
                </a:lnTo>
                <a:lnTo>
                  <a:pt x="1652" y="361"/>
                </a:lnTo>
                <a:lnTo>
                  <a:pt x="1654" y="355"/>
                </a:lnTo>
                <a:lnTo>
                  <a:pt x="1655" y="349"/>
                </a:lnTo>
                <a:lnTo>
                  <a:pt x="1658" y="344"/>
                </a:lnTo>
                <a:lnTo>
                  <a:pt x="1661" y="340"/>
                </a:lnTo>
                <a:lnTo>
                  <a:pt x="1665" y="335"/>
                </a:lnTo>
                <a:lnTo>
                  <a:pt x="1670" y="331"/>
                </a:lnTo>
                <a:lnTo>
                  <a:pt x="1675" y="330"/>
                </a:lnTo>
                <a:lnTo>
                  <a:pt x="1679" y="329"/>
                </a:lnTo>
                <a:lnTo>
                  <a:pt x="1683" y="328"/>
                </a:lnTo>
                <a:lnTo>
                  <a:pt x="1687" y="329"/>
                </a:lnTo>
                <a:lnTo>
                  <a:pt x="1689" y="330"/>
                </a:lnTo>
                <a:lnTo>
                  <a:pt x="1692" y="333"/>
                </a:lnTo>
                <a:lnTo>
                  <a:pt x="1694" y="336"/>
                </a:lnTo>
                <a:lnTo>
                  <a:pt x="1696" y="341"/>
                </a:lnTo>
                <a:lnTo>
                  <a:pt x="1696" y="347"/>
                </a:lnTo>
                <a:lnTo>
                  <a:pt x="1699" y="353"/>
                </a:lnTo>
                <a:lnTo>
                  <a:pt x="1700" y="357"/>
                </a:lnTo>
                <a:lnTo>
                  <a:pt x="1704" y="361"/>
                </a:lnTo>
                <a:lnTo>
                  <a:pt x="1707" y="363"/>
                </a:lnTo>
                <a:lnTo>
                  <a:pt x="1711" y="366"/>
                </a:lnTo>
                <a:lnTo>
                  <a:pt x="1715" y="366"/>
                </a:lnTo>
                <a:lnTo>
                  <a:pt x="1721" y="367"/>
                </a:lnTo>
                <a:lnTo>
                  <a:pt x="1727" y="367"/>
                </a:lnTo>
                <a:lnTo>
                  <a:pt x="1740" y="367"/>
                </a:lnTo>
                <a:lnTo>
                  <a:pt x="1755" y="369"/>
                </a:lnTo>
                <a:lnTo>
                  <a:pt x="1769" y="372"/>
                </a:lnTo>
                <a:lnTo>
                  <a:pt x="1781" y="375"/>
                </a:lnTo>
                <a:lnTo>
                  <a:pt x="1786" y="378"/>
                </a:lnTo>
                <a:lnTo>
                  <a:pt x="1791" y="379"/>
                </a:lnTo>
                <a:lnTo>
                  <a:pt x="1797" y="379"/>
                </a:lnTo>
                <a:lnTo>
                  <a:pt x="1803" y="379"/>
                </a:lnTo>
                <a:lnTo>
                  <a:pt x="1807" y="378"/>
                </a:lnTo>
                <a:lnTo>
                  <a:pt x="1810" y="375"/>
                </a:lnTo>
                <a:lnTo>
                  <a:pt x="1812" y="372"/>
                </a:lnTo>
                <a:lnTo>
                  <a:pt x="1810" y="367"/>
                </a:lnTo>
                <a:lnTo>
                  <a:pt x="1803" y="357"/>
                </a:lnTo>
                <a:lnTo>
                  <a:pt x="1799" y="350"/>
                </a:lnTo>
                <a:lnTo>
                  <a:pt x="1796" y="346"/>
                </a:lnTo>
                <a:lnTo>
                  <a:pt x="1796" y="340"/>
                </a:lnTo>
                <a:lnTo>
                  <a:pt x="1797" y="334"/>
                </a:lnTo>
                <a:lnTo>
                  <a:pt x="1802" y="325"/>
                </a:lnTo>
                <a:lnTo>
                  <a:pt x="1803" y="322"/>
                </a:lnTo>
                <a:lnTo>
                  <a:pt x="1805" y="318"/>
                </a:lnTo>
                <a:lnTo>
                  <a:pt x="1807" y="312"/>
                </a:lnTo>
                <a:lnTo>
                  <a:pt x="1808" y="308"/>
                </a:lnTo>
                <a:lnTo>
                  <a:pt x="1810" y="299"/>
                </a:lnTo>
                <a:lnTo>
                  <a:pt x="1812" y="293"/>
                </a:lnTo>
                <a:lnTo>
                  <a:pt x="1810" y="291"/>
                </a:lnTo>
                <a:lnTo>
                  <a:pt x="1809" y="289"/>
                </a:lnTo>
                <a:lnTo>
                  <a:pt x="1808" y="289"/>
                </a:lnTo>
                <a:lnTo>
                  <a:pt x="1806" y="287"/>
                </a:lnTo>
                <a:lnTo>
                  <a:pt x="1802" y="289"/>
                </a:lnTo>
                <a:lnTo>
                  <a:pt x="1797" y="291"/>
                </a:lnTo>
                <a:lnTo>
                  <a:pt x="1793" y="294"/>
                </a:lnTo>
                <a:lnTo>
                  <a:pt x="1787" y="298"/>
                </a:lnTo>
                <a:lnTo>
                  <a:pt x="1776" y="306"/>
                </a:lnTo>
                <a:lnTo>
                  <a:pt x="1765" y="312"/>
                </a:lnTo>
                <a:lnTo>
                  <a:pt x="1759" y="313"/>
                </a:lnTo>
                <a:lnTo>
                  <a:pt x="1755" y="313"/>
                </a:lnTo>
                <a:lnTo>
                  <a:pt x="1750" y="312"/>
                </a:lnTo>
                <a:lnTo>
                  <a:pt x="1746" y="311"/>
                </a:lnTo>
                <a:lnTo>
                  <a:pt x="1744" y="308"/>
                </a:lnTo>
                <a:lnTo>
                  <a:pt x="1742" y="304"/>
                </a:lnTo>
                <a:lnTo>
                  <a:pt x="1742" y="300"/>
                </a:lnTo>
                <a:lnTo>
                  <a:pt x="1743" y="296"/>
                </a:lnTo>
                <a:lnTo>
                  <a:pt x="1747" y="291"/>
                </a:lnTo>
                <a:lnTo>
                  <a:pt x="1752" y="285"/>
                </a:lnTo>
                <a:lnTo>
                  <a:pt x="1759" y="279"/>
                </a:lnTo>
                <a:lnTo>
                  <a:pt x="1768" y="273"/>
                </a:lnTo>
                <a:lnTo>
                  <a:pt x="1784" y="261"/>
                </a:lnTo>
                <a:lnTo>
                  <a:pt x="1797" y="254"/>
                </a:lnTo>
                <a:lnTo>
                  <a:pt x="1803" y="252"/>
                </a:lnTo>
                <a:lnTo>
                  <a:pt x="1809" y="250"/>
                </a:lnTo>
                <a:lnTo>
                  <a:pt x="1815" y="250"/>
                </a:lnTo>
                <a:lnTo>
                  <a:pt x="1821" y="250"/>
                </a:lnTo>
                <a:lnTo>
                  <a:pt x="1827" y="253"/>
                </a:lnTo>
                <a:lnTo>
                  <a:pt x="1833" y="255"/>
                </a:lnTo>
                <a:lnTo>
                  <a:pt x="1840" y="259"/>
                </a:lnTo>
                <a:lnTo>
                  <a:pt x="1845" y="262"/>
                </a:lnTo>
                <a:lnTo>
                  <a:pt x="1856" y="272"/>
                </a:lnTo>
                <a:lnTo>
                  <a:pt x="1864" y="279"/>
                </a:lnTo>
                <a:lnTo>
                  <a:pt x="1870" y="281"/>
                </a:lnTo>
                <a:lnTo>
                  <a:pt x="1876" y="284"/>
                </a:lnTo>
                <a:lnTo>
                  <a:pt x="1884" y="285"/>
                </a:lnTo>
                <a:lnTo>
                  <a:pt x="1894" y="286"/>
                </a:lnTo>
                <a:lnTo>
                  <a:pt x="1903" y="285"/>
                </a:lnTo>
                <a:lnTo>
                  <a:pt x="1909" y="284"/>
                </a:lnTo>
                <a:lnTo>
                  <a:pt x="1914" y="281"/>
                </a:lnTo>
                <a:lnTo>
                  <a:pt x="1916" y="278"/>
                </a:lnTo>
                <a:lnTo>
                  <a:pt x="1916" y="274"/>
                </a:lnTo>
                <a:lnTo>
                  <a:pt x="1916" y="271"/>
                </a:lnTo>
                <a:lnTo>
                  <a:pt x="1914" y="267"/>
                </a:lnTo>
                <a:lnTo>
                  <a:pt x="1913" y="264"/>
                </a:lnTo>
                <a:lnTo>
                  <a:pt x="1912" y="259"/>
                </a:lnTo>
                <a:lnTo>
                  <a:pt x="1912" y="255"/>
                </a:lnTo>
                <a:lnTo>
                  <a:pt x="1912" y="250"/>
                </a:lnTo>
                <a:lnTo>
                  <a:pt x="1913" y="247"/>
                </a:lnTo>
                <a:lnTo>
                  <a:pt x="1915" y="243"/>
                </a:lnTo>
                <a:lnTo>
                  <a:pt x="1919" y="239"/>
                </a:lnTo>
                <a:lnTo>
                  <a:pt x="1922" y="235"/>
                </a:lnTo>
                <a:lnTo>
                  <a:pt x="1927" y="231"/>
                </a:lnTo>
                <a:lnTo>
                  <a:pt x="1935" y="224"/>
                </a:lnTo>
                <a:lnTo>
                  <a:pt x="1942" y="216"/>
                </a:lnTo>
                <a:lnTo>
                  <a:pt x="1945" y="212"/>
                </a:lnTo>
                <a:lnTo>
                  <a:pt x="1947" y="208"/>
                </a:lnTo>
                <a:lnTo>
                  <a:pt x="1948" y="203"/>
                </a:lnTo>
                <a:lnTo>
                  <a:pt x="1950" y="197"/>
                </a:lnTo>
                <a:lnTo>
                  <a:pt x="1951" y="189"/>
                </a:lnTo>
                <a:lnTo>
                  <a:pt x="1952" y="182"/>
                </a:lnTo>
                <a:lnTo>
                  <a:pt x="1956" y="176"/>
                </a:lnTo>
                <a:lnTo>
                  <a:pt x="1961" y="170"/>
                </a:lnTo>
                <a:lnTo>
                  <a:pt x="1966" y="166"/>
                </a:lnTo>
                <a:lnTo>
                  <a:pt x="1969" y="165"/>
                </a:lnTo>
                <a:lnTo>
                  <a:pt x="1972" y="164"/>
                </a:lnTo>
                <a:lnTo>
                  <a:pt x="1975" y="165"/>
                </a:lnTo>
                <a:lnTo>
                  <a:pt x="1979" y="167"/>
                </a:lnTo>
                <a:lnTo>
                  <a:pt x="1984" y="171"/>
                </a:lnTo>
                <a:lnTo>
                  <a:pt x="1989" y="172"/>
                </a:lnTo>
                <a:lnTo>
                  <a:pt x="1995" y="172"/>
                </a:lnTo>
                <a:lnTo>
                  <a:pt x="2000" y="172"/>
                </a:lnTo>
                <a:lnTo>
                  <a:pt x="2004" y="170"/>
                </a:lnTo>
                <a:lnTo>
                  <a:pt x="2014" y="165"/>
                </a:lnTo>
                <a:lnTo>
                  <a:pt x="2022" y="161"/>
                </a:lnTo>
                <a:lnTo>
                  <a:pt x="2026" y="160"/>
                </a:lnTo>
                <a:lnTo>
                  <a:pt x="2030" y="160"/>
                </a:lnTo>
                <a:lnTo>
                  <a:pt x="2035" y="160"/>
                </a:lnTo>
                <a:lnTo>
                  <a:pt x="2040" y="161"/>
                </a:lnTo>
                <a:lnTo>
                  <a:pt x="2051" y="165"/>
                </a:lnTo>
                <a:lnTo>
                  <a:pt x="2058" y="170"/>
                </a:lnTo>
                <a:lnTo>
                  <a:pt x="2060" y="173"/>
                </a:lnTo>
                <a:lnTo>
                  <a:pt x="2061" y="177"/>
                </a:lnTo>
                <a:lnTo>
                  <a:pt x="2063" y="180"/>
                </a:lnTo>
                <a:lnTo>
                  <a:pt x="2061" y="185"/>
                </a:lnTo>
                <a:lnTo>
                  <a:pt x="2060" y="189"/>
                </a:lnTo>
                <a:lnTo>
                  <a:pt x="2058" y="193"/>
                </a:lnTo>
                <a:lnTo>
                  <a:pt x="2054" y="196"/>
                </a:lnTo>
                <a:lnTo>
                  <a:pt x="2051" y="199"/>
                </a:lnTo>
                <a:lnTo>
                  <a:pt x="2047" y="203"/>
                </a:lnTo>
                <a:lnTo>
                  <a:pt x="2045" y="205"/>
                </a:lnTo>
                <a:lnTo>
                  <a:pt x="2042" y="210"/>
                </a:lnTo>
                <a:lnTo>
                  <a:pt x="2042" y="215"/>
                </a:lnTo>
                <a:lnTo>
                  <a:pt x="2043" y="218"/>
                </a:lnTo>
                <a:lnTo>
                  <a:pt x="2047" y="222"/>
                </a:lnTo>
                <a:lnTo>
                  <a:pt x="2052" y="226"/>
                </a:lnTo>
                <a:lnTo>
                  <a:pt x="2058" y="227"/>
                </a:lnTo>
                <a:lnTo>
                  <a:pt x="2064" y="228"/>
                </a:lnTo>
                <a:lnTo>
                  <a:pt x="2072" y="229"/>
                </a:lnTo>
                <a:lnTo>
                  <a:pt x="2079" y="229"/>
                </a:lnTo>
                <a:lnTo>
                  <a:pt x="2085" y="228"/>
                </a:lnTo>
                <a:lnTo>
                  <a:pt x="2091" y="227"/>
                </a:lnTo>
                <a:lnTo>
                  <a:pt x="2095" y="224"/>
                </a:lnTo>
                <a:lnTo>
                  <a:pt x="2097" y="221"/>
                </a:lnTo>
                <a:lnTo>
                  <a:pt x="2098" y="217"/>
                </a:lnTo>
                <a:lnTo>
                  <a:pt x="2097" y="209"/>
                </a:lnTo>
                <a:lnTo>
                  <a:pt x="2093" y="198"/>
                </a:lnTo>
                <a:lnTo>
                  <a:pt x="2092" y="193"/>
                </a:lnTo>
                <a:lnTo>
                  <a:pt x="2091" y="187"/>
                </a:lnTo>
                <a:lnTo>
                  <a:pt x="2090" y="182"/>
                </a:lnTo>
                <a:lnTo>
                  <a:pt x="2091" y="177"/>
                </a:lnTo>
                <a:lnTo>
                  <a:pt x="2092" y="172"/>
                </a:lnTo>
                <a:lnTo>
                  <a:pt x="2095" y="167"/>
                </a:lnTo>
                <a:lnTo>
                  <a:pt x="2098" y="164"/>
                </a:lnTo>
                <a:lnTo>
                  <a:pt x="2103" y="160"/>
                </a:lnTo>
                <a:lnTo>
                  <a:pt x="2111" y="157"/>
                </a:lnTo>
                <a:lnTo>
                  <a:pt x="2117" y="153"/>
                </a:lnTo>
                <a:lnTo>
                  <a:pt x="2121" y="149"/>
                </a:lnTo>
                <a:lnTo>
                  <a:pt x="2123" y="145"/>
                </a:lnTo>
                <a:lnTo>
                  <a:pt x="2126" y="138"/>
                </a:lnTo>
                <a:lnTo>
                  <a:pt x="2129" y="129"/>
                </a:lnTo>
                <a:lnTo>
                  <a:pt x="2135" y="113"/>
                </a:lnTo>
                <a:lnTo>
                  <a:pt x="2141" y="102"/>
                </a:lnTo>
                <a:lnTo>
                  <a:pt x="2145" y="97"/>
                </a:lnTo>
                <a:lnTo>
                  <a:pt x="2148" y="95"/>
                </a:lnTo>
                <a:lnTo>
                  <a:pt x="2153" y="94"/>
                </a:lnTo>
                <a:lnTo>
                  <a:pt x="2158" y="92"/>
                </a:lnTo>
                <a:lnTo>
                  <a:pt x="2172" y="91"/>
                </a:lnTo>
                <a:lnTo>
                  <a:pt x="2187" y="92"/>
                </a:lnTo>
                <a:lnTo>
                  <a:pt x="2193" y="94"/>
                </a:lnTo>
                <a:lnTo>
                  <a:pt x="2199" y="97"/>
                </a:lnTo>
                <a:lnTo>
                  <a:pt x="2202" y="98"/>
                </a:lnTo>
                <a:lnTo>
                  <a:pt x="2204" y="101"/>
                </a:lnTo>
                <a:lnTo>
                  <a:pt x="2205" y="103"/>
                </a:lnTo>
                <a:lnTo>
                  <a:pt x="2205" y="105"/>
                </a:lnTo>
                <a:lnTo>
                  <a:pt x="2205" y="119"/>
                </a:lnTo>
                <a:lnTo>
                  <a:pt x="2204" y="133"/>
                </a:lnTo>
                <a:lnTo>
                  <a:pt x="2203" y="140"/>
                </a:lnTo>
                <a:lnTo>
                  <a:pt x="2203" y="148"/>
                </a:lnTo>
                <a:lnTo>
                  <a:pt x="2203" y="154"/>
                </a:lnTo>
                <a:lnTo>
                  <a:pt x="2205" y="160"/>
                </a:lnTo>
                <a:lnTo>
                  <a:pt x="2209" y="165"/>
                </a:lnTo>
                <a:lnTo>
                  <a:pt x="2211" y="168"/>
                </a:lnTo>
                <a:lnTo>
                  <a:pt x="2215" y="171"/>
                </a:lnTo>
                <a:lnTo>
                  <a:pt x="2218" y="172"/>
                </a:lnTo>
                <a:lnTo>
                  <a:pt x="2222" y="172"/>
                </a:lnTo>
                <a:lnTo>
                  <a:pt x="2225" y="170"/>
                </a:lnTo>
                <a:lnTo>
                  <a:pt x="2229" y="167"/>
                </a:lnTo>
                <a:lnTo>
                  <a:pt x="2233" y="164"/>
                </a:lnTo>
                <a:lnTo>
                  <a:pt x="2240" y="155"/>
                </a:lnTo>
                <a:lnTo>
                  <a:pt x="2247" y="148"/>
                </a:lnTo>
                <a:lnTo>
                  <a:pt x="2253" y="145"/>
                </a:lnTo>
                <a:lnTo>
                  <a:pt x="2257" y="144"/>
                </a:lnTo>
                <a:lnTo>
                  <a:pt x="2261" y="144"/>
                </a:lnTo>
                <a:lnTo>
                  <a:pt x="2262" y="145"/>
                </a:lnTo>
                <a:lnTo>
                  <a:pt x="2265" y="148"/>
                </a:lnTo>
                <a:lnTo>
                  <a:pt x="2266" y="151"/>
                </a:lnTo>
                <a:lnTo>
                  <a:pt x="2268" y="160"/>
                </a:lnTo>
                <a:lnTo>
                  <a:pt x="2268" y="170"/>
                </a:lnTo>
                <a:lnTo>
                  <a:pt x="2269" y="178"/>
                </a:lnTo>
                <a:lnTo>
                  <a:pt x="2272" y="183"/>
                </a:lnTo>
                <a:lnTo>
                  <a:pt x="2274" y="184"/>
                </a:lnTo>
                <a:lnTo>
                  <a:pt x="2276" y="184"/>
                </a:lnTo>
                <a:lnTo>
                  <a:pt x="2280" y="183"/>
                </a:lnTo>
                <a:lnTo>
                  <a:pt x="2286" y="180"/>
                </a:lnTo>
                <a:lnTo>
                  <a:pt x="2292" y="176"/>
                </a:lnTo>
                <a:lnTo>
                  <a:pt x="2297" y="171"/>
                </a:lnTo>
                <a:lnTo>
                  <a:pt x="2303" y="164"/>
                </a:lnTo>
                <a:lnTo>
                  <a:pt x="2307" y="158"/>
                </a:lnTo>
                <a:lnTo>
                  <a:pt x="2316" y="142"/>
                </a:lnTo>
                <a:lnTo>
                  <a:pt x="2323" y="129"/>
                </a:lnTo>
                <a:lnTo>
                  <a:pt x="2329" y="119"/>
                </a:lnTo>
                <a:lnTo>
                  <a:pt x="2335" y="109"/>
                </a:lnTo>
                <a:lnTo>
                  <a:pt x="2338" y="105"/>
                </a:lnTo>
                <a:lnTo>
                  <a:pt x="2342" y="102"/>
                </a:lnTo>
                <a:lnTo>
                  <a:pt x="2347" y="98"/>
                </a:lnTo>
                <a:lnTo>
                  <a:pt x="2353" y="96"/>
                </a:lnTo>
                <a:lnTo>
                  <a:pt x="2357" y="94"/>
                </a:lnTo>
                <a:lnTo>
                  <a:pt x="2362" y="90"/>
                </a:lnTo>
                <a:lnTo>
                  <a:pt x="2364" y="88"/>
                </a:lnTo>
                <a:lnTo>
                  <a:pt x="2368" y="85"/>
                </a:lnTo>
                <a:lnTo>
                  <a:pt x="2370" y="78"/>
                </a:lnTo>
                <a:lnTo>
                  <a:pt x="2373" y="70"/>
                </a:lnTo>
                <a:lnTo>
                  <a:pt x="2374" y="58"/>
                </a:lnTo>
                <a:lnTo>
                  <a:pt x="2378" y="46"/>
                </a:lnTo>
                <a:lnTo>
                  <a:pt x="2381" y="40"/>
                </a:lnTo>
                <a:lnTo>
                  <a:pt x="2385" y="35"/>
                </a:lnTo>
                <a:lnTo>
                  <a:pt x="2388" y="32"/>
                </a:lnTo>
                <a:lnTo>
                  <a:pt x="2394" y="29"/>
                </a:lnTo>
                <a:lnTo>
                  <a:pt x="2407" y="29"/>
                </a:lnTo>
                <a:lnTo>
                  <a:pt x="2424" y="29"/>
                </a:lnTo>
                <a:lnTo>
                  <a:pt x="2432" y="31"/>
                </a:lnTo>
                <a:lnTo>
                  <a:pt x="2439" y="33"/>
                </a:lnTo>
                <a:lnTo>
                  <a:pt x="2445" y="35"/>
                </a:lnTo>
                <a:lnTo>
                  <a:pt x="2450" y="40"/>
                </a:lnTo>
                <a:lnTo>
                  <a:pt x="2457" y="48"/>
                </a:lnTo>
                <a:lnTo>
                  <a:pt x="2464" y="54"/>
                </a:lnTo>
                <a:lnTo>
                  <a:pt x="2469" y="57"/>
                </a:lnTo>
                <a:lnTo>
                  <a:pt x="2475" y="58"/>
                </a:lnTo>
                <a:lnTo>
                  <a:pt x="2482" y="58"/>
                </a:lnTo>
                <a:lnTo>
                  <a:pt x="2490" y="57"/>
                </a:lnTo>
                <a:lnTo>
                  <a:pt x="2500" y="56"/>
                </a:lnTo>
                <a:lnTo>
                  <a:pt x="2507" y="53"/>
                </a:lnTo>
                <a:lnTo>
                  <a:pt x="2513" y="50"/>
                </a:lnTo>
                <a:lnTo>
                  <a:pt x="2518" y="46"/>
                </a:lnTo>
                <a:lnTo>
                  <a:pt x="2520" y="41"/>
                </a:lnTo>
                <a:lnTo>
                  <a:pt x="2523" y="37"/>
                </a:lnTo>
                <a:lnTo>
                  <a:pt x="2524" y="32"/>
                </a:lnTo>
                <a:lnTo>
                  <a:pt x="2525" y="26"/>
                </a:lnTo>
                <a:lnTo>
                  <a:pt x="2525" y="20"/>
                </a:lnTo>
                <a:lnTo>
                  <a:pt x="2526" y="14"/>
                </a:lnTo>
                <a:lnTo>
                  <a:pt x="2528" y="8"/>
                </a:lnTo>
                <a:lnTo>
                  <a:pt x="2531" y="3"/>
                </a:lnTo>
                <a:lnTo>
                  <a:pt x="2533" y="1"/>
                </a:lnTo>
                <a:lnTo>
                  <a:pt x="2537" y="0"/>
                </a:lnTo>
                <a:lnTo>
                  <a:pt x="2540" y="1"/>
                </a:lnTo>
                <a:lnTo>
                  <a:pt x="2545" y="6"/>
                </a:lnTo>
                <a:lnTo>
                  <a:pt x="2553" y="18"/>
                </a:lnTo>
                <a:lnTo>
                  <a:pt x="2561" y="27"/>
                </a:lnTo>
                <a:lnTo>
                  <a:pt x="2565" y="32"/>
                </a:lnTo>
                <a:lnTo>
                  <a:pt x="2570" y="34"/>
                </a:lnTo>
                <a:lnTo>
                  <a:pt x="2576" y="37"/>
                </a:lnTo>
                <a:lnTo>
                  <a:pt x="2583" y="37"/>
                </a:lnTo>
                <a:lnTo>
                  <a:pt x="2597" y="35"/>
                </a:lnTo>
                <a:lnTo>
                  <a:pt x="2611" y="34"/>
                </a:lnTo>
                <a:lnTo>
                  <a:pt x="2616" y="34"/>
                </a:lnTo>
                <a:lnTo>
                  <a:pt x="2622" y="34"/>
                </a:lnTo>
                <a:lnTo>
                  <a:pt x="2630" y="37"/>
                </a:lnTo>
                <a:lnTo>
                  <a:pt x="2637" y="40"/>
                </a:lnTo>
                <a:lnTo>
                  <a:pt x="2650" y="48"/>
                </a:lnTo>
                <a:lnTo>
                  <a:pt x="2660" y="56"/>
                </a:lnTo>
                <a:lnTo>
                  <a:pt x="2664" y="60"/>
                </a:lnTo>
                <a:lnTo>
                  <a:pt x="2666" y="64"/>
                </a:lnTo>
                <a:lnTo>
                  <a:pt x="2668" y="67"/>
                </a:lnTo>
                <a:lnTo>
                  <a:pt x="2668" y="71"/>
                </a:lnTo>
                <a:lnTo>
                  <a:pt x="2665" y="81"/>
                </a:lnTo>
                <a:lnTo>
                  <a:pt x="2663" y="90"/>
                </a:lnTo>
                <a:lnTo>
                  <a:pt x="2662" y="100"/>
                </a:lnTo>
                <a:lnTo>
                  <a:pt x="2660" y="110"/>
                </a:lnTo>
                <a:lnTo>
                  <a:pt x="2658" y="122"/>
                </a:lnTo>
                <a:lnTo>
                  <a:pt x="2655" y="133"/>
                </a:lnTo>
                <a:lnTo>
                  <a:pt x="2650" y="145"/>
                </a:lnTo>
                <a:lnTo>
                  <a:pt x="2643" y="155"/>
                </a:lnTo>
                <a:lnTo>
                  <a:pt x="2639" y="161"/>
                </a:lnTo>
                <a:lnTo>
                  <a:pt x="2637" y="166"/>
                </a:lnTo>
                <a:lnTo>
                  <a:pt x="2634" y="171"/>
                </a:lnTo>
                <a:lnTo>
                  <a:pt x="2633" y="176"/>
                </a:lnTo>
                <a:lnTo>
                  <a:pt x="2633" y="179"/>
                </a:lnTo>
                <a:lnTo>
                  <a:pt x="2634" y="183"/>
                </a:lnTo>
                <a:lnTo>
                  <a:pt x="2637" y="185"/>
                </a:lnTo>
                <a:lnTo>
                  <a:pt x="2639" y="187"/>
                </a:lnTo>
                <a:lnTo>
                  <a:pt x="2643" y="190"/>
                </a:lnTo>
                <a:lnTo>
                  <a:pt x="2644" y="192"/>
                </a:lnTo>
                <a:lnTo>
                  <a:pt x="2645" y="195"/>
                </a:lnTo>
                <a:lnTo>
                  <a:pt x="2645" y="197"/>
                </a:lnTo>
                <a:lnTo>
                  <a:pt x="2645" y="204"/>
                </a:lnTo>
                <a:lnTo>
                  <a:pt x="2645" y="212"/>
                </a:lnTo>
                <a:lnTo>
                  <a:pt x="2647" y="222"/>
                </a:lnTo>
                <a:lnTo>
                  <a:pt x="2651" y="230"/>
                </a:lnTo>
                <a:lnTo>
                  <a:pt x="2653" y="233"/>
                </a:lnTo>
                <a:lnTo>
                  <a:pt x="2657" y="233"/>
                </a:lnTo>
                <a:lnTo>
                  <a:pt x="2662" y="231"/>
                </a:lnTo>
                <a:lnTo>
                  <a:pt x="2668" y="228"/>
                </a:lnTo>
                <a:lnTo>
                  <a:pt x="2677" y="217"/>
                </a:lnTo>
                <a:lnTo>
                  <a:pt x="2685" y="210"/>
                </a:lnTo>
                <a:lnTo>
                  <a:pt x="2690" y="209"/>
                </a:lnTo>
                <a:lnTo>
                  <a:pt x="2694" y="208"/>
                </a:lnTo>
                <a:lnTo>
                  <a:pt x="2700" y="207"/>
                </a:lnTo>
                <a:lnTo>
                  <a:pt x="2707" y="208"/>
                </a:lnTo>
                <a:lnTo>
                  <a:pt x="2720" y="211"/>
                </a:lnTo>
                <a:lnTo>
                  <a:pt x="2732" y="212"/>
                </a:lnTo>
                <a:lnTo>
                  <a:pt x="2740" y="214"/>
                </a:lnTo>
                <a:lnTo>
                  <a:pt x="2745" y="217"/>
                </a:lnTo>
                <a:lnTo>
                  <a:pt x="2746" y="218"/>
                </a:lnTo>
                <a:lnTo>
                  <a:pt x="2746" y="221"/>
                </a:lnTo>
                <a:lnTo>
                  <a:pt x="2745" y="223"/>
                </a:lnTo>
                <a:lnTo>
                  <a:pt x="2742" y="226"/>
                </a:lnTo>
                <a:lnTo>
                  <a:pt x="2735" y="231"/>
                </a:lnTo>
                <a:lnTo>
                  <a:pt x="2729" y="237"/>
                </a:lnTo>
                <a:lnTo>
                  <a:pt x="2731" y="247"/>
                </a:lnTo>
                <a:lnTo>
                  <a:pt x="2732" y="258"/>
                </a:lnTo>
                <a:lnTo>
                  <a:pt x="2729" y="261"/>
                </a:lnTo>
                <a:lnTo>
                  <a:pt x="2726" y="265"/>
                </a:lnTo>
                <a:lnTo>
                  <a:pt x="2722" y="267"/>
                </a:lnTo>
                <a:lnTo>
                  <a:pt x="2718" y="270"/>
                </a:lnTo>
                <a:lnTo>
                  <a:pt x="2713" y="272"/>
                </a:lnTo>
                <a:lnTo>
                  <a:pt x="2707" y="273"/>
                </a:lnTo>
                <a:lnTo>
                  <a:pt x="2701" y="273"/>
                </a:lnTo>
                <a:lnTo>
                  <a:pt x="2696" y="273"/>
                </a:lnTo>
                <a:lnTo>
                  <a:pt x="2688" y="273"/>
                </a:lnTo>
                <a:lnTo>
                  <a:pt x="2683" y="274"/>
                </a:lnTo>
                <a:lnTo>
                  <a:pt x="2678" y="275"/>
                </a:lnTo>
                <a:lnTo>
                  <a:pt x="2676" y="279"/>
                </a:lnTo>
                <a:lnTo>
                  <a:pt x="2675" y="283"/>
                </a:lnTo>
                <a:lnTo>
                  <a:pt x="2675" y="286"/>
                </a:lnTo>
                <a:lnTo>
                  <a:pt x="2675" y="292"/>
                </a:lnTo>
                <a:lnTo>
                  <a:pt x="2675" y="298"/>
                </a:lnTo>
                <a:lnTo>
                  <a:pt x="2677" y="312"/>
                </a:lnTo>
                <a:lnTo>
                  <a:pt x="2681" y="325"/>
                </a:lnTo>
                <a:lnTo>
                  <a:pt x="2685" y="337"/>
                </a:lnTo>
                <a:lnTo>
                  <a:pt x="2689" y="350"/>
                </a:lnTo>
                <a:lnTo>
                  <a:pt x="2690" y="357"/>
                </a:lnTo>
                <a:lnTo>
                  <a:pt x="2690" y="363"/>
                </a:lnTo>
                <a:lnTo>
                  <a:pt x="2690" y="371"/>
                </a:lnTo>
                <a:lnTo>
                  <a:pt x="2689" y="378"/>
                </a:lnTo>
                <a:lnTo>
                  <a:pt x="2688" y="385"/>
                </a:lnTo>
                <a:lnTo>
                  <a:pt x="2684" y="392"/>
                </a:lnTo>
                <a:lnTo>
                  <a:pt x="2682" y="398"/>
                </a:lnTo>
                <a:lnTo>
                  <a:pt x="2677" y="403"/>
                </a:lnTo>
                <a:lnTo>
                  <a:pt x="2668" y="413"/>
                </a:lnTo>
                <a:lnTo>
                  <a:pt x="2657" y="424"/>
                </a:lnTo>
                <a:lnTo>
                  <a:pt x="2646" y="436"/>
                </a:lnTo>
                <a:lnTo>
                  <a:pt x="2634" y="448"/>
                </a:lnTo>
                <a:lnTo>
                  <a:pt x="2622" y="458"/>
                </a:lnTo>
                <a:lnTo>
                  <a:pt x="2614" y="468"/>
                </a:lnTo>
                <a:lnTo>
                  <a:pt x="2611" y="473"/>
                </a:lnTo>
                <a:lnTo>
                  <a:pt x="2609" y="478"/>
                </a:lnTo>
                <a:lnTo>
                  <a:pt x="2607" y="482"/>
                </a:lnTo>
                <a:lnTo>
                  <a:pt x="2607" y="489"/>
                </a:lnTo>
                <a:lnTo>
                  <a:pt x="2606" y="501"/>
                </a:lnTo>
                <a:lnTo>
                  <a:pt x="2605" y="508"/>
                </a:lnTo>
                <a:lnTo>
                  <a:pt x="2603" y="512"/>
                </a:lnTo>
                <a:lnTo>
                  <a:pt x="2601" y="514"/>
                </a:lnTo>
                <a:lnTo>
                  <a:pt x="2599" y="517"/>
                </a:lnTo>
                <a:lnTo>
                  <a:pt x="2593" y="520"/>
                </a:lnTo>
                <a:lnTo>
                  <a:pt x="2582" y="525"/>
                </a:lnTo>
                <a:lnTo>
                  <a:pt x="2570" y="531"/>
                </a:lnTo>
                <a:lnTo>
                  <a:pt x="2565" y="535"/>
                </a:lnTo>
                <a:lnTo>
                  <a:pt x="2561" y="538"/>
                </a:lnTo>
                <a:lnTo>
                  <a:pt x="2557" y="543"/>
                </a:lnTo>
                <a:lnTo>
                  <a:pt x="2553" y="549"/>
                </a:lnTo>
                <a:lnTo>
                  <a:pt x="2551" y="555"/>
                </a:lnTo>
                <a:lnTo>
                  <a:pt x="2550" y="562"/>
                </a:lnTo>
                <a:lnTo>
                  <a:pt x="2549" y="569"/>
                </a:lnTo>
                <a:lnTo>
                  <a:pt x="2549" y="576"/>
                </a:lnTo>
                <a:lnTo>
                  <a:pt x="2550" y="592"/>
                </a:lnTo>
                <a:lnTo>
                  <a:pt x="2552" y="606"/>
                </a:lnTo>
                <a:lnTo>
                  <a:pt x="2555" y="619"/>
                </a:lnTo>
                <a:lnTo>
                  <a:pt x="2558" y="628"/>
                </a:lnTo>
                <a:lnTo>
                  <a:pt x="2561" y="632"/>
                </a:lnTo>
                <a:lnTo>
                  <a:pt x="2564" y="634"/>
                </a:lnTo>
                <a:lnTo>
                  <a:pt x="2569" y="637"/>
                </a:lnTo>
                <a:lnTo>
                  <a:pt x="2576" y="637"/>
                </a:lnTo>
                <a:lnTo>
                  <a:pt x="2582" y="637"/>
                </a:lnTo>
                <a:lnTo>
                  <a:pt x="2589" y="637"/>
                </a:lnTo>
                <a:lnTo>
                  <a:pt x="2594" y="636"/>
                </a:lnTo>
                <a:lnTo>
                  <a:pt x="2599" y="634"/>
                </a:lnTo>
                <a:lnTo>
                  <a:pt x="2602" y="632"/>
                </a:lnTo>
                <a:lnTo>
                  <a:pt x="2605" y="630"/>
                </a:lnTo>
                <a:lnTo>
                  <a:pt x="2607" y="625"/>
                </a:lnTo>
                <a:lnTo>
                  <a:pt x="2608" y="619"/>
                </a:lnTo>
                <a:lnTo>
                  <a:pt x="2609" y="608"/>
                </a:lnTo>
                <a:lnTo>
                  <a:pt x="2612" y="598"/>
                </a:lnTo>
                <a:lnTo>
                  <a:pt x="2614" y="593"/>
                </a:lnTo>
                <a:lnTo>
                  <a:pt x="2615" y="588"/>
                </a:lnTo>
                <a:lnTo>
                  <a:pt x="2619" y="583"/>
                </a:lnTo>
                <a:lnTo>
                  <a:pt x="2622" y="580"/>
                </a:lnTo>
                <a:lnTo>
                  <a:pt x="2639" y="564"/>
                </a:lnTo>
                <a:lnTo>
                  <a:pt x="2655" y="550"/>
                </a:lnTo>
                <a:lnTo>
                  <a:pt x="2660" y="544"/>
                </a:lnTo>
                <a:lnTo>
                  <a:pt x="2668" y="542"/>
                </a:lnTo>
                <a:lnTo>
                  <a:pt x="2670" y="542"/>
                </a:lnTo>
                <a:lnTo>
                  <a:pt x="2674" y="542"/>
                </a:lnTo>
                <a:lnTo>
                  <a:pt x="2676" y="543"/>
                </a:lnTo>
                <a:lnTo>
                  <a:pt x="2679" y="545"/>
                </a:lnTo>
                <a:lnTo>
                  <a:pt x="2685" y="550"/>
                </a:lnTo>
                <a:lnTo>
                  <a:pt x="2690" y="554"/>
                </a:lnTo>
                <a:lnTo>
                  <a:pt x="2693" y="554"/>
                </a:lnTo>
                <a:lnTo>
                  <a:pt x="2696" y="554"/>
                </a:lnTo>
                <a:lnTo>
                  <a:pt x="2698" y="552"/>
                </a:lnTo>
                <a:lnTo>
                  <a:pt x="2702" y="550"/>
                </a:lnTo>
                <a:lnTo>
                  <a:pt x="2706" y="548"/>
                </a:lnTo>
                <a:lnTo>
                  <a:pt x="2709" y="545"/>
                </a:lnTo>
                <a:lnTo>
                  <a:pt x="2713" y="544"/>
                </a:lnTo>
                <a:lnTo>
                  <a:pt x="2716" y="544"/>
                </a:lnTo>
                <a:lnTo>
                  <a:pt x="2720" y="544"/>
                </a:lnTo>
                <a:lnTo>
                  <a:pt x="2723" y="546"/>
                </a:lnTo>
                <a:lnTo>
                  <a:pt x="2727" y="549"/>
                </a:lnTo>
                <a:lnTo>
                  <a:pt x="2729" y="554"/>
                </a:lnTo>
                <a:lnTo>
                  <a:pt x="2729" y="562"/>
                </a:lnTo>
                <a:lnTo>
                  <a:pt x="2726" y="575"/>
                </a:lnTo>
                <a:lnTo>
                  <a:pt x="2723" y="582"/>
                </a:lnTo>
                <a:lnTo>
                  <a:pt x="2723" y="588"/>
                </a:lnTo>
                <a:lnTo>
                  <a:pt x="2723" y="592"/>
                </a:lnTo>
                <a:lnTo>
                  <a:pt x="2725" y="593"/>
                </a:lnTo>
                <a:lnTo>
                  <a:pt x="2726" y="595"/>
                </a:lnTo>
                <a:lnTo>
                  <a:pt x="2727" y="595"/>
                </a:lnTo>
                <a:lnTo>
                  <a:pt x="2735" y="599"/>
                </a:lnTo>
                <a:lnTo>
                  <a:pt x="2741" y="602"/>
                </a:lnTo>
                <a:lnTo>
                  <a:pt x="2744" y="605"/>
                </a:lnTo>
                <a:lnTo>
                  <a:pt x="2745" y="608"/>
                </a:lnTo>
                <a:lnTo>
                  <a:pt x="2745" y="612"/>
                </a:lnTo>
                <a:lnTo>
                  <a:pt x="2745" y="617"/>
                </a:lnTo>
                <a:lnTo>
                  <a:pt x="2741" y="625"/>
                </a:lnTo>
                <a:lnTo>
                  <a:pt x="2738" y="633"/>
                </a:lnTo>
                <a:lnTo>
                  <a:pt x="2735" y="638"/>
                </a:lnTo>
                <a:lnTo>
                  <a:pt x="2734" y="642"/>
                </a:lnTo>
                <a:lnTo>
                  <a:pt x="2733" y="646"/>
                </a:lnTo>
                <a:lnTo>
                  <a:pt x="2734" y="651"/>
                </a:lnTo>
                <a:lnTo>
                  <a:pt x="2742" y="671"/>
                </a:lnTo>
                <a:lnTo>
                  <a:pt x="2750" y="686"/>
                </a:lnTo>
                <a:lnTo>
                  <a:pt x="2745" y="702"/>
                </a:lnTo>
                <a:lnTo>
                  <a:pt x="2739" y="718"/>
                </a:lnTo>
                <a:lnTo>
                  <a:pt x="2738" y="726"/>
                </a:lnTo>
                <a:lnTo>
                  <a:pt x="2738" y="732"/>
                </a:lnTo>
                <a:lnTo>
                  <a:pt x="2739" y="734"/>
                </a:lnTo>
                <a:lnTo>
                  <a:pt x="2741" y="735"/>
                </a:lnTo>
                <a:lnTo>
                  <a:pt x="2745" y="738"/>
                </a:lnTo>
                <a:lnTo>
                  <a:pt x="2750" y="738"/>
                </a:lnTo>
                <a:lnTo>
                  <a:pt x="2760" y="739"/>
                </a:lnTo>
                <a:lnTo>
                  <a:pt x="2767" y="741"/>
                </a:lnTo>
                <a:lnTo>
                  <a:pt x="2772" y="744"/>
                </a:lnTo>
                <a:lnTo>
                  <a:pt x="2777" y="746"/>
                </a:lnTo>
                <a:lnTo>
                  <a:pt x="2779" y="749"/>
                </a:lnTo>
                <a:lnTo>
                  <a:pt x="2783" y="749"/>
                </a:lnTo>
                <a:lnTo>
                  <a:pt x="2785" y="749"/>
                </a:lnTo>
                <a:lnTo>
                  <a:pt x="2789" y="747"/>
                </a:lnTo>
                <a:lnTo>
                  <a:pt x="2792" y="745"/>
                </a:lnTo>
                <a:lnTo>
                  <a:pt x="2796" y="741"/>
                </a:lnTo>
                <a:lnTo>
                  <a:pt x="2800" y="738"/>
                </a:lnTo>
                <a:lnTo>
                  <a:pt x="2803" y="732"/>
                </a:lnTo>
                <a:lnTo>
                  <a:pt x="2807" y="726"/>
                </a:lnTo>
                <a:lnTo>
                  <a:pt x="2811" y="719"/>
                </a:lnTo>
                <a:lnTo>
                  <a:pt x="2817" y="713"/>
                </a:lnTo>
                <a:lnTo>
                  <a:pt x="2824" y="707"/>
                </a:lnTo>
                <a:lnTo>
                  <a:pt x="2833" y="702"/>
                </a:lnTo>
                <a:lnTo>
                  <a:pt x="2841" y="697"/>
                </a:lnTo>
                <a:lnTo>
                  <a:pt x="2851" y="695"/>
                </a:lnTo>
                <a:lnTo>
                  <a:pt x="2859" y="694"/>
                </a:lnTo>
                <a:lnTo>
                  <a:pt x="2880" y="694"/>
                </a:lnTo>
                <a:lnTo>
                  <a:pt x="2903" y="694"/>
                </a:lnTo>
                <a:lnTo>
                  <a:pt x="2924" y="695"/>
                </a:lnTo>
                <a:lnTo>
                  <a:pt x="2941" y="696"/>
                </a:lnTo>
                <a:lnTo>
                  <a:pt x="2953" y="697"/>
                </a:lnTo>
                <a:lnTo>
                  <a:pt x="2959" y="700"/>
                </a:lnTo>
                <a:lnTo>
                  <a:pt x="2961" y="701"/>
                </a:lnTo>
                <a:lnTo>
                  <a:pt x="2961" y="703"/>
                </a:lnTo>
                <a:lnTo>
                  <a:pt x="2961" y="705"/>
                </a:lnTo>
                <a:lnTo>
                  <a:pt x="2961" y="707"/>
                </a:lnTo>
                <a:lnTo>
                  <a:pt x="2955" y="712"/>
                </a:lnTo>
                <a:lnTo>
                  <a:pt x="2947" y="715"/>
                </a:lnTo>
                <a:lnTo>
                  <a:pt x="2942" y="719"/>
                </a:lnTo>
                <a:lnTo>
                  <a:pt x="2937" y="724"/>
                </a:lnTo>
                <a:lnTo>
                  <a:pt x="2934" y="729"/>
                </a:lnTo>
                <a:lnTo>
                  <a:pt x="2931" y="737"/>
                </a:lnTo>
                <a:lnTo>
                  <a:pt x="2929" y="752"/>
                </a:lnTo>
                <a:lnTo>
                  <a:pt x="2927" y="765"/>
                </a:lnTo>
                <a:lnTo>
                  <a:pt x="2927" y="770"/>
                </a:lnTo>
                <a:lnTo>
                  <a:pt x="2928" y="773"/>
                </a:lnTo>
                <a:lnTo>
                  <a:pt x="2929" y="777"/>
                </a:lnTo>
                <a:lnTo>
                  <a:pt x="2933" y="781"/>
                </a:lnTo>
                <a:lnTo>
                  <a:pt x="2941" y="784"/>
                </a:lnTo>
                <a:lnTo>
                  <a:pt x="2951" y="788"/>
                </a:lnTo>
                <a:lnTo>
                  <a:pt x="2955" y="791"/>
                </a:lnTo>
                <a:lnTo>
                  <a:pt x="2959" y="795"/>
                </a:lnTo>
                <a:lnTo>
                  <a:pt x="2961" y="800"/>
                </a:lnTo>
                <a:lnTo>
                  <a:pt x="2964" y="807"/>
                </a:lnTo>
                <a:lnTo>
                  <a:pt x="2965" y="820"/>
                </a:lnTo>
                <a:lnTo>
                  <a:pt x="2967" y="832"/>
                </a:lnTo>
                <a:lnTo>
                  <a:pt x="2971" y="841"/>
                </a:lnTo>
                <a:lnTo>
                  <a:pt x="2974" y="852"/>
                </a:lnTo>
                <a:lnTo>
                  <a:pt x="2978" y="863"/>
                </a:lnTo>
                <a:lnTo>
                  <a:pt x="2980" y="871"/>
                </a:lnTo>
                <a:lnTo>
                  <a:pt x="2979" y="875"/>
                </a:lnTo>
                <a:lnTo>
                  <a:pt x="2979" y="879"/>
                </a:lnTo>
                <a:lnTo>
                  <a:pt x="2977" y="883"/>
                </a:lnTo>
                <a:lnTo>
                  <a:pt x="2974" y="889"/>
                </a:lnTo>
                <a:lnTo>
                  <a:pt x="2970" y="894"/>
                </a:lnTo>
                <a:lnTo>
                  <a:pt x="2965" y="898"/>
                </a:lnTo>
                <a:lnTo>
                  <a:pt x="2959" y="903"/>
                </a:lnTo>
                <a:lnTo>
                  <a:pt x="2952" y="908"/>
                </a:lnTo>
                <a:lnTo>
                  <a:pt x="2937" y="916"/>
                </a:lnTo>
                <a:lnTo>
                  <a:pt x="2923" y="924"/>
                </a:lnTo>
                <a:lnTo>
                  <a:pt x="2917" y="929"/>
                </a:lnTo>
                <a:lnTo>
                  <a:pt x="2914" y="933"/>
                </a:lnTo>
                <a:lnTo>
                  <a:pt x="2910" y="937"/>
                </a:lnTo>
                <a:lnTo>
                  <a:pt x="2908" y="941"/>
                </a:lnTo>
                <a:lnTo>
                  <a:pt x="2907" y="946"/>
                </a:lnTo>
                <a:lnTo>
                  <a:pt x="2907" y="951"/>
                </a:lnTo>
                <a:lnTo>
                  <a:pt x="2907" y="955"/>
                </a:lnTo>
                <a:lnTo>
                  <a:pt x="2908" y="961"/>
                </a:lnTo>
                <a:lnTo>
                  <a:pt x="2914" y="974"/>
                </a:lnTo>
                <a:lnTo>
                  <a:pt x="2921" y="989"/>
                </a:lnTo>
                <a:lnTo>
                  <a:pt x="2929" y="1003"/>
                </a:lnTo>
                <a:lnTo>
                  <a:pt x="2935" y="1012"/>
                </a:lnTo>
                <a:lnTo>
                  <a:pt x="2937" y="1017"/>
                </a:lnTo>
                <a:lnTo>
                  <a:pt x="2939" y="1021"/>
                </a:lnTo>
                <a:lnTo>
                  <a:pt x="2939" y="1025"/>
                </a:lnTo>
                <a:lnTo>
                  <a:pt x="2939" y="1029"/>
                </a:lnTo>
                <a:lnTo>
                  <a:pt x="2937" y="1034"/>
                </a:lnTo>
                <a:lnTo>
                  <a:pt x="2936" y="1037"/>
                </a:lnTo>
                <a:lnTo>
                  <a:pt x="2933" y="1041"/>
                </a:lnTo>
                <a:lnTo>
                  <a:pt x="2929" y="1043"/>
                </a:lnTo>
                <a:lnTo>
                  <a:pt x="2920" y="1048"/>
                </a:lnTo>
                <a:lnTo>
                  <a:pt x="2912" y="1053"/>
                </a:lnTo>
                <a:lnTo>
                  <a:pt x="2909" y="1055"/>
                </a:lnTo>
                <a:lnTo>
                  <a:pt x="2905" y="1059"/>
                </a:lnTo>
                <a:lnTo>
                  <a:pt x="2903" y="1063"/>
                </a:lnTo>
                <a:lnTo>
                  <a:pt x="2901" y="1071"/>
                </a:lnTo>
                <a:lnTo>
                  <a:pt x="2898" y="1083"/>
                </a:lnTo>
                <a:lnTo>
                  <a:pt x="2897" y="1090"/>
                </a:lnTo>
                <a:lnTo>
                  <a:pt x="2897" y="1092"/>
                </a:lnTo>
                <a:lnTo>
                  <a:pt x="2895" y="1094"/>
                </a:lnTo>
                <a:lnTo>
                  <a:pt x="2891" y="1097"/>
                </a:lnTo>
                <a:lnTo>
                  <a:pt x="2886" y="1098"/>
                </a:lnTo>
                <a:lnTo>
                  <a:pt x="2874" y="1100"/>
                </a:lnTo>
                <a:lnTo>
                  <a:pt x="2864" y="1100"/>
                </a:lnTo>
                <a:lnTo>
                  <a:pt x="2852" y="1100"/>
                </a:lnTo>
                <a:lnTo>
                  <a:pt x="2840" y="1100"/>
                </a:lnTo>
                <a:lnTo>
                  <a:pt x="2834" y="1102"/>
                </a:lnTo>
                <a:lnTo>
                  <a:pt x="2829" y="1104"/>
                </a:lnTo>
                <a:lnTo>
                  <a:pt x="2826" y="1106"/>
                </a:lnTo>
                <a:lnTo>
                  <a:pt x="2823" y="1109"/>
                </a:lnTo>
                <a:lnTo>
                  <a:pt x="2821" y="1113"/>
                </a:lnTo>
                <a:lnTo>
                  <a:pt x="2820" y="1117"/>
                </a:lnTo>
                <a:lnTo>
                  <a:pt x="2820" y="1122"/>
                </a:lnTo>
                <a:lnTo>
                  <a:pt x="2821" y="1126"/>
                </a:lnTo>
                <a:lnTo>
                  <a:pt x="2822" y="1138"/>
                </a:lnTo>
                <a:lnTo>
                  <a:pt x="2824" y="1151"/>
                </a:lnTo>
                <a:lnTo>
                  <a:pt x="2824" y="1159"/>
                </a:lnTo>
                <a:lnTo>
                  <a:pt x="2823" y="1165"/>
                </a:lnTo>
                <a:lnTo>
                  <a:pt x="2821" y="1169"/>
                </a:lnTo>
                <a:lnTo>
                  <a:pt x="2817" y="1174"/>
                </a:lnTo>
                <a:lnTo>
                  <a:pt x="2805" y="1179"/>
                </a:lnTo>
                <a:lnTo>
                  <a:pt x="2789" y="1185"/>
                </a:lnTo>
                <a:lnTo>
                  <a:pt x="2782" y="1188"/>
                </a:lnTo>
                <a:lnTo>
                  <a:pt x="2775" y="1192"/>
                </a:lnTo>
                <a:lnTo>
                  <a:pt x="2770" y="1197"/>
                </a:lnTo>
                <a:lnTo>
                  <a:pt x="2766" y="1201"/>
                </a:lnTo>
                <a:lnTo>
                  <a:pt x="2763" y="1213"/>
                </a:lnTo>
                <a:lnTo>
                  <a:pt x="2759" y="1224"/>
                </a:lnTo>
                <a:lnTo>
                  <a:pt x="2758" y="1230"/>
                </a:lnTo>
                <a:lnTo>
                  <a:pt x="2756" y="1235"/>
                </a:lnTo>
                <a:lnTo>
                  <a:pt x="2752" y="1239"/>
                </a:lnTo>
                <a:lnTo>
                  <a:pt x="2748" y="1244"/>
                </a:lnTo>
                <a:lnTo>
                  <a:pt x="2739" y="1252"/>
                </a:lnTo>
                <a:lnTo>
                  <a:pt x="2731" y="1258"/>
                </a:lnTo>
                <a:lnTo>
                  <a:pt x="2728" y="1261"/>
                </a:lnTo>
                <a:lnTo>
                  <a:pt x="2725" y="1266"/>
                </a:lnTo>
                <a:lnTo>
                  <a:pt x="2722" y="1270"/>
                </a:lnTo>
                <a:lnTo>
                  <a:pt x="2721" y="1276"/>
                </a:lnTo>
                <a:lnTo>
                  <a:pt x="2720" y="1293"/>
                </a:lnTo>
                <a:lnTo>
                  <a:pt x="2720" y="1315"/>
                </a:lnTo>
                <a:lnTo>
                  <a:pt x="2720" y="1338"/>
                </a:lnTo>
                <a:lnTo>
                  <a:pt x="2720" y="1356"/>
                </a:lnTo>
                <a:lnTo>
                  <a:pt x="2720" y="1370"/>
                </a:lnTo>
                <a:lnTo>
                  <a:pt x="2720" y="1382"/>
                </a:lnTo>
                <a:lnTo>
                  <a:pt x="2720" y="1393"/>
                </a:lnTo>
                <a:lnTo>
                  <a:pt x="2720" y="1403"/>
                </a:lnTo>
                <a:lnTo>
                  <a:pt x="2721" y="1413"/>
                </a:lnTo>
                <a:lnTo>
                  <a:pt x="2723" y="1419"/>
                </a:lnTo>
                <a:lnTo>
                  <a:pt x="2728" y="1422"/>
                </a:lnTo>
                <a:lnTo>
                  <a:pt x="2734" y="1427"/>
                </a:lnTo>
                <a:lnTo>
                  <a:pt x="2737" y="1430"/>
                </a:lnTo>
                <a:lnTo>
                  <a:pt x="2739" y="1433"/>
                </a:lnTo>
                <a:lnTo>
                  <a:pt x="2741" y="1437"/>
                </a:lnTo>
                <a:lnTo>
                  <a:pt x="2742" y="1441"/>
                </a:lnTo>
                <a:lnTo>
                  <a:pt x="2744" y="1446"/>
                </a:lnTo>
                <a:lnTo>
                  <a:pt x="2744" y="1451"/>
                </a:lnTo>
                <a:lnTo>
                  <a:pt x="2741" y="1456"/>
                </a:lnTo>
                <a:lnTo>
                  <a:pt x="2739" y="1460"/>
                </a:lnTo>
                <a:lnTo>
                  <a:pt x="2731" y="1474"/>
                </a:lnTo>
                <a:lnTo>
                  <a:pt x="2719" y="1491"/>
                </a:lnTo>
                <a:lnTo>
                  <a:pt x="2704" y="1512"/>
                </a:lnTo>
                <a:lnTo>
                  <a:pt x="2689" y="1531"/>
                </a:lnTo>
                <a:lnTo>
                  <a:pt x="2676" y="1546"/>
                </a:lnTo>
                <a:lnTo>
                  <a:pt x="2666" y="1557"/>
                </a:lnTo>
                <a:lnTo>
                  <a:pt x="2658" y="1565"/>
                </a:lnTo>
                <a:lnTo>
                  <a:pt x="2650" y="1570"/>
                </a:lnTo>
                <a:lnTo>
                  <a:pt x="2640" y="1572"/>
                </a:lnTo>
                <a:lnTo>
                  <a:pt x="2630" y="1573"/>
                </a:lnTo>
                <a:lnTo>
                  <a:pt x="2619" y="1575"/>
                </a:lnTo>
                <a:lnTo>
                  <a:pt x="2611" y="1575"/>
                </a:lnTo>
                <a:lnTo>
                  <a:pt x="2603" y="1576"/>
                </a:lnTo>
                <a:lnTo>
                  <a:pt x="2600" y="1578"/>
                </a:lnTo>
                <a:lnTo>
                  <a:pt x="2600" y="1579"/>
                </a:lnTo>
                <a:lnTo>
                  <a:pt x="2600" y="1582"/>
                </a:lnTo>
                <a:lnTo>
                  <a:pt x="2601" y="1585"/>
                </a:lnTo>
                <a:lnTo>
                  <a:pt x="2603" y="1589"/>
                </a:lnTo>
                <a:lnTo>
                  <a:pt x="2608" y="1596"/>
                </a:lnTo>
                <a:lnTo>
                  <a:pt x="2612" y="1603"/>
                </a:lnTo>
                <a:lnTo>
                  <a:pt x="2612" y="1605"/>
                </a:lnTo>
                <a:lnTo>
                  <a:pt x="2611" y="1608"/>
                </a:lnTo>
                <a:lnTo>
                  <a:pt x="2609" y="1610"/>
                </a:lnTo>
                <a:lnTo>
                  <a:pt x="2607" y="1611"/>
                </a:lnTo>
                <a:lnTo>
                  <a:pt x="2597" y="1613"/>
                </a:lnTo>
                <a:lnTo>
                  <a:pt x="2584" y="1614"/>
                </a:lnTo>
                <a:lnTo>
                  <a:pt x="2577" y="1614"/>
                </a:lnTo>
                <a:lnTo>
                  <a:pt x="2570" y="1615"/>
                </a:lnTo>
                <a:lnTo>
                  <a:pt x="2563" y="1617"/>
                </a:lnTo>
                <a:lnTo>
                  <a:pt x="2557" y="1621"/>
                </a:lnTo>
                <a:lnTo>
                  <a:pt x="2546" y="1628"/>
                </a:lnTo>
                <a:lnTo>
                  <a:pt x="2538" y="1634"/>
                </a:lnTo>
                <a:lnTo>
                  <a:pt x="2534" y="1638"/>
                </a:lnTo>
                <a:lnTo>
                  <a:pt x="2530" y="1640"/>
                </a:lnTo>
                <a:lnTo>
                  <a:pt x="2524" y="1641"/>
                </a:lnTo>
                <a:lnTo>
                  <a:pt x="2515" y="1642"/>
                </a:lnTo>
                <a:lnTo>
                  <a:pt x="2500" y="1644"/>
                </a:lnTo>
                <a:lnTo>
                  <a:pt x="2488" y="1644"/>
                </a:lnTo>
                <a:lnTo>
                  <a:pt x="2485" y="1644"/>
                </a:lnTo>
                <a:lnTo>
                  <a:pt x="2481" y="1645"/>
                </a:lnTo>
                <a:lnTo>
                  <a:pt x="2479" y="1647"/>
                </a:lnTo>
                <a:lnTo>
                  <a:pt x="2479" y="1651"/>
                </a:lnTo>
                <a:lnTo>
                  <a:pt x="2479" y="1660"/>
                </a:lnTo>
                <a:lnTo>
                  <a:pt x="2480" y="1670"/>
                </a:lnTo>
                <a:lnTo>
                  <a:pt x="2479" y="1678"/>
                </a:lnTo>
                <a:lnTo>
                  <a:pt x="2477" y="1685"/>
                </a:lnTo>
                <a:lnTo>
                  <a:pt x="2475" y="1686"/>
                </a:lnTo>
                <a:lnTo>
                  <a:pt x="2474" y="1687"/>
                </a:lnTo>
                <a:lnTo>
                  <a:pt x="2473" y="1687"/>
                </a:lnTo>
                <a:lnTo>
                  <a:pt x="2470" y="1687"/>
                </a:lnTo>
                <a:lnTo>
                  <a:pt x="2467" y="1686"/>
                </a:lnTo>
                <a:lnTo>
                  <a:pt x="2461" y="1685"/>
                </a:lnTo>
                <a:lnTo>
                  <a:pt x="2457" y="1685"/>
                </a:lnTo>
                <a:lnTo>
                  <a:pt x="2455" y="1686"/>
                </a:lnTo>
                <a:lnTo>
                  <a:pt x="2454" y="1689"/>
                </a:lnTo>
                <a:lnTo>
                  <a:pt x="2452" y="1691"/>
                </a:lnTo>
                <a:lnTo>
                  <a:pt x="2451" y="1697"/>
                </a:lnTo>
                <a:lnTo>
                  <a:pt x="2454" y="1704"/>
                </a:lnTo>
                <a:lnTo>
                  <a:pt x="2456" y="1714"/>
                </a:lnTo>
                <a:lnTo>
                  <a:pt x="2461" y="1728"/>
                </a:lnTo>
                <a:lnTo>
                  <a:pt x="2463" y="1735"/>
                </a:lnTo>
                <a:lnTo>
                  <a:pt x="2465" y="1742"/>
                </a:lnTo>
                <a:lnTo>
                  <a:pt x="2469" y="1748"/>
                </a:lnTo>
                <a:lnTo>
                  <a:pt x="2471" y="1753"/>
                </a:lnTo>
                <a:lnTo>
                  <a:pt x="2479" y="1759"/>
                </a:lnTo>
                <a:lnTo>
                  <a:pt x="2482" y="1765"/>
                </a:lnTo>
                <a:lnTo>
                  <a:pt x="2482" y="1767"/>
                </a:lnTo>
                <a:lnTo>
                  <a:pt x="2482" y="1770"/>
                </a:lnTo>
                <a:lnTo>
                  <a:pt x="2481" y="1772"/>
                </a:lnTo>
                <a:lnTo>
                  <a:pt x="2477" y="1774"/>
                </a:lnTo>
                <a:lnTo>
                  <a:pt x="2468" y="1777"/>
                </a:lnTo>
                <a:lnTo>
                  <a:pt x="2458" y="1777"/>
                </a:lnTo>
                <a:lnTo>
                  <a:pt x="2455" y="1778"/>
                </a:lnTo>
                <a:lnTo>
                  <a:pt x="2450" y="1778"/>
                </a:lnTo>
                <a:lnTo>
                  <a:pt x="2446" y="1780"/>
                </a:lnTo>
                <a:lnTo>
                  <a:pt x="2443" y="1783"/>
                </a:lnTo>
                <a:lnTo>
                  <a:pt x="2431" y="1799"/>
                </a:lnTo>
                <a:lnTo>
                  <a:pt x="2423" y="1812"/>
                </a:lnTo>
                <a:lnTo>
                  <a:pt x="2420" y="1815"/>
                </a:lnTo>
                <a:lnTo>
                  <a:pt x="2418" y="1816"/>
                </a:lnTo>
                <a:lnTo>
                  <a:pt x="2417" y="1817"/>
                </a:lnTo>
                <a:lnTo>
                  <a:pt x="2414" y="1817"/>
                </a:lnTo>
                <a:lnTo>
                  <a:pt x="2410" y="1816"/>
                </a:lnTo>
                <a:lnTo>
                  <a:pt x="2405" y="1813"/>
                </a:lnTo>
                <a:lnTo>
                  <a:pt x="2400" y="1810"/>
                </a:lnTo>
                <a:lnTo>
                  <a:pt x="2395" y="1809"/>
                </a:lnTo>
                <a:lnTo>
                  <a:pt x="2393" y="1809"/>
                </a:lnTo>
                <a:lnTo>
                  <a:pt x="2392" y="1810"/>
                </a:lnTo>
                <a:lnTo>
                  <a:pt x="2389" y="1811"/>
                </a:lnTo>
                <a:lnTo>
                  <a:pt x="2387" y="1815"/>
                </a:lnTo>
                <a:lnTo>
                  <a:pt x="2383" y="1822"/>
                </a:lnTo>
                <a:lnTo>
                  <a:pt x="2380" y="1827"/>
                </a:lnTo>
                <a:lnTo>
                  <a:pt x="2379" y="1828"/>
                </a:lnTo>
                <a:lnTo>
                  <a:pt x="2376" y="1828"/>
                </a:lnTo>
                <a:lnTo>
                  <a:pt x="2373" y="1827"/>
                </a:lnTo>
                <a:lnTo>
                  <a:pt x="2369" y="1824"/>
                </a:lnTo>
                <a:lnTo>
                  <a:pt x="2361" y="1818"/>
                </a:lnTo>
                <a:lnTo>
                  <a:pt x="2351" y="1813"/>
                </a:lnTo>
                <a:lnTo>
                  <a:pt x="2347" y="1811"/>
                </a:lnTo>
                <a:lnTo>
                  <a:pt x="2341" y="1810"/>
                </a:lnTo>
                <a:lnTo>
                  <a:pt x="2335" y="1809"/>
                </a:lnTo>
                <a:lnTo>
                  <a:pt x="2329" y="1809"/>
                </a:lnTo>
                <a:lnTo>
                  <a:pt x="2323" y="1810"/>
                </a:lnTo>
                <a:lnTo>
                  <a:pt x="2317" y="1811"/>
                </a:lnTo>
                <a:lnTo>
                  <a:pt x="2313" y="1813"/>
                </a:lnTo>
                <a:lnTo>
                  <a:pt x="2310" y="1816"/>
                </a:lnTo>
                <a:lnTo>
                  <a:pt x="2307" y="1818"/>
                </a:lnTo>
                <a:lnTo>
                  <a:pt x="2306" y="1822"/>
                </a:lnTo>
                <a:lnTo>
                  <a:pt x="2306" y="1827"/>
                </a:lnTo>
                <a:lnTo>
                  <a:pt x="2306" y="1831"/>
                </a:lnTo>
                <a:lnTo>
                  <a:pt x="2306" y="1842"/>
                </a:lnTo>
                <a:lnTo>
                  <a:pt x="2307" y="1854"/>
                </a:lnTo>
                <a:lnTo>
                  <a:pt x="2307" y="1865"/>
                </a:lnTo>
                <a:lnTo>
                  <a:pt x="2307" y="1874"/>
                </a:lnTo>
                <a:lnTo>
                  <a:pt x="2307" y="1884"/>
                </a:lnTo>
                <a:lnTo>
                  <a:pt x="2309" y="1892"/>
                </a:lnTo>
                <a:lnTo>
                  <a:pt x="2311" y="1899"/>
                </a:lnTo>
                <a:lnTo>
                  <a:pt x="2316" y="1906"/>
                </a:lnTo>
                <a:lnTo>
                  <a:pt x="2320" y="1912"/>
                </a:lnTo>
                <a:lnTo>
                  <a:pt x="2323" y="1918"/>
                </a:lnTo>
                <a:lnTo>
                  <a:pt x="2323" y="1925"/>
                </a:lnTo>
                <a:lnTo>
                  <a:pt x="2323" y="1931"/>
                </a:lnTo>
                <a:lnTo>
                  <a:pt x="2322" y="1935"/>
                </a:lnTo>
                <a:lnTo>
                  <a:pt x="2319" y="1936"/>
                </a:lnTo>
                <a:lnTo>
                  <a:pt x="2317" y="1936"/>
                </a:lnTo>
                <a:lnTo>
                  <a:pt x="2313" y="1936"/>
                </a:lnTo>
                <a:lnTo>
                  <a:pt x="2305" y="1932"/>
                </a:lnTo>
                <a:lnTo>
                  <a:pt x="2299" y="1929"/>
                </a:lnTo>
                <a:lnTo>
                  <a:pt x="2293" y="1925"/>
                </a:lnTo>
                <a:lnTo>
                  <a:pt x="2287" y="1924"/>
                </a:lnTo>
                <a:lnTo>
                  <a:pt x="2284" y="1925"/>
                </a:lnTo>
                <a:lnTo>
                  <a:pt x="2280" y="1926"/>
                </a:lnTo>
                <a:lnTo>
                  <a:pt x="2278" y="1928"/>
                </a:lnTo>
                <a:lnTo>
                  <a:pt x="2275" y="1931"/>
                </a:lnTo>
                <a:lnTo>
                  <a:pt x="2272" y="1934"/>
                </a:lnTo>
                <a:lnTo>
                  <a:pt x="2269" y="1936"/>
                </a:lnTo>
                <a:lnTo>
                  <a:pt x="2266" y="1937"/>
                </a:lnTo>
                <a:lnTo>
                  <a:pt x="2261" y="1938"/>
                </a:lnTo>
                <a:lnTo>
                  <a:pt x="2254" y="1938"/>
                </a:lnTo>
                <a:lnTo>
                  <a:pt x="2247" y="1936"/>
                </a:lnTo>
                <a:lnTo>
                  <a:pt x="2240" y="1934"/>
                </a:lnTo>
                <a:lnTo>
                  <a:pt x="2233" y="1931"/>
                </a:lnTo>
                <a:lnTo>
                  <a:pt x="2229" y="1930"/>
                </a:lnTo>
                <a:lnTo>
                  <a:pt x="2225" y="1931"/>
                </a:lnTo>
                <a:lnTo>
                  <a:pt x="2222" y="1932"/>
                </a:lnTo>
                <a:lnTo>
                  <a:pt x="2218" y="1936"/>
                </a:lnTo>
                <a:lnTo>
                  <a:pt x="2212" y="1943"/>
                </a:lnTo>
                <a:lnTo>
                  <a:pt x="2208" y="1948"/>
                </a:lnTo>
                <a:lnTo>
                  <a:pt x="2205" y="1950"/>
                </a:lnTo>
                <a:lnTo>
                  <a:pt x="2202" y="1951"/>
                </a:lnTo>
                <a:lnTo>
                  <a:pt x="2198" y="1951"/>
                </a:lnTo>
                <a:lnTo>
                  <a:pt x="2193" y="1951"/>
                </a:lnTo>
                <a:lnTo>
                  <a:pt x="2181" y="1949"/>
                </a:lnTo>
                <a:lnTo>
                  <a:pt x="2172" y="1947"/>
                </a:lnTo>
                <a:lnTo>
                  <a:pt x="2167" y="1947"/>
                </a:lnTo>
                <a:lnTo>
                  <a:pt x="2162" y="1948"/>
                </a:lnTo>
                <a:lnTo>
                  <a:pt x="2159" y="1949"/>
                </a:lnTo>
                <a:lnTo>
                  <a:pt x="2155" y="1953"/>
                </a:lnTo>
                <a:lnTo>
                  <a:pt x="2152" y="1958"/>
                </a:lnTo>
                <a:lnTo>
                  <a:pt x="2149" y="1963"/>
                </a:lnTo>
                <a:lnTo>
                  <a:pt x="2147" y="1969"/>
                </a:lnTo>
                <a:lnTo>
                  <a:pt x="2146" y="1976"/>
                </a:lnTo>
                <a:lnTo>
                  <a:pt x="2142" y="1988"/>
                </a:lnTo>
                <a:lnTo>
                  <a:pt x="2140" y="2000"/>
                </a:lnTo>
                <a:lnTo>
                  <a:pt x="2137" y="2010"/>
                </a:lnTo>
                <a:lnTo>
                  <a:pt x="2133" y="2019"/>
                </a:lnTo>
                <a:lnTo>
                  <a:pt x="2128" y="2027"/>
                </a:lnTo>
                <a:lnTo>
                  <a:pt x="2122" y="2035"/>
                </a:lnTo>
                <a:lnTo>
                  <a:pt x="2114" y="2039"/>
                </a:lnTo>
                <a:lnTo>
                  <a:pt x="2104" y="2043"/>
                </a:lnTo>
                <a:lnTo>
                  <a:pt x="2093" y="2044"/>
                </a:lnTo>
                <a:lnTo>
                  <a:pt x="2084" y="2048"/>
                </a:lnTo>
                <a:lnTo>
                  <a:pt x="2079" y="2050"/>
                </a:lnTo>
                <a:lnTo>
                  <a:pt x="2074" y="2052"/>
                </a:lnTo>
                <a:lnTo>
                  <a:pt x="2070" y="2057"/>
                </a:lnTo>
                <a:lnTo>
                  <a:pt x="2065" y="2062"/>
                </a:lnTo>
                <a:lnTo>
                  <a:pt x="2061" y="2070"/>
                </a:lnTo>
                <a:lnTo>
                  <a:pt x="2060" y="2079"/>
                </a:lnTo>
                <a:lnTo>
                  <a:pt x="2060" y="2087"/>
                </a:lnTo>
                <a:lnTo>
                  <a:pt x="2061" y="2094"/>
                </a:lnTo>
                <a:lnTo>
                  <a:pt x="2064" y="2099"/>
                </a:lnTo>
                <a:lnTo>
                  <a:pt x="2065" y="2104"/>
                </a:lnTo>
                <a:lnTo>
                  <a:pt x="2065" y="2109"/>
                </a:lnTo>
                <a:lnTo>
                  <a:pt x="2064" y="2115"/>
                </a:lnTo>
                <a:lnTo>
                  <a:pt x="2064" y="2117"/>
                </a:lnTo>
                <a:lnTo>
                  <a:pt x="2063" y="2118"/>
                </a:lnTo>
                <a:lnTo>
                  <a:pt x="2061" y="2118"/>
                </a:lnTo>
                <a:lnTo>
                  <a:pt x="2060" y="2118"/>
                </a:lnTo>
                <a:lnTo>
                  <a:pt x="2057" y="2117"/>
                </a:lnTo>
                <a:lnTo>
                  <a:pt x="2053" y="2113"/>
                </a:lnTo>
                <a:lnTo>
                  <a:pt x="2045" y="2106"/>
                </a:lnTo>
                <a:lnTo>
                  <a:pt x="2040" y="2101"/>
                </a:lnTo>
                <a:lnTo>
                  <a:pt x="2029" y="2092"/>
                </a:lnTo>
                <a:lnTo>
                  <a:pt x="2016" y="2082"/>
                </a:lnTo>
                <a:lnTo>
                  <a:pt x="2011" y="2077"/>
                </a:lnTo>
                <a:lnTo>
                  <a:pt x="2007" y="2073"/>
                </a:lnTo>
                <a:lnTo>
                  <a:pt x="2004" y="2068"/>
                </a:lnTo>
                <a:lnTo>
                  <a:pt x="2002" y="2063"/>
                </a:lnTo>
                <a:lnTo>
                  <a:pt x="1998" y="2051"/>
                </a:lnTo>
                <a:lnTo>
                  <a:pt x="1995" y="2038"/>
                </a:lnTo>
                <a:lnTo>
                  <a:pt x="1994" y="2033"/>
                </a:lnTo>
                <a:lnTo>
                  <a:pt x="1994" y="2029"/>
                </a:lnTo>
                <a:lnTo>
                  <a:pt x="1995" y="2024"/>
                </a:lnTo>
                <a:lnTo>
                  <a:pt x="1997" y="2019"/>
                </a:lnTo>
                <a:lnTo>
                  <a:pt x="2003" y="2011"/>
                </a:lnTo>
                <a:lnTo>
                  <a:pt x="2008" y="2005"/>
                </a:lnTo>
                <a:lnTo>
                  <a:pt x="2010" y="2001"/>
                </a:lnTo>
                <a:lnTo>
                  <a:pt x="2013" y="1998"/>
                </a:lnTo>
                <a:lnTo>
                  <a:pt x="2011" y="1994"/>
                </a:lnTo>
                <a:lnTo>
                  <a:pt x="2008" y="1991"/>
                </a:lnTo>
                <a:lnTo>
                  <a:pt x="2005" y="1988"/>
                </a:lnTo>
                <a:lnTo>
                  <a:pt x="2003" y="1989"/>
                </a:lnTo>
                <a:lnTo>
                  <a:pt x="2000" y="1991"/>
                </a:lnTo>
                <a:lnTo>
                  <a:pt x="1997" y="1993"/>
                </a:lnTo>
                <a:lnTo>
                  <a:pt x="1991" y="2001"/>
                </a:lnTo>
                <a:lnTo>
                  <a:pt x="1984" y="2012"/>
                </a:lnTo>
                <a:lnTo>
                  <a:pt x="1978" y="2021"/>
                </a:lnTo>
                <a:lnTo>
                  <a:pt x="1972" y="2026"/>
                </a:lnTo>
                <a:lnTo>
                  <a:pt x="1966" y="2029"/>
                </a:lnTo>
                <a:lnTo>
                  <a:pt x="1959" y="2029"/>
                </a:lnTo>
                <a:lnTo>
                  <a:pt x="1952" y="2027"/>
                </a:lnTo>
                <a:lnTo>
                  <a:pt x="1946" y="2027"/>
                </a:lnTo>
                <a:lnTo>
                  <a:pt x="1941" y="2029"/>
                </a:lnTo>
                <a:lnTo>
                  <a:pt x="1939" y="2031"/>
                </a:lnTo>
                <a:lnTo>
                  <a:pt x="1939" y="2032"/>
                </a:lnTo>
                <a:lnTo>
                  <a:pt x="1940" y="2035"/>
                </a:lnTo>
                <a:lnTo>
                  <a:pt x="1942" y="2036"/>
                </a:lnTo>
                <a:lnTo>
                  <a:pt x="1945" y="2038"/>
                </a:lnTo>
                <a:lnTo>
                  <a:pt x="1953" y="2042"/>
                </a:lnTo>
                <a:lnTo>
                  <a:pt x="1961" y="2043"/>
                </a:lnTo>
                <a:lnTo>
                  <a:pt x="1969" y="2045"/>
                </a:lnTo>
                <a:lnTo>
                  <a:pt x="1976" y="2050"/>
                </a:lnTo>
                <a:lnTo>
                  <a:pt x="1978" y="2052"/>
                </a:lnTo>
                <a:lnTo>
                  <a:pt x="1980" y="2055"/>
                </a:lnTo>
                <a:lnTo>
                  <a:pt x="1982" y="2058"/>
                </a:lnTo>
                <a:lnTo>
                  <a:pt x="1983" y="2062"/>
                </a:lnTo>
                <a:lnTo>
                  <a:pt x="1984" y="2073"/>
                </a:lnTo>
                <a:lnTo>
                  <a:pt x="1984" y="2083"/>
                </a:lnTo>
                <a:lnTo>
                  <a:pt x="1983" y="2089"/>
                </a:lnTo>
                <a:lnTo>
                  <a:pt x="1982" y="2094"/>
                </a:lnTo>
                <a:lnTo>
                  <a:pt x="1980" y="2099"/>
                </a:lnTo>
                <a:lnTo>
                  <a:pt x="1978" y="2102"/>
                </a:lnTo>
                <a:lnTo>
                  <a:pt x="1965" y="2109"/>
                </a:lnTo>
                <a:lnTo>
                  <a:pt x="1946" y="2118"/>
                </a:lnTo>
                <a:lnTo>
                  <a:pt x="1927" y="2125"/>
                </a:lnTo>
                <a:lnTo>
                  <a:pt x="1917" y="2127"/>
                </a:lnTo>
                <a:lnTo>
                  <a:pt x="1908" y="2127"/>
                </a:lnTo>
                <a:lnTo>
                  <a:pt x="1900" y="2127"/>
                </a:lnTo>
                <a:lnTo>
                  <a:pt x="1893" y="2128"/>
                </a:lnTo>
                <a:lnTo>
                  <a:pt x="1885" y="2131"/>
                </a:lnTo>
                <a:lnTo>
                  <a:pt x="1878" y="2132"/>
                </a:lnTo>
                <a:lnTo>
                  <a:pt x="1871" y="2132"/>
                </a:lnTo>
                <a:lnTo>
                  <a:pt x="1868" y="2132"/>
                </a:lnTo>
                <a:lnTo>
                  <a:pt x="1865" y="2130"/>
                </a:lnTo>
                <a:lnTo>
                  <a:pt x="1863" y="2128"/>
                </a:lnTo>
                <a:lnTo>
                  <a:pt x="1863" y="2125"/>
                </a:lnTo>
                <a:lnTo>
                  <a:pt x="1862" y="2120"/>
                </a:lnTo>
                <a:lnTo>
                  <a:pt x="1860" y="2115"/>
                </a:lnTo>
                <a:lnTo>
                  <a:pt x="1859" y="2113"/>
                </a:lnTo>
                <a:lnTo>
                  <a:pt x="1858" y="2113"/>
                </a:lnTo>
                <a:lnTo>
                  <a:pt x="1857" y="2112"/>
                </a:lnTo>
                <a:lnTo>
                  <a:pt x="1854" y="2112"/>
                </a:lnTo>
                <a:lnTo>
                  <a:pt x="1847" y="2123"/>
                </a:lnTo>
                <a:lnTo>
                  <a:pt x="1837" y="2140"/>
                </a:lnTo>
                <a:lnTo>
                  <a:pt x="1832" y="2143"/>
                </a:lnTo>
                <a:lnTo>
                  <a:pt x="1828" y="2145"/>
                </a:lnTo>
                <a:lnTo>
                  <a:pt x="1824" y="2145"/>
                </a:lnTo>
                <a:lnTo>
                  <a:pt x="1819" y="2144"/>
                </a:lnTo>
                <a:lnTo>
                  <a:pt x="1810" y="2140"/>
                </a:lnTo>
                <a:lnTo>
                  <a:pt x="1801" y="2137"/>
                </a:lnTo>
                <a:lnTo>
                  <a:pt x="1794" y="2133"/>
                </a:lnTo>
                <a:lnTo>
                  <a:pt x="1789" y="2128"/>
                </a:lnTo>
                <a:lnTo>
                  <a:pt x="1788" y="2126"/>
                </a:lnTo>
                <a:lnTo>
                  <a:pt x="1787" y="2123"/>
                </a:lnTo>
                <a:lnTo>
                  <a:pt x="1787" y="2120"/>
                </a:lnTo>
                <a:lnTo>
                  <a:pt x="1787" y="2117"/>
                </a:lnTo>
                <a:lnTo>
                  <a:pt x="1797" y="2111"/>
                </a:lnTo>
                <a:lnTo>
                  <a:pt x="1816" y="2098"/>
                </a:lnTo>
                <a:lnTo>
                  <a:pt x="1820" y="2094"/>
                </a:lnTo>
                <a:lnTo>
                  <a:pt x="1822" y="2090"/>
                </a:lnTo>
                <a:lnTo>
                  <a:pt x="1824" y="2087"/>
                </a:lnTo>
                <a:lnTo>
                  <a:pt x="1822" y="2083"/>
                </a:lnTo>
                <a:lnTo>
                  <a:pt x="1820" y="2081"/>
                </a:lnTo>
                <a:lnTo>
                  <a:pt x="1814" y="2079"/>
                </a:lnTo>
                <a:lnTo>
                  <a:pt x="1806" y="2075"/>
                </a:lnTo>
                <a:lnTo>
                  <a:pt x="1794" y="2074"/>
                </a:lnTo>
                <a:lnTo>
                  <a:pt x="1782" y="2071"/>
                </a:lnTo>
                <a:lnTo>
                  <a:pt x="1771" y="2068"/>
                </a:lnTo>
                <a:lnTo>
                  <a:pt x="1762" y="2065"/>
                </a:lnTo>
                <a:lnTo>
                  <a:pt x="1753" y="2061"/>
                </a:lnTo>
                <a:lnTo>
                  <a:pt x="1745" y="2057"/>
                </a:lnTo>
                <a:lnTo>
                  <a:pt x="1739" y="2052"/>
                </a:lnTo>
                <a:lnTo>
                  <a:pt x="1733" y="2048"/>
                </a:lnTo>
                <a:lnTo>
                  <a:pt x="1727" y="2043"/>
                </a:lnTo>
                <a:lnTo>
                  <a:pt x="1724" y="2037"/>
                </a:lnTo>
                <a:lnTo>
                  <a:pt x="1721" y="2032"/>
                </a:lnTo>
                <a:lnTo>
                  <a:pt x="1719" y="2025"/>
                </a:lnTo>
                <a:lnTo>
                  <a:pt x="1718" y="2018"/>
                </a:lnTo>
                <a:lnTo>
                  <a:pt x="1718" y="2011"/>
                </a:lnTo>
                <a:lnTo>
                  <a:pt x="1719" y="2004"/>
                </a:lnTo>
                <a:lnTo>
                  <a:pt x="1720" y="1998"/>
                </a:lnTo>
                <a:lnTo>
                  <a:pt x="1719" y="1991"/>
                </a:lnTo>
                <a:lnTo>
                  <a:pt x="1718" y="1985"/>
                </a:lnTo>
                <a:lnTo>
                  <a:pt x="1714" y="1980"/>
                </a:lnTo>
                <a:lnTo>
                  <a:pt x="1709" y="1975"/>
                </a:lnTo>
                <a:lnTo>
                  <a:pt x="1704" y="1970"/>
                </a:lnTo>
                <a:lnTo>
                  <a:pt x="1701" y="1969"/>
                </a:lnTo>
                <a:lnTo>
                  <a:pt x="1698" y="1969"/>
                </a:lnTo>
                <a:lnTo>
                  <a:pt x="1695" y="1969"/>
                </a:lnTo>
                <a:lnTo>
                  <a:pt x="1694" y="1969"/>
                </a:lnTo>
                <a:lnTo>
                  <a:pt x="1687" y="1978"/>
                </a:lnTo>
                <a:lnTo>
                  <a:pt x="1682" y="1986"/>
                </a:lnTo>
                <a:lnTo>
                  <a:pt x="1679" y="1995"/>
                </a:lnTo>
                <a:lnTo>
                  <a:pt x="1677" y="2005"/>
                </a:lnTo>
                <a:lnTo>
                  <a:pt x="1676" y="2014"/>
                </a:lnTo>
                <a:lnTo>
                  <a:pt x="1674" y="2020"/>
                </a:lnTo>
                <a:lnTo>
                  <a:pt x="1673" y="2024"/>
                </a:lnTo>
                <a:lnTo>
                  <a:pt x="1670" y="2025"/>
                </a:lnTo>
                <a:lnTo>
                  <a:pt x="1668" y="2026"/>
                </a:lnTo>
                <a:lnTo>
                  <a:pt x="1665" y="2026"/>
                </a:lnTo>
                <a:lnTo>
                  <a:pt x="1649" y="2025"/>
                </a:lnTo>
                <a:lnTo>
                  <a:pt x="1635" y="2020"/>
                </a:lnTo>
                <a:lnTo>
                  <a:pt x="1623" y="2016"/>
                </a:lnTo>
                <a:lnTo>
                  <a:pt x="1614" y="2010"/>
                </a:lnTo>
                <a:lnTo>
                  <a:pt x="1608" y="2002"/>
                </a:lnTo>
                <a:lnTo>
                  <a:pt x="1605" y="1995"/>
                </a:lnTo>
                <a:lnTo>
                  <a:pt x="1602" y="1987"/>
                </a:lnTo>
                <a:lnTo>
                  <a:pt x="1601" y="1980"/>
                </a:lnTo>
                <a:lnTo>
                  <a:pt x="1604" y="1966"/>
                </a:lnTo>
                <a:lnTo>
                  <a:pt x="1607" y="1953"/>
                </a:lnTo>
                <a:lnTo>
                  <a:pt x="1608" y="1947"/>
                </a:lnTo>
                <a:lnTo>
                  <a:pt x="1608" y="1942"/>
                </a:lnTo>
                <a:lnTo>
                  <a:pt x="1607" y="1937"/>
                </a:lnTo>
                <a:lnTo>
                  <a:pt x="1605" y="1934"/>
                </a:lnTo>
                <a:lnTo>
                  <a:pt x="1600" y="1930"/>
                </a:lnTo>
                <a:lnTo>
                  <a:pt x="1593" y="1928"/>
                </a:lnTo>
                <a:lnTo>
                  <a:pt x="1587" y="1928"/>
                </a:lnTo>
                <a:lnTo>
                  <a:pt x="1580" y="1929"/>
                </a:lnTo>
                <a:lnTo>
                  <a:pt x="1576" y="1930"/>
                </a:lnTo>
                <a:lnTo>
                  <a:pt x="1574" y="1932"/>
                </a:lnTo>
                <a:lnTo>
                  <a:pt x="1570" y="1935"/>
                </a:lnTo>
                <a:lnTo>
                  <a:pt x="1568" y="1938"/>
                </a:lnTo>
                <a:lnTo>
                  <a:pt x="1566" y="1943"/>
                </a:lnTo>
                <a:lnTo>
                  <a:pt x="1564" y="1948"/>
                </a:lnTo>
                <a:lnTo>
                  <a:pt x="1563" y="1953"/>
                </a:lnTo>
                <a:lnTo>
                  <a:pt x="1563" y="1960"/>
                </a:lnTo>
                <a:lnTo>
                  <a:pt x="1563" y="1972"/>
                </a:lnTo>
                <a:lnTo>
                  <a:pt x="1567" y="1985"/>
                </a:lnTo>
                <a:lnTo>
                  <a:pt x="1570" y="1995"/>
                </a:lnTo>
                <a:lnTo>
                  <a:pt x="1574" y="2006"/>
                </a:lnTo>
                <a:lnTo>
                  <a:pt x="1577" y="2017"/>
                </a:lnTo>
                <a:lnTo>
                  <a:pt x="1579" y="2026"/>
                </a:lnTo>
                <a:lnTo>
                  <a:pt x="1579" y="2031"/>
                </a:lnTo>
                <a:lnTo>
                  <a:pt x="1579" y="2036"/>
                </a:lnTo>
                <a:lnTo>
                  <a:pt x="1577" y="2042"/>
                </a:lnTo>
                <a:lnTo>
                  <a:pt x="1575" y="2046"/>
                </a:lnTo>
                <a:lnTo>
                  <a:pt x="1566" y="2055"/>
                </a:lnTo>
                <a:lnTo>
                  <a:pt x="1551" y="2069"/>
                </a:lnTo>
                <a:lnTo>
                  <a:pt x="1547" y="2070"/>
                </a:lnTo>
                <a:lnTo>
                  <a:pt x="1539" y="2071"/>
                </a:lnTo>
                <a:lnTo>
                  <a:pt x="1529" y="2074"/>
                </a:lnTo>
                <a:lnTo>
                  <a:pt x="1514" y="2076"/>
                </a:lnTo>
                <a:lnTo>
                  <a:pt x="1494" y="2081"/>
                </a:lnTo>
                <a:lnTo>
                  <a:pt x="1474" y="2086"/>
                </a:lnTo>
                <a:lnTo>
                  <a:pt x="1456" y="2089"/>
                </a:lnTo>
                <a:lnTo>
                  <a:pt x="1446" y="2090"/>
                </a:lnTo>
                <a:lnTo>
                  <a:pt x="1427" y="2088"/>
                </a:lnTo>
                <a:lnTo>
                  <a:pt x="1409" y="2083"/>
                </a:lnTo>
                <a:lnTo>
                  <a:pt x="1394" y="2080"/>
                </a:lnTo>
                <a:lnTo>
                  <a:pt x="1386" y="2076"/>
                </a:lnTo>
                <a:lnTo>
                  <a:pt x="1377" y="2074"/>
                </a:lnTo>
                <a:lnTo>
                  <a:pt x="1367" y="2074"/>
                </a:lnTo>
                <a:lnTo>
                  <a:pt x="1354" y="2070"/>
                </a:lnTo>
                <a:lnTo>
                  <a:pt x="1343" y="2065"/>
                </a:lnTo>
                <a:lnTo>
                  <a:pt x="1336" y="2062"/>
                </a:lnTo>
                <a:lnTo>
                  <a:pt x="1330" y="2058"/>
                </a:lnTo>
                <a:lnTo>
                  <a:pt x="1325" y="2055"/>
                </a:lnTo>
                <a:lnTo>
                  <a:pt x="1322" y="2050"/>
                </a:lnTo>
                <a:lnTo>
                  <a:pt x="1315" y="2041"/>
                </a:lnTo>
                <a:lnTo>
                  <a:pt x="1306" y="2033"/>
                </a:lnTo>
                <a:lnTo>
                  <a:pt x="1296" y="2026"/>
                </a:lnTo>
                <a:lnTo>
                  <a:pt x="1283" y="2020"/>
                </a:lnTo>
                <a:lnTo>
                  <a:pt x="1277" y="2019"/>
                </a:lnTo>
                <a:lnTo>
                  <a:pt x="1270" y="2019"/>
                </a:lnTo>
                <a:lnTo>
                  <a:pt x="1261" y="2020"/>
                </a:lnTo>
                <a:lnTo>
                  <a:pt x="1253" y="2023"/>
                </a:lnTo>
                <a:lnTo>
                  <a:pt x="1236" y="2030"/>
                </a:lnTo>
                <a:lnTo>
                  <a:pt x="1220" y="2038"/>
                </a:lnTo>
                <a:lnTo>
                  <a:pt x="1211" y="2041"/>
                </a:lnTo>
                <a:lnTo>
                  <a:pt x="1203" y="2044"/>
                </a:lnTo>
                <a:lnTo>
                  <a:pt x="1195" y="2045"/>
                </a:lnTo>
                <a:lnTo>
                  <a:pt x="1185" y="2046"/>
                </a:lnTo>
                <a:lnTo>
                  <a:pt x="1176" y="2046"/>
                </a:lnTo>
                <a:lnTo>
                  <a:pt x="1166" y="2044"/>
                </a:lnTo>
                <a:lnTo>
                  <a:pt x="1158" y="2041"/>
                </a:lnTo>
                <a:lnTo>
                  <a:pt x="1151" y="2037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3" name="云南"/>
          <p:cNvSpPr/>
          <p:nvPr/>
        </p:nvSpPr>
        <p:spPr bwMode="auto">
          <a:xfrm>
            <a:off x="4213860" y="4599305"/>
            <a:ext cx="1411605" cy="1485900"/>
          </a:xfrm>
          <a:custGeom>
            <a:avLst/>
            <a:gdLst>
              <a:gd name="T0" fmla="*/ 748 w 3417"/>
              <a:gd name="T1" fmla="*/ 167 h 3582"/>
              <a:gd name="T2" fmla="*/ 679 w 3417"/>
              <a:gd name="T3" fmla="*/ 344 h 3582"/>
              <a:gd name="T4" fmla="*/ 525 w 3417"/>
              <a:gd name="T5" fmla="*/ 338 h 3582"/>
              <a:gd name="T6" fmla="*/ 466 w 3417"/>
              <a:gd name="T7" fmla="*/ 635 h 3582"/>
              <a:gd name="T8" fmla="*/ 621 w 3417"/>
              <a:gd name="T9" fmla="*/ 787 h 3582"/>
              <a:gd name="T10" fmla="*/ 557 w 3417"/>
              <a:gd name="T11" fmla="*/ 1327 h 3582"/>
              <a:gd name="T12" fmla="*/ 437 w 3417"/>
              <a:gd name="T13" fmla="*/ 1491 h 3582"/>
              <a:gd name="T14" fmla="*/ 244 w 3417"/>
              <a:gd name="T15" fmla="*/ 1657 h 3582"/>
              <a:gd name="T16" fmla="*/ 117 w 3417"/>
              <a:gd name="T17" fmla="*/ 1845 h 3582"/>
              <a:gd name="T18" fmla="*/ 75 w 3417"/>
              <a:gd name="T19" fmla="*/ 2079 h 3582"/>
              <a:gd name="T20" fmla="*/ 265 w 3417"/>
              <a:gd name="T21" fmla="*/ 2183 h 3582"/>
              <a:gd name="T22" fmla="*/ 469 w 3417"/>
              <a:gd name="T23" fmla="*/ 2250 h 3582"/>
              <a:gd name="T24" fmla="*/ 503 w 3417"/>
              <a:gd name="T25" fmla="*/ 2540 h 3582"/>
              <a:gd name="T26" fmla="*/ 678 w 3417"/>
              <a:gd name="T27" fmla="*/ 2653 h 3582"/>
              <a:gd name="T28" fmla="*/ 635 w 3417"/>
              <a:gd name="T29" fmla="*/ 2829 h 3582"/>
              <a:gd name="T30" fmla="*/ 705 w 3417"/>
              <a:gd name="T31" fmla="*/ 3092 h 3582"/>
              <a:gd name="T32" fmla="*/ 848 w 3417"/>
              <a:gd name="T33" fmla="*/ 3240 h 3582"/>
              <a:gd name="T34" fmla="*/ 957 w 3417"/>
              <a:gd name="T35" fmla="*/ 3387 h 3582"/>
              <a:gd name="T36" fmla="*/ 1268 w 3417"/>
              <a:gd name="T37" fmla="*/ 3316 h 3582"/>
              <a:gd name="T38" fmla="*/ 1355 w 3417"/>
              <a:gd name="T39" fmla="*/ 3508 h 3582"/>
              <a:gd name="T40" fmla="*/ 1590 w 3417"/>
              <a:gd name="T41" fmla="*/ 3549 h 3582"/>
              <a:gd name="T42" fmla="*/ 1580 w 3417"/>
              <a:gd name="T43" fmla="*/ 3290 h 3582"/>
              <a:gd name="T44" fmla="*/ 1613 w 3417"/>
              <a:gd name="T45" fmla="*/ 3009 h 3582"/>
              <a:gd name="T46" fmla="*/ 1836 w 3417"/>
              <a:gd name="T47" fmla="*/ 2998 h 3582"/>
              <a:gd name="T48" fmla="*/ 2064 w 3417"/>
              <a:gd name="T49" fmla="*/ 3036 h 3582"/>
              <a:gd name="T50" fmla="*/ 2289 w 3417"/>
              <a:gd name="T51" fmla="*/ 2985 h 3582"/>
              <a:gd name="T52" fmla="*/ 2513 w 3417"/>
              <a:gd name="T53" fmla="*/ 3069 h 3582"/>
              <a:gd name="T54" fmla="*/ 2668 w 3417"/>
              <a:gd name="T55" fmla="*/ 2985 h 3582"/>
              <a:gd name="T56" fmla="*/ 2896 w 3417"/>
              <a:gd name="T57" fmla="*/ 2809 h 3582"/>
              <a:gd name="T58" fmla="*/ 3109 w 3417"/>
              <a:gd name="T59" fmla="*/ 2790 h 3582"/>
              <a:gd name="T60" fmla="*/ 3287 w 3417"/>
              <a:gd name="T61" fmla="*/ 2667 h 3582"/>
              <a:gd name="T62" fmla="*/ 3360 w 3417"/>
              <a:gd name="T63" fmla="*/ 2413 h 3582"/>
              <a:gd name="T64" fmla="*/ 3170 w 3417"/>
              <a:gd name="T65" fmla="*/ 2399 h 3582"/>
              <a:gd name="T66" fmla="*/ 3041 w 3417"/>
              <a:gd name="T67" fmla="*/ 2373 h 3582"/>
              <a:gd name="T68" fmla="*/ 2824 w 3417"/>
              <a:gd name="T69" fmla="*/ 2294 h 3582"/>
              <a:gd name="T70" fmla="*/ 2841 w 3417"/>
              <a:gd name="T71" fmla="*/ 1988 h 3582"/>
              <a:gd name="T72" fmla="*/ 2819 w 3417"/>
              <a:gd name="T73" fmla="*/ 1847 h 3582"/>
              <a:gd name="T74" fmla="*/ 2739 w 3417"/>
              <a:gd name="T75" fmla="*/ 1674 h 3582"/>
              <a:gd name="T76" fmla="*/ 2840 w 3417"/>
              <a:gd name="T77" fmla="*/ 1326 h 3582"/>
              <a:gd name="T78" fmla="*/ 2523 w 3417"/>
              <a:gd name="T79" fmla="*/ 1296 h 3582"/>
              <a:gd name="T80" fmla="*/ 2496 w 3417"/>
              <a:gd name="T81" fmla="*/ 1087 h 3582"/>
              <a:gd name="T82" fmla="*/ 2713 w 3417"/>
              <a:gd name="T83" fmla="*/ 1013 h 3582"/>
              <a:gd name="T84" fmla="*/ 2965 w 3417"/>
              <a:gd name="T85" fmla="*/ 1022 h 3582"/>
              <a:gd name="T86" fmla="*/ 3136 w 3417"/>
              <a:gd name="T87" fmla="*/ 817 h 3582"/>
              <a:gd name="T88" fmla="*/ 3072 w 3417"/>
              <a:gd name="T89" fmla="*/ 675 h 3582"/>
              <a:gd name="T90" fmla="*/ 2787 w 3417"/>
              <a:gd name="T91" fmla="*/ 671 h 3582"/>
              <a:gd name="T92" fmla="*/ 2759 w 3417"/>
              <a:gd name="T93" fmla="*/ 542 h 3582"/>
              <a:gd name="T94" fmla="*/ 2639 w 3417"/>
              <a:gd name="T95" fmla="*/ 419 h 3582"/>
              <a:gd name="T96" fmla="*/ 2511 w 3417"/>
              <a:gd name="T97" fmla="*/ 566 h 3582"/>
              <a:gd name="T98" fmla="*/ 2306 w 3417"/>
              <a:gd name="T99" fmla="*/ 913 h 3582"/>
              <a:gd name="T100" fmla="*/ 2213 w 3417"/>
              <a:gd name="T101" fmla="*/ 1152 h 3582"/>
              <a:gd name="T102" fmla="*/ 2184 w 3417"/>
              <a:gd name="T103" fmla="*/ 1383 h 3582"/>
              <a:gd name="T104" fmla="*/ 1934 w 3417"/>
              <a:gd name="T105" fmla="*/ 1416 h 3582"/>
              <a:gd name="T106" fmla="*/ 1685 w 3417"/>
              <a:gd name="T107" fmla="*/ 1404 h 3582"/>
              <a:gd name="T108" fmla="*/ 1619 w 3417"/>
              <a:gd name="T109" fmla="*/ 1254 h 3582"/>
              <a:gd name="T110" fmla="*/ 1619 w 3417"/>
              <a:gd name="T111" fmla="*/ 1116 h 3582"/>
              <a:gd name="T112" fmla="*/ 1502 w 3417"/>
              <a:gd name="T113" fmla="*/ 912 h 3582"/>
              <a:gd name="T114" fmla="*/ 1353 w 3417"/>
              <a:gd name="T115" fmla="*/ 650 h 3582"/>
              <a:gd name="T116" fmla="*/ 1215 w 3417"/>
              <a:gd name="T117" fmla="*/ 634 h 3582"/>
              <a:gd name="T118" fmla="*/ 1205 w 3417"/>
              <a:gd name="T119" fmla="*/ 427 h 3582"/>
              <a:gd name="T120" fmla="*/ 1075 w 3417"/>
              <a:gd name="T121" fmla="*/ 193 h 3582"/>
              <a:gd name="T122" fmla="*/ 929 w 3417"/>
              <a:gd name="T123" fmla="*/ 344 h 3582"/>
              <a:gd name="T124" fmla="*/ 844 w 3417"/>
              <a:gd name="T125" fmla="*/ 233 h 3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17" h="3582">
                <a:moveTo>
                  <a:pt x="856" y="1"/>
                </a:moveTo>
                <a:lnTo>
                  <a:pt x="851" y="1"/>
                </a:lnTo>
                <a:lnTo>
                  <a:pt x="844" y="1"/>
                </a:lnTo>
                <a:lnTo>
                  <a:pt x="828" y="0"/>
                </a:lnTo>
                <a:lnTo>
                  <a:pt x="815" y="0"/>
                </a:lnTo>
                <a:lnTo>
                  <a:pt x="810" y="3"/>
                </a:lnTo>
                <a:lnTo>
                  <a:pt x="807" y="6"/>
                </a:lnTo>
                <a:lnTo>
                  <a:pt x="806" y="11"/>
                </a:lnTo>
                <a:lnTo>
                  <a:pt x="805" y="17"/>
                </a:lnTo>
                <a:lnTo>
                  <a:pt x="806" y="23"/>
                </a:lnTo>
                <a:lnTo>
                  <a:pt x="807" y="29"/>
                </a:lnTo>
                <a:lnTo>
                  <a:pt x="811" y="34"/>
                </a:lnTo>
                <a:lnTo>
                  <a:pt x="813" y="38"/>
                </a:lnTo>
                <a:lnTo>
                  <a:pt x="817" y="42"/>
                </a:lnTo>
                <a:lnTo>
                  <a:pt x="819" y="47"/>
                </a:lnTo>
                <a:lnTo>
                  <a:pt x="821" y="50"/>
                </a:lnTo>
                <a:lnTo>
                  <a:pt x="821" y="54"/>
                </a:lnTo>
                <a:lnTo>
                  <a:pt x="821" y="59"/>
                </a:lnTo>
                <a:lnTo>
                  <a:pt x="819" y="62"/>
                </a:lnTo>
                <a:lnTo>
                  <a:pt x="817" y="66"/>
                </a:lnTo>
                <a:lnTo>
                  <a:pt x="813" y="69"/>
                </a:lnTo>
                <a:lnTo>
                  <a:pt x="804" y="76"/>
                </a:lnTo>
                <a:lnTo>
                  <a:pt x="794" y="86"/>
                </a:lnTo>
                <a:lnTo>
                  <a:pt x="791" y="91"/>
                </a:lnTo>
                <a:lnTo>
                  <a:pt x="786" y="95"/>
                </a:lnTo>
                <a:lnTo>
                  <a:pt x="783" y="101"/>
                </a:lnTo>
                <a:lnTo>
                  <a:pt x="780" y="108"/>
                </a:lnTo>
                <a:lnTo>
                  <a:pt x="779" y="114"/>
                </a:lnTo>
                <a:lnTo>
                  <a:pt x="778" y="119"/>
                </a:lnTo>
                <a:lnTo>
                  <a:pt x="779" y="125"/>
                </a:lnTo>
                <a:lnTo>
                  <a:pt x="780" y="129"/>
                </a:lnTo>
                <a:lnTo>
                  <a:pt x="784" y="137"/>
                </a:lnTo>
                <a:lnTo>
                  <a:pt x="787" y="144"/>
                </a:lnTo>
                <a:lnTo>
                  <a:pt x="788" y="147"/>
                </a:lnTo>
                <a:lnTo>
                  <a:pt x="788" y="150"/>
                </a:lnTo>
                <a:lnTo>
                  <a:pt x="788" y="152"/>
                </a:lnTo>
                <a:lnTo>
                  <a:pt x="786" y="155"/>
                </a:lnTo>
                <a:lnTo>
                  <a:pt x="781" y="158"/>
                </a:lnTo>
                <a:lnTo>
                  <a:pt x="772" y="164"/>
                </a:lnTo>
                <a:lnTo>
                  <a:pt x="767" y="167"/>
                </a:lnTo>
                <a:lnTo>
                  <a:pt x="762" y="169"/>
                </a:lnTo>
                <a:lnTo>
                  <a:pt x="758" y="170"/>
                </a:lnTo>
                <a:lnTo>
                  <a:pt x="754" y="169"/>
                </a:lnTo>
                <a:lnTo>
                  <a:pt x="750" y="169"/>
                </a:lnTo>
                <a:lnTo>
                  <a:pt x="748" y="167"/>
                </a:lnTo>
                <a:lnTo>
                  <a:pt x="746" y="164"/>
                </a:lnTo>
                <a:lnTo>
                  <a:pt x="743" y="160"/>
                </a:lnTo>
                <a:lnTo>
                  <a:pt x="742" y="148"/>
                </a:lnTo>
                <a:lnTo>
                  <a:pt x="741" y="130"/>
                </a:lnTo>
                <a:lnTo>
                  <a:pt x="740" y="112"/>
                </a:lnTo>
                <a:lnTo>
                  <a:pt x="740" y="97"/>
                </a:lnTo>
                <a:lnTo>
                  <a:pt x="739" y="91"/>
                </a:lnTo>
                <a:lnTo>
                  <a:pt x="737" y="87"/>
                </a:lnTo>
                <a:lnTo>
                  <a:pt x="735" y="84"/>
                </a:lnTo>
                <a:lnTo>
                  <a:pt x="733" y="81"/>
                </a:lnTo>
                <a:lnTo>
                  <a:pt x="729" y="80"/>
                </a:lnTo>
                <a:lnTo>
                  <a:pt x="725" y="80"/>
                </a:lnTo>
                <a:lnTo>
                  <a:pt x="721" y="80"/>
                </a:lnTo>
                <a:lnTo>
                  <a:pt x="716" y="81"/>
                </a:lnTo>
                <a:lnTo>
                  <a:pt x="703" y="84"/>
                </a:lnTo>
                <a:lnTo>
                  <a:pt x="690" y="86"/>
                </a:lnTo>
                <a:lnTo>
                  <a:pt x="684" y="87"/>
                </a:lnTo>
                <a:lnTo>
                  <a:pt x="680" y="89"/>
                </a:lnTo>
                <a:lnTo>
                  <a:pt x="678" y="91"/>
                </a:lnTo>
                <a:lnTo>
                  <a:pt x="677" y="93"/>
                </a:lnTo>
                <a:lnTo>
                  <a:pt x="678" y="100"/>
                </a:lnTo>
                <a:lnTo>
                  <a:pt x="680" y="111"/>
                </a:lnTo>
                <a:lnTo>
                  <a:pt x="681" y="123"/>
                </a:lnTo>
                <a:lnTo>
                  <a:pt x="681" y="139"/>
                </a:lnTo>
                <a:lnTo>
                  <a:pt x="680" y="158"/>
                </a:lnTo>
                <a:lnTo>
                  <a:pt x="678" y="175"/>
                </a:lnTo>
                <a:lnTo>
                  <a:pt x="679" y="195"/>
                </a:lnTo>
                <a:lnTo>
                  <a:pt x="678" y="202"/>
                </a:lnTo>
                <a:lnTo>
                  <a:pt x="668" y="205"/>
                </a:lnTo>
                <a:lnTo>
                  <a:pt x="658" y="209"/>
                </a:lnTo>
                <a:lnTo>
                  <a:pt x="655" y="212"/>
                </a:lnTo>
                <a:lnTo>
                  <a:pt x="653" y="215"/>
                </a:lnTo>
                <a:lnTo>
                  <a:pt x="651" y="220"/>
                </a:lnTo>
                <a:lnTo>
                  <a:pt x="649" y="227"/>
                </a:lnTo>
                <a:lnTo>
                  <a:pt x="648" y="243"/>
                </a:lnTo>
                <a:lnTo>
                  <a:pt x="648" y="262"/>
                </a:lnTo>
                <a:lnTo>
                  <a:pt x="648" y="272"/>
                </a:lnTo>
                <a:lnTo>
                  <a:pt x="651" y="283"/>
                </a:lnTo>
                <a:lnTo>
                  <a:pt x="653" y="293"/>
                </a:lnTo>
                <a:lnTo>
                  <a:pt x="655" y="301"/>
                </a:lnTo>
                <a:lnTo>
                  <a:pt x="664" y="315"/>
                </a:lnTo>
                <a:lnTo>
                  <a:pt x="671" y="326"/>
                </a:lnTo>
                <a:lnTo>
                  <a:pt x="674" y="331"/>
                </a:lnTo>
                <a:lnTo>
                  <a:pt x="677" y="337"/>
                </a:lnTo>
                <a:lnTo>
                  <a:pt x="679" y="344"/>
                </a:lnTo>
                <a:lnTo>
                  <a:pt x="681" y="350"/>
                </a:lnTo>
                <a:lnTo>
                  <a:pt x="681" y="357"/>
                </a:lnTo>
                <a:lnTo>
                  <a:pt x="681" y="363"/>
                </a:lnTo>
                <a:lnTo>
                  <a:pt x="679" y="368"/>
                </a:lnTo>
                <a:lnTo>
                  <a:pt x="676" y="372"/>
                </a:lnTo>
                <a:lnTo>
                  <a:pt x="673" y="376"/>
                </a:lnTo>
                <a:lnTo>
                  <a:pt x="671" y="381"/>
                </a:lnTo>
                <a:lnTo>
                  <a:pt x="670" y="384"/>
                </a:lnTo>
                <a:lnTo>
                  <a:pt x="668" y="390"/>
                </a:lnTo>
                <a:lnTo>
                  <a:pt x="667" y="395"/>
                </a:lnTo>
                <a:lnTo>
                  <a:pt x="666" y="401"/>
                </a:lnTo>
                <a:lnTo>
                  <a:pt x="665" y="407"/>
                </a:lnTo>
                <a:lnTo>
                  <a:pt x="661" y="413"/>
                </a:lnTo>
                <a:lnTo>
                  <a:pt x="658" y="419"/>
                </a:lnTo>
                <a:lnTo>
                  <a:pt x="652" y="423"/>
                </a:lnTo>
                <a:lnTo>
                  <a:pt x="647" y="427"/>
                </a:lnTo>
                <a:lnTo>
                  <a:pt x="641" y="429"/>
                </a:lnTo>
                <a:lnTo>
                  <a:pt x="635" y="429"/>
                </a:lnTo>
                <a:lnTo>
                  <a:pt x="629" y="429"/>
                </a:lnTo>
                <a:lnTo>
                  <a:pt x="624" y="428"/>
                </a:lnTo>
                <a:lnTo>
                  <a:pt x="620" y="426"/>
                </a:lnTo>
                <a:lnTo>
                  <a:pt x="616" y="423"/>
                </a:lnTo>
                <a:lnTo>
                  <a:pt x="611" y="423"/>
                </a:lnTo>
                <a:lnTo>
                  <a:pt x="607" y="423"/>
                </a:lnTo>
                <a:lnTo>
                  <a:pt x="602" y="426"/>
                </a:lnTo>
                <a:lnTo>
                  <a:pt x="592" y="432"/>
                </a:lnTo>
                <a:lnTo>
                  <a:pt x="584" y="439"/>
                </a:lnTo>
                <a:lnTo>
                  <a:pt x="580" y="442"/>
                </a:lnTo>
                <a:lnTo>
                  <a:pt x="576" y="445"/>
                </a:lnTo>
                <a:lnTo>
                  <a:pt x="571" y="447"/>
                </a:lnTo>
                <a:lnTo>
                  <a:pt x="567" y="448"/>
                </a:lnTo>
                <a:lnTo>
                  <a:pt x="563" y="450"/>
                </a:lnTo>
                <a:lnTo>
                  <a:pt x="558" y="448"/>
                </a:lnTo>
                <a:lnTo>
                  <a:pt x="554" y="447"/>
                </a:lnTo>
                <a:lnTo>
                  <a:pt x="552" y="446"/>
                </a:lnTo>
                <a:lnTo>
                  <a:pt x="547" y="439"/>
                </a:lnTo>
                <a:lnTo>
                  <a:pt x="545" y="431"/>
                </a:lnTo>
                <a:lnTo>
                  <a:pt x="544" y="421"/>
                </a:lnTo>
                <a:lnTo>
                  <a:pt x="542" y="409"/>
                </a:lnTo>
                <a:lnTo>
                  <a:pt x="544" y="397"/>
                </a:lnTo>
                <a:lnTo>
                  <a:pt x="544" y="389"/>
                </a:lnTo>
                <a:lnTo>
                  <a:pt x="542" y="381"/>
                </a:lnTo>
                <a:lnTo>
                  <a:pt x="540" y="374"/>
                </a:lnTo>
                <a:lnTo>
                  <a:pt x="532" y="357"/>
                </a:lnTo>
                <a:lnTo>
                  <a:pt x="525" y="338"/>
                </a:lnTo>
                <a:lnTo>
                  <a:pt x="523" y="332"/>
                </a:lnTo>
                <a:lnTo>
                  <a:pt x="521" y="328"/>
                </a:lnTo>
                <a:lnTo>
                  <a:pt x="517" y="325"/>
                </a:lnTo>
                <a:lnTo>
                  <a:pt x="515" y="322"/>
                </a:lnTo>
                <a:lnTo>
                  <a:pt x="511" y="321"/>
                </a:lnTo>
                <a:lnTo>
                  <a:pt x="508" y="322"/>
                </a:lnTo>
                <a:lnTo>
                  <a:pt x="504" y="324"/>
                </a:lnTo>
                <a:lnTo>
                  <a:pt x="500" y="327"/>
                </a:lnTo>
                <a:lnTo>
                  <a:pt x="496" y="332"/>
                </a:lnTo>
                <a:lnTo>
                  <a:pt x="494" y="338"/>
                </a:lnTo>
                <a:lnTo>
                  <a:pt x="492" y="344"/>
                </a:lnTo>
                <a:lnTo>
                  <a:pt x="492" y="351"/>
                </a:lnTo>
                <a:lnTo>
                  <a:pt x="495" y="365"/>
                </a:lnTo>
                <a:lnTo>
                  <a:pt x="498" y="378"/>
                </a:lnTo>
                <a:lnTo>
                  <a:pt x="501" y="383"/>
                </a:lnTo>
                <a:lnTo>
                  <a:pt x="500" y="388"/>
                </a:lnTo>
                <a:lnTo>
                  <a:pt x="497" y="391"/>
                </a:lnTo>
                <a:lnTo>
                  <a:pt x="495" y="394"/>
                </a:lnTo>
                <a:lnTo>
                  <a:pt x="485" y="398"/>
                </a:lnTo>
                <a:lnTo>
                  <a:pt x="475" y="402"/>
                </a:lnTo>
                <a:lnTo>
                  <a:pt x="462" y="406"/>
                </a:lnTo>
                <a:lnTo>
                  <a:pt x="453" y="408"/>
                </a:lnTo>
                <a:lnTo>
                  <a:pt x="450" y="409"/>
                </a:lnTo>
                <a:lnTo>
                  <a:pt x="447" y="410"/>
                </a:lnTo>
                <a:lnTo>
                  <a:pt x="446" y="412"/>
                </a:lnTo>
                <a:lnTo>
                  <a:pt x="446" y="414"/>
                </a:lnTo>
                <a:lnTo>
                  <a:pt x="446" y="420"/>
                </a:lnTo>
                <a:lnTo>
                  <a:pt x="447" y="427"/>
                </a:lnTo>
                <a:lnTo>
                  <a:pt x="447" y="435"/>
                </a:lnTo>
                <a:lnTo>
                  <a:pt x="445" y="445"/>
                </a:lnTo>
                <a:lnTo>
                  <a:pt x="441" y="460"/>
                </a:lnTo>
                <a:lnTo>
                  <a:pt x="437" y="477"/>
                </a:lnTo>
                <a:lnTo>
                  <a:pt x="435" y="484"/>
                </a:lnTo>
                <a:lnTo>
                  <a:pt x="435" y="491"/>
                </a:lnTo>
                <a:lnTo>
                  <a:pt x="437" y="497"/>
                </a:lnTo>
                <a:lnTo>
                  <a:pt x="439" y="503"/>
                </a:lnTo>
                <a:lnTo>
                  <a:pt x="441" y="508"/>
                </a:lnTo>
                <a:lnTo>
                  <a:pt x="444" y="513"/>
                </a:lnTo>
                <a:lnTo>
                  <a:pt x="446" y="519"/>
                </a:lnTo>
                <a:lnTo>
                  <a:pt x="447" y="524"/>
                </a:lnTo>
                <a:lnTo>
                  <a:pt x="450" y="539"/>
                </a:lnTo>
                <a:lnTo>
                  <a:pt x="451" y="554"/>
                </a:lnTo>
                <a:lnTo>
                  <a:pt x="454" y="576"/>
                </a:lnTo>
                <a:lnTo>
                  <a:pt x="459" y="604"/>
                </a:lnTo>
                <a:lnTo>
                  <a:pt x="466" y="635"/>
                </a:lnTo>
                <a:lnTo>
                  <a:pt x="472" y="662"/>
                </a:lnTo>
                <a:lnTo>
                  <a:pt x="478" y="684"/>
                </a:lnTo>
                <a:lnTo>
                  <a:pt x="483" y="699"/>
                </a:lnTo>
                <a:lnTo>
                  <a:pt x="487" y="705"/>
                </a:lnTo>
                <a:lnTo>
                  <a:pt x="490" y="709"/>
                </a:lnTo>
                <a:lnTo>
                  <a:pt x="496" y="710"/>
                </a:lnTo>
                <a:lnTo>
                  <a:pt x="502" y="711"/>
                </a:lnTo>
                <a:lnTo>
                  <a:pt x="509" y="710"/>
                </a:lnTo>
                <a:lnTo>
                  <a:pt x="515" y="708"/>
                </a:lnTo>
                <a:lnTo>
                  <a:pt x="520" y="704"/>
                </a:lnTo>
                <a:lnTo>
                  <a:pt x="523" y="699"/>
                </a:lnTo>
                <a:lnTo>
                  <a:pt x="527" y="693"/>
                </a:lnTo>
                <a:lnTo>
                  <a:pt x="529" y="686"/>
                </a:lnTo>
                <a:lnTo>
                  <a:pt x="532" y="679"/>
                </a:lnTo>
                <a:lnTo>
                  <a:pt x="532" y="671"/>
                </a:lnTo>
                <a:lnTo>
                  <a:pt x="533" y="666"/>
                </a:lnTo>
                <a:lnTo>
                  <a:pt x="534" y="662"/>
                </a:lnTo>
                <a:lnTo>
                  <a:pt x="538" y="659"/>
                </a:lnTo>
                <a:lnTo>
                  <a:pt x="540" y="658"/>
                </a:lnTo>
                <a:lnTo>
                  <a:pt x="545" y="658"/>
                </a:lnTo>
                <a:lnTo>
                  <a:pt x="548" y="659"/>
                </a:lnTo>
                <a:lnTo>
                  <a:pt x="553" y="662"/>
                </a:lnTo>
                <a:lnTo>
                  <a:pt x="558" y="667"/>
                </a:lnTo>
                <a:lnTo>
                  <a:pt x="567" y="667"/>
                </a:lnTo>
                <a:lnTo>
                  <a:pt x="580" y="669"/>
                </a:lnTo>
                <a:lnTo>
                  <a:pt x="585" y="677"/>
                </a:lnTo>
                <a:lnTo>
                  <a:pt x="590" y="685"/>
                </a:lnTo>
                <a:lnTo>
                  <a:pt x="592" y="688"/>
                </a:lnTo>
                <a:lnTo>
                  <a:pt x="595" y="691"/>
                </a:lnTo>
                <a:lnTo>
                  <a:pt x="598" y="693"/>
                </a:lnTo>
                <a:lnTo>
                  <a:pt x="602" y="692"/>
                </a:lnTo>
                <a:lnTo>
                  <a:pt x="610" y="688"/>
                </a:lnTo>
                <a:lnTo>
                  <a:pt x="617" y="686"/>
                </a:lnTo>
                <a:lnTo>
                  <a:pt x="621" y="686"/>
                </a:lnTo>
                <a:lnTo>
                  <a:pt x="622" y="687"/>
                </a:lnTo>
                <a:lnTo>
                  <a:pt x="623" y="690"/>
                </a:lnTo>
                <a:lnTo>
                  <a:pt x="623" y="693"/>
                </a:lnTo>
                <a:lnTo>
                  <a:pt x="621" y="702"/>
                </a:lnTo>
                <a:lnTo>
                  <a:pt x="616" y="711"/>
                </a:lnTo>
                <a:lnTo>
                  <a:pt x="613" y="722"/>
                </a:lnTo>
                <a:lnTo>
                  <a:pt x="611" y="734"/>
                </a:lnTo>
                <a:lnTo>
                  <a:pt x="611" y="747"/>
                </a:lnTo>
                <a:lnTo>
                  <a:pt x="615" y="760"/>
                </a:lnTo>
                <a:lnTo>
                  <a:pt x="618" y="773"/>
                </a:lnTo>
                <a:lnTo>
                  <a:pt x="621" y="787"/>
                </a:lnTo>
                <a:lnTo>
                  <a:pt x="622" y="799"/>
                </a:lnTo>
                <a:lnTo>
                  <a:pt x="623" y="809"/>
                </a:lnTo>
                <a:lnTo>
                  <a:pt x="623" y="818"/>
                </a:lnTo>
                <a:lnTo>
                  <a:pt x="622" y="825"/>
                </a:lnTo>
                <a:lnTo>
                  <a:pt x="617" y="839"/>
                </a:lnTo>
                <a:lnTo>
                  <a:pt x="609" y="855"/>
                </a:lnTo>
                <a:lnTo>
                  <a:pt x="605" y="863"/>
                </a:lnTo>
                <a:lnTo>
                  <a:pt x="603" y="872"/>
                </a:lnTo>
                <a:lnTo>
                  <a:pt x="602" y="880"/>
                </a:lnTo>
                <a:lnTo>
                  <a:pt x="602" y="889"/>
                </a:lnTo>
                <a:lnTo>
                  <a:pt x="603" y="898"/>
                </a:lnTo>
                <a:lnTo>
                  <a:pt x="607" y="906"/>
                </a:lnTo>
                <a:lnTo>
                  <a:pt x="611" y="913"/>
                </a:lnTo>
                <a:lnTo>
                  <a:pt x="617" y="921"/>
                </a:lnTo>
                <a:lnTo>
                  <a:pt x="621" y="925"/>
                </a:lnTo>
                <a:lnTo>
                  <a:pt x="622" y="929"/>
                </a:lnTo>
                <a:lnTo>
                  <a:pt x="624" y="932"/>
                </a:lnTo>
                <a:lnTo>
                  <a:pt x="624" y="935"/>
                </a:lnTo>
                <a:lnTo>
                  <a:pt x="624" y="940"/>
                </a:lnTo>
                <a:lnTo>
                  <a:pt x="622" y="946"/>
                </a:lnTo>
                <a:lnTo>
                  <a:pt x="614" y="958"/>
                </a:lnTo>
                <a:lnTo>
                  <a:pt x="608" y="971"/>
                </a:lnTo>
                <a:lnTo>
                  <a:pt x="605" y="982"/>
                </a:lnTo>
                <a:lnTo>
                  <a:pt x="605" y="998"/>
                </a:lnTo>
                <a:lnTo>
                  <a:pt x="605" y="1015"/>
                </a:lnTo>
                <a:lnTo>
                  <a:pt x="605" y="1034"/>
                </a:lnTo>
                <a:lnTo>
                  <a:pt x="605" y="1075"/>
                </a:lnTo>
                <a:lnTo>
                  <a:pt x="603" y="1108"/>
                </a:lnTo>
                <a:lnTo>
                  <a:pt x="599" y="1135"/>
                </a:lnTo>
                <a:lnTo>
                  <a:pt x="596" y="1164"/>
                </a:lnTo>
                <a:lnTo>
                  <a:pt x="594" y="1178"/>
                </a:lnTo>
                <a:lnTo>
                  <a:pt x="590" y="1192"/>
                </a:lnTo>
                <a:lnTo>
                  <a:pt x="585" y="1207"/>
                </a:lnTo>
                <a:lnTo>
                  <a:pt x="579" y="1221"/>
                </a:lnTo>
                <a:lnTo>
                  <a:pt x="572" y="1234"/>
                </a:lnTo>
                <a:lnTo>
                  <a:pt x="564" y="1246"/>
                </a:lnTo>
                <a:lnTo>
                  <a:pt x="557" y="1255"/>
                </a:lnTo>
                <a:lnTo>
                  <a:pt x="553" y="1265"/>
                </a:lnTo>
                <a:lnTo>
                  <a:pt x="560" y="1279"/>
                </a:lnTo>
                <a:lnTo>
                  <a:pt x="569" y="1297"/>
                </a:lnTo>
                <a:lnTo>
                  <a:pt x="569" y="1308"/>
                </a:lnTo>
                <a:lnTo>
                  <a:pt x="567" y="1315"/>
                </a:lnTo>
                <a:lnTo>
                  <a:pt x="564" y="1321"/>
                </a:lnTo>
                <a:lnTo>
                  <a:pt x="560" y="1326"/>
                </a:lnTo>
                <a:lnTo>
                  <a:pt x="557" y="1327"/>
                </a:lnTo>
                <a:lnTo>
                  <a:pt x="553" y="1328"/>
                </a:lnTo>
                <a:lnTo>
                  <a:pt x="550" y="1327"/>
                </a:lnTo>
                <a:lnTo>
                  <a:pt x="547" y="1324"/>
                </a:lnTo>
                <a:lnTo>
                  <a:pt x="542" y="1317"/>
                </a:lnTo>
                <a:lnTo>
                  <a:pt x="534" y="1309"/>
                </a:lnTo>
                <a:lnTo>
                  <a:pt x="529" y="1305"/>
                </a:lnTo>
                <a:lnTo>
                  <a:pt x="525" y="1303"/>
                </a:lnTo>
                <a:lnTo>
                  <a:pt x="519" y="1302"/>
                </a:lnTo>
                <a:lnTo>
                  <a:pt x="513" y="1302"/>
                </a:lnTo>
                <a:lnTo>
                  <a:pt x="510" y="1303"/>
                </a:lnTo>
                <a:lnTo>
                  <a:pt x="509" y="1305"/>
                </a:lnTo>
                <a:lnTo>
                  <a:pt x="507" y="1308"/>
                </a:lnTo>
                <a:lnTo>
                  <a:pt x="506" y="1310"/>
                </a:lnTo>
                <a:lnTo>
                  <a:pt x="506" y="1316"/>
                </a:lnTo>
                <a:lnTo>
                  <a:pt x="506" y="1323"/>
                </a:lnTo>
                <a:lnTo>
                  <a:pt x="509" y="1341"/>
                </a:lnTo>
                <a:lnTo>
                  <a:pt x="513" y="1362"/>
                </a:lnTo>
                <a:lnTo>
                  <a:pt x="516" y="1373"/>
                </a:lnTo>
                <a:lnTo>
                  <a:pt x="521" y="1384"/>
                </a:lnTo>
                <a:lnTo>
                  <a:pt x="526" y="1393"/>
                </a:lnTo>
                <a:lnTo>
                  <a:pt x="533" y="1403"/>
                </a:lnTo>
                <a:lnTo>
                  <a:pt x="538" y="1412"/>
                </a:lnTo>
                <a:lnTo>
                  <a:pt x="542" y="1421"/>
                </a:lnTo>
                <a:lnTo>
                  <a:pt x="544" y="1425"/>
                </a:lnTo>
                <a:lnTo>
                  <a:pt x="544" y="1429"/>
                </a:lnTo>
                <a:lnTo>
                  <a:pt x="544" y="1434"/>
                </a:lnTo>
                <a:lnTo>
                  <a:pt x="544" y="1437"/>
                </a:lnTo>
                <a:lnTo>
                  <a:pt x="541" y="1443"/>
                </a:lnTo>
                <a:lnTo>
                  <a:pt x="538" y="1449"/>
                </a:lnTo>
                <a:lnTo>
                  <a:pt x="534" y="1453"/>
                </a:lnTo>
                <a:lnTo>
                  <a:pt x="529" y="1455"/>
                </a:lnTo>
                <a:lnTo>
                  <a:pt x="525" y="1455"/>
                </a:lnTo>
                <a:lnTo>
                  <a:pt x="517" y="1454"/>
                </a:lnTo>
                <a:lnTo>
                  <a:pt x="509" y="1450"/>
                </a:lnTo>
                <a:lnTo>
                  <a:pt x="498" y="1446"/>
                </a:lnTo>
                <a:lnTo>
                  <a:pt x="492" y="1443"/>
                </a:lnTo>
                <a:lnTo>
                  <a:pt x="487" y="1442"/>
                </a:lnTo>
                <a:lnTo>
                  <a:pt x="483" y="1442"/>
                </a:lnTo>
                <a:lnTo>
                  <a:pt x="478" y="1442"/>
                </a:lnTo>
                <a:lnTo>
                  <a:pt x="475" y="1443"/>
                </a:lnTo>
                <a:lnTo>
                  <a:pt x="471" y="1446"/>
                </a:lnTo>
                <a:lnTo>
                  <a:pt x="467" y="1448"/>
                </a:lnTo>
                <a:lnTo>
                  <a:pt x="464" y="1452"/>
                </a:lnTo>
                <a:lnTo>
                  <a:pt x="451" y="1468"/>
                </a:lnTo>
                <a:lnTo>
                  <a:pt x="437" y="1491"/>
                </a:lnTo>
                <a:lnTo>
                  <a:pt x="422" y="1513"/>
                </a:lnTo>
                <a:lnTo>
                  <a:pt x="409" y="1535"/>
                </a:lnTo>
                <a:lnTo>
                  <a:pt x="404" y="1544"/>
                </a:lnTo>
                <a:lnTo>
                  <a:pt x="400" y="1550"/>
                </a:lnTo>
                <a:lnTo>
                  <a:pt x="397" y="1553"/>
                </a:lnTo>
                <a:lnTo>
                  <a:pt x="395" y="1555"/>
                </a:lnTo>
                <a:lnTo>
                  <a:pt x="393" y="1555"/>
                </a:lnTo>
                <a:lnTo>
                  <a:pt x="391" y="1555"/>
                </a:lnTo>
                <a:lnTo>
                  <a:pt x="384" y="1553"/>
                </a:lnTo>
                <a:lnTo>
                  <a:pt x="374" y="1547"/>
                </a:lnTo>
                <a:lnTo>
                  <a:pt x="368" y="1542"/>
                </a:lnTo>
                <a:lnTo>
                  <a:pt x="362" y="1537"/>
                </a:lnTo>
                <a:lnTo>
                  <a:pt x="356" y="1532"/>
                </a:lnTo>
                <a:lnTo>
                  <a:pt x="351" y="1526"/>
                </a:lnTo>
                <a:lnTo>
                  <a:pt x="345" y="1510"/>
                </a:lnTo>
                <a:lnTo>
                  <a:pt x="339" y="1498"/>
                </a:lnTo>
                <a:lnTo>
                  <a:pt x="336" y="1497"/>
                </a:lnTo>
                <a:lnTo>
                  <a:pt x="332" y="1497"/>
                </a:lnTo>
                <a:lnTo>
                  <a:pt x="330" y="1498"/>
                </a:lnTo>
                <a:lnTo>
                  <a:pt x="327" y="1499"/>
                </a:lnTo>
                <a:lnTo>
                  <a:pt x="325" y="1506"/>
                </a:lnTo>
                <a:lnTo>
                  <a:pt x="322" y="1516"/>
                </a:lnTo>
                <a:lnTo>
                  <a:pt x="319" y="1526"/>
                </a:lnTo>
                <a:lnTo>
                  <a:pt x="317" y="1537"/>
                </a:lnTo>
                <a:lnTo>
                  <a:pt x="315" y="1542"/>
                </a:lnTo>
                <a:lnTo>
                  <a:pt x="313" y="1547"/>
                </a:lnTo>
                <a:lnTo>
                  <a:pt x="311" y="1550"/>
                </a:lnTo>
                <a:lnTo>
                  <a:pt x="307" y="1554"/>
                </a:lnTo>
                <a:lnTo>
                  <a:pt x="303" y="1559"/>
                </a:lnTo>
                <a:lnTo>
                  <a:pt x="301" y="1563"/>
                </a:lnTo>
                <a:lnTo>
                  <a:pt x="301" y="1568"/>
                </a:lnTo>
                <a:lnTo>
                  <a:pt x="303" y="1573"/>
                </a:lnTo>
                <a:lnTo>
                  <a:pt x="305" y="1576"/>
                </a:lnTo>
                <a:lnTo>
                  <a:pt x="307" y="1581"/>
                </a:lnTo>
                <a:lnTo>
                  <a:pt x="308" y="1585"/>
                </a:lnTo>
                <a:lnTo>
                  <a:pt x="308" y="1588"/>
                </a:lnTo>
                <a:lnTo>
                  <a:pt x="305" y="1597"/>
                </a:lnTo>
                <a:lnTo>
                  <a:pt x="300" y="1603"/>
                </a:lnTo>
                <a:lnTo>
                  <a:pt x="294" y="1607"/>
                </a:lnTo>
                <a:lnTo>
                  <a:pt x="287" y="1614"/>
                </a:lnTo>
                <a:lnTo>
                  <a:pt x="278" y="1627"/>
                </a:lnTo>
                <a:lnTo>
                  <a:pt x="269" y="1639"/>
                </a:lnTo>
                <a:lnTo>
                  <a:pt x="262" y="1644"/>
                </a:lnTo>
                <a:lnTo>
                  <a:pt x="252" y="1650"/>
                </a:lnTo>
                <a:lnTo>
                  <a:pt x="244" y="1657"/>
                </a:lnTo>
                <a:lnTo>
                  <a:pt x="238" y="1664"/>
                </a:lnTo>
                <a:lnTo>
                  <a:pt x="235" y="1670"/>
                </a:lnTo>
                <a:lnTo>
                  <a:pt x="231" y="1675"/>
                </a:lnTo>
                <a:lnTo>
                  <a:pt x="226" y="1679"/>
                </a:lnTo>
                <a:lnTo>
                  <a:pt x="223" y="1681"/>
                </a:lnTo>
                <a:lnTo>
                  <a:pt x="218" y="1681"/>
                </a:lnTo>
                <a:lnTo>
                  <a:pt x="213" y="1680"/>
                </a:lnTo>
                <a:lnTo>
                  <a:pt x="207" y="1675"/>
                </a:lnTo>
                <a:lnTo>
                  <a:pt x="200" y="1670"/>
                </a:lnTo>
                <a:lnTo>
                  <a:pt x="195" y="1667"/>
                </a:lnTo>
                <a:lnTo>
                  <a:pt x="192" y="1666"/>
                </a:lnTo>
                <a:lnTo>
                  <a:pt x="188" y="1666"/>
                </a:lnTo>
                <a:lnTo>
                  <a:pt x="186" y="1666"/>
                </a:lnTo>
                <a:lnTo>
                  <a:pt x="180" y="1669"/>
                </a:lnTo>
                <a:lnTo>
                  <a:pt x="174" y="1676"/>
                </a:lnTo>
                <a:lnTo>
                  <a:pt x="163" y="1693"/>
                </a:lnTo>
                <a:lnTo>
                  <a:pt x="150" y="1711"/>
                </a:lnTo>
                <a:lnTo>
                  <a:pt x="144" y="1717"/>
                </a:lnTo>
                <a:lnTo>
                  <a:pt x="137" y="1723"/>
                </a:lnTo>
                <a:lnTo>
                  <a:pt x="131" y="1727"/>
                </a:lnTo>
                <a:lnTo>
                  <a:pt x="128" y="1729"/>
                </a:lnTo>
                <a:lnTo>
                  <a:pt x="125" y="1729"/>
                </a:lnTo>
                <a:lnTo>
                  <a:pt x="125" y="1730"/>
                </a:lnTo>
                <a:lnTo>
                  <a:pt x="125" y="1731"/>
                </a:lnTo>
                <a:lnTo>
                  <a:pt x="125" y="1733"/>
                </a:lnTo>
                <a:lnTo>
                  <a:pt x="128" y="1738"/>
                </a:lnTo>
                <a:lnTo>
                  <a:pt x="129" y="1745"/>
                </a:lnTo>
                <a:lnTo>
                  <a:pt x="129" y="1753"/>
                </a:lnTo>
                <a:lnTo>
                  <a:pt x="126" y="1762"/>
                </a:lnTo>
                <a:lnTo>
                  <a:pt x="123" y="1770"/>
                </a:lnTo>
                <a:lnTo>
                  <a:pt x="120" y="1777"/>
                </a:lnTo>
                <a:lnTo>
                  <a:pt x="118" y="1786"/>
                </a:lnTo>
                <a:lnTo>
                  <a:pt x="117" y="1794"/>
                </a:lnTo>
                <a:lnTo>
                  <a:pt x="118" y="1800"/>
                </a:lnTo>
                <a:lnTo>
                  <a:pt x="119" y="1806"/>
                </a:lnTo>
                <a:lnTo>
                  <a:pt x="125" y="1815"/>
                </a:lnTo>
                <a:lnTo>
                  <a:pt x="130" y="1822"/>
                </a:lnTo>
                <a:lnTo>
                  <a:pt x="132" y="1826"/>
                </a:lnTo>
                <a:lnTo>
                  <a:pt x="133" y="1830"/>
                </a:lnTo>
                <a:lnTo>
                  <a:pt x="133" y="1833"/>
                </a:lnTo>
                <a:lnTo>
                  <a:pt x="133" y="1837"/>
                </a:lnTo>
                <a:lnTo>
                  <a:pt x="131" y="1841"/>
                </a:lnTo>
                <a:lnTo>
                  <a:pt x="126" y="1844"/>
                </a:lnTo>
                <a:lnTo>
                  <a:pt x="123" y="1845"/>
                </a:lnTo>
                <a:lnTo>
                  <a:pt x="117" y="1845"/>
                </a:lnTo>
                <a:lnTo>
                  <a:pt x="105" y="1844"/>
                </a:lnTo>
                <a:lnTo>
                  <a:pt x="93" y="1845"/>
                </a:lnTo>
                <a:lnTo>
                  <a:pt x="85" y="1850"/>
                </a:lnTo>
                <a:lnTo>
                  <a:pt x="75" y="1858"/>
                </a:lnTo>
                <a:lnTo>
                  <a:pt x="66" y="1864"/>
                </a:lnTo>
                <a:lnTo>
                  <a:pt x="56" y="1870"/>
                </a:lnTo>
                <a:lnTo>
                  <a:pt x="51" y="1874"/>
                </a:lnTo>
                <a:lnTo>
                  <a:pt x="48" y="1878"/>
                </a:lnTo>
                <a:lnTo>
                  <a:pt x="45" y="1883"/>
                </a:lnTo>
                <a:lnTo>
                  <a:pt x="44" y="1888"/>
                </a:lnTo>
                <a:lnTo>
                  <a:pt x="42" y="1901"/>
                </a:lnTo>
                <a:lnTo>
                  <a:pt x="40" y="1916"/>
                </a:lnTo>
                <a:lnTo>
                  <a:pt x="36" y="1933"/>
                </a:lnTo>
                <a:lnTo>
                  <a:pt x="32" y="1950"/>
                </a:lnTo>
                <a:lnTo>
                  <a:pt x="26" y="1967"/>
                </a:lnTo>
                <a:lnTo>
                  <a:pt x="22" y="1984"/>
                </a:lnTo>
                <a:lnTo>
                  <a:pt x="19" y="1994"/>
                </a:lnTo>
                <a:lnTo>
                  <a:pt x="18" y="2001"/>
                </a:lnTo>
                <a:lnTo>
                  <a:pt x="19" y="2005"/>
                </a:lnTo>
                <a:lnTo>
                  <a:pt x="22" y="2008"/>
                </a:lnTo>
                <a:lnTo>
                  <a:pt x="25" y="2010"/>
                </a:lnTo>
                <a:lnTo>
                  <a:pt x="30" y="2010"/>
                </a:lnTo>
                <a:lnTo>
                  <a:pt x="38" y="2010"/>
                </a:lnTo>
                <a:lnTo>
                  <a:pt x="48" y="2009"/>
                </a:lnTo>
                <a:lnTo>
                  <a:pt x="53" y="2010"/>
                </a:lnTo>
                <a:lnTo>
                  <a:pt x="57" y="2011"/>
                </a:lnTo>
                <a:lnTo>
                  <a:pt x="62" y="2013"/>
                </a:lnTo>
                <a:lnTo>
                  <a:pt x="66" y="2015"/>
                </a:lnTo>
                <a:lnTo>
                  <a:pt x="72" y="2022"/>
                </a:lnTo>
                <a:lnTo>
                  <a:pt x="76" y="2029"/>
                </a:lnTo>
                <a:lnTo>
                  <a:pt x="79" y="2038"/>
                </a:lnTo>
                <a:lnTo>
                  <a:pt x="79" y="2045"/>
                </a:lnTo>
                <a:lnTo>
                  <a:pt x="78" y="2048"/>
                </a:lnTo>
                <a:lnTo>
                  <a:pt x="76" y="2051"/>
                </a:lnTo>
                <a:lnTo>
                  <a:pt x="74" y="2053"/>
                </a:lnTo>
                <a:lnTo>
                  <a:pt x="70" y="2055"/>
                </a:lnTo>
                <a:lnTo>
                  <a:pt x="65" y="2058"/>
                </a:lnTo>
                <a:lnTo>
                  <a:pt x="61" y="2061"/>
                </a:lnTo>
                <a:lnTo>
                  <a:pt x="59" y="2065"/>
                </a:lnTo>
                <a:lnTo>
                  <a:pt x="59" y="2068"/>
                </a:lnTo>
                <a:lnTo>
                  <a:pt x="60" y="2072"/>
                </a:lnTo>
                <a:lnTo>
                  <a:pt x="62" y="2074"/>
                </a:lnTo>
                <a:lnTo>
                  <a:pt x="66" y="2077"/>
                </a:lnTo>
                <a:lnTo>
                  <a:pt x="70" y="2078"/>
                </a:lnTo>
                <a:lnTo>
                  <a:pt x="75" y="2079"/>
                </a:lnTo>
                <a:lnTo>
                  <a:pt x="79" y="2080"/>
                </a:lnTo>
                <a:lnTo>
                  <a:pt x="82" y="2083"/>
                </a:lnTo>
                <a:lnTo>
                  <a:pt x="86" y="2087"/>
                </a:lnTo>
                <a:lnTo>
                  <a:pt x="88" y="2092"/>
                </a:lnTo>
                <a:lnTo>
                  <a:pt x="89" y="2098"/>
                </a:lnTo>
                <a:lnTo>
                  <a:pt x="89" y="2106"/>
                </a:lnTo>
                <a:lnTo>
                  <a:pt x="88" y="2116"/>
                </a:lnTo>
                <a:lnTo>
                  <a:pt x="86" y="2126"/>
                </a:lnTo>
                <a:lnTo>
                  <a:pt x="82" y="2134"/>
                </a:lnTo>
                <a:lnTo>
                  <a:pt x="78" y="2142"/>
                </a:lnTo>
                <a:lnTo>
                  <a:pt x="73" y="2148"/>
                </a:lnTo>
                <a:lnTo>
                  <a:pt x="59" y="2161"/>
                </a:lnTo>
                <a:lnTo>
                  <a:pt x="40" y="2177"/>
                </a:lnTo>
                <a:lnTo>
                  <a:pt x="31" y="2186"/>
                </a:lnTo>
                <a:lnTo>
                  <a:pt x="23" y="2194"/>
                </a:lnTo>
                <a:lnTo>
                  <a:pt x="12" y="2204"/>
                </a:lnTo>
                <a:lnTo>
                  <a:pt x="4" y="2212"/>
                </a:lnTo>
                <a:lnTo>
                  <a:pt x="0" y="2219"/>
                </a:lnTo>
                <a:lnTo>
                  <a:pt x="0" y="2225"/>
                </a:lnTo>
                <a:lnTo>
                  <a:pt x="3" y="2230"/>
                </a:lnTo>
                <a:lnTo>
                  <a:pt x="7" y="2236"/>
                </a:lnTo>
                <a:lnTo>
                  <a:pt x="13" y="2241"/>
                </a:lnTo>
                <a:lnTo>
                  <a:pt x="19" y="2247"/>
                </a:lnTo>
                <a:lnTo>
                  <a:pt x="22" y="2250"/>
                </a:lnTo>
                <a:lnTo>
                  <a:pt x="24" y="2251"/>
                </a:lnTo>
                <a:lnTo>
                  <a:pt x="32" y="2249"/>
                </a:lnTo>
                <a:lnTo>
                  <a:pt x="42" y="2246"/>
                </a:lnTo>
                <a:lnTo>
                  <a:pt x="56" y="2241"/>
                </a:lnTo>
                <a:lnTo>
                  <a:pt x="74" y="2231"/>
                </a:lnTo>
                <a:lnTo>
                  <a:pt x="85" y="2224"/>
                </a:lnTo>
                <a:lnTo>
                  <a:pt x="95" y="2217"/>
                </a:lnTo>
                <a:lnTo>
                  <a:pt x="104" y="2211"/>
                </a:lnTo>
                <a:lnTo>
                  <a:pt x="113" y="2206"/>
                </a:lnTo>
                <a:lnTo>
                  <a:pt x="128" y="2208"/>
                </a:lnTo>
                <a:lnTo>
                  <a:pt x="139" y="2206"/>
                </a:lnTo>
                <a:lnTo>
                  <a:pt x="147" y="2202"/>
                </a:lnTo>
                <a:lnTo>
                  <a:pt x="160" y="2193"/>
                </a:lnTo>
                <a:lnTo>
                  <a:pt x="171" y="2185"/>
                </a:lnTo>
                <a:lnTo>
                  <a:pt x="180" y="2179"/>
                </a:lnTo>
                <a:lnTo>
                  <a:pt x="185" y="2180"/>
                </a:lnTo>
                <a:lnTo>
                  <a:pt x="193" y="2183"/>
                </a:lnTo>
                <a:lnTo>
                  <a:pt x="205" y="2184"/>
                </a:lnTo>
                <a:lnTo>
                  <a:pt x="220" y="2184"/>
                </a:lnTo>
                <a:lnTo>
                  <a:pt x="243" y="2183"/>
                </a:lnTo>
                <a:lnTo>
                  <a:pt x="265" y="2183"/>
                </a:lnTo>
                <a:lnTo>
                  <a:pt x="276" y="2183"/>
                </a:lnTo>
                <a:lnTo>
                  <a:pt x="284" y="2184"/>
                </a:lnTo>
                <a:lnTo>
                  <a:pt x="292" y="2186"/>
                </a:lnTo>
                <a:lnTo>
                  <a:pt x="296" y="2187"/>
                </a:lnTo>
                <a:lnTo>
                  <a:pt x="307" y="2192"/>
                </a:lnTo>
                <a:lnTo>
                  <a:pt x="317" y="2193"/>
                </a:lnTo>
                <a:lnTo>
                  <a:pt x="325" y="2194"/>
                </a:lnTo>
                <a:lnTo>
                  <a:pt x="333" y="2193"/>
                </a:lnTo>
                <a:lnTo>
                  <a:pt x="351" y="2190"/>
                </a:lnTo>
                <a:lnTo>
                  <a:pt x="369" y="2187"/>
                </a:lnTo>
                <a:lnTo>
                  <a:pt x="376" y="2187"/>
                </a:lnTo>
                <a:lnTo>
                  <a:pt x="382" y="2188"/>
                </a:lnTo>
                <a:lnTo>
                  <a:pt x="388" y="2191"/>
                </a:lnTo>
                <a:lnTo>
                  <a:pt x="393" y="2193"/>
                </a:lnTo>
                <a:lnTo>
                  <a:pt x="399" y="2197"/>
                </a:lnTo>
                <a:lnTo>
                  <a:pt x="404" y="2202"/>
                </a:lnTo>
                <a:lnTo>
                  <a:pt x="412" y="2206"/>
                </a:lnTo>
                <a:lnTo>
                  <a:pt x="419" y="2208"/>
                </a:lnTo>
                <a:lnTo>
                  <a:pt x="426" y="2208"/>
                </a:lnTo>
                <a:lnTo>
                  <a:pt x="434" y="2206"/>
                </a:lnTo>
                <a:lnTo>
                  <a:pt x="443" y="2205"/>
                </a:lnTo>
                <a:lnTo>
                  <a:pt x="448" y="2203"/>
                </a:lnTo>
                <a:lnTo>
                  <a:pt x="454" y="2199"/>
                </a:lnTo>
                <a:lnTo>
                  <a:pt x="460" y="2198"/>
                </a:lnTo>
                <a:lnTo>
                  <a:pt x="466" y="2197"/>
                </a:lnTo>
                <a:lnTo>
                  <a:pt x="473" y="2198"/>
                </a:lnTo>
                <a:lnTo>
                  <a:pt x="481" y="2199"/>
                </a:lnTo>
                <a:lnTo>
                  <a:pt x="489" y="2199"/>
                </a:lnTo>
                <a:lnTo>
                  <a:pt x="497" y="2198"/>
                </a:lnTo>
                <a:lnTo>
                  <a:pt x="503" y="2197"/>
                </a:lnTo>
                <a:lnTo>
                  <a:pt x="511" y="2193"/>
                </a:lnTo>
                <a:lnTo>
                  <a:pt x="519" y="2192"/>
                </a:lnTo>
                <a:lnTo>
                  <a:pt x="520" y="2193"/>
                </a:lnTo>
                <a:lnTo>
                  <a:pt x="522" y="2196"/>
                </a:lnTo>
                <a:lnTo>
                  <a:pt x="523" y="2198"/>
                </a:lnTo>
                <a:lnTo>
                  <a:pt x="526" y="2203"/>
                </a:lnTo>
                <a:lnTo>
                  <a:pt x="527" y="2208"/>
                </a:lnTo>
                <a:lnTo>
                  <a:pt x="527" y="2213"/>
                </a:lnTo>
                <a:lnTo>
                  <a:pt x="526" y="2218"/>
                </a:lnTo>
                <a:lnTo>
                  <a:pt x="522" y="2224"/>
                </a:lnTo>
                <a:lnTo>
                  <a:pt x="516" y="2229"/>
                </a:lnTo>
                <a:lnTo>
                  <a:pt x="509" y="2234"/>
                </a:lnTo>
                <a:lnTo>
                  <a:pt x="500" y="2238"/>
                </a:lnTo>
                <a:lnTo>
                  <a:pt x="490" y="2243"/>
                </a:lnTo>
                <a:lnTo>
                  <a:pt x="469" y="2250"/>
                </a:lnTo>
                <a:lnTo>
                  <a:pt x="451" y="2256"/>
                </a:lnTo>
                <a:lnTo>
                  <a:pt x="446" y="2257"/>
                </a:lnTo>
                <a:lnTo>
                  <a:pt x="444" y="2260"/>
                </a:lnTo>
                <a:lnTo>
                  <a:pt x="440" y="2263"/>
                </a:lnTo>
                <a:lnTo>
                  <a:pt x="439" y="2267"/>
                </a:lnTo>
                <a:lnTo>
                  <a:pt x="435" y="2276"/>
                </a:lnTo>
                <a:lnTo>
                  <a:pt x="434" y="2288"/>
                </a:lnTo>
                <a:lnTo>
                  <a:pt x="434" y="2312"/>
                </a:lnTo>
                <a:lnTo>
                  <a:pt x="432" y="2330"/>
                </a:lnTo>
                <a:lnTo>
                  <a:pt x="431" y="2332"/>
                </a:lnTo>
                <a:lnTo>
                  <a:pt x="432" y="2335"/>
                </a:lnTo>
                <a:lnTo>
                  <a:pt x="433" y="2337"/>
                </a:lnTo>
                <a:lnTo>
                  <a:pt x="435" y="2338"/>
                </a:lnTo>
                <a:lnTo>
                  <a:pt x="441" y="2339"/>
                </a:lnTo>
                <a:lnTo>
                  <a:pt x="448" y="2341"/>
                </a:lnTo>
                <a:lnTo>
                  <a:pt x="457" y="2342"/>
                </a:lnTo>
                <a:lnTo>
                  <a:pt x="465" y="2343"/>
                </a:lnTo>
                <a:lnTo>
                  <a:pt x="469" y="2343"/>
                </a:lnTo>
                <a:lnTo>
                  <a:pt x="472" y="2345"/>
                </a:lnTo>
                <a:lnTo>
                  <a:pt x="475" y="2347"/>
                </a:lnTo>
                <a:lnTo>
                  <a:pt x="477" y="2349"/>
                </a:lnTo>
                <a:lnTo>
                  <a:pt x="479" y="2356"/>
                </a:lnTo>
                <a:lnTo>
                  <a:pt x="482" y="2366"/>
                </a:lnTo>
                <a:lnTo>
                  <a:pt x="482" y="2377"/>
                </a:lnTo>
                <a:lnTo>
                  <a:pt x="483" y="2391"/>
                </a:lnTo>
                <a:lnTo>
                  <a:pt x="487" y="2405"/>
                </a:lnTo>
                <a:lnTo>
                  <a:pt x="491" y="2418"/>
                </a:lnTo>
                <a:lnTo>
                  <a:pt x="492" y="2424"/>
                </a:lnTo>
                <a:lnTo>
                  <a:pt x="492" y="2429"/>
                </a:lnTo>
                <a:lnTo>
                  <a:pt x="491" y="2433"/>
                </a:lnTo>
                <a:lnTo>
                  <a:pt x="488" y="2438"/>
                </a:lnTo>
                <a:lnTo>
                  <a:pt x="481" y="2444"/>
                </a:lnTo>
                <a:lnTo>
                  <a:pt x="475" y="2451"/>
                </a:lnTo>
                <a:lnTo>
                  <a:pt x="472" y="2455"/>
                </a:lnTo>
                <a:lnTo>
                  <a:pt x="471" y="2458"/>
                </a:lnTo>
                <a:lnTo>
                  <a:pt x="471" y="2462"/>
                </a:lnTo>
                <a:lnTo>
                  <a:pt x="472" y="2465"/>
                </a:lnTo>
                <a:lnTo>
                  <a:pt x="482" y="2470"/>
                </a:lnTo>
                <a:lnTo>
                  <a:pt x="491" y="2473"/>
                </a:lnTo>
                <a:lnTo>
                  <a:pt x="495" y="2476"/>
                </a:lnTo>
                <a:lnTo>
                  <a:pt x="497" y="2483"/>
                </a:lnTo>
                <a:lnTo>
                  <a:pt x="498" y="2492"/>
                </a:lnTo>
                <a:lnTo>
                  <a:pt x="501" y="2501"/>
                </a:lnTo>
                <a:lnTo>
                  <a:pt x="502" y="2521"/>
                </a:lnTo>
                <a:lnTo>
                  <a:pt x="503" y="2540"/>
                </a:lnTo>
                <a:lnTo>
                  <a:pt x="510" y="2545"/>
                </a:lnTo>
                <a:lnTo>
                  <a:pt x="520" y="2550"/>
                </a:lnTo>
                <a:lnTo>
                  <a:pt x="521" y="2553"/>
                </a:lnTo>
                <a:lnTo>
                  <a:pt x="520" y="2557"/>
                </a:lnTo>
                <a:lnTo>
                  <a:pt x="517" y="2559"/>
                </a:lnTo>
                <a:lnTo>
                  <a:pt x="514" y="2563"/>
                </a:lnTo>
                <a:lnTo>
                  <a:pt x="507" y="2569"/>
                </a:lnTo>
                <a:lnTo>
                  <a:pt x="498" y="2577"/>
                </a:lnTo>
                <a:lnTo>
                  <a:pt x="494" y="2583"/>
                </a:lnTo>
                <a:lnTo>
                  <a:pt x="492" y="2589"/>
                </a:lnTo>
                <a:lnTo>
                  <a:pt x="492" y="2595"/>
                </a:lnTo>
                <a:lnTo>
                  <a:pt x="494" y="2600"/>
                </a:lnTo>
                <a:lnTo>
                  <a:pt x="496" y="2605"/>
                </a:lnTo>
                <a:lnTo>
                  <a:pt x="501" y="2608"/>
                </a:lnTo>
                <a:lnTo>
                  <a:pt x="507" y="2610"/>
                </a:lnTo>
                <a:lnTo>
                  <a:pt x="513" y="2610"/>
                </a:lnTo>
                <a:lnTo>
                  <a:pt x="527" y="2610"/>
                </a:lnTo>
                <a:lnTo>
                  <a:pt x="538" y="2613"/>
                </a:lnTo>
                <a:lnTo>
                  <a:pt x="542" y="2614"/>
                </a:lnTo>
                <a:lnTo>
                  <a:pt x="546" y="2618"/>
                </a:lnTo>
                <a:lnTo>
                  <a:pt x="548" y="2621"/>
                </a:lnTo>
                <a:lnTo>
                  <a:pt x="550" y="2627"/>
                </a:lnTo>
                <a:lnTo>
                  <a:pt x="551" y="2633"/>
                </a:lnTo>
                <a:lnTo>
                  <a:pt x="552" y="2638"/>
                </a:lnTo>
                <a:lnTo>
                  <a:pt x="555" y="2641"/>
                </a:lnTo>
                <a:lnTo>
                  <a:pt x="559" y="2644"/>
                </a:lnTo>
                <a:lnTo>
                  <a:pt x="564" y="2645"/>
                </a:lnTo>
                <a:lnTo>
                  <a:pt x="570" y="2646"/>
                </a:lnTo>
                <a:lnTo>
                  <a:pt x="577" y="2646"/>
                </a:lnTo>
                <a:lnTo>
                  <a:pt x="584" y="2646"/>
                </a:lnTo>
                <a:lnTo>
                  <a:pt x="591" y="2645"/>
                </a:lnTo>
                <a:lnTo>
                  <a:pt x="597" y="2646"/>
                </a:lnTo>
                <a:lnTo>
                  <a:pt x="602" y="2646"/>
                </a:lnTo>
                <a:lnTo>
                  <a:pt x="605" y="2647"/>
                </a:lnTo>
                <a:lnTo>
                  <a:pt x="614" y="2651"/>
                </a:lnTo>
                <a:lnTo>
                  <a:pt x="624" y="2654"/>
                </a:lnTo>
                <a:lnTo>
                  <a:pt x="629" y="2656"/>
                </a:lnTo>
                <a:lnTo>
                  <a:pt x="635" y="2657"/>
                </a:lnTo>
                <a:lnTo>
                  <a:pt x="641" y="2658"/>
                </a:lnTo>
                <a:lnTo>
                  <a:pt x="646" y="2657"/>
                </a:lnTo>
                <a:lnTo>
                  <a:pt x="657" y="2652"/>
                </a:lnTo>
                <a:lnTo>
                  <a:pt x="666" y="2650"/>
                </a:lnTo>
                <a:lnTo>
                  <a:pt x="670" y="2650"/>
                </a:lnTo>
                <a:lnTo>
                  <a:pt x="674" y="2651"/>
                </a:lnTo>
                <a:lnTo>
                  <a:pt x="678" y="2653"/>
                </a:lnTo>
                <a:lnTo>
                  <a:pt x="683" y="2656"/>
                </a:lnTo>
                <a:lnTo>
                  <a:pt x="690" y="2659"/>
                </a:lnTo>
                <a:lnTo>
                  <a:pt x="700" y="2662"/>
                </a:lnTo>
                <a:lnTo>
                  <a:pt x="712" y="2664"/>
                </a:lnTo>
                <a:lnTo>
                  <a:pt x="723" y="2667"/>
                </a:lnTo>
                <a:lnTo>
                  <a:pt x="727" y="2670"/>
                </a:lnTo>
                <a:lnTo>
                  <a:pt x="729" y="2673"/>
                </a:lnTo>
                <a:lnTo>
                  <a:pt x="730" y="2676"/>
                </a:lnTo>
                <a:lnTo>
                  <a:pt x="731" y="2679"/>
                </a:lnTo>
                <a:lnTo>
                  <a:pt x="733" y="2688"/>
                </a:lnTo>
                <a:lnTo>
                  <a:pt x="734" y="2696"/>
                </a:lnTo>
                <a:lnTo>
                  <a:pt x="733" y="2714"/>
                </a:lnTo>
                <a:lnTo>
                  <a:pt x="733" y="2728"/>
                </a:lnTo>
                <a:lnTo>
                  <a:pt x="735" y="2741"/>
                </a:lnTo>
                <a:lnTo>
                  <a:pt x="735" y="2751"/>
                </a:lnTo>
                <a:lnTo>
                  <a:pt x="734" y="2753"/>
                </a:lnTo>
                <a:lnTo>
                  <a:pt x="734" y="2755"/>
                </a:lnTo>
                <a:lnTo>
                  <a:pt x="731" y="2757"/>
                </a:lnTo>
                <a:lnTo>
                  <a:pt x="730" y="2757"/>
                </a:lnTo>
                <a:lnTo>
                  <a:pt x="728" y="2757"/>
                </a:lnTo>
                <a:lnTo>
                  <a:pt x="725" y="2755"/>
                </a:lnTo>
                <a:lnTo>
                  <a:pt x="723" y="2754"/>
                </a:lnTo>
                <a:lnTo>
                  <a:pt x="721" y="2752"/>
                </a:lnTo>
                <a:lnTo>
                  <a:pt x="715" y="2744"/>
                </a:lnTo>
                <a:lnTo>
                  <a:pt x="709" y="2739"/>
                </a:lnTo>
                <a:lnTo>
                  <a:pt x="705" y="2738"/>
                </a:lnTo>
                <a:lnTo>
                  <a:pt x="703" y="2739"/>
                </a:lnTo>
                <a:lnTo>
                  <a:pt x="700" y="2740"/>
                </a:lnTo>
                <a:lnTo>
                  <a:pt x="699" y="2744"/>
                </a:lnTo>
                <a:lnTo>
                  <a:pt x="697" y="2751"/>
                </a:lnTo>
                <a:lnTo>
                  <a:pt x="695" y="2761"/>
                </a:lnTo>
                <a:lnTo>
                  <a:pt x="692" y="2766"/>
                </a:lnTo>
                <a:lnTo>
                  <a:pt x="690" y="2771"/>
                </a:lnTo>
                <a:lnTo>
                  <a:pt x="686" y="2776"/>
                </a:lnTo>
                <a:lnTo>
                  <a:pt x="681" y="2779"/>
                </a:lnTo>
                <a:lnTo>
                  <a:pt x="666" y="2788"/>
                </a:lnTo>
                <a:lnTo>
                  <a:pt x="648" y="2797"/>
                </a:lnTo>
                <a:lnTo>
                  <a:pt x="646" y="2799"/>
                </a:lnTo>
                <a:lnTo>
                  <a:pt x="642" y="2803"/>
                </a:lnTo>
                <a:lnTo>
                  <a:pt x="641" y="2805"/>
                </a:lnTo>
                <a:lnTo>
                  <a:pt x="640" y="2809"/>
                </a:lnTo>
                <a:lnTo>
                  <a:pt x="637" y="2814"/>
                </a:lnTo>
                <a:lnTo>
                  <a:pt x="635" y="2818"/>
                </a:lnTo>
                <a:lnTo>
                  <a:pt x="635" y="2824"/>
                </a:lnTo>
                <a:lnTo>
                  <a:pt x="635" y="2829"/>
                </a:lnTo>
                <a:lnTo>
                  <a:pt x="639" y="2840"/>
                </a:lnTo>
                <a:lnTo>
                  <a:pt x="643" y="2849"/>
                </a:lnTo>
                <a:lnTo>
                  <a:pt x="648" y="2860"/>
                </a:lnTo>
                <a:lnTo>
                  <a:pt x="652" y="2871"/>
                </a:lnTo>
                <a:lnTo>
                  <a:pt x="652" y="2880"/>
                </a:lnTo>
                <a:lnTo>
                  <a:pt x="652" y="2890"/>
                </a:lnTo>
                <a:lnTo>
                  <a:pt x="652" y="2899"/>
                </a:lnTo>
                <a:lnTo>
                  <a:pt x="649" y="2908"/>
                </a:lnTo>
                <a:lnTo>
                  <a:pt x="649" y="2912"/>
                </a:lnTo>
                <a:lnTo>
                  <a:pt x="647" y="2917"/>
                </a:lnTo>
                <a:lnTo>
                  <a:pt x="646" y="2919"/>
                </a:lnTo>
                <a:lnTo>
                  <a:pt x="643" y="2923"/>
                </a:lnTo>
                <a:lnTo>
                  <a:pt x="637" y="2928"/>
                </a:lnTo>
                <a:lnTo>
                  <a:pt x="629" y="2931"/>
                </a:lnTo>
                <a:lnTo>
                  <a:pt x="622" y="2935"/>
                </a:lnTo>
                <a:lnTo>
                  <a:pt x="616" y="2940"/>
                </a:lnTo>
                <a:lnTo>
                  <a:pt x="611" y="2944"/>
                </a:lnTo>
                <a:lnTo>
                  <a:pt x="607" y="2950"/>
                </a:lnTo>
                <a:lnTo>
                  <a:pt x="602" y="2965"/>
                </a:lnTo>
                <a:lnTo>
                  <a:pt x="598" y="2978"/>
                </a:lnTo>
                <a:lnTo>
                  <a:pt x="597" y="2985"/>
                </a:lnTo>
                <a:lnTo>
                  <a:pt x="594" y="2993"/>
                </a:lnTo>
                <a:lnTo>
                  <a:pt x="589" y="3001"/>
                </a:lnTo>
                <a:lnTo>
                  <a:pt x="584" y="3010"/>
                </a:lnTo>
                <a:lnTo>
                  <a:pt x="574" y="3021"/>
                </a:lnTo>
                <a:lnTo>
                  <a:pt x="563" y="3030"/>
                </a:lnTo>
                <a:lnTo>
                  <a:pt x="555" y="3040"/>
                </a:lnTo>
                <a:lnTo>
                  <a:pt x="548" y="3050"/>
                </a:lnTo>
                <a:lnTo>
                  <a:pt x="545" y="3055"/>
                </a:lnTo>
                <a:lnTo>
                  <a:pt x="544" y="3060"/>
                </a:lnTo>
                <a:lnTo>
                  <a:pt x="542" y="3062"/>
                </a:lnTo>
                <a:lnTo>
                  <a:pt x="544" y="3064"/>
                </a:lnTo>
                <a:lnTo>
                  <a:pt x="554" y="3070"/>
                </a:lnTo>
                <a:lnTo>
                  <a:pt x="567" y="3076"/>
                </a:lnTo>
                <a:lnTo>
                  <a:pt x="582" y="3082"/>
                </a:lnTo>
                <a:lnTo>
                  <a:pt x="601" y="3087"/>
                </a:lnTo>
                <a:lnTo>
                  <a:pt x="611" y="3088"/>
                </a:lnTo>
                <a:lnTo>
                  <a:pt x="622" y="3089"/>
                </a:lnTo>
                <a:lnTo>
                  <a:pt x="635" y="3089"/>
                </a:lnTo>
                <a:lnTo>
                  <a:pt x="648" y="3088"/>
                </a:lnTo>
                <a:lnTo>
                  <a:pt x="660" y="3087"/>
                </a:lnTo>
                <a:lnTo>
                  <a:pt x="671" y="3086"/>
                </a:lnTo>
                <a:lnTo>
                  <a:pt x="681" y="3087"/>
                </a:lnTo>
                <a:lnTo>
                  <a:pt x="691" y="3088"/>
                </a:lnTo>
                <a:lnTo>
                  <a:pt x="705" y="3092"/>
                </a:lnTo>
                <a:lnTo>
                  <a:pt x="717" y="3097"/>
                </a:lnTo>
                <a:lnTo>
                  <a:pt x="728" y="3101"/>
                </a:lnTo>
                <a:lnTo>
                  <a:pt x="735" y="3105"/>
                </a:lnTo>
                <a:lnTo>
                  <a:pt x="746" y="3112"/>
                </a:lnTo>
                <a:lnTo>
                  <a:pt x="755" y="3118"/>
                </a:lnTo>
                <a:lnTo>
                  <a:pt x="760" y="3119"/>
                </a:lnTo>
                <a:lnTo>
                  <a:pt x="763" y="3122"/>
                </a:lnTo>
                <a:lnTo>
                  <a:pt x="768" y="3122"/>
                </a:lnTo>
                <a:lnTo>
                  <a:pt x="772" y="3122"/>
                </a:lnTo>
                <a:lnTo>
                  <a:pt x="780" y="3119"/>
                </a:lnTo>
                <a:lnTo>
                  <a:pt x="786" y="3119"/>
                </a:lnTo>
                <a:lnTo>
                  <a:pt x="790" y="3119"/>
                </a:lnTo>
                <a:lnTo>
                  <a:pt x="793" y="3120"/>
                </a:lnTo>
                <a:lnTo>
                  <a:pt x="798" y="3123"/>
                </a:lnTo>
                <a:lnTo>
                  <a:pt x="802" y="3126"/>
                </a:lnTo>
                <a:lnTo>
                  <a:pt x="806" y="3130"/>
                </a:lnTo>
                <a:lnTo>
                  <a:pt x="811" y="3133"/>
                </a:lnTo>
                <a:lnTo>
                  <a:pt x="817" y="3136"/>
                </a:lnTo>
                <a:lnTo>
                  <a:pt x="823" y="3137"/>
                </a:lnTo>
                <a:lnTo>
                  <a:pt x="826" y="3137"/>
                </a:lnTo>
                <a:lnTo>
                  <a:pt x="829" y="3136"/>
                </a:lnTo>
                <a:lnTo>
                  <a:pt x="830" y="3135"/>
                </a:lnTo>
                <a:lnTo>
                  <a:pt x="832" y="3133"/>
                </a:lnTo>
                <a:lnTo>
                  <a:pt x="834" y="3132"/>
                </a:lnTo>
                <a:lnTo>
                  <a:pt x="837" y="3131"/>
                </a:lnTo>
                <a:lnTo>
                  <a:pt x="842" y="3130"/>
                </a:lnTo>
                <a:lnTo>
                  <a:pt x="849" y="3130"/>
                </a:lnTo>
                <a:lnTo>
                  <a:pt x="851" y="3130"/>
                </a:lnTo>
                <a:lnTo>
                  <a:pt x="855" y="3131"/>
                </a:lnTo>
                <a:lnTo>
                  <a:pt x="857" y="3133"/>
                </a:lnTo>
                <a:lnTo>
                  <a:pt x="860" y="3136"/>
                </a:lnTo>
                <a:lnTo>
                  <a:pt x="865" y="3143"/>
                </a:lnTo>
                <a:lnTo>
                  <a:pt x="869" y="3151"/>
                </a:lnTo>
                <a:lnTo>
                  <a:pt x="875" y="3163"/>
                </a:lnTo>
                <a:lnTo>
                  <a:pt x="879" y="3173"/>
                </a:lnTo>
                <a:lnTo>
                  <a:pt x="878" y="3176"/>
                </a:lnTo>
                <a:lnTo>
                  <a:pt x="876" y="3181"/>
                </a:lnTo>
                <a:lnTo>
                  <a:pt x="873" y="3187"/>
                </a:lnTo>
                <a:lnTo>
                  <a:pt x="869" y="3193"/>
                </a:lnTo>
                <a:lnTo>
                  <a:pt x="861" y="3204"/>
                </a:lnTo>
                <a:lnTo>
                  <a:pt x="854" y="3214"/>
                </a:lnTo>
                <a:lnTo>
                  <a:pt x="851" y="3220"/>
                </a:lnTo>
                <a:lnTo>
                  <a:pt x="849" y="3226"/>
                </a:lnTo>
                <a:lnTo>
                  <a:pt x="848" y="3233"/>
                </a:lnTo>
                <a:lnTo>
                  <a:pt x="848" y="3240"/>
                </a:lnTo>
                <a:lnTo>
                  <a:pt x="848" y="3250"/>
                </a:lnTo>
                <a:lnTo>
                  <a:pt x="851" y="3262"/>
                </a:lnTo>
                <a:lnTo>
                  <a:pt x="856" y="3271"/>
                </a:lnTo>
                <a:lnTo>
                  <a:pt x="860" y="3280"/>
                </a:lnTo>
                <a:lnTo>
                  <a:pt x="863" y="3292"/>
                </a:lnTo>
                <a:lnTo>
                  <a:pt x="867" y="3301"/>
                </a:lnTo>
                <a:lnTo>
                  <a:pt x="869" y="3305"/>
                </a:lnTo>
                <a:lnTo>
                  <a:pt x="872" y="3307"/>
                </a:lnTo>
                <a:lnTo>
                  <a:pt x="875" y="3308"/>
                </a:lnTo>
                <a:lnTo>
                  <a:pt x="879" y="3308"/>
                </a:lnTo>
                <a:lnTo>
                  <a:pt x="886" y="3307"/>
                </a:lnTo>
                <a:lnTo>
                  <a:pt x="892" y="3305"/>
                </a:lnTo>
                <a:lnTo>
                  <a:pt x="897" y="3301"/>
                </a:lnTo>
                <a:lnTo>
                  <a:pt x="903" y="3294"/>
                </a:lnTo>
                <a:lnTo>
                  <a:pt x="905" y="3293"/>
                </a:lnTo>
                <a:lnTo>
                  <a:pt x="909" y="3293"/>
                </a:lnTo>
                <a:lnTo>
                  <a:pt x="913" y="3294"/>
                </a:lnTo>
                <a:lnTo>
                  <a:pt x="918" y="3296"/>
                </a:lnTo>
                <a:lnTo>
                  <a:pt x="922" y="3300"/>
                </a:lnTo>
                <a:lnTo>
                  <a:pt x="925" y="3302"/>
                </a:lnTo>
                <a:lnTo>
                  <a:pt x="928" y="3306"/>
                </a:lnTo>
                <a:lnTo>
                  <a:pt x="928" y="3309"/>
                </a:lnTo>
                <a:lnTo>
                  <a:pt x="926" y="3314"/>
                </a:lnTo>
                <a:lnTo>
                  <a:pt x="923" y="3319"/>
                </a:lnTo>
                <a:lnTo>
                  <a:pt x="918" y="3324"/>
                </a:lnTo>
                <a:lnTo>
                  <a:pt x="913" y="3330"/>
                </a:lnTo>
                <a:lnTo>
                  <a:pt x="909" y="3335"/>
                </a:lnTo>
                <a:lnTo>
                  <a:pt x="906" y="3343"/>
                </a:lnTo>
                <a:lnTo>
                  <a:pt x="905" y="3346"/>
                </a:lnTo>
                <a:lnTo>
                  <a:pt x="904" y="3350"/>
                </a:lnTo>
                <a:lnTo>
                  <a:pt x="904" y="3353"/>
                </a:lnTo>
                <a:lnTo>
                  <a:pt x="904" y="3358"/>
                </a:lnTo>
                <a:lnTo>
                  <a:pt x="906" y="3368"/>
                </a:lnTo>
                <a:lnTo>
                  <a:pt x="909" y="3375"/>
                </a:lnTo>
                <a:lnTo>
                  <a:pt x="911" y="3377"/>
                </a:lnTo>
                <a:lnTo>
                  <a:pt x="914" y="3378"/>
                </a:lnTo>
                <a:lnTo>
                  <a:pt x="918" y="3378"/>
                </a:lnTo>
                <a:lnTo>
                  <a:pt x="924" y="3377"/>
                </a:lnTo>
                <a:lnTo>
                  <a:pt x="930" y="3376"/>
                </a:lnTo>
                <a:lnTo>
                  <a:pt x="937" y="3375"/>
                </a:lnTo>
                <a:lnTo>
                  <a:pt x="943" y="3376"/>
                </a:lnTo>
                <a:lnTo>
                  <a:pt x="948" y="3378"/>
                </a:lnTo>
                <a:lnTo>
                  <a:pt x="951" y="3383"/>
                </a:lnTo>
                <a:lnTo>
                  <a:pt x="955" y="3385"/>
                </a:lnTo>
                <a:lnTo>
                  <a:pt x="957" y="3387"/>
                </a:lnTo>
                <a:lnTo>
                  <a:pt x="960" y="3388"/>
                </a:lnTo>
                <a:lnTo>
                  <a:pt x="963" y="3387"/>
                </a:lnTo>
                <a:lnTo>
                  <a:pt x="966" y="3385"/>
                </a:lnTo>
                <a:lnTo>
                  <a:pt x="968" y="3383"/>
                </a:lnTo>
                <a:lnTo>
                  <a:pt x="970" y="3381"/>
                </a:lnTo>
                <a:lnTo>
                  <a:pt x="975" y="3375"/>
                </a:lnTo>
                <a:lnTo>
                  <a:pt x="981" y="3370"/>
                </a:lnTo>
                <a:lnTo>
                  <a:pt x="985" y="3368"/>
                </a:lnTo>
                <a:lnTo>
                  <a:pt x="989" y="3365"/>
                </a:lnTo>
                <a:lnTo>
                  <a:pt x="994" y="3364"/>
                </a:lnTo>
                <a:lnTo>
                  <a:pt x="1001" y="3363"/>
                </a:lnTo>
                <a:lnTo>
                  <a:pt x="1008" y="3362"/>
                </a:lnTo>
                <a:lnTo>
                  <a:pt x="1016" y="3362"/>
                </a:lnTo>
                <a:lnTo>
                  <a:pt x="1021" y="3363"/>
                </a:lnTo>
                <a:lnTo>
                  <a:pt x="1026" y="3364"/>
                </a:lnTo>
                <a:lnTo>
                  <a:pt x="1031" y="3368"/>
                </a:lnTo>
                <a:lnTo>
                  <a:pt x="1035" y="3371"/>
                </a:lnTo>
                <a:lnTo>
                  <a:pt x="1037" y="3377"/>
                </a:lnTo>
                <a:lnTo>
                  <a:pt x="1039" y="3384"/>
                </a:lnTo>
                <a:lnTo>
                  <a:pt x="1042" y="3388"/>
                </a:lnTo>
                <a:lnTo>
                  <a:pt x="1044" y="3393"/>
                </a:lnTo>
                <a:lnTo>
                  <a:pt x="1049" y="3396"/>
                </a:lnTo>
                <a:lnTo>
                  <a:pt x="1054" y="3400"/>
                </a:lnTo>
                <a:lnTo>
                  <a:pt x="1065" y="3406"/>
                </a:lnTo>
                <a:lnTo>
                  <a:pt x="1076" y="3408"/>
                </a:lnTo>
                <a:lnTo>
                  <a:pt x="1087" y="3410"/>
                </a:lnTo>
                <a:lnTo>
                  <a:pt x="1095" y="3409"/>
                </a:lnTo>
                <a:lnTo>
                  <a:pt x="1103" y="3408"/>
                </a:lnTo>
                <a:lnTo>
                  <a:pt x="1112" y="3406"/>
                </a:lnTo>
                <a:lnTo>
                  <a:pt x="1122" y="3401"/>
                </a:lnTo>
                <a:lnTo>
                  <a:pt x="1133" y="3395"/>
                </a:lnTo>
                <a:lnTo>
                  <a:pt x="1144" y="3389"/>
                </a:lnTo>
                <a:lnTo>
                  <a:pt x="1153" y="3381"/>
                </a:lnTo>
                <a:lnTo>
                  <a:pt x="1164" y="3372"/>
                </a:lnTo>
                <a:lnTo>
                  <a:pt x="1174" y="3364"/>
                </a:lnTo>
                <a:lnTo>
                  <a:pt x="1184" y="3355"/>
                </a:lnTo>
                <a:lnTo>
                  <a:pt x="1194" y="3344"/>
                </a:lnTo>
                <a:lnTo>
                  <a:pt x="1202" y="3335"/>
                </a:lnTo>
                <a:lnTo>
                  <a:pt x="1208" y="3328"/>
                </a:lnTo>
                <a:lnTo>
                  <a:pt x="1213" y="3324"/>
                </a:lnTo>
                <a:lnTo>
                  <a:pt x="1218" y="3322"/>
                </a:lnTo>
                <a:lnTo>
                  <a:pt x="1229" y="3324"/>
                </a:lnTo>
                <a:lnTo>
                  <a:pt x="1250" y="3322"/>
                </a:lnTo>
                <a:lnTo>
                  <a:pt x="1258" y="3321"/>
                </a:lnTo>
                <a:lnTo>
                  <a:pt x="1268" y="3316"/>
                </a:lnTo>
                <a:lnTo>
                  <a:pt x="1277" y="3313"/>
                </a:lnTo>
                <a:lnTo>
                  <a:pt x="1287" y="3308"/>
                </a:lnTo>
                <a:lnTo>
                  <a:pt x="1306" y="3305"/>
                </a:lnTo>
                <a:lnTo>
                  <a:pt x="1320" y="3302"/>
                </a:lnTo>
                <a:lnTo>
                  <a:pt x="1322" y="3302"/>
                </a:lnTo>
                <a:lnTo>
                  <a:pt x="1323" y="3303"/>
                </a:lnTo>
                <a:lnTo>
                  <a:pt x="1325" y="3306"/>
                </a:lnTo>
                <a:lnTo>
                  <a:pt x="1323" y="3309"/>
                </a:lnTo>
                <a:lnTo>
                  <a:pt x="1322" y="3315"/>
                </a:lnTo>
                <a:lnTo>
                  <a:pt x="1321" y="3320"/>
                </a:lnTo>
                <a:lnTo>
                  <a:pt x="1321" y="3324"/>
                </a:lnTo>
                <a:lnTo>
                  <a:pt x="1322" y="3327"/>
                </a:lnTo>
                <a:lnTo>
                  <a:pt x="1325" y="3332"/>
                </a:lnTo>
                <a:lnTo>
                  <a:pt x="1327" y="3335"/>
                </a:lnTo>
                <a:lnTo>
                  <a:pt x="1331" y="3340"/>
                </a:lnTo>
                <a:lnTo>
                  <a:pt x="1334" y="3346"/>
                </a:lnTo>
                <a:lnTo>
                  <a:pt x="1336" y="3351"/>
                </a:lnTo>
                <a:lnTo>
                  <a:pt x="1338" y="3358"/>
                </a:lnTo>
                <a:lnTo>
                  <a:pt x="1335" y="3370"/>
                </a:lnTo>
                <a:lnTo>
                  <a:pt x="1335" y="3382"/>
                </a:lnTo>
                <a:lnTo>
                  <a:pt x="1339" y="3384"/>
                </a:lnTo>
                <a:lnTo>
                  <a:pt x="1346" y="3385"/>
                </a:lnTo>
                <a:lnTo>
                  <a:pt x="1350" y="3387"/>
                </a:lnTo>
                <a:lnTo>
                  <a:pt x="1353" y="3388"/>
                </a:lnTo>
                <a:lnTo>
                  <a:pt x="1355" y="3389"/>
                </a:lnTo>
                <a:lnTo>
                  <a:pt x="1357" y="3393"/>
                </a:lnTo>
                <a:lnTo>
                  <a:pt x="1352" y="3401"/>
                </a:lnTo>
                <a:lnTo>
                  <a:pt x="1345" y="3414"/>
                </a:lnTo>
                <a:lnTo>
                  <a:pt x="1344" y="3429"/>
                </a:lnTo>
                <a:lnTo>
                  <a:pt x="1344" y="3441"/>
                </a:lnTo>
                <a:lnTo>
                  <a:pt x="1334" y="3447"/>
                </a:lnTo>
                <a:lnTo>
                  <a:pt x="1325" y="3453"/>
                </a:lnTo>
                <a:lnTo>
                  <a:pt x="1325" y="3458"/>
                </a:lnTo>
                <a:lnTo>
                  <a:pt x="1326" y="3463"/>
                </a:lnTo>
                <a:lnTo>
                  <a:pt x="1328" y="3469"/>
                </a:lnTo>
                <a:lnTo>
                  <a:pt x="1331" y="3473"/>
                </a:lnTo>
                <a:lnTo>
                  <a:pt x="1338" y="3482"/>
                </a:lnTo>
                <a:lnTo>
                  <a:pt x="1345" y="3488"/>
                </a:lnTo>
                <a:lnTo>
                  <a:pt x="1351" y="3491"/>
                </a:lnTo>
                <a:lnTo>
                  <a:pt x="1357" y="3494"/>
                </a:lnTo>
                <a:lnTo>
                  <a:pt x="1358" y="3495"/>
                </a:lnTo>
                <a:lnTo>
                  <a:pt x="1359" y="3497"/>
                </a:lnTo>
                <a:lnTo>
                  <a:pt x="1359" y="3500"/>
                </a:lnTo>
                <a:lnTo>
                  <a:pt x="1358" y="3502"/>
                </a:lnTo>
                <a:lnTo>
                  <a:pt x="1355" y="3508"/>
                </a:lnTo>
                <a:lnTo>
                  <a:pt x="1351" y="3514"/>
                </a:lnTo>
                <a:lnTo>
                  <a:pt x="1350" y="3516"/>
                </a:lnTo>
                <a:lnTo>
                  <a:pt x="1348" y="3520"/>
                </a:lnTo>
                <a:lnTo>
                  <a:pt x="1347" y="3523"/>
                </a:lnTo>
                <a:lnTo>
                  <a:pt x="1348" y="3527"/>
                </a:lnTo>
                <a:lnTo>
                  <a:pt x="1352" y="3534"/>
                </a:lnTo>
                <a:lnTo>
                  <a:pt x="1357" y="3541"/>
                </a:lnTo>
                <a:lnTo>
                  <a:pt x="1361" y="3543"/>
                </a:lnTo>
                <a:lnTo>
                  <a:pt x="1365" y="3546"/>
                </a:lnTo>
                <a:lnTo>
                  <a:pt x="1370" y="3548"/>
                </a:lnTo>
                <a:lnTo>
                  <a:pt x="1375" y="3548"/>
                </a:lnTo>
                <a:lnTo>
                  <a:pt x="1384" y="3547"/>
                </a:lnTo>
                <a:lnTo>
                  <a:pt x="1396" y="3546"/>
                </a:lnTo>
                <a:lnTo>
                  <a:pt x="1407" y="3543"/>
                </a:lnTo>
                <a:lnTo>
                  <a:pt x="1417" y="3540"/>
                </a:lnTo>
                <a:lnTo>
                  <a:pt x="1428" y="3536"/>
                </a:lnTo>
                <a:lnTo>
                  <a:pt x="1440" y="3534"/>
                </a:lnTo>
                <a:lnTo>
                  <a:pt x="1451" y="3533"/>
                </a:lnTo>
                <a:lnTo>
                  <a:pt x="1461" y="3533"/>
                </a:lnTo>
                <a:lnTo>
                  <a:pt x="1478" y="3534"/>
                </a:lnTo>
                <a:lnTo>
                  <a:pt x="1491" y="3538"/>
                </a:lnTo>
                <a:lnTo>
                  <a:pt x="1493" y="3541"/>
                </a:lnTo>
                <a:lnTo>
                  <a:pt x="1495" y="3548"/>
                </a:lnTo>
                <a:lnTo>
                  <a:pt x="1496" y="3552"/>
                </a:lnTo>
                <a:lnTo>
                  <a:pt x="1497" y="3554"/>
                </a:lnTo>
                <a:lnTo>
                  <a:pt x="1498" y="3557"/>
                </a:lnTo>
                <a:lnTo>
                  <a:pt x="1502" y="3558"/>
                </a:lnTo>
                <a:lnTo>
                  <a:pt x="1514" y="3557"/>
                </a:lnTo>
                <a:lnTo>
                  <a:pt x="1525" y="3558"/>
                </a:lnTo>
                <a:lnTo>
                  <a:pt x="1529" y="3567"/>
                </a:lnTo>
                <a:lnTo>
                  <a:pt x="1530" y="3577"/>
                </a:lnTo>
                <a:lnTo>
                  <a:pt x="1535" y="3579"/>
                </a:lnTo>
                <a:lnTo>
                  <a:pt x="1541" y="3580"/>
                </a:lnTo>
                <a:lnTo>
                  <a:pt x="1546" y="3582"/>
                </a:lnTo>
                <a:lnTo>
                  <a:pt x="1552" y="3582"/>
                </a:lnTo>
                <a:lnTo>
                  <a:pt x="1556" y="3580"/>
                </a:lnTo>
                <a:lnTo>
                  <a:pt x="1561" y="3579"/>
                </a:lnTo>
                <a:lnTo>
                  <a:pt x="1565" y="3576"/>
                </a:lnTo>
                <a:lnTo>
                  <a:pt x="1567" y="3572"/>
                </a:lnTo>
                <a:lnTo>
                  <a:pt x="1568" y="3565"/>
                </a:lnTo>
                <a:lnTo>
                  <a:pt x="1571" y="3559"/>
                </a:lnTo>
                <a:lnTo>
                  <a:pt x="1578" y="3558"/>
                </a:lnTo>
                <a:lnTo>
                  <a:pt x="1585" y="3555"/>
                </a:lnTo>
                <a:lnTo>
                  <a:pt x="1587" y="3553"/>
                </a:lnTo>
                <a:lnTo>
                  <a:pt x="1590" y="3549"/>
                </a:lnTo>
                <a:lnTo>
                  <a:pt x="1591" y="3545"/>
                </a:lnTo>
                <a:lnTo>
                  <a:pt x="1592" y="3539"/>
                </a:lnTo>
                <a:lnTo>
                  <a:pt x="1591" y="3532"/>
                </a:lnTo>
                <a:lnTo>
                  <a:pt x="1588" y="3527"/>
                </a:lnTo>
                <a:lnTo>
                  <a:pt x="1585" y="3523"/>
                </a:lnTo>
                <a:lnTo>
                  <a:pt x="1579" y="3520"/>
                </a:lnTo>
                <a:lnTo>
                  <a:pt x="1568" y="3517"/>
                </a:lnTo>
                <a:lnTo>
                  <a:pt x="1559" y="3515"/>
                </a:lnTo>
                <a:lnTo>
                  <a:pt x="1555" y="3511"/>
                </a:lnTo>
                <a:lnTo>
                  <a:pt x="1554" y="3507"/>
                </a:lnTo>
                <a:lnTo>
                  <a:pt x="1553" y="3501"/>
                </a:lnTo>
                <a:lnTo>
                  <a:pt x="1553" y="3492"/>
                </a:lnTo>
                <a:lnTo>
                  <a:pt x="1554" y="3477"/>
                </a:lnTo>
                <a:lnTo>
                  <a:pt x="1556" y="3461"/>
                </a:lnTo>
                <a:lnTo>
                  <a:pt x="1558" y="3453"/>
                </a:lnTo>
                <a:lnTo>
                  <a:pt x="1560" y="3441"/>
                </a:lnTo>
                <a:lnTo>
                  <a:pt x="1566" y="3432"/>
                </a:lnTo>
                <a:lnTo>
                  <a:pt x="1569" y="3422"/>
                </a:lnTo>
                <a:lnTo>
                  <a:pt x="1568" y="3415"/>
                </a:lnTo>
                <a:lnTo>
                  <a:pt x="1566" y="3410"/>
                </a:lnTo>
                <a:lnTo>
                  <a:pt x="1565" y="3407"/>
                </a:lnTo>
                <a:lnTo>
                  <a:pt x="1565" y="3404"/>
                </a:lnTo>
                <a:lnTo>
                  <a:pt x="1565" y="3402"/>
                </a:lnTo>
                <a:lnTo>
                  <a:pt x="1566" y="3398"/>
                </a:lnTo>
                <a:lnTo>
                  <a:pt x="1567" y="3396"/>
                </a:lnTo>
                <a:lnTo>
                  <a:pt x="1569" y="3395"/>
                </a:lnTo>
                <a:lnTo>
                  <a:pt x="1573" y="3395"/>
                </a:lnTo>
                <a:lnTo>
                  <a:pt x="1575" y="3394"/>
                </a:lnTo>
                <a:lnTo>
                  <a:pt x="1581" y="3394"/>
                </a:lnTo>
                <a:lnTo>
                  <a:pt x="1585" y="3394"/>
                </a:lnTo>
                <a:lnTo>
                  <a:pt x="1592" y="3393"/>
                </a:lnTo>
                <a:lnTo>
                  <a:pt x="1596" y="3391"/>
                </a:lnTo>
                <a:lnTo>
                  <a:pt x="1598" y="3389"/>
                </a:lnTo>
                <a:lnTo>
                  <a:pt x="1599" y="3385"/>
                </a:lnTo>
                <a:lnTo>
                  <a:pt x="1596" y="3377"/>
                </a:lnTo>
                <a:lnTo>
                  <a:pt x="1588" y="3366"/>
                </a:lnTo>
                <a:lnTo>
                  <a:pt x="1583" y="3356"/>
                </a:lnTo>
                <a:lnTo>
                  <a:pt x="1577" y="3345"/>
                </a:lnTo>
                <a:lnTo>
                  <a:pt x="1575" y="3340"/>
                </a:lnTo>
                <a:lnTo>
                  <a:pt x="1573" y="3334"/>
                </a:lnTo>
                <a:lnTo>
                  <a:pt x="1573" y="3328"/>
                </a:lnTo>
                <a:lnTo>
                  <a:pt x="1572" y="3322"/>
                </a:lnTo>
                <a:lnTo>
                  <a:pt x="1577" y="3311"/>
                </a:lnTo>
                <a:lnTo>
                  <a:pt x="1580" y="3296"/>
                </a:lnTo>
                <a:lnTo>
                  <a:pt x="1580" y="3290"/>
                </a:lnTo>
                <a:lnTo>
                  <a:pt x="1578" y="3286"/>
                </a:lnTo>
                <a:lnTo>
                  <a:pt x="1575" y="3281"/>
                </a:lnTo>
                <a:lnTo>
                  <a:pt x="1572" y="3275"/>
                </a:lnTo>
                <a:lnTo>
                  <a:pt x="1567" y="3268"/>
                </a:lnTo>
                <a:lnTo>
                  <a:pt x="1562" y="3259"/>
                </a:lnTo>
                <a:lnTo>
                  <a:pt x="1558" y="3253"/>
                </a:lnTo>
                <a:lnTo>
                  <a:pt x="1552" y="3248"/>
                </a:lnTo>
                <a:lnTo>
                  <a:pt x="1543" y="3239"/>
                </a:lnTo>
                <a:lnTo>
                  <a:pt x="1535" y="3229"/>
                </a:lnTo>
                <a:lnTo>
                  <a:pt x="1534" y="3225"/>
                </a:lnTo>
                <a:lnTo>
                  <a:pt x="1533" y="3220"/>
                </a:lnTo>
                <a:lnTo>
                  <a:pt x="1533" y="3215"/>
                </a:lnTo>
                <a:lnTo>
                  <a:pt x="1533" y="3209"/>
                </a:lnTo>
                <a:lnTo>
                  <a:pt x="1533" y="3199"/>
                </a:lnTo>
                <a:lnTo>
                  <a:pt x="1530" y="3189"/>
                </a:lnTo>
                <a:lnTo>
                  <a:pt x="1524" y="3177"/>
                </a:lnTo>
                <a:lnTo>
                  <a:pt x="1521" y="3164"/>
                </a:lnTo>
                <a:lnTo>
                  <a:pt x="1524" y="3151"/>
                </a:lnTo>
                <a:lnTo>
                  <a:pt x="1525" y="3142"/>
                </a:lnTo>
                <a:lnTo>
                  <a:pt x="1525" y="3135"/>
                </a:lnTo>
                <a:lnTo>
                  <a:pt x="1522" y="3127"/>
                </a:lnTo>
                <a:lnTo>
                  <a:pt x="1516" y="3116"/>
                </a:lnTo>
                <a:lnTo>
                  <a:pt x="1512" y="3105"/>
                </a:lnTo>
                <a:lnTo>
                  <a:pt x="1514" y="3100"/>
                </a:lnTo>
                <a:lnTo>
                  <a:pt x="1515" y="3097"/>
                </a:lnTo>
                <a:lnTo>
                  <a:pt x="1520" y="3094"/>
                </a:lnTo>
                <a:lnTo>
                  <a:pt x="1525" y="3092"/>
                </a:lnTo>
                <a:lnTo>
                  <a:pt x="1533" y="3091"/>
                </a:lnTo>
                <a:lnTo>
                  <a:pt x="1539" y="3089"/>
                </a:lnTo>
                <a:lnTo>
                  <a:pt x="1542" y="3087"/>
                </a:lnTo>
                <a:lnTo>
                  <a:pt x="1546" y="3084"/>
                </a:lnTo>
                <a:lnTo>
                  <a:pt x="1552" y="3070"/>
                </a:lnTo>
                <a:lnTo>
                  <a:pt x="1555" y="3061"/>
                </a:lnTo>
                <a:lnTo>
                  <a:pt x="1556" y="3045"/>
                </a:lnTo>
                <a:lnTo>
                  <a:pt x="1560" y="3028"/>
                </a:lnTo>
                <a:lnTo>
                  <a:pt x="1564" y="3021"/>
                </a:lnTo>
                <a:lnTo>
                  <a:pt x="1567" y="3015"/>
                </a:lnTo>
                <a:lnTo>
                  <a:pt x="1573" y="3010"/>
                </a:lnTo>
                <a:lnTo>
                  <a:pt x="1579" y="3005"/>
                </a:lnTo>
                <a:lnTo>
                  <a:pt x="1587" y="3003"/>
                </a:lnTo>
                <a:lnTo>
                  <a:pt x="1593" y="3000"/>
                </a:lnTo>
                <a:lnTo>
                  <a:pt x="1599" y="3000"/>
                </a:lnTo>
                <a:lnTo>
                  <a:pt x="1605" y="3001"/>
                </a:lnTo>
                <a:lnTo>
                  <a:pt x="1610" y="3005"/>
                </a:lnTo>
                <a:lnTo>
                  <a:pt x="1613" y="3009"/>
                </a:lnTo>
                <a:lnTo>
                  <a:pt x="1617" y="3013"/>
                </a:lnTo>
                <a:lnTo>
                  <a:pt x="1621" y="3021"/>
                </a:lnTo>
                <a:lnTo>
                  <a:pt x="1623" y="3028"/>
                </a:lnTo>
                <a:lnTo>
                  <a:pt x="1625" y="3035"/>
                </a:lnTo>
                <a:lnTo>
                  <a:pt x="1627" y="3038"/>
                </a:lnTo>
                <a:lnTo>
                  <a:pt x="1629" y="3042"/>
                </a:lnTo>
                <a:lnTo>
                  <a:pt x="1631" y="3044"/>
                </a:lnTo>
                <a:lnTo>
                  <a:pt x="1635" y="3047"/>
                </a:lnTo>
                <a:lnTo>
                  <a:pt x="1642" y="3049"/>
                </a:lnTo>
                <a:lnTo>
                  <a:pt x="1649" y="3049"/>
                </a:lnTo>
                <a:lnTo>
                  <a:pt x="1651" y="3049"/>
                </a:lnTo>
                <a:lnTo>
                  <a:pt x="1654" y="3048"/>
                </a:lnTo>
                <a:lnTo>
                  <a:pt x="1656" y="3047"/>
                </a:lnTo>
                <a:lnTo>
                  <a:pt x="1657" y="3045"/>
                </a:lnTo>
                <a:lnTo>
                  <a:pt x="1660" y="3040"/>
                </a:lnTo>
                <a:lnTo>
                  <a:pt x="1662" y="3036"/>
                </a:lnTo>
                <a:lnTo>
                  <a:pt x="1665" y="3034"/>
                </a:lnTo>
                <a:lnTo>
                  <a:pt x="1668" y="3031"/>
                </a:lnTo>
                <a:lnTo>
                  <a:pt x="1672" y="3030"/>
                </a:lnTo>
                <a:lnTo>
                  <a:pt x="1674" y="3031"/>
                </a:lnTo>
                <a:lnTo>
                  <a:pt x="1678" y="3032"/>
                </a:lnTo>
                <a:lnTo>
                  <a:pt x="1684" y="3035"/>
                </a:lnTo>
                <a:lnTo>
                  <a:pt x="1694" y="3035"/>
                </a:lnTo>
                <a:lnTo>
                  <a:pt x="1704" y="3032"/>
                </a:lnTo>
                <a:lnTo>
                  <a:pt x="1717" y="3031"/>
                </a:lnTo>
                <a:lnTo>
                  <a:pt x="1728" y="3032"/>
                </a:lnTo>
                <a:lnTo>
                  <a:pt x="1735" y="3035"/>
                </a:lnTo>
                <a:lnTo>
                  <a:pt x="1743" y="3040"/>
                </a:lnTo>
                <a:lnTo>
                  <a:pt x="1750" y="3050"/>
                </a:lnTo>
                <a:lnTo>
                  <a:pt x="1757" y="3056"/>
                </a:lnTo>
                <a:lnTo>
                  <a:pt x="1761" y="3050"/>
                </a:lnTo>
                <a:lnTo>
                  <a:pt x="1764" y="3044"/>
                </a:lnTo>
                <a:lnTo>
                  <a:pt x="1775" y="3045"/>
                </a:lnTo>
                <a:lnTo>
                  <a:pt x="1786" y="3048"/>
                </a:lnTo>
                <a:lnTo>
                  <a:pt x="1792" y="3048"/>
                </a:lnTo>
                <a:lnTo>
                  <a:pt x="1797" y="3048"/>
                </a:lnTo>
                <a:lnTo>
                  <a:pt x="1800" y="3047"/>
                </a:lnTo>
                <a:lnTo>
                  <a:pt x="1802" y="3044"/>
                </a:lnTo>
                <a:lnTo>
                  <a:pt x="1807" y="3032"/>
                </a:lnTo>
                <a:lnTo>
                  <a:pt x="1812" y="3021"/>
                </a:lnTo>
                <a:lnTo>
                  <a:pt x="1817" y="3015"/>
                </a:lnTo>
                <a:lnTo>
                  <a:pt x="1821" y="3009"/>
                </a:lnTo>
                <a:lnTo>
                  <a:pt x="1827" y="3004"/>
                </a:lnTo>
                <a:lnTo>
                  <a:pt x="1831" y="3000"/>
                </a:lnTo>
                <a:lnTo>
                  <a:pt x="1836" y="2998"/>
                </a:lnTo>
                <a:lnTo>
                  <a:pt x="1842" y="2994"/>
                </a:lnTo>
                <a:lnTo>
                  <a:pt x="1848" y="2991"/>
                </a:lnTo>
                <a:lnTo>
                  <a:pt x="1851" y="2986"/>
                </a:lnTo>
                <a:lnTo>
                  <a:pt x="1855" y="2981"/>
                </a:lnTo>
                <a:lnTo>
                  <a:pt x="1858" y="2973"/>
                </a:lnTo>
                <a:lnTo>
                  <a:pt x="1861" y="2959"/>
                </a:lnTo>
                <a:lnTo>
                  <a:pt x="1863" y="2947"/>
                </a:lnTo>
                <a:lnTo>
                  <a:pt x="1864" y="2943"/>
                </a:lnTo>
                <a:lnTo>
                  <a:pt x="1867" y="2942"/>
                </a:lnTo>
                <a:lnTo>
                  <a:pt x="1869" y="2942"/>
                </a:lnTo>
                <a:lnTo>
                  <a:pt x="1871" y="2942"/>
                </a:lnTo>
                <a:lnTo>
                  <a:pt x="1875" y="2942"/>
                </a:lnTo>
                <a:lnTo>
                  <a:pt x="1880" y="2942"/>
                </a:lnTo>
                <a:lnTo>
                  <a:pt x="1884" y="2938"/>
                </a:lnTo>
                <a:lnTo>
                  <a:pt x="1889" y="2933"/>
                </a:lnTo>
                <a:lnTo>
                  <a:pt x="1894" y="2922"/>
                </a:lnTo>
                <a:lnTo>
                  <a:pt x="1898" y="2912"/>
                </a:lnTo>
                <a:lnTo>
                  <a:pt x="1901" y="2911"/>
                </a:lnTo>
                <a:lnTo>
                  <a:pt x="1904" y="2910"/>
                </a:lnTo>
                <a:lnTo>
                  <a:pt x="1906" y="2910"/>
                </a:lnTo>
                <a:lnTo>
                  <a:pt x="1909" y="2910"/>
                </a:lnTo>
                <a:lnTo>
                  <a:pt x="1912" y="2911"/>
                </a:lnTo>
                <a:lnTo>
                  <a:pt x="1915" y="2914"/>
                </a:lnTo>
                <a:lnTo>
                  <a:pt x="1919" y="2917"/>
                </a:lnTo>
                <a:lnTo>
                  <a:pt x="1921" y="2922"/>
                </a:lnTo>
                <a:lnTo>
                  <a:pt x="1926" y="2929"/>
                </a:lnTo>
                <a:lnTo>
                  <a:pt x="1931" y="2934"/>
                </a:lnTo>
                <a:lnTo>
                  <a:pt x="1937" y="2936"/>
                </a:lnTo>
                <a:lnTo>
                  <a:pt x="1947" y="2938"/>
                </a:lnTo>
                <a:lnTo>
                  <a:pt x="1959" y="2942"/>
                </a:lnTo>
                <a:lnTo>
                  <a:pt x="1967" y="2946"/>
                </a:lnTo>
                <a:lnTo>
                  <a:pt x="1983" y="2949"/>
                </a:lnTo>
                <a:lnTo>
                  <a:pt x="1995" y="2954"/>
                </a:lnTo>
                <a:lnTo>
                  <a:pt x="2008" y="2966"/>
                </a:lnTo>
                <a:lnTo>
                  <a:pt x="2025" y="2981"/>
                </a:lnTo>
                <a:lnTo>
                  <a:pt x="2035" y="2988"/>
                </a:lnTo>
                <a:lnTo>
                  <a:pt x="2047" y="2994"/>
                </a:lnTo>
                <a:lnTo>
                  <a:pt x="2053" y="2998"/>
                </a:lnTo>
                <a:lnTo>
                  <a:pt x="2056" y="3004"/>
                </a:lnTo>
                <a:lnTo>
                  <a:pt x="2058" y="3010"/>
                </a:lnTo>
                <a:lnTo>
                  <a:pt x="2059" y="3021"/>
                </a:lnTo>
                <a:lnTo>
                  <a:pt x="2059" y="3024"/>
                </a:lnTo>
                <a:lnTo>
                  <a:pt x="2060" y="3029"/>
                </a:lnTo>
                <a:lnTo>
                  <a:pt x="2062" y="3032"/>
                </a:lnTo>
                <a:lnTo>
                  <a:pt x="2064" y="3036"/>
                </a:lnTo>
                <a:lnTo>
                  <a:pt x="2070" y="3042"/>
                </a:lnTo>
                <a:lnTo>
                  <a:pt x="2079" y="3048"/>
                </a:lnTo>
                <a:lnTo>
                  <a:pt x="2091" y="3055"/>
                </a:lnTo>
                <a:lnTo>
                  <a:pt x="2097" y="3062"/>
                </a:lnTo>
                <a:lnTo>
                  <a:pt x="2102" y="3064"/>
                </a:lnTo>
                <a:lnTo>
                  <a:pt x="2107" y="3067"/>
                </a:lnTo>
                <a:lnTo>
                  <a:pt x="2112" y="3068"/>
                </a:lnTo>
                <a:lnTo>
                  <a:pt x="2116" y="3069"/>
                </a:lnTo>
                <a:lnTo>
                  <a:pt x="2121" y="3068"/>
                </a:lnTo>
                <a:lnTo>
                  <a:pt x="2125" y="3067"/>
                </a:lnTo>
                <a:lnTo>
                  <a:pt x="2128" y="3064"/>
                </a:lnTo>
                <a:lnTo>
                  <a:pt x="2129" y="3062"/>
                </a:lnTo>
                <a:lnTo>
                  <a:pt x="2132" y="3057"/>
                </a:lnTo>
                <a:lnTo>
                  <a:pt x="2135" y="3053"/>
                </a:lnTo>
                <a:lnTo>
                  <a:pt x="2139" y="3049"/>
                </a:lnTo>
                <a:lnTo>
                  <a:pt x="2142" y="3045"/>
                </a:lnTo>
                <a:lnTo>
                  <a:pt x="2152" y="3042"/>
                </a:lnTo>
                <a:lnTo>
                  <a:pt x="2161" y="3037"/>
                </a:lnTo>
                <a:lnTo>
                  <a:pt x="2166" y="3034"/>
                </a:lnTo>
                <a:lnTo>
                  <a:pt x="2169" y="3030"/>
                </a:lnTo>
                <a:lnTo>
                  <a:pt x="2171" y="3025"/>
                </a:lnTo>
                <a:lnTo>
                  <a:pt x="2171" y="3022"/>
                </a:lnTo>
                <a:lnTo>
                  <a:pt x="2172" y="3013"/>
                </a:lnTo>
                <a:lnTo>
                  <a:pt x="2173" y="3006"/>
                </a:lnTo>
                <a:lnTo>
                  <a:pt x="2176" y="3001"/>
                </a:lnTo>
                <a:lnTo>
                  <a:pt x="2179" y="2998"/>
                </a:lnTo>
                <a:lnTo>
                  <a:pt x="2184" y="2994"/>
                </a:lnTo>
                <a:lnTo>
                  <a:pt x="2190" y="2990"/>
                </a:lnTo>
                <a:lnTo>
                  <a:pt x="2203" y="2980"/>
                </a:lnTo>
                <a:lnTo>
                  <a:pt x="2215" y="2969"/>
                </a:lnTo>
                <a:lnTo>
                  <a:pt x="2224" y="2958"/>
                </a:lnTo>
                <a:lnTo>
                  <a:pt x="2232" y="2946"/>
                </a:lnTo>
                <a:lnTo>
                  <a:pt x="2239" y="2935"/>
                </a:lnTo>
                <a:lnTo>
                  <a:pt x="2245" y="2929"/>
                </a:lnTo>
                <a:lnTo>
                  <a:pt x="2247" y="2928"/>
                </a:lnTo>
                <a:lnTo>
                  <a:pt x="2249" y="2927"/>
                </a:lnTo>
                <a:lnTo>
                  <a:pt x="2253" y="2927"/>
                </a:lnTo>
                <a:lnTo>
                  <a:pt x="2255" y="2927"/>
                </a:lnTo>
                <a:lnTo>
                  <a:pt x="2260" y="2929"/>
                </a:lnTo>
                <a:lnTo>
                  <a:pt x="2265" y="2933"/>
                </a:lnTo>
                <a:lnTo>
                  <a:pt x="2271" y="2940"/>
                </a:lnTo>
                <a:lnTo>
                  <a:pt x="2276" y="2947"/>
                </a:lnTo>
                <a:lnTo>
                  <a:pt x="2279" y="2956"/>
                </a:lnTo>
                <a:lnTo>
                  <a:pt x="2283" y="2966"/>
                </a:lnTo>
                <a:lnTo>
                  <a:pt x="2289" y="2985"/>
                </a:lnTo>
                <a:lnTo>
                  <a:pt x="2296" y="3004"/>
                </a:lnTo>
                <a:lnTo>
                  <a:pt x="2299" y="3011"/>
                </a:lnTo>
                <a:lnTo>
                  <a:pt x="2304" y="3017"/>
                </a:lnTo>
                <a:lnTo>
                  <a:pt x="2305" y="3018"/>
                </a:lnTo>
                <a:lnTo>
                  <a:pt x="2308" y="3021"/>
                </a:lnTo>
                <a:lnTo>
                  <a:pt x="2310" y="3021"/>
                </a:lnTo>
                <a:lnTo>
                  <a:pt x="2312" y="3021"/>
                </a:lnTo>
                <a:lnTo>
                  <a:pt x="2316" y="3019"/>
                </a:lnTo>
                <a:lnTo>
                  <a:pt x="2320" y="3017"/>
                </a:lnTo>
                <a:lnTo>
                  <a:pt x="2322" y="3015"/>
                </a:lnTo>
                <a:lnTo>
                  <a:pt x="2326" y="3011"/>
                </a:lnTo>
                <a:lnTo>
                  <a:pt x="2331" y="3003"/>
                </a:lnTo>
                <a:lnTo>
                  <a:pt x="2337" y="2992"/>
                </a:lnTo>
                <a:lnTo>
                  <a:pt x="2339" y="2985"/>
                </a:lnTo>
                <a:lnTo>
                  <a:pt x="2339" y="2977"/>
                </a:lnTo>
                <a:lnTo>
                  <a:pt x="2341" y="2971"/>
                </a:lnTo>
                <a:lnTo>
                  <a:pt x="2343" y="2965"/>
                </a:lnTo>
                <a:lnTo>
                  <a:pt x="2346" y="2959"/>
                </a:lnTo>
                <a:lnTo>
                  <a:pt x="2349" y="2953"/>
                </a:lnTo>
                <a:lnTo>
                  <a:pt x="2356" y="2943"/>
                </a:lnTo>
                <a:lnTo>
                  <a:pt x="2364" y="2936"/>
                </a:lnTo>
                <a:lnTo>
                  <a:pt x="2367" y="2935"/>
                </a:lnTo>
                <a:lnTo>
                  <a:pt x="2369" y="2935"/>
                </a:lnTo>
                <a:lnTo>
                  <a:pt x="2373" y="2936"/>
                </a:lnTo>
                <a:lnTo>
                  <a:pt x="2375" y="2937"/>
                </a:lnTo>
                <a:lnTo>
                  <a:pt x="2380" y="2944"/>
                </a:lnTo>
                <a:lnTo>
                  <a:pt x="2384" y="2950"/>
                </a:lnTo>
                <a:lnTo>
                  <a:pt x="2390" y="2958"/>
                </a:lnTo>
                <a:lnTo>
                  <a:pt x="2397" y="2966"/>
                </a:lnTo>
                <a:lnTo>
                  <a:pt x="2406" y="2975"/>
                </a:lnTo>
                <a:lnTo>
                  <a:pt x="2417" y="2982"/>
                </a:lnTo>
                <a:lnTo>
                  <a:pt x="2428" y="2992"/>
                </a:lnTo>
                <a:lnTo>
                  <a:pt x="2440" y="3003"/>
                </a:lnTo>
                <a:lnTo>
                  <a:pt x="2450" y="3013"/>
                </a:lnTo>
                <a:lnTo>
                  <a:pt x="2457" y="3022"/>
                </a:lnTo>
                <a:lnTo>
                  <a:pt x="2466" y="3030"/>
                </a:lnTo>
                <a:lnTo>
                  <a:pt x="2475" y="3042"/>
                </a:lnTo>
                <a:lnTo>
                  <a:pt x="2486" y="3054"/>
                </a:lnTo>
                <a:lnTo>
                  <a:pt x="2496" y="3066"/>
                </a:lnTo>
                <a:lnTo>
                  <a:pt x="2501" y="3074"/>
                </a:lnTo>
                <a:lnTo>
                  <a:pt x="2505" y="3079"/>
                </a:lnTo>
                <a:lnTo>
                  <a:pt x="2507" y="3080"/>
                </a:lnTo>
                <a:lnTo>
                  <a:pt x="2509" y="3079"/>
                </a:lnTo>
                <a:lnTo>
                  <a:pt x="2511" y="3075"/>
                </a:lnTo>
                <a:lnTo>
                  <a:pt x="2513" y="3069"/>
                </a:lnTo>
                <a:lnTo>
                  <a:pt x="2516" y="3060"/>
                </a:lnTo>
                <a:lnTo>
                  <a:pt x="2517" y="3054"/>
                </a:lnTo>
                <a:lnTo>
                  <a:pt x="2518" y="3049"/>
                </a:lnTo>
                <a:lnTo>
                  <a:pt x="2518" y="3042"/>
                </a:lnTo>
                <a:lnTo>
                  <a:pt x="2519" y="3035"/>
                </a:lnTo>
                <a:lnTo>
                  <a:pt x="2519" y="3029"/>
                </a:lnTo>
                <a:lnTo>
                  <a:pt x="2518" y="3012"/>
                </a:lnTo>
                <a:lnTo>
                  <a:pt x="2518" y="2998"/>
                </a:lnTo>
                <a:lnTo>
                  <a:pt x="2520" y="2988"/>
                </a:lnTo>
                <a:lnTo>
                  <a:pt x="2523" y="2980"/>
                </a:lnTo>
                <a:lnTo>
                  <a:pt x="2526" y="2972"/>
                </a:lnTo>
                <a:lnTo>
                  <a:pt x="2531" y="2963"/>
                </a:lnTo>
                <a:lnTo>
                  <a:pt x="2537" y="2956"/>
                </a:lnTo>
                <a:lnTo>
                  <a:pt x="2544" y="2950"/>
                </a:lnTo>
                <a:lnTo>
                  <a:pt x="2553" y="2944"/>
                </a:lnTo>
                <a:lnTo>
                  <a:pt x="2563" y="2940"/>
                </a:lnTo>
                <a:lnTo>
                  <a:pt x="2570" y="2936"/>
                </a:lnTo>
                <a:lnTo>
                  <a:pt x="2581" y="2934"/>
                </a:lnTo>
                <a:lnTo>
                  <a:pt x="2591" y="2930"/>
                </a:lnTo>
                <a:lnTo>
                  <a:pt x="2601" y="2928"/>
                </a:lnTo>
                <a:lnTo>
                  <a:pt x="2612" y="2927"/>
                </a:lnTo>
                <a:lnTo>
                  <a:pt x="2618" y="2925"/>
                </a:lnTo>
                <a:lnTo>
                  <a:pt x="2620" y="2927"/>
                </a:lnTo>
                <a:lnTo>
                  <a:pt x="2622" y="2927"/>
                </a:lnTo>
                <a:lnTo>
                  <a:pt x="2622" y="2928"/>
                </a:lnTo>
                <a:lnTo>
                  <a:pt x="2620" y="2930"/>
                </a:lnTo>
                <a:lnTo>
                  <a:pt x="2619" y="2933"/>
                </a:lnTo>
                <a:lnTo>
                  <a:pt x="2617" y="2940"/>
                </a:lnTo>
                <a:lnTo>
                  <a:pt x="2617" y="2950"/>
                </a:lnTo>
                <a:lnTo>
                  <a:pt x="2617" y="2963"/>
                </a:lnTo>
                <a:lnTo>
                  <a:pt x="2617" y="2974"/>
                </a:lnTo>
                <a:lnTo>
                  <a:pt x="2617" y="2980"/>
                </a:lnTo>
                <a:lnTo>
                  <a:pt x="2617" y="2982"/>
                </a:lnTo>
                <a:lnTo>
                  <a:pt x="2618" y="2984"/>
                </a:lnTo>
                <a:lnTo>
                  <a:pt x="2619" y="2984"/>
                </a:lnTo>
                <a:lnTo>
                  <a:pt x="2622" y="2984"/>
                </a:lnTo>
                <a:lnTo>
                  <a:pt x="2626" y="2985"/>
                </a:lnTo>
                <a:lnTo>
                  <a:pt x="2632" y="2986"/>
                </a:lnTo>
                <a:lnTo>
                  <a:pt x="2641" y="2990"/>
                </a:lnTo>
                <a:lnTo>
                  <a:pt x="2645" y="2993"/>
                </a:lnTo>
                <a:lnTo>
                  <a:pt x="2648" y="2994"/>
                </a:lnTo>
                <a:lnTo>
                  <a:pt x="2649" y="2994"/>
                </a:lnTo>
                <a:lnTo>
                  <a:pt x="2651" y="2994"/>
                </a:lnTo>
                <a:lnTo>
                  <a:pt x="2654" y="2993"/>
                </a:lnTo>
                <a:lnTo>
                  <a:pt x="2668" y="2985"/>
                </a:lnTo>
                <a:lnTo>
                  <a:pt x="2685" y="2972"/>
                </a:lnTo>
                <a:lnTo>
                  <a:pt x="2701" y="2961"/>
                </a:lnTo>
                <a:lnTo>
                  <a:pt x="2718" y="2953"/>
                </a:lnTo>
                <a:lnTo>
                  <a:pt x="2724" y="2947"/>
                </a:lnTo>
                <a:lnTo>
                  <a:pt x="2728" y="2941"/>
                </a:lnTo>
                <a:lnTo>
                  <a:pt x="2731" y="2937"/>
                </a:lnTo>
                <a:lnTo>
                  <a:pt x="2734" y="2935"/>
                </a:lnTo>
                <a:lnTo>
                  <a:pt x="2738" y="2933"/>
                </a:lnTo>
                <a:lnTo>
                  <a:pt x="2744" y="2931"/>
                </a:lnTo>
                <a:lnTo>
                  <a:pt x="2750" y="2935"/>
                </a:lnTo>
                <a:lnTo>
                  <a:pt x="2767" y="2941"/>
                </a:lnTo>
                <a:lnTo>
                  <a:pt x="2781" y="2942"/>
                </a:lnTo>
                <a:lnTo>
                  <a:pt x="2790" y="2941"/>
                </a:lnTo>
                <a:lnTo>
                  <a:pt x="2797" y="2937"/>
                </a:lnTo>
                <a:lnTo>
                  <a:pt x="2805" y="2934"/>
                </a:lnTo>
                <a:lnTo>
                  <a:pt x="2818" y="2922"/>
                </a:lnTo>
                <a:lnTo>
                  <a:pt x="2833" y="2910"/>
                </a:lnTo>
                <a:lnTo>
                  <a:pt x="2838" y="2906"/>
                </a:lnTo>
                <a:lnTo>
                  <a:pt x="2843" y="2905"/>
                </a:lnTo>
                <a:lnTo>
                  <a:pt x="2847" y="2904"/>
                </a:lnTo>
                <a:lnTo>
                  <a:pt x="2851" y="2904"/>
                </a:lnTo>
                <a:lnTo>
                  <a:pt x="2853" y="2904"/>
                </a:lnTo>
                <a:lnTo>
                  <a:pt x="2856" y="2904"/>
                </a:lnTo>
                <a:lnTo>
                  <a:pt x="2857" y="2902"/>
                </a:lnTo>
                <a:lnTo>
                  <a:pt x="2858" y="2898"/>
                </a:lnTo>
                <a:lnTo>
                  <a:pt x="2858" y="2892"/>
                </a:lnTo>
                <a:lnTo>
                  <a:pt x="2858" y="2886"/>
                </a:lnTo>
                <a:lnTo>
                  <a:pt x="2857" y="2881"/>
                </a:lnTo>
                <a:lnTo>
                  <a:pt x="2856" y="2877"/>
                </a:lnTo>
                <a:lnTo>
                  <a:pt x="2852" y="2868"/>
                </a:lnTo>
                <a:lnTo>
                  <a:pt x="2847" y="2860"/>
                </a:lnTo>
                <a:lnTo>
                  <a:pt x="2845" y="2854"/>
                </a:lnTo>
                <a:lnTo>
                  <a:pt x="2843" y="2848"/>
                </a:lnTo>
                <a:lnTo>
                  <a:pt x="2843" y="2843"/>
                </a:lnTo>
                <a:lnTo>
                  <a:pt x="2843" y="2839"/>
                </a:lnTo>
                <a:lnTo>
                  <a:pt x="2843" y="2835"/>
                </a:lnTo>
                <a:lnTo>
                  <a:pt x="2844" y="2833"/>
                </a:lnTo>
                <a:lnTo>
                  <a:pt x="2845" y="2829"/>
                </a:lnTo>
                <a:lnTo>
                  <a:pt x="2847" y="2827"/>
                </a:lnTo>
                <a:lnTo>
                  <a:pt x="2855" y="2822"/>
                </a:lnTo>
                <a:lnTo>
                  <a:pt x="2865" y="2817"/>
                </a:lnTo>
                <a:lnTo>
                  <a:pt x="2874" y="2813"/>
                </a:lnTo>
                <a:lnTo>
                  <a:pt x="2881" y="2807"/>
                </a:lnTo>
                <a:lnTo>
                  <a:pt x="2889" y="2808"/>
                </a:lnTo>
                <a:lnTo>
                  <a:pt x="2896" y="2809"/>
                </a:lnTo>
                <a:lnTo>
                  <a:pt x="2903" y="2805"/>
                </a:lnTo>
                <a:lnTo>
                  <a:pt x="2912" y="2801"/>
                </a:lnTo>
                <a:lnTo>
                  <a:pt x="2920" y="2795"/>
                </a:lnTo>
                <a:lnTo>
                  <a:pt x="2926" y="2790"/>
                </a:lnTo>
                <a:lnTo>
                  <a:pt x="2931" y="2785"/>
                </a:lnTo>
                <a:lnTo>
                  <a:pt x="2938" y="2779"/>
                </a:lnTo>
                <a:lnTo>
                  <a:pt x="2945" y="2774"/>
                </a:lnTo>
                <a:lnTo>
                  <a:pt x="2953" y="2771"/>
                </a:lnTo>
                <a:lnTo>
                  <a:pt x="2972" y="2770"/>
                </a:lnTo>
                <a:lnTo>
                  <a:pt x="2983" y="2769"/>
                </a:lnTo>
                <a:lnTo>
                  <a:pt x="2988" y="2766"/>
                </a:lnTo>
                <a:lnTo>
                  <a:pt x="2994" y="2764"/>
                </a:lnTo>
                <a:lnTo>
                  <a:pt x="2997" y="2764"/>
                </a:lnTo>
                <a:lnTo>
                  <a:pt x="3002" y="2764"/>
                </a:lnTo>
                <a:lnTo>
                  <a:pt x="3007" y="2766"/>
                </a:lnTo>
                <a:lnTo>
                  <a:pt x="3011" y="2767"/>
                </a:lnTo>
                <a:lnTo>
                  <a:pt x="3014" y="2767"/>
                </a:lnTo>
                <a:lnTo>
                  <a:pt x="3015" y="2766"/>
                </a:lnTo>
                <a:lnTo>
                  <a:pt x="3017" y="2765"/>
                </a:lnTo>
                <a:lnTo>
                  <a:pt x="3019" y="2761"/>
                </a:lnTo>
                <a:lnTo>
                  <a:pt x="3021" y="2757"/>
                </a:lnTo>
                <a:lnTo>
                  <a:pt x="3024" y="2751"/>
                </a:lnTo>
                <a:lnTo>
                  <a:pt x="3029" y="2746"/>
                </a:lnTo>
                <a:lnTo>
                  <a:pt x="3034" y="2741"/>
                </a:lnTo>
                <a:lnTo>
                  <a:pt x="3042" y="2734"/>
                </a:lnTo>
                <a:lnTo>
                  <a:pt x="3051" y="2728"/>
                </a:lnTo>
                <a:lnTo>
                  <a:pt x="3052" y="2727"/>
                </a:lnTo>
                <a:lnTo>
                  <a:pt x="3054" y="2728"/>
                </a:lnTo>
                <a:lnTo>
                  <a:pt x="3055" y="2729"/>
                </a:lnTo>
                <a:lnTo>
                  <a:pt x="3058" y="2730"/>
                </a:lnTo>
                <a:lnTo>
                  <a:pt x="3061" y="2736"/>
                </a:lnTo>
                <a:lnTo>
                  <a:pt x="3066" y="2744"/>
                </a:lnTo>
                <a:lnTo>
                  <a:pt x="3074" y="2755"/>
                </a:lnTo>
                <a:lnTo>
                  <a:pt x="3084" y="2765"/>
                </a:lnTo>
                <a:lnTo>
                  <a:pt x="3086" y="2767"/>
                </a:lnTo>
                <a:lnTo>
                  <a:pt x="3088" y="2767"/>
                </a:lnTo>
                <a:lnTo>
                  <a:pt x="3089" y="2766"/>
                </a:lnTo>
                <a:lnTo>
                  <a:pt x="3090" y="2765"/>
                </a:lnTo>
                <a:lnTo>
                  <a:pt x="3091" y="2764"/>
                </a:lnTo>
                <a:lnTo>
                  <a:pt x="3093" y="2763"/>
                </a:lnTo>
                <a:lnTo>
                  <a:pt x="3095" y="2761"/>
                </a:lnTo>
                <a:lnTo>
                  <a:pt x="3098" y="2763"/>
                </a:lnTo>
                <a:lnTo>
                  <a:pt x="3101" y="2771"/>
                </a:lnTo>
                <a:lnTo>
                  <a:pt x="3103" y="2783"/>
                </a:lnTo>
                <a:lnTo>
                  <a:pt x="3109" y="2790"/>
                </a:lnTo>
                <a:lnTo>
                  <a:pt x="3115" y="2795"/>
                </a:lnTo>
                <a:lnTo>
                  <a:pt x="3121" y="2799"/>
                </a:lnTo>
                <a:lnTo>
                  <a:pt x="3126" y="2801"/>
                </a:lnTo>
                <a:lnTo>
                  <a:pt x="3128" y="2802"/>
                </a:lnTo>
                <a:lnTo>
                  <a:pt x="3130" y="2801"/>
                </a:lnTo>
                <a:lnTo>
                  <a:pt x="3131" y="2799"/>
                </a:lnTo>
                <a:lnTo>
                  <a:pt x="3134" y="2797"/>
                </a:lnTo>
                <a:lnTo>
                  <a:pt x="3137" y="2790"/>
                </a:lnTo>
                <a:lnTo>
                  <a:pt x="3142" y="2784"/>
                </a:lnTo>
                <a:lnTo>
                  <a:pt x="3155" y="2767"/>
                </a:lnTo>
                <a:lnTo>
                  <a:pt x="3165" y="2755"/>
                </a:lnTo>
                <a:lnTo>
                  <a:pt x="3168" y="2752"/>
                </a:lnTo>
                <a:lnTo>
                  <a:pt x="3172" y="2748"/>
                </a:lnTo>
                <a:lnTo>
                  <a:pt x="3175" y="2747"/>
                </a:lnTo>
                <a:lnTo>
                  <a:pt x="3179" y="2745"/>
                </a:lnTo>
                <a:lnTo>
                  <a:pt x="3187" y="2744"/>
                </a:lnTo>
                <a:lnTo>
                  <a:pt x="3194" y="2742"/>
                </a:lnTo>
                <a:lnTo>
                  <a:pt x="3198" y="2742"/>
                </a:lnTo>
                <a:lnTo>
                  <a:pt x="3200" y="2742"/>
                </a:lnTo>
                <a:lnTo>
                  <a:pt x="3203" y="2741"/>
                </a:lnTo>
                <a:lnTo>
                  <a:pt x="3204" y="2739"/>
                </a:lnTo>
                <a:lnTo>
                  <a:pt x="3204" y="2735"/>
                </a:lnTo>
                <a:lnTo>
                  <a:pt x="3200" y="2727"/>
                </a:lnTo>
                <a:lnTo>
                  <a:pt x="3198" y="2723"/>
                </a:lnTo>
                <a:lnTo>
                  <a:pt x="3197" y="2720"/>
                </a:lnTo>
                <a:lnTo>
                  <a:pt x="3197" y="2716"/>
                </a:lnTo>
                <a:lnTo>
                  <a:pt x="3198" y="2714"/>
                </a:lnTo>
                <a:lnTo>
                  <a:pt x="3199" y="2710"/>
                </a:lnTo>
                <a:lnTo>
                  <a:pt x="3203" y="2709"/>
                </a:lnTo>
                <a:lnTo>
                  <a:pt x="3206" y="2707"/>
                </a:lnTo>
                <a:lnTo>
                  <a:pt x="3212" y="2706"/>
                </a:lnTo>
                <a:lnTo>
                  <a:pt x="3225" y="2703"/>
                </a:lnTo>
                <a:lnTo>
                  <a:pt x="3238" y="2700"/>
                </a:lnTo>
                <a:lnTo>
                  <a:pt x="3246" y="2697"/>
                </a:lnTo>
                <a:lnTo>
                  <a:pt x="3250" y="2692"/>
                </a:lnTo>
                <a:lnTo>
                  <a:pt x="3255" y="2689"/>
                </a:lnTo>
                <a:lnTo>
                  <a:pt x="3259" y="2683"/>
                </a:lnTo>
                <a:lnTo>
                  <a:pt x="3261" y="2677"/>
                </a:lnTo>
                <a:lnTo>
                  <a:pt x="3263" y="2673"/>
                </a:lnTo>
                <a:lnTo>
                  <a:pt x="3266" y="2670"/>
                </a:lnTo>
                <a:lnTo>
                  <a:pt x="3269" y="2667"/>
                </a:lnTo>
                <a:lnTo>
                  <a:pt x="3273" y="2665"/>
                </a:lnTo>
                <a:lnTo>
                  <a:pt x="3277" y="2665"/>
                </a:lnTo>
                <a:lnTo>
                  <a:pt x="3281" y="2665"/>
                </a:lnTo>
                <a:lnTo>
                  <a:pt x="3287" y="2667"/>
                </a:lnTo>
                <a:lnTo>
                  <a:pt x="3300" y="2671"/>
                </a:lnTo>
                <a:lnTo>
                  <a:pt x="3312" y="2675"/>
                </a:lnTo>
                <a:lnTo>
                  <a:pt x="3318" y="2676"/>
                </a:lnTo>
                <a:lnTo>
                  <a:pt x="3322" y="2678"/>
                </a:lnTo>
                <a:lnTo>
                  <a:pt x="3325" y="2682"/>
                </a:lnTo>
                <a:lnTo>
                  <a:pt x="3326" y="2684"/>
                </a:lnTo>
                <a:lnTo>
                  <a:pt x="3329" y="2691"/>
                </a:lnTo>
                <a:lnTo>
                  <a:pt x="3332" y="2695"/>
                </a:lnTo>
                <a:lnTo>
                  <a:pt x="3335" y="2696"/>
                </a:lnTo>
                <a:lnTo>
                  <a:pt x="3337" y="2696"/>
                </a:lnTo>
                <a:lnTo>
                  <a:pt x="3341" y="2695"/>
                </a:lnTo>
                <a:lnTo>
                  <a:pt x="3345" y="2691"/>
                </a:lnTo>
                <a:lnTo>
                  <a:pt x="3357" y="2685"/>
                </a:lnTo>
                <a:lnTo>
                  <a:pt x="3367" y="2679"/>
                </a:lnTo>
                <a:lnTo>
                  <a:pt x="3372" y="2677"/>
                </a:lnTo>
                <a:lnTo>
                  <a:pt x="3376" y="2673"/>
                </a:lnTo>
                <a:lnTo>
                  <a:pt x="3380" y="2670"/>
                </a:lnTo>
                <a:lnTo>
                  <a:pt x="3382" y="2664"/>
                </a:lnTo>
                <a:lnTo>
                  <a:pt x="3386" y="2650"/>
                </a:lnTo>
                <a:lnTo>
                  <a:pt x="3389" y="2632"/>
                </a:lnTo>
                <a:lnTo>
                  <a:pt x="3392" y="2613"/>
                </a:lnTo>
                <a:lnTo>
                  <a:pt x="3394" y="2595"/>
                </a:lnTo>
                <a:lnTo>
                  <a:pt x="3397" y="2580"/>
                </a:lnTo>
                <a:lnTo>
                  <a:pt x="3398" y="2565"/>
                </a:lnTo>
                <a:lnTo>
                  <a:pt x="3399" y="2559"/>
                </a:lnTo>
                <a:lnTo>
                  <a:pt x="3400" y="2553"/>
                </a:lnTo>
                <a:lnTo>
                  <a:pt x="3403" y="2549"/>
                </a:lnTo>
                <a:lnTo>
                  <a:pt x="3405" y="2544"/>
                </a:lnTo>
                <a:lnTo>
                  <a:pt x="3411" y="2537"/>
                </a:lnTo>
                <a:lnTo>
                  <a:pt x="3416" y="2528"/>
                </a:lnTo>
                <a:lnTo>
                  <a:pt x="3416" y="2525"/>
                </a:lnTo>
                <a:lnTo>
                  <a:pt x="3417" y="2520"/>
                </a:lnTo>
                <a:lnTo>
                  <a:pt x="3416" y="2514"/>
                </a:lnTo>
                <a:lnTo>
                  <a:pt x="3414" y="2508"/>
                </a:lnTo>
                <a:lnTo>
                  <a:pt x="3412" y="2501"/>
                </a:lnTo>
                <a:lnTo>
                  <a:pt x="3411" y="2494"/>
                </a:lnTo>
                <a:lnTo>
                  <a:pt x="3407" y="2488"/>
                </a:lnTo>
                <a:lnTo>
                  <a:pt x="3404" y="2483"/>
                </a:lnTo>
                <a:lnTo>
                  <a:pt x="3395" y="2471"/>
                </a:lnTo>
                <a:lnTo>
                  <a:pt x="3387" y="2458"/>
                </a:lnTo>
                <a:lnTo>
                  <a:pt x="3382" y="2450"/>
                </a:lnTo>
                <a:lnTo>
                  <a:pt x="3374" y="2436"/>
                </a:lnTo>
                <a:lnTo>
                  <a:pt x="3369" y="2427"/>
                </a:lnTo>
                <a:lnTo>
                  <a:pt x="3362" y="2417"/>
                </a:lnTo>
                <a:lnTo>
                  <a:pt x="3360" y="2413"/>
                </a:lnTo>
                <a:lnTo>
                  <a:pt x="3356" y="2411"/>
                </a:lnTo>
                <a:lnTo>
                  <a:pt x="3351" y="2410"/>
                </a:lnTo>
                <a:lnTo>
                  <a:pt x="3347" y="2410"/>
                </a:lnTo>
                <a:lnTo>
                  <a:pt x="3336" y="2410"/>
                </a:lnTo>
                <a:lnTo>
                  <a:pt x="3323" y="2412"/>
                </a:lnTo>
                <a:lnTo>
                  <a:pt x="3317" y="2412"/>
                </a:lnTo>
                <a:lnTo>
                  <a:pt x="3312" y="2414"/>
                </a:lnTo>
                <a:lnTo>
                  <a:pt x="3309" y="2416"/>
                </a:lnTo>
                <a:lnTo>
                  <a:pt x="3305" y="2419"/>
                </a:lnTo>
                <a:lnTo>
                  <a:pt x="3303" y="2421"/>
                </a:lnTo>
                <a:lnTo>
                  <a:pt x="3301" y="2425"/>
                </a:lnTo>
                <a:lnTo>
                  <a:pt x="3300" y="2430"/>
                </a:lnTo>
                <a:lnTo>
                  <a:pt x="3300" y="2436"/>
                </a:lnTo>
                <a:lnTo>
                  <a:pt x="3300" y="2438"/>
                </a:lnTo>
                <a:lnTo>
                  <a:pt x="3299" y="2440"/>
                </a:lnTo>
                <a:lnTo>
                  <a:pt x="3298" y="2443"/>
                </a:lnTo>
                <a:lnTo>
                  <a:pt x="3296" y="2445"/>
                </a:lnTo>
                <a:lnTo>
                  <a:pt x="3290" y="2449"/>
                </a:lnTo>
                <a:lnTo>
                  <a:pt x="3282" y="2451"/>
                </a:lnTo>
                <a:lnTo>
                  <a:pt x="3275" y="2452"/>
                </a:lnTo>
                <a:lnTo>
                  <a:pt x="3268" y="2452"/>
                </a:lnTo>
                <a:lnTo>
                  <a:pt x="3265" y="2451"/>
                </a:lnTo>
                <a:lnTo>
                  <a:pt x="3262" y="2450"/>
                </a:lnTo>
                <a:lnTo>
                  <a:pt x="3261" y="2448"/>
                </a:lnTo>
                <a:lnTo>
                  <a:pt x="3260" y="2445"/>
                </a:lnTo>
                <a:lnTo>
                  <a:pt x="3255" y="2436"/>
                </a:lnTo>
                <a:lnTo>
                  <a:pt x="3252" y="2430"/>
                </a:lnTo>
                <a:lnTo>
                  <a:pt x="3248" y="2427"/>
                </a:lnTo>
                <a:lnTo>
                  <a:pt x="3244" y="2426"/>
                </a:lnTo>
                <a:lnTo>
                  <a:pt x="3240" y="2426"/>
                </a:lnTo>
                <a:lnTo>
                  <a:pt x="3235" y="2429"/>
                </a:lnTo>
                <a:lnTo>
                  <a:pt x="3224" y="2431"/>
                </a:lnTo>
                <a:lnTo>
                  <a:pt x="3215" y="2431"/>
                </a:lnTo>
                <a:lnTo>
                  <a:pt x="3210" y="2430"/>
                </a:lnTo>
                <a:lnTo>
                  <a:pt x="3206" y="2429"/>
                </a:lnTo>
                <a:lnTo>
                  <a:pt x="3204" y="2425"/>
                </a:lnTo>
                <a:lnTo>
                  <a:pt x="3202" y="2420"/>
                </a:lnTo>
                <a:lnTo>
                  <a:pt x="3199" y="2414"/>
                </a:lnTo>
                <a:lnTo>
                  <a:pt x="3197" y="2411"/>
                </a:lnTo>
                <a:lnTo>
                  <a:pt x="3194" y="2408"/>
                </a:lnTo>
                <a:lnTo>
                  <a:pt x="3193" y="2407"/>
                </a:lnTo>
                <a:lnTo>
                  <a:pt x="3187" y="2405"/>
                </a:lnTo>
                <a:lnTo>
                  <a:pt x="3181" y="2404"/>
                </a:lnTo>
                <a:lnTo>
                  <a:pt x="3175" y="2401"/>
                </a:lnTo>
                <a:lnTo>
                  <a:pt x="3170" y="2399"/>
                </a:lnTo>
                <a:lnTo>
                  <a:pt x="3167" y="2399"/>
                </a:lnTo>
                <a:lnTo>
                  <a:pt x="3165" y="2399"/>
                </a:lnTo>
                <a:lnTo>
                  <a:pt x="3162" y="2400"/>
                </a:lnTo>
                <a:lnTo>
                  <a:pt x="3160" y="2402"/>
                </a:lnTo>
                <a:lnTo>
                  <a:pt x="3158" y="2408"/>
                </a:lnTo>
                <a:lnTo>
                  <a:pt x="3156" y="2416"/>
                </a:lnTo>
                <a:lnTo>
                  <a:pt x="3156" y="2423"/>
                </a:lnTo>
                <a:lnTo>
                  <a:pt x="3158" y="2427"/>
                </a:lnTo>
                <a:lnTo>
                  <a:pt x="3158" y="2437"/>
                </a:lnTo>
                <a:lnTo>
                  <a:pt x="3158" y="2443"/>
                </a:lnTo>
                <a:lnTo>
                  <a:pt x="3156" y="2444"/>
                </a:lnTo>
                <a:lnTo>
                  <a:pt x="3154" y="2445"/>
                </a:lnTo>
                <a:lnTo>
                  <a:pt x="3151" y="2446"/>
                </a:lnTo>
                <a:lnTo>
                  <a:pt x="3146" y="2448"/>
                </a:lnTo>
                <a:lnTo>
                  <a:pt x="3137" y="2448"/>
                </a:lnTo>
                <a:lnTo>
                  <a:pt x="3128" y="2448"/>
                </a:lnTo>
                <a:lnTo>
                  <a:pt x="3123" y="2446"/>
                </a:lnTo>
                <a:lnTo>
                  <a:pt x="3120" y="2445"/>
                </a:lnTo>
                <a:lnTo>
                  <a:pt x="3115" y="2442"/>
                </a:lnTo>
                <a:lnTo>
                  <a:pt x="3112" y="2438"/>
                </a:lnTo>
                <a:lnTo>
                  <a:pt x="3104" y="2426"/>
                </a:lnTo>
                <a:lnTo>
                  <a:pt x="3099" y="2417"/>
                </a:lnTo>
                <a:lnTo>
                  <a:pt x="3096" y="2413"/>
                </a:lnTo>
                <a:lnTo>
                  <a:pt x="3093" y="2411"/>
                </a:lnTo>
                <a:lnTo>
                  <a:pt x="3090" y="2408"/>
                </a:lnTo>
                <a:lnTo>
                  <a:pt x="3086" y="2407"/>
                </a:lnTo>
                <a:lnTo>
                  <a:pt x="3082" y="2408"/>
                </a:lnTo>
                <a:lnTo>
                  <a:pt x="3079" y="2410"/>
                </a:lnTo>
                <a:lnTo>
                  <a:pt x="3076" y="2412"/>
                </a:lnTo>
                <a:lnTo>
                  <a:pt x="3073" y="2414"/>
                </a:lnTo>
                <a:lnTo>
                  <a:pt x="3070" y="2417"/>
                </a:lnTo>
                <a:lnTo>
                  <a:pt x="3065" y="2419"/>
                </a:lnTo>
                <a:lnTo>
                  <a:pt x="3060" y="2418"/>
                </a:lnTo>
                <a:lnTo>
                  <a:pt x="3053" y="2417"/>
                </a:lnTo>
                <a:lnTo>
                  <a:pt x="3038" y="2410"/>
                </a:lnTo>
                <a:lnTo>
                  <a:pt x="3024" y="2401"/>
                </a:lnTo>
                <a:lnTo>
                  <a:pt x="3020" y="2398"/>
                </a:lnTo>
                <a:lnTo>
                  <a:pt x="3017" y="2393"/>
                </a:lnTo>
                <a:lnTo>
                  <a:pt x="3016" y="2392"/>
                </a:lnTo>
                <a:lnTo>
                  <a:pt x="3016" y="2389"/>
                </a:lnTo>
                <a:lnTo>
                  <a:pt x="3017" y="2387"/>
                </a:lnTo>
                <a:lnTo>
                  <a:pt x="3019" y="2386"/>
                </a:lnTo>
                <a:lnTo>
                  <a:pt x="3027" y="2379"/>
                </a:lnTo>
                <a:lnTo>
                  <a:pt x="3036" y="2375"/>
                </a:lnTo>
                <a:lnTo>
                  <a:pt x="3041" y="2373"/>
                </a:lnTo>
                <a:lnTo>
                  <a:pt x="3045" y="2369"/>
                </a:lnTo>
                <a:lnTo>
                  <a:pt x="3046" y="2367"/>
                </a:lnTo>
                <a:lnTo>
                  <a:pt x="3047" y="2362"/>
                </a:lnTo>
                <a:lnTo>
                  <a:pt x="3039" y="2350"/>
                </a:lnTo>
                <a:lnTo>
                  <a:pt x="3027" y="2335"/>
                </a:lnTo>
                <a:lnTo>
                  <a:pt x="3024" y="2323"/>
                </a:lnTo>
                <a:lnTo>
                  <a:pt x="3024" y="2311"/>
                </a:lnTo>
                <a:lnTo>
                  <a:pt x="3024" y="2306"/>
                </a:lnTo>
                <a:lnTo>
                  <a:pt x="3024" y="2301"/>
                </a:lnTo>
                <a:lnTo>
                  <a:pt x="3022" y="2297"/>
                </a:lnTo>
                <a:lnTo>
                  <a:pt x="3020" y="2292"/>
                </a:lnTo>
                <a:lnTo>
                  <a:pt x="3009" y="2281"/>
                </a:lnTo>
                <a:lnTo>
                  <a:pt x="2997" y="2272"/>
                </a:lnTo>
                <a:lnTo>
                  <a:pt x="2985" y="2263"/>
                </a:lnTo>
                <a:lnTo>
                  <a:pt x="2976" y="2259"/>
                </a:lnTo>
                <a:lnTo>
                  <a:pt x="2969" y="2257"/>
                </a:lnTo>
                <a:lnTo>
                  <a:pt x="2964" y="2257"/>
                </a:lnTo>
                <a:lnTo>
                  <a:pt x="2958" y="2261"/>
                </a:lnTo>
                <a:lnTo>
                  <a:pt x="2953" y="2265"/>
                </a:lnTo>
                <a:lnTo>
                  <a:pt x="2951" y="2266"/>
                </a:lnTo>
                <a:lnTo>
                  <a:pt x="2947" y="2267"/>
                </a:lnTo>
                <a:lnTo>
                  <a:pt x="2944" y="2268"/>
                </a:lnTo>
                <a:lnTo>
                  <a:pt x="2939" y="2268"/>
                </a:lnTo>
                <a:lnTo>
                  <a:pt x="2928" y="2266"/>
                </a:lnTo>
                <a:lnTo>
                  <a:pt x="2915" y="2261"/>
                </a:lnTo>
                <a:lnTo>
                  <a:pt x="2902" y="2255"/>
                </a:lnTo>
                <a:lnTo>
                  <a:pt x="2888" y="2249"/>
                </a:lnTo>
                <a:lnTo>
                  <a:pt x="2874" y="2243"/>
                </a:lnTo>
                <a:lnTo>
                  <a:pt x="2863" y="2241"/>
                </a:lnTo>
                <a:lnTo>
                  <a:pt x="2857" y="2241"/>
                </a:lnTo>
                <a:lnTo>
                  <a:pt x="2852" y="2243"/>
                </a:lnTo>
                <a:lnTo>
                  <a:pt x="2847" y="2246"/>
                </a:lnTo>
                <a:lnTo>
                  <a:pt x="2843" y="2250"/>
                </a:lnTo>
                <a:lnTo>
                  <a:pt x="2839" y="2255"/>
                </a:lnTo>
                <a:lnTo>
                  <a:pt x="2837" y="2260"/>
                </a:lnTo>
                <a:lnTo>
                  <a:pt x="2835" y="2266"/>
                </a:lnTo>
                <a:lnTo>
                  <a:pt x="2835" y="2271"/>
                </a:lnTo>
                <a:lnTo>
                  <a:pt x="2838" y="2281"/>
                </a:lnTo>
                <a:lnTo>
                  <a:pt x="2839" y="2288"/>
                </a:lnTo>
                <a:lnTo>
                  <a:pt x="2839" y="2291"/>
                </a:lnTo>
                <a:lnTo>
                  <a:pt x="2838" y="2293"/>
                </a:lnTo>
                <a:lnTo>
                  <a:pt x="2835" y="2294"/>
                </a:lnTo>
                <a:lnTo>
                  <a:pt x="2832" y="2294"/>
                </a:lnTo>
                <a:lnTo>
                  <a:pt x="2828" y="2294"/>
                </a:lnTo>
                <a:lnTo>
                  <a:pt x="2824" y="2294"/>
                </a:lnTo>
                <a:lnTo>
                  <a:pt x="2819" y="2292"/>
                </a:lnTo>
                <a:lnTo>
                  <a:pt x="2814" y="2288"/>
                </a:lnTo>
                <a:lnTo>
                  <a:pt x="2808" y="2282"/>
                </a:lnTo>
                <a:lnTo>
                  <a:pt x="2801" y="2274"/>
                </a:lnTo>
                <a:lnTo>
                  <a:pt x="2794" y="2263"/>
                </a:lnTo>
                <a:lnTo>
                  <a:pt x="2788" y="2253"/>
                </a:lnTo>
                <a:lnTo>
                  <a:pt x="2782" y="2243"/>
                </a:lnTo>
                <a:lnTo>
                  <a:pt x="2777" y="2236"/>
                </a:lnTo>
                <a:lnTo>
                  <a:pt x="2775" y="2222"/>
                </a:lnTo>
                <a:lnTo>
                  <a:pt x="2771" y="2203"/>
                </a:lnTo>
                <a:lnTo>
                  <a:pt x="2767" y="2192"/>
                </a:lnTo>
                <a:lnTo>
                  <a:pt x="2763" y="2181"/>
                </a:lnTo>
                <a:lnTo>
                  <a:pt x="2759" y="2171"/>
                </a:lnTo>
                <a:lnTo>
                  <a:pt x="2758" y="2159"/>
                </a:lnTo>
                <a:lnTo>
                  <a:pt x="2757" y="2147"/>
                </a:lnTo>
                <a:lnTo>
                  <a:pt x="2757" y="2137"/>
                </a:lnTo>
                <a:lnTo>
                  <a:pt x="2758" y="2134"/>
                </a:lnTo>
                <a:lnTo>
                  <a:pt x="2761" y="2130"/>
                </a:lnTo>
                <a:lnTo>
                  <a:pt x="2763" y="2129"/>
                </a:lnTo>
                <a:lnTo>
                  <a:pt x="2767" y="2127"/>
                </a:lnTo>
                <a:lnTo>
                  <a:pt x="2771" y="2127"/>
                </a:lnTo>
                <a:lnTo>
                  <a:pt x="2774" y="2126"/>
                </a:lnTo>
                <a:lnTo>
                  <a:pt x="2776" y="2124"/>
                </a:lnTo>
                <a:lnTo>
                  <a:pt x="2777" y="2122"/>
                </a:lnTo>
                <a:lnTo>
                  <a:pt x="2777" y="2115"/>
                </a:lnTo>
                <a:lnTo>
                  <a:pt x="2777" y="2104"/>
                </a:lnTo>
                <a:lnTo>
                  <a:pt x="2778" y="2099"/>
                </a:lnTo>
                <a:lnTo>
                  <a:pt x="2778" y="2095"/>
                </a:lnTo>
                <a:lnTo>
                  <a:pt x="2780" y="2089"/>
                </a:lnTo>
                <a:lnTo>
                  <a:pt x="2782" y="2083"/>
                </a:lnTo>
                <a:lnTo>
                  <a:pt x="2786" y="2072"/>
                </a:lnTo>
                <a:lnTo>
                  <a:pt x="2790" y="2063"/>
                </a:lnTo>
                <a:lnTo>
                  <a:pt x="2794" y="2057"/>
                </a:lnTo>
                <a:lnTo>
                  <a:pt x="2797" y="2052"/>
                </a:lnTo>
                <a:lnTo>
                  <a:pt x="2801" y="2047"/>
                </a:lnTo>
                <a:lnTo>
                  <a:pt x="2808" y="2038"/>
                </a:lnTo>
                <a:lnTo>
                  <a:pt x="2821" y="2023"/>
                </a:lnTo>
                <a:lnTo>
                  <a:pt x="2833" y="2009"/>
                </a:lnTo>
                <a:lnTo>
                  <a:pt x="2837" y="2003"/>
                </a:lnTo>
                <a:lnTo>
                  <a:pt x="2840" y="1998"/>
                </a:lnTo>
                <a:lnTo>
                  <a:pt x="2840" y="1995"/>
                </a:lnTo>
                <a:lnTo>
                  <a:pt x="2841" y="1992"/>
                </a:lnTo>
                <a:lnTo>
                  <a:pt x="2841" y="1990"/>
                </a:lnTo>
                <a:lnTo>
                  <a:pt x="2841" y="1989"/>
                </a:lnTo>
                <a:lnTo>
                  <a:pt x="2841" y="1988"/>
                </a:lnTo>
                <a:lnTo>
                  <a:pt x="2839" y="1986"/>
                </a:lnTo>
                <a:lnTo>
                  <a:pt x="2837" y="1986"/>
                </a:lnTo>
                <a:lnTo>
                  <a:pt x="2833" y="1983"/>
                </a:lnTo>
                <a:lnTo>
                  <a:pt x="2828" y="1980"/>
                </a:lnTo>
                <a:lnTo>
                  <a:pt x="2821" y="1978"/>
                </a:lnTo>
                <a:lnTo>
                  <a:pt x="2818" y="1975"/>
                </a:lnTo>
                <a:lnTo>
                  <a:pt x="2815" y="1972"/>
                </a:lnTo>
                <a:lnTo>
                  <a:pt x="2815" y="1969"/>
                </a:lnTo>
                <a:lnTo>
                  <a:pt x="2816" y="1963"/>
                </a:lnTo>
                <a:lnTo>
                  <a:pt x="2820" y="1958"/>
                </a:lnTo>
                <a:lnTo>
                  <a:pt x="2837" y="1956"/>
                </a:lnTo>
                <a:lnTo>
                  <a:pt x="2855" y="1952"/>
                </a:lnTo>
                <a:lnTo>
                  <a:pt x="2859" y="1934"/>
                </a:lnTo>
                <a:lnTo>
                  <a:pt x="2864" y="1923"/>
                </a:lnTo>
                <a:lnTo>
                  <a:pt x="2868" y="1922"/>
                </a:lnTo>
                <a:lnTo>
                  <a:pt x="2875" y="1925"/>
                </a:lnTo>
                <a:lnTo>
                  <a:pt x="2881" y="1927"/>
                </a:lnTo>
                <a:lnTo>
                  <a:pt x="2887" y="1931"/>
                </a:lnTo>
                <a:lnTo>
                  <a:pt x="2889" y="1932"/>
                </a:lnTo>
                <a:lnTo>
                  <a:pt x="2891" y="1932"/>
                </a:lnTo>
                <a:lnTo>
                  <a:pt x="2893" y="1931"/>
                </a:lnTo>
                <a:lnTo>
                  <a:pt x="2894" y="1929"/>
                </a:lnTo>
                <a:lnTo>
                  <a:pt x="2896" y="1923"/>
                </a:lnTo>
                <a:lnTo>
                  <a:pt x="2896" y="1916"/>
                </a:lnTo>
                <a:lnTo>
                  <a:pt x="2897" y="1908"/>
                </a:lnTo>
                <a:lnTo>
                  <a:pt x="2898" y="1901"/>
                </a:lnTo>
                <a:lnTo>
                  <a:pt x="2898" y="1897"/>
                </a:lnTo>
                <a:lnTo>
                  <a:pt x="2898" y="1894"/>
                </a:lnTo>
                <a:lnTo>
                  <a:pt x="2897" y="1890"/>
                </a:lnTo>
                <a:lnTo>
                  <a:pt x="2896" y="1888"/>
                </a:lnTo>
                <a:lnTo>
                  <a:pt x="2893" y="1885"/>
                </a:lnTo>
                <a:lnTo>
                  <a:pt x="2887" y="1884"/>
                </a:lnTo>
                <a:lnTo>
                  <a:pt x="2881" y="1883"/>
                </a:lnTo>
                <a:lnTo>
                  <a:pt x="2874" y="1882"/>
                </a:lnTo>
                <a:lnTo>
                  <a:pt x="2859" y="1883"/>
                </a:lnTo>
                <a:lnTo>
                  <a:pt x="2845" y="1884"/>
                </a:lnTo>
                <a:lnTo>
                  <a:pt x="2839" y="1885"/>
                </a:lnTo>
                <a:lnTo>
                  <a:pt x="2835" y="1885"/>
                </a:lnTo>
                <a:lnTo>
                  <a:pt x="2832" y="1885"/>
                </a:lnTo>
                <a:lnTo>
                  <a:pt x="2831" y="1884"/>
                </a:lnTo>
                <a:lnTo>
                  <a:pt x="2828" y="1878"/>
                </a:lnTo>
                <a:lnTo>
                  <a:pt x="2827" y="1869"/>
                </a:lnTo>
                <a:lnTo>
                  <a:pt x="2826" y="1859"/>
                </a:lnTo>
                <a:lnTo>
                  <a:pt x="2824" y="1853"/>
                </a:lnTo>
                <a:lnTo>
                  <a:pt x="2819" y="1847"/>
                </a:lnTo>
                <a:lnTo>
                  <a:pt x="2813" y="1843"/>
                </a:lnTo>
                <a:lnTo>
                  <a:pt x="2809" y="1839"/>
                </a:lnTo>
                <a:lnTo>
                  <a:pt x="2806" y="1833"/>
                </a:lnTo>
                <a:lnTo>
                  <a:pt x="2803" y="1827"/>
                </a:lnTo>
                <a:lnTo>
                  <a:pt x="2802" y="1820"/>
                </a:lnTo>
                <a:lnTo>
                  <a:pt x="2801" y="1812"/>
                </a:lnTo>
                <a:lnTo>
                  <a:pt x="2801" y="1802"/>
                </a:lnTo>
                <a:lnTo>
                  <a:pt x="2802" y="1794"/>
                </a:lnTo>
                <a:lnTo>
                  <a:pt x="2803" y="1786"/>
                </a:lnTo>
                <a:lnTo>
                  <a:pt x="2805" y="1782"/>
                </a:lnTo>
                <a:lnTo>
                  <a:pt x="2803" y="1778"/>
                </a:lnTo>
                <a:lnTo>
                  <a:pt x="2801" y="1775"/>
                </a:lnTo>
                <a:lnTo>
                  <a:pt x="2797" y="1772"/>
                </a:lnTo>
                <a:lnTo>
                  <a:pt x="2794" y="1770"/>
                </a:lnTo>
                <a:lnTo>
                  <a:pt x="2792" y="1769"/>
                </a:lnTo>
                <a:lnTo>
                  <a:pt x="2789" y="1769"/>
                </a:lnTo>
                <a:lnTo>
                  <a:pt x="2788" y="1769"/>
                </a:lnTo>
                <a:lnTo>
                  <a:pt x="2781" y="1777"/>
                </a:lnTo>
                <a:lnTo>
                  <a:pt x="2772" y="1783"/>
                </a:lnTo>
                <a:lnTo>
                  <a:pt x="2765" y="1788"/>
                </a:lnTo>
                <a:lnTo>
                  <a:pt x="2759" y="1790"/>
                </a:lnTo>
                <a:lnTo>
                  <a:pt x="2756" y="1792"/>
                </a:lnTo>
                <a:lnTo>
                  <a:pt x="2753" y="1792"/>
                </a:lnTo>
                <a:lnTo>
                  <a:pt x="2751" y="1789"/>
                </a:lnTo>
                <a:lnTo>
                  <a:pt x="2751" y="1787"/>
                </a:lnTo>
                <a:lnTo>
                  <a:pt x="2751" y="1778"/>
                </a:lnTo>
                <a:lnTo>
                  <a:pt x="2752" y="1767"/>
                </a:lnTo>
                <a:lnTo>
                  <a:pt x="2751" y="1763"/>
                </a:lnTo>
                <a:lnTo>
                  <a:pt x="2751" y="1761"/>
                </a:lnTo>
                <a:lnTo>
                  <a:pt x="2749" y="1757"/>
                </a:lnTo>
                <a:lnTo>
                  <a:pt x="2748" y="1755"/>
                </a:lnTo>
                <a:lnTo>
                  <a:pt x="2742" y="1750"/>
                </a:lnTo>
                <a:lnTo>
                  <a:pt x="2736" y="1745"/>
                </a:lnTo>
                <a:lnTo>
                  <a:pt x="2723" y="1738"/>
                </a:lnTo>
                <a:lnTo>
                  <a:pt x="2715" y="1731"/>
                </a:lnTo>
                <a:lnTo>
                  <a:pt x="2713" y="1727"/>
                </a:lnTo>
                <a:lnTo>
                  <a:pt x="2712" y="1723"/>
                </a:lnTo>
                <a:lnTo>
                  <a:pt x="2712" y="1718"/>
                </a:lnTo>
                <a:lnTo>
                  <a:pt x="2712" y="1712"/>
                </a:lnTo>
                <a:lnTo>
                  <a:pt x="2713" y="1707"/>
                </a:lnTo>
                <a:lnTo>
                  <a:pt x="2714" y="1702"/>
                </a:lnTo>
                <a:lnTo>
                  <a:pt x="2717" y="1698"/>
                </a:lnTo>
                <a:lnTo>
                  <a:pt x="2719" y="1694"/>
                </a:lnTo>
                <a:lnTo>
                  <a:pt x="2727" y="1686"/>
                </a:lnTo>
                <a:lnTo>
                  <a:pt x="2739" y="1674"/>
                </a:lnTo>
                <a:lnTo>
                  <a:pt x="2744" y="1667"/>
                </a:lnTo>
                <a:lnTo>
                  <a:pt x="2749" y="1660"/>
                </a:lnTo>
                <a:lnTo>
                  <a:pt x="2752" y="1654"/>
                </a:lnTo>
                <a:lnTo>
                  <a:pt x="2755" y="1648"/>
                </a:lnTo>
                <a:lnTo>
                  <a:pt x="2755" y="1637"/>
                </a:lnTo>
                <a:lnTo>
                  <a:pt x="2756" y="1624"/>
                </a:lnTo>
                <a:lnTo>
                  <a:pt x="2758" y="1612"/>
                </a:lnTo>
                <a:lnTo>
                  <a:pt x="2762" y="1603"/>
                </a:lnTo>
                <a:lnTo>
                  <a:pt x="2767" y="1592"/>
                </a:lnTo>
                <a:lnTo>
                  <a:pt x="2771" y="1581"/>
                </a:lnTo>
                <a:lnTo>
                  <a:pt x="2775" y="1568"/>
                </a:lnTo>
                <a:lnTo>
                  <a:pt x="2777" y="1556"/>
                </a:lnTo>
                <a:lnTo>
                  <a:pt x="2777" y="1550"/>
                </a:lnTo>
                <a:lnTo>
                  <a:pt x="2780" y="1547"/>
                </a:lnTo>
                <a:lnTo>
                  <a:pt x="2781" y="1544"/>
                </a:lnTo>
                <a:lnTo>
                  <a:pt x="2784" y="1543"/>
                </a:lnTo>
                <a:lnTo>
                  <a:pt x="2790" y="1541"/>
                </a:lnTo>
                <a:lnTo>
                  <a:pt x="2795" y="1538"/>
                </a:lnTo>
                <a:lnTo>
                  <a:pt x="2797" y="1536"/>
                </a:lnTo>
                <a:lnTo>
                  <a:pt x="2800" y="1532"/>
                </a:lnTo>
                <a:lnTo>
                  <a:pt x="2801" y="1528"/>
                </a:lnTo>
                <a:lnTo>
                  <a:pt x="2803" y="1522"/>
                </a:lnTo>
                <a:lnTo>
                  <a:pt x="2806" y="1511"/>
                </a:lnTo>
                <a:lnTo>
                  <a:pt x="2808" y="1500"/>
                </a:lnTo>
                <a:lnTo>
                  <a:pt x="2811" y="1486"/>
                </a:lnTo>
                <a:lnTo>
                  <a:pt x="2814" y="1469"/>
                </a:lnTo>
                <a:lnTo>
                  <a:pt x="2816" y="1462"/>
                </a:lnTo>
                <a:lnTo>
                  <a:pt x="2821" y="1456"/>
                </a:lnTo>
                <a:lnTo>
                  <a:pt x="2827" y="1452"/>
                </a:lnTo>
                <a:lnTo>
                  <a:pt x="2833" y="1446"/>
                </a:lnTo>
                <a:lnTo>
                  <a:pt x="2840" y="1438"/>
                </a:lnTo>
                <a:lnTo>
                  <a:pt x="2850" y="1433"/>
                </a:lnTo>
                <a:lnTo>
                  <a:pt x="2857" y="1427"/>
                </a:lnTo>
                <a:lnTo>
                  <a:pt x="2864" y="1423"/>
                </a:lnTo>
                <a:lnTo>
                  <a:pt x="2872" y="1419"/>
                </a:lnTo>
                <a:lnTo>
                  <a:pt x="2876" y="1416"/>
                </a:lnTo>
                <a:lnTo>
                  <a:pt x="2876" y="1411"/>
                </a:lnTo>
                <a:lnTo>
                  <a:pt x="2876" y="1404"/>
                </a:lnTo>
                <a:lnTo>
                  <a:pt x="2874" y="1393"/>
                </a:lnTo>
                <a:lnTo>
                  <a:pt x="2871" y="1384"/>
                </a:lnTo>
                <a:lnTo>
                  <a:pt x="2866" y="1373"/>
                </a:lnTo>
                <a:lnTo>
                  <a:pt x="2860" y="1361"/>
                </a:lnTo>
                <a:lnTo>
                  <a:pt x="2855" y="1348"/>
                </a:lnTo>
                <a:lnTo>
                  <a:pt x="2847" y="1336"/>
                </a:lnTo>
                <a:lnTo>
                  <a:pt x="2840" y="1326"/>
                </a:lnTo>
                <a:lnTo>
                  <a:pt x="2832" y="1317"/>
                </a:lnTo>
                <a:lnTo>
                  <a:pt x="2822" y="1310"/>
                </a:lnTo>
                <a:lnTo>
                  <a:pt x="2813" y="1303"/>
                </a:lnTo>
                <a:lnTo>
                  <a:pt x="2805" y="1296"/>
                </a:lnTo>
                <a:lnTo>
                  <a:pt x="2800" y="1290"/>
                </a:lnTo>
                <a:lnTo>
                  <a:pt x="2796" y="1282"/>
                </a:lnTo>
                <a:lnTo>
                  <a:pt x="2792" y="1273"/>
                </a:lnTo>
                <a:lnTo>
                  <a:pt x="2789" y="1267"/>
                </a:lnTo>
                <a:lnTo>
                  <a:pt x="2786" y="1264"/>
                </a:lnTo>
                <a:lnTo>
                  <a:pt x="2781" y="1261"/>
                </a:lnTo>
                <a:lnTo>
                  <a:pt x="2777" y="1259"/>
                </a:lnTo>
                <a:lnTo>
                  <a:pt x="2774" y="1258"/>
                </a:lnTo>
                <a:lnTo>
                  <a:pt x="2770" y="1258"/>
                </a:lnTo>
                <a:lnTo>
                  <a:pt x="2768" y="1258"/>
                </a:lnTo>
                <a:lnTo>
                  <a:pt x="2765" y="1259"/>
                </a:lnTo>
                <a:lnTo>
                  <a:pt x="2751" y="1274"/>
                </a:lnTo>
                <a:lnTo>
                  <a:pt x="2736" y="1290"/>
                </a:lnTo>
                <a:lnTo>
                  <a:pt x="2732" y="1292"/>
                </a:lnTo>
                <a:lnTo>
                  <a:pt x="2727" y="1293"/>
                </a:lnTo>
                <a:lnTo>
                  <a:pt x="2723" y="1295"/>
                </a:lnTo>
                <a:lnTo>
                  <a:pt x="2717" y="1295"/>
                </a:lnTo>
                <a:lnTo>
                  <a:pt x="2707" y="1293"/>
                </a:lnTo>
                <a:lnTo>
                  <a:pt x="2698" y="1291"/>
                </a:lnTo>
                <a:lnTo>
                  <a:pt x="2689" y="1288"/>
                </a:lnTo>
                <a:lnTo>
                  <a:pt x="2681" y="1286"/>
                </a:lnTo>
                <a:lnTo>
                  <a:pt x="2673" y="1288"/>
                </a:lnTo>
                <a:lnTo>
                  <a:pt x="2664" y="1290"/>
                </a:lnTo>
                <a:lnTo>
                  <a:pt x="2660" y="1292"/>
                </a:lnTo>
                <a:lnTo>
                  <a:pt x="2656" y="1297"/>
                </a:lnTo>
                <a:lnTo>
                  <a:pt x="2652" y="1302"/>
                </a:lnTo>
                <a:lnTo>
                  <a:pt x="2649" y="1307"/>
                </a:lnTo>
                <a:lnTo>
                  <a:pt x="2645" y="1314"/>
                </a:lnTo>
                <a:lnTo>
                  <a:pt x="2643" y="1317"/>
                </a:lnTo>
                <a:lnTo>
                  <a:pt x="2639" y="1321"/>
                </a:lnTo>
                <a:lnTo>
                  <a:pt x="2637" y="1323"/>
                </a:lnTo>
                <a:lnTo>
                  <a:pt x="2629" y="1326"/>
                </a:lnTo>
                <a:lnTo>
                  <a:pt x="2616" y="1327"/>
                </a:lnTo>
                <a:lnTo>
                  <a:pt x="2601" y="1328"/>
                </a:lnTo>
                <a:lnTo>
                  <a:pt x="2587" y="1328"/>
                </a:lnTo>
                <a:lnTo>
                  <a:pt x="2574" y="1326"/>
                </a:lnTo>
                <a:lnTo>
                  <a:pt x="2564" y="1323"/>
                </a:lnTo>
                <a:lnTo>
                  <a:pt x="2556" y="1318"/>
                </a:lnTo>
                <a:lnTo>
                  <a:pt x="2545" y="1311"/>
                </a:lnTo>
                <a:lnTo>
                  <a:pt x="2534" y="1304"/>
                </a:lnTo>
                <a:lnTo>
                  <a:pt x="2523" y="1296"/>
                </a:lnTo>
                <a:lnTo>
                  <a:pt x="2522" y="1292"/>
                </a:lnTo>
                <a:lnTo>
                  <a:pt x="2522" y="1289"/>
                </a:lnTo>
                <a:lnTo>
                  <a:pt x="2522" y="1285"/>
                </a:lnTo>
                <a:lnTo>
                  <a:pt x="2523" y="1283"/>
                </a:lnTo>
                <a:lnTo>
                  <a:pt x="2526" y="1272"/>
                </a:lnTo>
                <a:lnTo>
                  <a:pt x="2528" y="1259"/>
                </a:lnTo>
                <a:lnTo>
                  <a:pt x="2528" y="1253"/>
                </a:lnTo>
                <a:lnTo>
                  <a:pt x="2526" y="1246"/>
                </a:lnTo>
                <a:lnTo>
                  <a:pt x="2524" y="1239"/>
                </a:lnTo>
                <a:lnTo>
                  <a:pt x="2522" y="1232"/>
                </a:lnTo>
                <a:lnTo>
                  <a:pt x="2517" y="1217"/>
                </a:lnTo>
                <a:lnTo>
                  <a:pt x="2513" y="1207"/>
                </a:lnTo>
                <a:lnTo>
                  <a:pt x="2512" y="1201"/>
                </a:lnTo>
                <a:lnTo>
                  <a:pt x="2512" y="1196"/>
                </a:lnTo>
                <a:lnTo>
                  <a:pt x="2513" y="1190"/>
                </a:lnTo>
                <a:lnTo>
                  <a:pt x="2515" y="1185"/>
                </a:lnTo>
                <a:lnTo>
                  <a:pt x="2518" y="1177"/>
                </a:lnTo>
                <a:lnTo>
                  <a:pt x="2524" y="1170"/>
                </a:lnTo>
                <a:lnTo>
                  <a:pt x="2529" y="1165"/>
                </a:lnTo>
                <a:lnTo>
                  <a:pt x="2534" y="1160"/>
                </a:lnTo>
                <a:lnTo>
                  <a:pt x="2535" y="1157"/>
                </a:lnTo>
                <a:lnTo>
                  <a:pt x="2536" y="1153"/>
                </a:lnTo>
                <a:lnTo>
                  <a:pt x="2536" y="1148"/>
                </a:lnTo>
                <a:lnTo>
                  <a:pt x="2535" y="1143"/>
                </a:lnTo>
                <a:lnTo>
                  <a:pt x="2532" y="1131"/>
                </a:lnTo>
                <a:lnTo>
                  <a:pt x="2529" y="1119"/>
                </a:lnTo>
                <a:lnTo>
                  <a:pt x="2524" y="1109"/>
                </a:lnTo>
                <a:lnTo>
                  <a:pt x="2518" y="1102"/>
                </a:lnTo>
                <a:lnTo>
                  <a:pt x="2513" y="1097"/>
                </a:lnTo>
                <a:lnTo>
                  <a:pt x="2509" y="1094"/>
                </a:lnTo>
                <a:lnTo>
                  <a:pt x="2505" y="1093"/>
                </a:lnTo>
                <a:lnTo>
                  <a:pt x="2500" y="1094"/>
                </a:lnTo>
                <a:lnTo>
                  <a:pt x="2496" y="1095"/>
                </a:lnTo>
                <a:lnTo>
                  <a:pt x="2491" y="1100"/>
                </a:lnTo>
                <a:lnTo>
                  <a:pt x="2487" y="1105"/>
                </a:lnTo>
                <a:lnTo>
                  <a:pt x="2485" y="1106"/>
                </a:lnTo>
                <a:lnTo>
                  <a:pt x="2482" y="1105"/>
                </a:lnTo>
                <a:lnTo>
                  <a:pt x="2480" y="1100"/>
                </a:lnTo>
                <a:lnTo>
                  <a:pt x="2479" y="1097"/>
                </a:lnTo>
                <a:lnTo>
                  <a:pt x="2479" y="1094"/>
                </a:lnTo>
                <a:lnTo>
                  <a:pt x="2480" y="1091"/>
                </a:lnTo>
                <a:lnTo>
                  <a:pt x="2481" y="1091"/>
                </a:lnTo>
                <a:lnTo>
                  <a:pt x="2488" y="1090"/>
                </a:lnTo>
                <a:lnTo>
                  <a:pt x="2494" y="1088"/>
                </a:lnTo>
                <a:lnTo>
                  <a:pt x="2496" y="1087"/>
                </a:lnTo>
                <a:lnTo>
                  <a:pt x="2497" y="1084"/>
                </a:lnTo>
                <a:lnTo>
                  <a:pt x="2496" y="1081"/>
                </a:lnTo>
                <a:lnTo>
                  <a:pt x="2492" y="1076"/>
                </a:lnTo>
                <a:lnTo>
                  <a:pt x="2490" y="1074"/>
                </a:lnTo>
                <a:lnTo>
                  <a:pt x="2488" y="1071"/>
                </a:lnTo>
                <a:lnTo>
                  <a:pt x="2488" y="1070"/>
                </a:lnTo>
                <a:lnTo>
                  <a:pt x="2488" y="1068"/>
                </a:lnTo>
                <a:lnTo>
                  <a:pt x="2491" y="1064"/>
                </a:lnTo>
                <a:lnTo>
                  <a:pt x="2496" y="1062"/>
                </a:lnTo>
                <a:lnTo>
                  <a:pt x="2507" y="1055"/>
                </a:lnTo>
                <a:lnTo>
                  <a:pt x="2519" y="1046"/>
                </a:lnTo>
                <a:lnTo>
                  <a:pt x="2532" y="1032"/>
                </a:lnTo>
                <a:lnTo>
                  <a:pt x="2547" y="1018"/>
                </a:lnTo>
                <a:lnTo>
                  <a:pt x="2562" y="1001"/>
                </a:lnTo>
                <a:lnTo>
                  <a:pt x="2575" y="987"/>
                </a:lnTo>
                <a:lnTo>
                  <a:pt x="2586" y="974"/>
                </a:lnTo>
                <a:lnTo>
                  <a:pt x="2593" y="962"/>
                </a:lnTo>
                <a:lnTo>
                  <a:pt x="2598" y="951"/>
                </a:lnTo>
                <a:lnTo>
                  <a:pt x="2600" y="940"/>
                </a:lnTo>
                <a:lnTo>
                  <a:pt x="2601" y="936"/>
                </a:lnTo>
                <a:lnTo>
                  <a:pt x="2604" y="931"/>
                </a:lnTo>
                <a:lnTo>
                  <a:pt x="2606" y="929"/>
                </a:lnTo>
                <a:lnTo>
                  <a:pt x="2608" y="926"/>
                </a:lnTo>
                <a:lnTo>
                  <a:pt x="2611" y="926"/>
                </a:lnTo>
                <a:lnTo>
                  <a:pt x="2613" y="926"/>
                </a:lnTo>
                <a:lnTo>
                  <a:pt x="2617" y="926"/>
                </a:lnTo>
                <a:lnTo>
                  <a:pt x="2620" y="927"/>
                </a:lnTo>
                <a:lnTo>
                  <a:pt x="2629" y="932"/>
                </a:lnTo>
                <a:lnTo>
                  <a:pt x="2638" y="937"/>
                </a:lnTo>
                <a:lnTo>
                  <a:pt x="2643" y="939"/>
                </a:lnTo>
                <a:lnTo>
                  <a:pt x="2646" y="943"/>
                </a:lnTo>
                <a:lnTo>
                  <a:pt x="2650" y="945"/>
                </a:lnTo>
                <a:lnTo>
                  <a:pt x="2651" y="948"/>
                </a:lnTo>
                <a:lnTo>
                  <a:pt x="2652" y="955"/>
                </a:lnTo>
                <a:lnTo>
                  <a:pt x="2656" y="961"/>
                </a:lnTo>
                <a:lnTo>
                  <a:pt x="2660" y="967"/>
                </a:lnTo>
                <a:lnTo>
                  <a:pt x="2663" y="970"/>
                </a:lnTo>
                <a:lnTo>
                  <a:pt x="2675" y="979"/>
                </a:lnTo>
                <a:lnTo>
                  <a:pt x="2686" y="989"/>
                </a:lnTo>
                <a:lnTo>
                  <a:pt x="2692" y="999"/>
                </a:lnTo>
                <a:lnTo>
                  <a:pt x="2698" y="1008"/>
                </a:lnTo>
                <a:lnTo>
                  <a:pt x="2701" y="1012"/>
                </a:lnTo>
                <a:lnTo>
                  <a:pt x="2706" y="1014"/>
                </a:lnTo>
                <a:lnTo>
                  <a:pt x="2709" y="1014"/>
                </a:lnTo>
                <a:lnTo>
                  <a:pt x="2713" y="1013"/>
                </a:lnTo>
                <a:lnTo>
                  <a:pt x="2719" y="1007"/>
                </a:lnTo>
                <a:lnTo>
                  <a:pt x="2725" y="1001"/>
                </a:lnTo>
                <a:lnTo>
                  <a:pt x="2737" y="987"/>
                </a:lnTo>
                <a:lnTo>
                  <a:pt x="2749" y="973"/>
                </a:lnTo>
                <a:lnTo>
                  <a:pt x="2758" y="959"/>
                </a:lnTo>
                <a:lnTo>
                  <a:pt x="2767" y="949"/>
                </a:lnTo>
                <a:lnTo>
                  <a:pt x="2770" y="944"/>
                </a:lnTo>
                <a:lnTo>
                  <a:pt x="2775" y="940"/>
                </a:lnTo>
                <a:lnTo>
                  <a:pt x="2778" y="938"/>
                </a:lnTo>
                <a:lnTo>
                  <a:pt x="2783" y="936"/>
                </a:lnTo>
                <a:lnTo>
                  <a:pt x="2787" y="935"/>
                </a:lnTo>
                <a:lnTo>
                  <a:pt x="2792" y="935"/>
                </a:lnTo>
                <a:lnTo>
                  <a:pt x="2796" y="937"/>
                </a:lnTo>
                <a:lnTo>
                  <a:pt x="2801" y="939"/>
                </a:lnTo>
                <a:lnTo>
                  <a:pt x="2812" y="946"/>
                </a:lnTo>
                <a:lnTo>
                  <a:pt x="2822" y="957"/>
                </a:lnTo>
                <a:lnTo>
                  <a:pt x="2827" y="964"/>
                </a:lnTo>
                <a:lnTo>
                  <a:pt x="2831" y="970"/>
                </a:lnTo>
                <a:lnTo>
                  <a:pt x="2834" y="977"/>
                </a:lnTo>
                <a:lnTo>
                  <a:pt x="2835" y="984"/>
                </a:lnTo>
                <a:lnTo>
                  <a:pt x="2838" y="996"/>
                </a:lnTo>
                <a:lnTo>
                  <a:pt x="2840" y="1003"/>
                </a:lnTo>
                <a:lnTo>
                  <a:pt x="2843" y="1006"/>
                </a:lnTo>
                <a:lnTo>
                  <a:pt x="2845" y="1007"/>
                </a:lnTo>
                <a:lnTo>
                  <a:pt x="2847" y="1008"/>
                </a:lnTo>
                <a:lnTo>
                  <a:pt x="2851" y="1008"/>
                </a:lnTo>
                <a:lnTo>
                  <a:pt x="2860" y="1009"/>
                </a:lnTo>
                <a:lnTo>
                  <a:pt x="2876" y="1009"/>
                </a:lnTo>
                <a:lnTo>
                  <a:pt x="2895" y="1008"/>
                </a:lnTo>
                <a:lnTo>
                  <a:pt x="2914" y="1007"/>
                </a:lnTo>
                <a:lnTo>
                  <a:pt x="2928" y="1006"/>
                </a:lnTo>
                <a:lnTo>
                  <a:pt x="2934" y="1005"/>
                </a:lnTo>
                <a:lnTo>
                  <a:pt x="2939" y="1002"/>
                </a:lnTo>
                <a:lnTo>
                  <a:pt x="2947" y="1001"/>
                </a:lnTo>
                <a:lnTo>
                  <a:pt x="2950" y="1001"/>
                </a:lnTo>
                <a:lnTo>
                  <a:pt x="2952" y="1001"/>
                </a:lnTo>
                <a:lnTo>
                  <a:pt x="2953" y="1002"/>
                </a:lnTo>
                <a:lnTo>
                  <a:pt x="2956" y="1003"/>
                </a:lnTo>
                <a:lnTo>
                  <a:pt x="2957" y="1007"/>
                </a:lnTo>
                <a:lnTo>
                  <a:pt x="2958" y="1012"/>
                </a:lnTo>
                <a:lnTo>
                  <a:pt x="2959" y="1017"/>
                </a:lnTo>
                <a:lnTo>
                  <a:pt x="2960" y="1020"/>
                </a:lnTo>
                <a:lnTo>
                  <a:pt x="2961" y="1021"/>
                </a:lnTo>
                <a:lnTo>
                  <a:pt x="2963" y="1022"/>
                </a:lnTo>
                <a:lnTo>
                  <a:pt x="2965" y="1022"/>
                </a:lnTo>
                <a:lnTo>
                  <a:pt x="2967" y="1022"/>
                </a:lnTo>
                <a:lnTo>
                  <a:pt x="2975" y="1021"/>
                </a:lnTo>
                <a:lnTo>
                  <a:pt x="2981" y="1018"/>
                </a:lnTo>
                <a:lnTo>
                  <a:pt x="2988" y="1012"/>
                </a:lnTo>
                <a:lnTo>
                  <a:pt x="2997" y="1002"/>
                </a:lnTo>
                <a:lnTo>
                  <a:pt x="3009" y="993"/>
                </a:lnTo>
                <a:lnTo>
                  <a:pt x="3021" y="984"/>
                </a:lnTo>
                <a:lnTo>
                  <a:pt x="3034" y="976"/>
                </a:lnTo>
                <a:lnTo>
                  <a:pt x="3046" y="971"/>
                </a:lnTo>
                <a:lnTo>
                  <a:pt x="3052" y="970"/>
                </a:lnTo>
                <a:lnTo>
                  <a:pt x="3058" y="971"/>
                </a:lnTo>
                <a:lnTo>
                  <a:pt x="3064" y="973"/>
                </a:lnTo>
                <a:lnTo>
                  <a:pt x="3068" y="975"/>
                </a:lnTo>
                <a:lnTo>
                  <a:pt x="3079" y="982"/>
                </a:lnTo>
                <a:lnTo>
                  <a:pt x="3088" y="989"/>
                </a:lnTo>
                <a:lnTo>
                  <a:pt x="3091" y="992"/>
                </a:lnTo>
                <a:lnTo>
                  <a:pt x="3093" y="993"/>
                </a:lnTo>
                <a:lnTo>
                  <a:pt x="3096" y="994"/>
                </a:lnTo>
                <a:lnTo>
                  <a:pt x="3098" y="993"/>
                </a:lnTo>
                <a:lnTo>
                  <a:pt x="3101" y="987"/>
                </a:lnTo>
                <a:lnTo>
                  <a:pt x="3104" y="974"/>
                </a:lnTo>
                <a:lnTo>
                  <a:pt x="3108" y="959"/>
                </a:lnTo>
                <a:lnTo>
                  <a:pt x="3111" y="945"/>
                </a:lnTo>
                <a:lnTo>
                  <a:pt x="3114" y="931"/>
                </a:lnTo>
                <a:lnTo>
                  <a:pt x="3116" y="916"/>
                </a:lnTo>
                <a:lnTo>
                  <a:pt x="3117" y="908"/>
                </a:lnTo>
                <a:lnTo>
                  <a:pt x="3120" y="902"/>
                </a:lnTo>
                <a:lnTo>
                  <a:pt x="3123" y="898"/>
                </a:lnTo>
                <a:lnTo>
                  <a:pt x="3128" y="893"/>
                </a:lnTo>
                <a:lnTo>
                  <a:pt x="3136" y="885"/>
                </a:lnTo>
                <a:lnTo>
                  <a:pt x="3142" y="876"/>
                </a:lnTo>
                <a:lnTo>
                  <a:pt x="3145" y="872"/>
                </a:lnTo>
                <a:lnTo>
                  <a:pt x="3145" y="867"/>
                </a:lnTo>
                <a:lnTo>
                  <a:pt x="3146" y="862"/>
                </a:lnTo>
                <a:lnTo>
                  <a:pt x="3145" y="858"/>
                </a:lnTo>
                <a:lnTo>
                  <a:pt x="3143" y="854"/>
                </a:lnTo>
                <a:lnTo>
                  <a:pt x="3142" y="850"/>
                </a:lnTo>
                <a:lnTo>
                  <a:pt x="3140" y="847"/>
                </a:lnTo>
                <a:lnTo>
                  <a:pt x="3137" y="844"/>
                </a:lnTo>
                <a:lnTo>
                  <a:pt x="3135" y="841"/>
                </a:lnTo>
                <a:lnTo>
                  <a:pt x="3134" y="836"/>
                </a:lnTo>
                <a:lnTo>
                  <a:pt x="3133" y="831"/>
                </a:lnTo>
                <a:lnTo>
                  <a:pt x="3133" y="826"/>
                </a:lnTo>
                <a:lnTo>
                  <a:pt x="3134" y="822"/>
                </a:lnTo>
                <a:lnTo>
                  <a:pt x="3136" y="817"/>
                </a:lnTo>
                <a:lnTo>
                  <a:pt x="3139" y="813"/>
                </a:lnTo>
                <a:lnTo>
                  <a:pt x="3141" y="810"/>
                </a:lnTo>
                <a:lnTo>
                  <a:pt x="3143" y="807"/>
                </a:lnTo>
                <a:lnTo>
                  <a:pt x="3145" y="805"/>
                </a:lnTo>
                <a:lnTo>
                  <a:pt x="3146" y="803"/>
                </a:lnTo>
                <a:lnTo>
                  <a:pt x="3146" y="801"/>
                </a:lnTo>
                <a:lnTo>
                  <a:pt x="3145" y="800"/>
                </a:lnTo>
                <a:lnTo>
                  <a:pt x="3142" y="799"/>
                </a:lnTo>
                <a:lnTo>
                  <a:pt x="3139" y="798"/>
                </a:lnTo>
                <a:lnTo>
                  <a:pt x="3135" y="798"/>
                </a:lnTo>
                <a:lnTo>
                  <a:pt x="3131" y="798"/>
                </a:lnTo>
                <a:lnTo>
                  <a:pt x="3128" y="798"/>
                </a:lnTo>
                <a:lnTo>
                  <a:pt x="3124" y="797"/>
                </a:lnTo>
                <a:lnTo>
                  <a:pt x="3122" y="794"/>
                </a:lnTo>
                <a:lnTo>
                  <a:pt x="3121" y="792"/>
                </a:lnTo>
                <a:lnTo>
                  <a:pt x="3120" y="788"/>
                </a:lnTo>
                <a:lnTo>
                  <a:pt x="3120" y="785"/>
                </a:lnTo>
                <a:lnTo>
                  <a:pt x="3120" y="780"/>
                </a:lnTo>
                <a:lnTo>
                  <a:pt x="3122" y="771"/>
                </a:lnTo>
                <a:lnTo>
                  <a:pt x="3126" y="762"/>
                </a:lnTo>
                <a:lnTo>
                  <a:pt x="3130" y="754"/>
                </a:lnTo>
                <a:lnTo>
                  <a:pt x="3134" y="742"/>
                </a:lnTo>
                <a:lnTo>
                  <a:pt x="3134" y="736"/>
                </a:lnTo>
                <a:lnTo>
                  <a:pt x="3134" y="730"/>
                </a:lnTo>
                <a:lnTo>
                  <a:pt x="3133" y="727"/>
                </a:lnTo>
                <a:lnTo>
                  <a:pt x="3131" y="723"/>
                </a:lnTo>
                <a:lnTo>
                  <a:pt x="3129" y="721"/>
                </a:lnTo>
                <a:lnTo>
                  <a:pt x="3127" y="719"/>
                </a:lnTo>
                <a:lnTo>
                  <a:pt x="3123" y="718"/>
                </a:lnTo>
                <a:lnTo>
                  <a:pt x="3118" y="718"/>
                </a:lnTo>
                <a:lnTo>
                  <a:pt x="3110" y="718"/>
                </a:lnTo>
                <a:lnTo>
                  <a:pt x="3104" y="718"/>
                </a:lnTo>
                <a:lnTo>
                  <a:pt x="3101" y="718"/>
                </a:lnTo>
                <a:lnTo>
                  <a:pt x="3099" y="717"/>
                </a:lnTo>
                <a:lnTo>
                  <a:pt x="3097" y="716"/>
                </a:lnTo>
                <a:lnTo>
                  <a:pt x="3096" y="713"/>
                </a:lnTo>
                <a:lnTo>
                  <a:pt x="3095" y="706"/>
                </a:lnTo>
                <a:lnTo>
                  <a:pt x="3095" y="699"/>
                </a:lnTo>
                <a:lnTo>
                  <a:pt x="3093" y="694"/>
                </a:lnTo>
                <a:lnTo>
                  <a:pt x="3092" y="691"/>
                </a:lnTo>
                <a:lnTo>
                  <a:pt x="3090" y="687"/>
                </a:lnTo>
                <a:lnTo>
                  <a:pt x="3088" y="685"/>
                </a:lnTo>
                <a:lnTo>
                  <a:pt x="3084" y="681"/>
                </a:lnTo>
                <a:lnTo>
                  <a:pt x="3079" y="678"/>
                </a:lnTo>
                <a:lnTo>
                  <a:pt x="3072" y="675"/>
                </a:lnTo>
                <a:lnTo>
                  <a:pt x="3065" y="674"/>
                </a:lnTo>
                <a:lnTo>
                  <a:pt x="3057" y="674"/>
                </a:lnTo>
                <a:lnTo>
                  <a:pt x="3048" y="675"/>
                </a:lnTo>
                <a:lnTo>
                  <a:pt x="3039" y="679"/>
                </a:lnTo>
                <a:lnTo>
                  <a:pt x="3028" y="685"/>
                </a:lnTo>
                <a:lnTo>
                  <a:pt x="3019" y="693"/>
                </a:lnTo>
                <a:lnTo>
                  <a:pt x="3010" y="702"/>
                </a:lnTo>
                <a:lnTo>
                  <a:pt x="3003" y="711"/>
                </a:lnTo>
                <a:lnTo>
                  <a:pt x="2997" y="721"/>
                </a:lnTo>
                <a:lnTo>
                  <a:pt x="2989" y="738"/>
                </a:lnTo>
                <a:lnTo>
                  <a:pt x="2984" y="753"/>
                </a:lnTo>
                <a:lnTo>
                  <a:pt x="2983" y="755"/>
                </a:lnTo>
                <a:lnTo>
                  <a:pt x="2981" y="756"/>
                </a:lnTo>
                <a:lnTo>
                  <a:pt x="2978" y="759"/>
                </a:lnTo>
                <a:lnTo>
                  <a:pt x="2976" y="759"/>
                </a:lnTo>
                <a:lnTo>
                  <a:pt x="2967" y="760"/>
                </a:lnTo>
                <a:lnTo>
                  <a:pt x="2959" y="760"/>
                </a:lnTo>
                <a:lnTo>
                  <a:pt x="2941" y="757"/>
                </a:lnTo>
                <a:lnTo>
                  <a:pt x="2926" y="755"/>
                </a:lnTo>
                <a:lnTo>
                  <a:pt x="2919" y="755"/>
                </a:lnTo>
                <a:lnTo>
                  <a:pt x="2913" y="757"/>
                </a:lnTo>
                <a:lnTo>
                  <a:pt x="2907" y="760"/>
                </a:lnTo>
                <a:lnTo>
                  <a:pt x="2900" y="765"/>
                </a:lnTo>
                <a:lnTo>
                  <a:pt x="2894" y="768"/>
                </a:lnTo>
                <a:lnTo>
                  <a:pt x="2888" y="771"/>
                </a:lnTo>
                <a:lnTo>
                  <a:pt x="2882" y="772"/>
                </a:lnTo>
                <a:lnTo>
                  <a:pt x="2875" y="772"/>
                </a:lnTo>
                <a:lnTo>
                  <a:pt x="2869" y="771"/>
                </a:lnTo>
                <a:lnTo>
                  <a:pt x="2863" y="767"/>
                </a:lnTo>
                <a:lnTo>
                  <a:pt x="2858" y="765"/>
                </a:lnTo>
                <a:lnTo>
                  <a:pt x="2852" y="760"/>
                </a:lnTo>
                <a:lnTo>
                  <a:pt x="2840" y="749"/>
                </a:lnTo>
                <a:lnTo>
                  <a:pt x="2826" y="736"/>
                </a:lnTo>
                <a:lnTo>
                  <a:pt x="2808" y="722"/>
                </a:lnTo>
                <a:lnTo>
                  <a:pt x="2789" y="709"/>
                </a:lnTo>
                <a:lnTo>
                  <a:pt x="2781" y="703"/>
                </a:lnTo>
                <a:lnTo>
                  <a:pt x="2775" y="697"/>
                </a:lnTo>
                <a:lnTo>
                  <a:pt x="2769" y="692"/>
                </a:lnTo>
                <a:lnTo>
                  <a:pt x="2767" y="688"/>
                </a:lnTo>
                <a:lnTo>
                  <a:pt x="2765" y="684"/>
                </a:lnTo>
                <a:lnTo>
                  <a:pt x="2765" y="681"/>
                </a:lnTo>
                <a:lnTo>
                  <a:pt x="2767" y="679"/>
                </a:lnTo>
                <a:lnTo>
                  <a:pt x="2769" y="677"/>
                </a:lnTo>
                <a:lnTo>
                  <a:pt x="2776" y="674"/>
                </a:lnTo>
                <a:lnTo>
                  <a:pt x="2787" y="671"/>
                </a:lnTo>
                <a:lnTo>
                  <a:pt x="2792" y="669"/>
                </a:lnTo>
                <a:lnTo>
                  <a:pt x="2796" y="667"/>
                </a:lnTo>
                <a:lnTo>
                  <a:pt x="2801" y="665"/>
                </a:lnTo>
                <a:lnTo>
                  <a:pt x="2805" y="662"/>
                </a:lnTo>
                <a:lnTo>
                  <a:pt x="2811" y="656"/>
                </a:lnTo>
                <a:lnTo>
                  <a:pt x="2815" y="649"/>
                </a:lnTo>
                <a:lnTo>
                  <a:pt x="2819" y="642"/>
                </a:lnTo>
                <a:lnTo>
                  <a:pt x="2821" y="636"/>
                </a:lnTo>
                <a:lnTo>
                  <a:pt x="2821" y="633"/>
                </a:lnTo>
                <a:lnTo>
                  <a:pt x="2820" y="630"/>
                </a:lnTo>
                <a:lnTo>
                  <a:pt x="2818" y="628"/>
                </a:lnTo>
                <a:lnTo>
                  <a:pt x="2815" y="624"/>
                </a:lnTo>
                <a:lnTo>
                  <a:pt x="2812" y="622"/>
                </a:lnTo>
                <a:lnTo>
                  <a:pt x="2809" y="620"/>
                </a:lnTo>
                <a:lnTo>
                  <a:pt x="2809" y="617"/>
                </a:lnTo>
                <a:lnTo>
                  <a:pt x="2809" y="615"/>
                </a:lnTo>
                <a:lnTo>
                  <a:pt x="2814" y="610"/>
                </a:lnTo>
                <a:lnTo>
                  <a:pt x="2821" y="604"/>
                </a:lnTo>
                <a:lnTo>
                  <a:pt x="2825" y="602"/>
                </a:lnTo>
                <a:lnTo>
                  <a:pt x="2827" y="598"/>
                </a:lnTo>
                <a:lnTo>
                  <a:pt x="2828" y="596"/>
                </a:lnTo>
                <a:lnTo>
                  <a:pt x="2828" y="592"/>
                </a:lnTo>
                <a:lnTo>
                  <a:pt x="2825" y="587"/>
                </a:lnTo>
                <a:lnTo>
                  <a:pt x="2820" y="582"/>
                </a:lnTo>
                <a:lnTo>
                  <a:pt x="2814" y="577"/>
                </a:lnTo>
                <a:lnTo>
                  <a:pt x="2811" y="572"/>
                </a:lnTo>
                <a:lnTo>
                  <a:pt x="2807" y="567"/>
                </a:lnTo>
                <a:lnTo>
                  <a:pt x="2806" y="559"/>
                </a:lnTo>
                <a:lnTo>
                  <a:pt x="2805" y="555"/>
                </a:lnTo>
                <a:lnTo>
                  <a:pt x="2803" y="553"/>
                </a:lnTo>
                <a:lnTo>
                  <a:pt x="2801" y="552"/>
                </a:lnTo>
                <a:lnTo>
                  <a:pt x="2799" y="551"/>
                </a:lnTo>
                <a:lnTo>
                  <a:pt x="2795" y="551"/>
                </a:lnTo>
                <a:lnTo>
                  <a:pt x="2790" y="552"/>
                </a:lnTo>
                <a:lnTo>
                  <a:pt x="2787" y="554"/>
                </a:lnTo>
                <a:lnTo>
                  <a:pt x="2783" y="557"/>
                </a:lnTo>
                <a:lnTo>
                  <a:pt x="2778" y="559"/>
                </a:lnTo>
                <a:lnTo>
                  <a:pt x="2774" y="561"/>
                </a:lnTo>
                <a:lnTo>
                  <a:pt x="2769" y="561"/>
                </a:lnTo>
                <a:lnTo>
                  <a:pt x="2765" y="560"/>
                </a:lnTo>
                <a:lnTo>
                  <a:pt x="2762" y="559"/>
                </a:lnTo>
                <a:lnTo>
                  <a:pt x="2759" y="557"/>
                </a:lnTo>
                <a:lnTo>
                  <a:pt x="2758" y="554"/>
                </a:lnTo>
                <a:lnTo>
                  <a:pt x="2758" y="551"/>
                </a:lnTo>
                <a:lnTo>
                  <a:pt x="2759" y="542"/>
                </a:lnTo>
                <a:lnTo>
                  <a:pt x="2762" y="532"/>
                </a:lnTo>
                <a:lnTo>
                  <a:pt x="2763" y="520"/>
                </a:lnTo>
                <a:lnTo>
                  <a:pt x="2764" y="504"/>
                </a:lnTo>
                <a:lnTo>
                  <a:pt x="2764" y="497"/>
                </a:lnTo>
                <a:lnTo>
                  <a:pt x="2765" y="489"/>
                </a:lnTo>
                <a:lnTo>
                  <a:pt x="2768" y="482"/>
                </a:lnTo>
                <a:lnTo>
                  <a:pt x="2771" y="473"/>
                </a:lnTo>
                <a:lnTo>
                  <a:pt x="2775" y="467"/>
                </a:lnTo>
                <a:lnTo>
                  <a:pt x="2780" y="461"/>
                </a:lnTo>
                <a:lnTo>
                  <a:pt x="2786" y="456"/>
                </a:lnTo>
                <a:lnTo>
                  <a:pt x="2792" y="452"/>
                </a:lnTo>
                <a:lnTo>
                  <a:pt x="2802" y="446"/>
                </a:lnTo>
                <a:lnTo>
                  <a:pt x="2813" y="440"/>
                </a:lnTo>
                <a:lnTo>
                  <a:pt x="2822" y="434"/>
                </a:lnTo>
                <a:lnTo>
                  <a:pt x="2831" y="427"/>
                </a:lnTo>
                <a:lnTo>
                  <a:pt x="2834" y="423"/>
                </a:lnTo>
                <a:lnTo>
                  <a:pt x="2835" y="422"/>
                </a:lnTo>
                <a:lnTo>
                  <a:pt x="2834" y="421"/>
                </a:lnTo>
                <a:lnTo>
                  <a:pt x="2832" y="420"/>
                </a:lnTo>
                <a:lnTo>
                  <a:pt x="2828" y="419"/>
                </a:lnTo>
                <a:lnTo>
                  <a:pt x="2825" y="417"/>
                </a:lnTo>
                <a:lnTo>
                  <a:pt x="2816" y="417"/>
                </a:lnTo>
                <a:lnTo>
                  <a:pt x="2808" y="417"/>
                </a:lnTo>
                <a:lnTo>
                  <a:pt x="2802" y="417"/>
                </a:lnTo>
                <a:lnTo>
                  <a:pt x="2796" y="417"/>
                </a:lnTo>
                <a:lnTo>
                  <a:pt x="2790" y="416"/>
                </a:lnTo>
                <a:lnTo>
                  <a:pt x="2787" y="415"/>
                </a:lnTo>
                <a:lnTo>
                  <a:pt x="2782" y="413"/>
                </a:lnTo>
                <a:lnTo>
                  <a:pt x="2776" y="410"/>
                </a:lnTo>
                <a:lnTo>
                  <a:pt x="2770" y="410"/>
                </a:lnTo>
                <a:lnTo>
                  <a:pt x="2763" y="410"/>
                </a:lnTo>
                <a:lnTo>
                  <a:pt x="2755" y="413"/>
                </a:lnTo>
                <a:lnTo>
                  <a:pt x="2745" y="416"/>
                </a:lnTo>
                <a:lnTo>
                  <a:pt x="2736" y="421"/>
                </a:lnTo>
                <a:lnTo>
                  <a:pt x="2725" y="423"/>
                </a:lnTo>
                <a:lnTo>
                  <a:pt x="2714" y="426"/>
                </a:lnTo>
                <a:lnTo>
                  <a:pt x="2704" y="426"/>
                </a:lnTo>
                <a:lnTo>
                  <a:pt x="2694" y="425"/>
                </a:lnTo>
                <a:lnTo>
                  <a:pt x="2687" y="422"/>
                </a:lnTo>
                <a:lnTo>
                  <a:pt x="2680" y="420"/>
                </a:lnTo>
                <a:lnTo>
                  <a:pt x="2671" y="419"/>
                </a:lnTo>
                <a:lnTo>
                  <a:pt x="2663" y="420"/>
                </a:lnTo>
                <a:lnTo>
                  <a:pt x="2654" y="421"/>
                </a:lnTo>
                <a:lnTo>
                  <a:pt x="2646" y="421"/>
                </a:lnTo>
                <a:lnTo>
                  <a:pt x="2639" y="419"/>
                </a:lnTo>
                <a:lnTo>
                  <a:pt x="2635" y="416"/>
                </a:lnTo>
                <a:lnTo>
                  <a:pt x="2631" y="412"/>
                </a:lnTo>
                <a:lnTo>
                  <a:pt x="2629" y="408"/>
                </a:lnTo>
                <a:lnTo>
                  <a:pt x="2625" y="404"/>
                </a:lnTo>
                <a:lnTo>
                  <a:pt x="2622" y="402"/>
                </a:lnTo>
                <a:lnTo>
                  <a:pt x="2618" y="401"/>
                </a:lnTo>
                <a:lnTo>
                  <a:pt x="2614" y="402"/>
                </a:lnTo>
                <a:lnTo>
                  <a:pt x="2611" y="403"/>
                </a:lnTo>
                <a:lnTo>
                  <a:pt x="2608" y="407"/>
                </a:lnTo>
                <a:lnTo>
                  <a:pt x="2607" y="413"/>
                </a:lnTo>
                <a:lnTo>
                  <a:pt x="2606" y="420"/>
                </a:lnTo>
                <a:lnTo>
                  <a:pt x="2602" y="426"/>
                </a:lnTo>
                <a:lnTo>
                  <a:pt x="2599" y="432"/>
                </a:lnTo>
                <a:lnTo>
                  <a:pt x="2595" y="438"/>
                </a:lnTo>
                <a:lnTo>
                  <a:pt x="2592" y="444"/>
                </a:lnTo>
                <a:lnTo>
                  <a:pt x="2591" y="451"/>
                </a:lnTo>
                <a:lnTo>
                  <a:pt x="2591" y="459"/>
                </a:lnTo>
                <a:lnTo>
                  <a:pt x="2592" y="466"/>
                </a:lnTo>
                <a:lnTo>
                  <a:pt x="2595" y="473"/>
                </a:lnTo>
                <a:lnTo>
                  <a:pt x="2599" y="483"/>
                </a:lnTo>
                <a:lnTo>
                  <a:pt x="2604" y="492"/>
                </a:lnTo>
                <a:lnTo>
                  <a:pt x="2607" y="502"/>
                </a:lnTo>
                <a:lnTo>
                  <a:pt x="2612" y="511"/>
                </a:lnTo>
                <a:lnTo>
                  <a:pt x="2614" y="521"/>
                </a:lnTo>
                <a:lnTo>
                  <a:pt x="2616" y="529"/>
                </a:lnTo>
                <a:lnTo>
                  <a:pt x="2616" y="538"/>
                </a:lnTo>
                <a:lnTo>
                  <a:pt x="2613" y="546"/>
                </a:lnTo>
                <a:lnTo>
                  <a:pt x="2610" y="552"/>
                </a:lnTo>
                <a:lnTo>
                  <a:pt x="2605" y="558"/>
                </a:lnTo>
                <a:lnTo>
                  <a:pt x="2598" y="563"/>
                </a:lnTo>
                <a:lnTo>
                  <a:pt x="2587" y="571"/>
                </a:lnTo>
                <a:lnTo>
                  <a:pt x="2576" y="580"/>
                </a:lnTo>
                <a:lnTo>
                  <a:pt x="2570" y="586"/>
                </a:lnTo>
                <a:lnTo>
                  <a:pt x="2566" y="590"/>
                </a:lnTo>
                <a:lnTo>
                  <a:pt x="2560" y="592"/>
                </a:lnTo>
                <a:lnTo>
                  <a:pt x="2555" y="592"/>
                </a:lnTo>
                <a:lnTo>
                  <a:pt x="2550" y="591"/>
                </a:lnTo>
                <a:lnTo>
                  <a:pt x="2545" y="589"/>
                </a:lnTo>
                <a:lnTo>
                  <a:pt x="2541" y="584"/>
                </a:lnTo>
                <a:lnTo>
                  <a:pt x="2536" y="578"/>
                </a:lnTo>
                <a:lnTo>
                  <a:pt x="2531" y="572"/>
                </a:lnTo>
                <a:lnTo>
                  <a:pt x="2526" y="568"/>
                </a:lnTo>
                <a:lnTo>
                  <a:pt x="2522" y="566"/>
                </a:lnTo>
                <a:lnTo>
                  <a:pt x="2517" y="565"/>
                </a:lnTo>
                <a:lnTo>
                  <a:pt x="2511" y="566"/>
                </a:lnTo>
                <a:lnTo>
                  <a:pt x="2507" y="570"/>
                </a:lnTo>
                <a:lnTo>
                  <a:pt x="2501" y="576"/>
                </a:lnTo>
                <a:lnTo>
                  <a:pt x="2494" y="583"/>
                </a:lnTo>
                <a:lnTo>
                  <a:pt x="2475" y="598"/>
                </a:lnTo>
                <a:lnTo>
                  <a:pt x="2459" y="610"/>
                </a:lnTo>
                <a:lnTo>
                  <a:pt x="2453" y="615"/>
                </a:lnTo>
                <a:lnTo>
                  <a:pt x="2448" y="621"/>
                </a:lnTo>
                <a:lnTo>
                  <a:pt x="2446" y="628"/>
                </a:lnTo>
                <a:lnTo>
                  <a:pt x="2446" y="634"/>
                </a:lnTo>
                <a:lnTo>
                  <a:pt x="2448" y="641"/>
                </a:lnTo>
                <a:lnTo>
                  <a:pt x="2452" y="648"/>
                </a:lnTo>
                <a:lnTo>
                  <a:pt x="2457" y="656"/>
                </a:lnTo>
                <a:lnTo>
                  <a:pt x="2465" y="664"/>
                </a:lnTo>
                <a:lnTo>
                  <a:pt x="2468" y="667"/>
                </a:lnTo>
                <a:lnTo>
                  <a:pt x="2471" y="671"/>
                </a:lnTo>
                <a:lnTo>
                  <a:pt x="2473" y="675"/>
                </a:lnTo>
                <a:lnTo>
                  <a:pt x="2473" y="679"/>
                </a:lnTo>
                <a:lnTo>
                  <a:pt x="2473" y="686"/>
                </a:lnTo>
                <a:lnTo>
                  <a:pt x="2472" y="694"/>
                </a:lnTo>
                <a:lnTo>
                  <a:pt x="2469" y="705"/>
                </a:lnTo>
                <a:lnTo>
                  <a:pt x="2466" y="719"/>
                </a:lnTo>
                <a:lnTo>
                  <a:pt x="2463" y="735"/>
                </a:lnTo>
                <a:lnTo>
                  <a:pt x="2460" y="747"/>
                </a:lnTo>
                <a:lnTo>
                  <a:pt x="2457" y="751"/>
                </a:lnTo>
                <a:lnTo>
                  <a:pt x="2455" y="757"/>
                </a:lnTo>
                <a:lnTo>
                  <a:pt x="2452" y="762"/>
                </a:lnTo>
                <a:lnTo>
                  <a:pt x="2447" y="767"/>
                </a:lnTo>
                <a:lnTo>
                  <a:pt x="2435" y="778"/>
                </a:lnTo>
                <a:lnTo>
                  <a:pt x="2422" y="787"/>
                </a:lnTo>
                <a:lnTo>
                  <a:pt x="2410" y="798"/>
                </a:lnTo>
                <a:lnTo>
                  <a:pt x="2400" y="807"/>
                </a:lnTo>
                <a:lnTo>
                  <a:pt x="2392" y="818"/>
                </a:lnTo>
                <a:lnTo>
                  <a:pt x="2381" y="831"/>
                </a:lnTo>
                <a:lnTo>
                  <a:pt x="2371" y="842"/>
                </a:lnTo>
                <a:lnTo>
                  <a:pt x="2360" y="849"/>
                </a:lnTo>
                <a:lnTo>
                  <a:pt x="2349" y="856"/>
                </a:lnTo>
                <a:lnTo>
                  <a:pt x="2339" y="862"/>
                </a:lnTo>
                <a:lnTo>
                  <a:pt x="2335" y="866"/>
                </a:lnTo>
                <a:lnTo>
                  <a:pt x="2331" y="869"/>
                </a:lnTo>
                <a:lnTo>
                  <a:pt x="2328" y="874"/>
                </a:lnTo>
                <a:lnTo>
                  <a:pt x="2327" y="880"/>
                </a:lnTo>
                <a:lnTo>
                  <a:pt x="2322" y="889"/>
                </a:lnTo>
                <a:lnTo>
                  <a:pt x="2318" y="900"/>
                </a:lnTo>
                <a:lnTo>
                  <a:pt x="2312" y="908"/>
                </a:lnTo>
                <a:lnTo>
                  <a:pt x="2306" y="913"/>
                </a:lnTo>
                <a:lnTo>
                  <a:pt x="2301" y="917"/>
                </a:lnTo>
                <a:lnTo>
                  <a:pt x="2292" y="920"/>
                </a:lnTo>
                <a:lnTo>
                  <a:pt x="2286" y="923"/>
                </a:lnTo>
                <a:lnTo>
                  <a:pt x="2280" y="927"/>
                </a:lnTo>
                <a:lnTo>
                  <a:pt x="2276" y="931"/>
                </a:lnTo>
                <a:lnTo>
                  <a:pt x="2271" y="936"/>
                </a:lnTo>
                <a:lnTo>
                  <a:pt x="2268" y="938"/>
                </a:lnTo>
                <a:lnTo>
                  <a:pt x="2265" y="939"/>
                </a:lnTo>
                <a:lnTo>
                  <a:pt x="2264" y="939"/>
                </a:lnTo>
                <a:lnTo>
                  <a:pt x="2261" y="939"/>
                </a:lnTo>
                <a:lnTo>
                  <a:pt x="2257" y="936"/>
                </a:lnTo>
                <a:lnTo>
                  <a:pt x="2253" y="931"/>
                </a:lnTo>
                <a:lnTo>
                  <a:pt x="2249" y="926"/>
                </a:lnTo>
                <a:lnTo>
                  <a:pt x="2246" y="923"/>
                </a:lnTo>
                <a:lnTo>
                  <a:pt x="2242" y="921"/>
                </a:lnTo>
                <a:lnTo>
                  <a:pt x="2239" y="921"/>
                </a:lnTo>
                <a:lnTo>
                  <a:pt x="2236" y="921"/>
                </a:lnTo>
                <a:lnTo>
                  <a:pt x="2235" y="923"/>
                </a:lnTo>
                <a:lnTo>
                  <a:pt x="2234" y="925"/>
                </a:lnTo>
                <a:lnTo>
                  <a:pt x="2233" y="927"/>
                </a:lnTo>
                <a:lnTo>
                  <a:pt x="2232" y="933"/>
                </a:lnTo>
                <a:lnTo>
                  <a:pt x="2230" y="942"/>
                </a:lnTo>
                <a:lnTo>
                  <a:pt x="2228" y="949"/>
                </a:lnTo>
                <a:lnTo>
                  <a:pt x="2226" y="954"/>
                </a:lnTo>
                <a:lnTo>
                  <a:pt x="2223" y="958"/>
                </a:lnTo>
                <a:lnTo>
                  <a:pt x="2219" y="964"/>
                </a:lnTo>
                <a:lnTo>
                  <a:pt x="2217" y="968"/>
                </a:lnTo>
                <a:lnTo>
                  <a:pt x="2216" y="974"/>
                </a:lnTo>
                <a:lnTo>
                  <a:pt x="2215" y="982"/>
                </a:lnTo>
                <a:lnTo>
                  <a:pt x="2215" y="989"/>
                </a:lnTo>
                <a:lnTo>
                  <a:pt x="2215" y="1006"/>
                </a:lnTo>
                <a:lnTo>
                  <a:pt x="2215" y="1021"/>
                </a:lnTo>
                <a:lnTo>
                  <a:pt x="2214" y="1034"/>
                </a:lnTo>
                <a:lnTo>
                  <a:pt x="2210" y="1046"/>
                </a:lnTo>
                <a:lnTo>
                  <a:pt x="2207" y="1056"/>
                </a:lnTo>
                <a:lnTo>
                  <a:pt x="2203" y="1065"/>
                </a:lnTo>
                <a:lnTo>
                  <a:pt x="2201" y="1078"/>
                </a:lnTo>
                <a:lnTo>
                  <a:pt x="2200" y="1096"/>
                </a:lnTo>
                <a:lnTo>
                  <a:pt x="2200" y="1114"/>
                </a:lnTo>
                <a:lnTo>
                  <a:pt x="2201" y="1127"/>
                </a:lnTo>
                <a:lnTo>
                  <a:pt x="2201" y="1132"/>
                </a:lnTo>
                <a:lnTo>
                  <a:pt x="2203" y="1135"/>
                </a:lnTo>
                <a:lnTo>
                  <a:pt x="2204" y="1140"/>
                </a:lnTo>
                <a:lnTo>
                  <a:pt x="2207" y="1144"/>
                </a:lnTo>
                <a:lnTo>
                  <a:pt x="2213" y="1152"/>
                </a:lnTo>
                <a:lnTo>
                  <a:pt x="2220" y="1160"/>
                </a:lnTo>
                <a:lnTo>
                  <a:pt x="2227" y="1171"/>
                </a:lnTo>
                <a:lnTo>
                  <a:pt x="2232" y="1183"/>
                </a:lnTo>
                <a:lnTo>
                  <a:pt x="2234" y="1194"/>
                </a:lnTo>
                <a:lnTo>
                  <a:pt x="2235" y="1203"/>
                </a:lnTo>
                <a:lnTo>
                  <a:pt x="2235" y="1213"/>
                </a:lnTo>
                <a:lnTo>
                  <a:pt x="2233" y="1222"/>
                </a:lnTo>
                <a:lnTo>
                  <a:pt x="2232" y="1233"/>
                </a:lnTo>
                <a:lnTo>
                  <a:pt x="2229" y="1244"/>
                </a:lnTo>
                <a:lnTo>
                  <a:pt x="2229" y="1248"/>
                </a:lnTo>
                <a:lnTo>
                  <a:pt x="2229" y="1253"/>
                </a:lnTo>
                <a:lnTo>
                  <a:pt x="2229" y="1258"/>
                </a:lnTo>
                <a:lnTo>
                  <a:pt x="2230" y="1263"/>
                </a:lnTo>
                <a:lnTo>
                  <a:pt x="2232" y="1266"/>
                </a:lnTo>
                <a:lnTo>
                  <a:pt x="2234" y="1270"/>
                </a:lnTo>
                <a:lnTo>
                  <a:pt x="2236" y="1272"/>
                </a:lnTo>
                <a:lnTo>
                  <a:pt x="2239" y="1274"/>
                </a:lnTo>
                <a:lnTo>
                  <a:pt x="2243" y="1278"/>
                </a:lnTo>
                <a:lnTo>
                  <a:pt x="2247" y="1284"/>
                </a:lnTo>
                <a:lnTo>
                  <a:pt x="2249" y="1290"/>
                </a:lnTo>
                <a:lnTo>
                  <a:pt x="2251" y="1298"/>
                </a:lnTo>
                <a:lnTo>
                  <a:pt x="2249" y="1302"/>
                </a:lnTo>
                <a:lnTo>
                  <a:pt x="2248" y="1305"/>
                </a:lnTo>
                <a:lnTo>
                  <a:pt x="2247" y="1308"/>
                </a:lnTo>
                <a:lnTo>
                  <a:pt x="2246" y="1309"/>
                </a:lnTo>
                <a:lnTo>
                  <a:pt x="2241" y="1311"/>
                </a:lnTo>
                <a:lnTo>
                  <a:pt x="2235" y="1314"/>
                </a:lnTo>
                <a:lnTo>
                  <a:pt x="2233" y="1315"/>
                </a:lnTo>
                <a:lnTo>
                  <a:pt x="2230" y="1316"/>
                </a:lnTo>
                <a:lnTo>
                  <a:pt x="2228" y="1318"/>
                </a:lnTo>
                <a:lnTo>
                  <a:pt x="2227" y="1322"/>
                </a:lnTo>
                <a:lnTo>
                  <a:pt x="2226" y="1328"/>
                </a:lnTo>
                <a:lnTo>
                  <a:pt x="2226" y="1336"/>
                </a:lnTo>
                <a:lnTo>
                  <a:pt x="2224" y="1347"/>
                </a:lnTo>
                <a:lnTo>
                  <a:pt x="2224" y="1359"/>
                </a:lnTo>
                <a:lnTo>
                  <a:pt x="2222" y="1371"/>
                </a:lnTo>
                <a:lnTo>
                  <a:pt x="2219" y="1380"/>
                </a:lnTo>
                <a:lnTo>
                  <a:pt x="2216" y="1383"/>
                </a:lnTo>
                <a:lnTo>
                  <a:pt x="2214" y="1385"/>
                </a:lnTo>
                <a:lnTo>
                  <a:pt x="2210" y="1386"/>
                </a:lnTo>
                <a:lnTo>
                  <a:pt x="2207" y="1386"/>
                </a:lnTo>
                <a:lnTo>
                  <a:pt x="2200" y="1386"/>
                </a:lnTo>
                <a:lnTo>
                  <a:pt x="2191" y="1384"/>
                </a:lnTo>
                <a:lnTo>
                  <a:pt x="2188" y="1383"/>
                </a:lnTo>
                <a:lnTo>
                  <a:pt x="2184" y="1383"/>
                </a:lnTo>
                <a:lnTo>
                  <a:pt x="2180" y="1384"/>
                </a:lnTo>
                <a:lnTo>
                  <a:pt x="2177" y="1385"/>
                </a:lnTo>
                <a:lnTo>
                  <a:pt x="2170" y="1389"/>
                </a:lnTo>
                <a:lnTo>
                  <a:pt x="2163" y="1395"/>
                </a:lnTo>
                <a:lnTo>
                  <a:pt x="2159" y="1398"/>
                </a:lnTo>
                <a:lnTo>
                  <a:pt x="2157" y="1400"/>
                </a:lnTo>
                <a:lnTo>
                  <a:pt x="2153" y="1402"/>
                </a:lnTo>
                <a:lnTo>
                  <a:pt x="2150" y="1402"/>
                </a:lnTo>
                <a:lnTo>
                  <a:pt x="2142" y="1403"/>
                </a:lnTo>
                <a:lnTo>
                  <a:pt x="2135" y="1403"/>
                </a:lnTo>
                <a:lnTo>
                  <a:pt x="2132" y="1404"/>
                </a:lnTo>
                <a:lnTo>
                  <a:pt x="2127" y="1406"/>
                </a:lnTo>
                <a:lnTo>
                  <a:pt x="2123" y="1410"/>
                </a:lnTo>
                <a:lnTo>
                  <a:pt x="2119" y="1414"/>
                </a:lnTo>
                <a:lnTo>
                  <a:pt x="2112" y="1423"/>
                </a:lnTo>
                <a:lnTo>
                  <a:pt x="2106" y="1429"/>
                </a:lnTo>
                <a:lnTo>
                  <a:pt x="2102" y="1431"/>
                </a:lnTo>
                <a:lnTo>
                  <a:pt x="2098" y="1431"/>
                </a:lnTo>
                <a:lnTo>
                  <a:pt x="2095" y="1433"/>
                </a:lnTo>
                <a:lnTo>
                  <a:pt x="2091" y="1431"/>
                </a:lnTo>
                <a:lnTo>
                  <a:pt x="2084" y="1429"/>
                </a:lnTo>
                <a:lnTo>
                  <a:pt x="2077" y="1423"/>
                </a:lnTo>
                <a:lnTo>
                  <a:pt x="2072" y="1417"/>
                </a:lnTo>
                <a:lnTo>
                  <a:pt x="2071" y="1412"/>
                </a:lnTo>
                <a:lnTo>
                  <a:pt x="2070" y="1406"/>
                </a:lnTo>
                <a:lnTo>
                  <a:pt x="2071" y="1402"/>
                </a:lnTo>
                <a:lnTo>
                  <a:pt x="2072" y="1396"/>
                </a:lnTo>
                <a:lnTo>
                  <a:pt x="2073" y="1389"/>
                </a:lnTo>
                <a:lnTo>
                  <a:pt x="2073" y="1380"/>
                </a:lnTo>
                <a:lnTo>
                  <a:pt x="2072" y="1374"/>
                </a:lnTo>
                <a:lnTo>
                  <a:pt x="2071" y="1371"/>
                </a:lnTo>
                <a:lnTo>
                  <a:pt x="2069" y="1368"/>
                </a:lnTo>
                <a:lnTo>
                  <a:pt x="2065" y="1367"/>
                </a:lnTo>
                <a:lnTo>
                  <a:pt x="2062" y="1367"/>
                </a:lnTo>
                <a:lnTo>
                  <a:pt x="2053" y="1367"/>
                </a:lnTo>
                <a:lnTo>
                  <a:pt x="2045" y="1368"/>
                </a:lnTo>
                <a:lnTo>
                  <a:pt x="2033" y="1374"/>
                </a:lnTo>
                <a:lnTo>
                  <a:pt x="2019" y="1381"/>
                </a:lnTo>
                <a:lnTo>
                  <a:pt x="2002" y="1391"/>
                </a:lnTo>
                <a:lnTo>
                  <a:pt x="1987" y="1399"/>
                </a:lnTo>
                <a:lnTo>
                  <a:pt x="1975" y="1405"/>
                </a:lnTo>
                <a:lnTo>
                  <a:pt x="1964" y="1410"/>
                </a:lnTo>
                <a:lnTo>
                  <a:pt x="1953" y="1412"/>
                </a:lnTo>
                <a:lnTo>
                  <a:pt x="1942" y="1414"/>
                </a:lnTo>
                <a:lnTo>
                  <a:pt x="1934" y="1416"/>
                </a:lnTo>
                <a:lnTo>
                  <a:pt x="1926" y="1419"/>
                </a:lnTo>
                <a:lnTo>
                  <a:pt x="1919" y="1425"/>
                </a:lnTo>
                <a:lnTo>
                  <a:pt x="1911" y="1431"/>
                </a:lnTo>
                <a:lnTo>
                  <a:pt x="1896" y="1446"/>
                </a:lnTo>
                <a:lnTo>
                  <a:pt x="1886" y="1458"/>
                </a:lnTo>
                <a:lnTo>
                  <a:pt x="1880" y="1466"/>
                </a:lnTo>
                <a:lnTo>
                  <a:pt x="1876" y="1472"/>
                </a:lnTo>
                <a:lnTo>
                  <a:pt x="1874" y="1473"/>
                </a:lnTo>
                <a:lnTo>
                  <a:pt x="1870" y="1475"/>
                </a:lnTo>
                <a:lnTo>
                  <a:pt x="1865" y="1475"/>
                </a:lnTo>
                <a:lnTo>
                  <a:pt x="1860" y="1475"/>
                </a:lnTo>
                <a:lnTo>
                  <a:pt x="1850" y="1474"/>
                </a:lnTo>
                <a:lnTo>
                  <a:pt x="1842" y="1472"/>
                </a:lnTo>
                <a:lnTo>
                  <a:pt x="1835" y="1468"/>
                </a:lnTo>
                <a:lnTo>
                  <a:pt x="1826" y="1463"/>
                </a:lnTo>
                <a:lnTo>
                  <a:pt x="1820" y="1460"/>
                </a:lnTo>
                <a:lnTo>
                  <a:pt x="1816" y="1458"/>
                </a:lnTo>
                <a:lnTo>
                  <a:pt x="1810" y="1458"/>
                </a:lnTo>
                <a:lnTo>
                  <a:pt x="1805" y="1458"/>
                </a:lnTo>
                <a:lnTo>
                  <a:pt x="1800" y="1459"/>
                </a:lnTo>
                <a:lnTo>
                  <a:pt x="1797" y="1461"/>
                </a:lnTo>
                <a:lnTo>
                  <a:pt x="1792" y="1465"/>
                </a:lnTo>
                <a:lnTo>
                  <a:pt x="1789" y="1469"/>
                </a:lnTo>
                <a:lnTo>
                  <a:pt x="1786" y="1473"/>
                </a:lnTo>
                <a:lnTo>
                  <a:pt x="1782" y="1477"/>
                </a:lnTo>
                <a:lnTo>
                  <a:pt x="1779" y="1479"/>
                </a:lnTo>
                <a:lnTo>
                  <a:pt x="1775" y="1480"/>
                </a:lnTo>
                <a:lnTo>
                  <a:pt x="1770" y="1480"/>
                </a:lnTo>
                <a:lnTo>
                  <a:pt x="1767" y="1479"/>
                </a:lnTo>
                <a:lnTo>
                  <a:pt x="1763" y="1477"/>
                </a:lnTo>
                <a:lnTo>
                  <a:pt x="1758" y="1473"/>
                </a:lnTo>
                <a:lnTo>
                  <a:pt x="1755" y="1468"/>
                </a:lnTo>
                <a:lnTo>
                  <a:pt x="1751" y="1461"/>
                </a:lnTo>
                <a:lnTo>
                  <a:pt x="1748" y="1452"/>
                </a:lnTo>
                <a:lnTo>
                  <a:pt x="1744" y="1443"/>
                </a:lnTo>
                <a:lnTo>
                  <a:pt x="1738" y="1424"/>
                </a:lnTo>
                <a:lnTo>
                  <a:pt x="1732" y="1411"/>
                </a:lnTo>
                <a:lnTo>
                  <a:pt x="1730" y="1408"/>
                </a:lnTo>
                <a:lnTo>
                  <a:pt x="1728" y="1404"/>
                </a:lnTo>
                <a:lnTo>
                  <a:pt x="1724" y="1403"/>
                </a:lnTo>
                <a:lnTo>
                  <a:pt x="1720" y="1402"/>
                </a:lnTo>
                <a:lnTo>
                  <a:pt x="1710" y="1402"/>
                </a:lnTo>
                <a:lnTo>
                  <a:pt x="1697" y="1404"/>
                </a:lnTo>
                <a:lnTo>
                  <a:pt x="1690" y="1404"/>
                </a:lnTo>
                <a:lnTo>
                  <a:pt x="1685" y="1404"/>
                </a:lnTo>
                <a:lnTo>
                  <a:pt x="1681" y="1403"/>
                </a:lnTo>
                <a:lnTo>
                  <a:pt x="1678" y="1400"/>
                </a:lnTo>
                <a:lnTo>
                  <a:pt x="1674" y="1392"/>
                </a:lnTo>
                <a:lnTo>
                  <a:pt x="1671" y="1383"/>
                </a:lnTo>
                <a:lnTo>
                  <a:pt x="1667" y="1372"/>
                </a:lnTo>
                <a:lnTo>
                  <a:pt x="1665" y="1362"/>
                </a:lnTo>
                <a:lnTo>
                  <a:pt x="1665" y="1359"/>
                </a:lnTo>
                <a:lnTo>
                  <a:pt x="1666" y="1356"/>
                </a:lnTo>
                <a:lnTo>
                  <a:pt x="1667" y="1354"/>
                </a:lnTo>
                <a:lnTo>
                  <a:pt x="1671" y="1353"/>
                </a:lnTo>
                <a:lnTo>
                  <a:pt x="1675" y="1353"/>
                </a:lnTo>
                <a:lnTo>
                  <a:pt x="1680" y="1355"/>
                </a:lnTo>
                <a:lnTo>
                  <a:pt x="1685" y="1358"/>
                </a:lnTo>
                <a:lnTo>
                  <a:pt x="1690" y="1361"/>
                </a:lnTo>
                <a:lnTo>
                  <a:pt x="1693" y="1362"/>
                </a:lnTo>
                <a:lnTo>
                  <a:pt x="1697" y="1364"/>
                </a:lnTo>
                <a:lnTo>
                  <a:pt x="1698" y="1362"/>
                </a:lnTo>
                <a:lnTo>
                  <a:pt x="1700" y="1361"/>
                </a:lnTo>
                <a:lnTo>
                  <a:pt x="1700" y="1359"/>
                </a:lnTo>
                <a:lnTo>
                  <a:pt x="1701" y="1355"/>
                </a:lnTo>
                <a:lnTo>
                  <a:pt x="1703" y="1348"/>
                </a:lnTo>
                <a:lnTo>
                  <a:pt x="1701" y="1342"/>
                </a:lnTo>
                <a:lnTo>
                  <a:pt x="1698" y="1336"/>
                </a:lnTo>
                <a:lnTo>
                  <a:pt x="1694" y="1332"/>
                </a:lnTo>
                <a:lnTo>
                  <a:pt x="1685" y="1321"/>
                </a:lnTo>
                <a:lnTo>
                  <a:pt x="1673" y="1310"/>
                </a:lnTo>
                <a:lnTo>
                  <a:pt x="1668" y="1303"/>
                </a:lnTo>
                <a:lnTo>
                  <a:pt x="1663" y="1295"/>
                </a:lnTo>
                <a:lnTo>
                  <a:pt x="1661" y="1291"/>
                </a:lnTo>
                <a:lnTo>
                  <a:pt x="1659" y="1288"/>
                </a:lnTo>
                <a:lnTo>
                  <a:pt x="1654" y="1284"/>
                </a:lnTo>
                <a:lnTo>
                  <a:pt x="1648" y="1282"/>
                </a:lnTo>
                <a:lnTo>
                  <a:pt x="1646" y="1282"/>
                </a:lnTo>
                <a:lnTo>
                  <a:pt x="1644" y="1279"/>
                </a:lnTo>
                <a:lnTo>
                  <a:pt x="1643" y="1278"/>
                </a:lnTo>
                <a:lnTo>
                  <a:pt x="1642" y="1276"/>
                </a:lnTo>
                <a:lnTo>
                  <a:pt x="1642" y="1269"/>
                </a:lnTo>
                <a:lnTo>
                  <a:pt x="1644" y="1261"/>
                </a:lnTo>
                <a:lnTo>
                  <a:pt x="1644" y="1260"/>
                </a:lnTo>
                <a:lnTo>
                  <a:pt x="1642" y="1259"/>
                </a:lnTo>
                <a:lnTo>
                  <a:pt x="1640" y="1258"/>
                </a:lnTo>
                <a:lnTo>
                  <a:pt x="1636" y="1257"/>
                </a:lnTo>
                <a:lnTo>
                  <a:pt x="1629" y="1257"/>
                </a:lnTo>
                <a:lnTo>
                  <a:pt x="1624" y="1255"/>
                </a:lnTo>
                <a:lnTo>
                  <a:pt x="1619" y="1254"/>
                </a:lnTo>
                <a:lnTo>
                  <a:pt x="1616" y="1252"/>
                </a:lnTo>
                <a:lnTo>
                  <a:pt x="1613" y="1250"/>
                </a:lnTo>
                <a:lnTo>
                  <a:pt x="1612" y="1247"/>
                </a:lnTo>
                <a:lnTo>
                  <a:pt x="1612" y="1244"/>
                </a:lnTo>
                <a:lnTo>
                  <a:pt x="1615" y="1240"/>
                </a:lnTo>
                <a:lnTo>
                  <a:pt x="1617" y="1236"/>
                </a:lnTo>
                <a:lnTo>
                  <a:pt x="1622" y="1232"/>
                </a:lnTo>
                <a:lnTo>
                  <a:pt x="1627" y="1227"/>
                </a:lnTo>
                <a:lnTo>
                  <a:pt x="1631" y="1222"/>
                </a:lnTo>
                <a:lnTo>
                  <a:pt x="1635" y="1216"/>
                </a:lnTo>
                <a:lnTo>
                  <a:pt x="1638" y="1210"/>
                </a:lnTo>
                <a:lnTo>
                  <a:pt x="1643" y="1198"/>
                </a:lnTo>
                <a:lnTo>
                  <a:pt x="1648" y="1185"/>
                </a:lnTo>
                <a:lnTo>
                  <a:pt x="1660" y="1170"/>
                </a:lnTo>
                <a:lnTo>
                  <a:pt x="1668" y="1163"/>
                </a:lnTo>
                <a:lnTo>
                  <a:pt x="1668" y="1159"/>
                </a:lnTo>
                <a:lnTo>
                  <a:pt x="1667" y="1157"/>
                </a:lnTo>
                <a:lnTo>
                  <a:pt x="1666" y="1154"/>
                </a:lnTo>
                <a:lnTo>
                  <a:pt x="1663" y="1152"/>
                </a:lnTo>
                <a:lnTo>
                  <a:pt x="1660" y="1150"/>
                </a:lnTo>
                <a:lnTo>
                  <a:pt x="1656" y="1148"/>
                </a:lnTo>
                <a:lnTo>
                  <a:pt x="1653" y="1147"/>
                </a:lnTo>
                <a:lnTo>
                  <a:pt x="1648" y="1147"/>
                </a:lnTo>
                <a:lnTo>
                  <a:pt x="1644" y="1148"/>
                </a:lnTo>
                <a:lnTo>
                  <a:pt x="1643" y="1151"/>
                </a:lnTo>
                <a:lnTo>
                  <a:pt x="1641" y="1154"/>
                </a:lnTo>
                <a:lnTo>
                  <a:pt x="1641" y="1158"/>
                </a:lnTo>
                <a:lnTo>
                  <a:pt x="1640" y="1163"/>
                </a:lnTo>
                <a:lnTo>
                  <a:pt x="1638" y="1166"/>
                </a:lnTo>
                <a:lnTo>
                  <a:pt x="1636" y="1169"/>
                </a:lnTo>
                <a:lnTo>
                  <a:pt x="1634" y="1171"/>
                </a:lnTo>
                <a:lnTo>
                  <a:pt x="1630" y="1172"/>
                </a:lnTo>
                <a:lnTo>
                  <a:pt x="1627" y="1173"/>
                </a:lnTo>
                <a:lnTo>
                  <a:pt x="1623" y="1173"/>
                </a:lnTo>
                <a:lnTo>
                  <a:pt x="1619" y="1172"/>
                </a:lnTo>
                <a:lnTo>
                  <a:pt x="1617" y="1170"/>
                </a:lnTo>
                <a:lnTo>
                  <a:pt x="1615" y="1167"/>
                </a:lnTo>
                <a:lnTo>
                  <a:pt x="1613" y="1165"/>
                </a:lnTo>
                <a:lnTo>
                  <a:pt x="1612" y="1160"/>
                </a:lnTo>
                <a:lnTo>
                  <a:pt x="1615" y="1150"/>
                </a:lnTo>
                <a:lnTo>
                  <a:pt x="1617" y="1139"/>
                </a:lnTo>
                <a:lnTo>
                  <a:pt x="1618" y="1133"/>
                </a:lnTo>
                <a:lnTo>
                  <a:pt x="1619" y="1127"/>
                </a:lnTo>
                <a:lnTo>
                  <a:pt x="1619" y="1122"/>
                </a:lnTo>
                <a:lnTo>
                  <a:pt x="1619" y="1116"/>
                </a:lnTo>
                <a:lnTo>
                  <a:pt x="1617" y="1113"/>
                </a:lnTo>
                <a:lnTo>
                  <a:pt x="1615" y="1108"/>
                </a:lnTo>
                <a:lnTo>
                  <a:pt x="1611" y="1106"/>
                </a:lnTo>
                <a:lnTo>
                  <a:pt x="1606" y="1103"/>
                </a:lnTo>
                <a:lnTo>
                  <a:pt x="1598" y="1100"/>
                </a:lnTo>
                <a:lnTo>
                  <a:pt x="1590" y="1099"/>
                </a:lnTo>
                <a:lnTo>
                  <a:pt x="1584" y="1097"/>
                </a:lnTo>
                <a:lnTo>
                  <a:pt x="1580" y="1095"/>
                </a:lnTo>
                <a:lnTo>
                  <a:pt x="1578" y="1093"/>
                </a:lnTo>
                <a:lnTo>
                  <a:pt x="1577" y="1089"/>
                </a:lnTo>
                <a:lnTo>
                  <a:pt x="1577" y="1085"/>
                </a:lnTo>
                <a:lnTo>
                  <a:pt x="1577" y="1082"/>
                </a:lnTo>
                <a:lnTo>
                  <a:pt x="1575" y="1074"/>
                </a:lnTo>
                <a:lnTo>
                  <a:pt x="1574" y="1069"/>
                </a:lnTo>
                <a:lnTo>
                  <a:pt x="1571" y="1065"/>
                </a:lnTo>
                <a:lnTo>
                  <a:pt x="1566" y="1061"/>
                </a:lnTo>
                <a:lnTo>
                  <a:pt x="1560" y="1056"/>
                </a:lnTo>
                <a:lnTo>
                  <a:pt x="1552" y="1051"/>
                </a:lnTo>
                <a:lnTo>
                  <a:pt x="1548" y="1047"/>
                </a:lnTo>
                <a:lnTo>
                  <a:pt x="1545" y="1044"/>
                </a:lnTo>
                <a:lnTo>
                  <a:pt x="1541" y="1039"/>
                </a:lnTo>
                <a:lnTo>
                  <a:pt x="1539" y="1033"/>
                </a:lnTo>
                <a:lnTo>
                  <a:pt x="1536" y="1027"/>
                </a:lnTo>
                <a:lnTo>
                  <a:pt x="1536" y="1021"/>
                </a:lnTo>
                <a:lnTo>
                  <a:pt x="1537" y="1015"/>
                </a:lnTo>
                <a:lnTo>
                  <a:pt x="1539" y="1011"/>
                </a:lnTo>
                <a:lnTo>
                  <a:pt x="1542" y="999"/>
                </a:lnTo>
                <a:lnTo>
                  <a:pt x="1547" y="984"/>
                </a:lnTo>
                <a:lnTo>
                  <a:pt x="1547" y="977"/>
                </a:lnTo>
                <a:lnTo>
                  <a:pt x="1547" y="971"/>
                </a:lnTo>
                <a:lnTo>
                  <a:pt x="1545" y="968"/>
                </a:lnTo>
                <a:lnTo>
                  <a:pt x="1542" y="964"/>
                </a:lnTo>
                <a:lnTo>
                  <a:pt x="1537" y="963"/>
                </a:lnTo>
                <a:lnTo>
                  <a:pt x="1533" y="961"/>
                </a:lnTo>
                <a:lnTo>
                  <a:pt x="1527" y="961"/>
                </a:lnTo>
                <a:lnTo>
                  <a:pt x="1521" y="961"/>
                </a:lnTo>
                <a:lnTo>
                  <a:pt x="1515" y="959"/>
                </a:lnTo>
                <a:lnTo>
                  <a:pt x="1510" y="959"/>
                </a:lnTo>
                <a:lnTo>
                  <a:pt x="1508" y="958"/>
                </a:lnTo>
                <a:lnTo>
                  <a:pt x="1505" y="956"/>
                </a:lnTo>
                <a:lnTo>
                  <a:pt x="1504" y="950"/>
                </a:lnTo>
                <a:lnTo>
                  <a:pt x="1504" y="940"/>
                </a:lnTo>
                <a:lnTo>
                  <a:pt x="1505" y="931"/>
                </a:lnTo>
                <a:lnTo>
                  <a:pt x="1504" y="921"/>
                </a:lnTo>
                <a:lnTo>
                  <a:pt x="1502" y="912"/>
                </a:lnTo>
                <a:lnTo>
                  <a:pt x="1498" y="901"/>
                </a:lnTo>
                <a:lnTo>
                  <a:pt x="1491" y="889"/>
                </a:lnTo>
                <a:lnTo>
                  <a:pt x="1484" y="877"/>
                </a:lnTo>
                <a:lnTo>
                  <a:pt x="1480" y="872"/>
                </a:lnTo>
                <a:lnTo>
                  <a:pt x="1478" y="866"/>
                </a:lnTo>
                <a:lnTo>
                  <a:pt x="1476" y="861"/>
                </a:lnTo>
                <a:lnTo>
                  <a:pt x="1476" y="855"/>
                </a:lnTo>
                <a:lnTo>
                  <a:pt x="1474" y="850"/>
                </a:lnTo>
                <a:lnTo>
                  <a:pt x="1473" y="845"/>
                </a:lnTo>
                <a:lnTo>
                  <a:pt x="1471" y="842"/>
                </a:lnTo>
                <a:lnTo>
                  <a:pt x="1468" y="839"/>
                </a:lnTo>
                <a:lnTo>
                  <a:pt x="1462" y="836"/>
                </a:lnTo>
                <a:lnTo>
                  <a:pt x="1457" y="834"/>
                </a:lnTo>
                <a:lnTo>
                  <a:pt x="1452" y="831"/>
                </a:lnTo>
                <a:lnTo>
                  <a:pt x="1448" y="828"/>
                </a:lnTo>
                <a:lnTo>
                  <a:pt x="1447" y="822"/>
                </a:lnTo>
                <a:lnTo>
                  <a:pt x="1447" y="813"/>
                </a:lnTo>
                <a:lnTo>
                  <a:pt x="1447" y="805"/>
                </a:lnTo>
                <a:lnTo>
                  <a:pt x="1447" y="797"/>
                </a:lnTo>
                <a:lnTo>
                  <a:pt x="1447" y="786"/>
                </a:lnTo>
                <a:lnTo>
                  <a:pt x="1447" y="776"/>
                </a:lnTo>
                <a:lnTo>
                  <a:pt x="1447" y="767"/>
                </a:lnTo>
                <a:lnTo>
                  <a:pt x="1446" y="759"/>
                </a:lnTo>
                <a:lnTo>
                  <a:pt x="1445" y="755"/>
                </a:lnTo>
                <a:lnTo>
                  <a:pt x="1442" y="750"/>
                </a:lnTo>
                <a:lnTo>
                  <a:pt x="1440" y="747"/>
                </a:lnTo>
                <a:lnTo>
                  <a:pt x="1436" y="742"/>
                </a:lnTo>
                <a:lnTo>
                  <a:pt x="1424" y="730"/>
                </a:lnTo>
                <a:lnTo>
                  <a:pt x="1413" y="717"/>
                </a:lnTo>
                <a:lnTo>
                  <a:pt x="1408" y="709"/>
                </a:lnTo>
                <a:lnTo>
                  <a:pt x="1404" y="700"/>
                </a:lnTo>
                <a:lnTo>
                  <a:pt x="1403" y="692"/>
                </a:lnTo>
                <a:lnTo>
                  <a:pt x="1402" y="683"/>
                </a:lnTo>
                <a:lnTo>
                  <a:pt x="1398" y="668"/>
                </a:lnTo>
                <a:lnTo>
                  <a:pt x="1394" y="654"/>
                </a:lnTo>
                <a:lnTo>
                  <a:pt x="1390" y="642"/>
                </a:lnTo>
                <a:lnTo>
                  <a:pt x="1385" y="635"/>
                </a:lnTo>
                <a:lnTo>
                  <a:pt x="1382" y="633"/>
                </a:lnTo>
                <a:lnTo>
                  <a:pt x="1377" y="631"/>
                </a:lnTo>
                <a:lnTo>
                  <a:pt x="1372" y="631"/>
                </a:lnTo>
                <a:lnTo>
                  <a:pt x="1369" y="633"/>
                </a:lnTo>
                <a:lnTo>
                  <a:pt x="1364" y="635"/>
                </a:lnTo>
                <a:lnTo>
                  <a:pt x="1359" y="640"/>
                </a:lnTo>
                <a:lnTo>
                  <a:pt x="1355" y="645"/>
                </a:lnTo>
                <a:lnTo>
                  <a:pt x="1353" y="650"/>
                </a:lnTo>
                <a:lnTo>
                  <a:pt x="1351" y="656"/>
                </a:lnTo>
                <a:lnTo>
                  <a:pt x="1347" y="661"/>
                </a:lnTo>
                <a:lnTo>
                  <a:pt x="1342" y="665"/>
                </a:lnTo>
                <a:lnTo>
                  <a:pt x="1339" y="667"/>
                </a:lnTo>
                <a:lnTo>
                  <a:pt x="1334" y="668"/>
                </a:lnTo>
                <a:lnTo>
                  <a:pt x="1331" y="668"/>
                </a:lnTo>
                <a:lnTo>
                  <a:pt x="1326" y="666"/>
                </a:lnTo>
                <a:lnTo>
                  <a:pt x="1322" y="664"/>
                </a:lnTo>
                <a:lnTo>
                  <a:pt x="1316" y="652"/>
                </a:lnTo>
                <a:lnTo>
                  <a:pt x="1312" y="639"/>
                </a:lnTo>
                <a:lnTo>
                  <a:pt x="1310" y="637"/>
                </a:lnTo>
                <a:lnTo>
                  <a:pt x="1309" y="636"/>
                </a:lnTo>
                <a:lnTo>
                  <a:pt x="1308" y="635"/>
                </a:lnTo>
                <a:lnTo>
                  <a:pt x="1307" y="636"/>
                </a:lnTo>
                <a:lnTo>
                  <a:pt x="1304" y="639"/>
                </a:lnTo>
                <a:lnTo>
                  <a:pt x="1302" y="642"/>
                </a:lnTo>
                <a:lnTo>
                  <a:pt x="1294" y="654"/>
                </a:lnTo>
                <a:lnTo>
                  <a:pt x="1287" y="667"/>
                </a:lnTo>
                <a:lnTo>
                  <a:pt x="1283" y="675"/>
                </a:lnTo>
                <a:lnTo>
                  <a:pt x="1281" y="685"/>
                </a:lnTo>
                <a:lnTo>
                  <a:pt x="1279" y="687"/>
                </a:lnTo>
                <a:lnTo>
                  <a:pt x="1278" y="688"/>
                </a:lnTo>
                <a:lnTo>
                  <a:pt x="1277" y="688"/>
                </a:lnTo>
                <a:lnTo>
                  <a:pt x="1275" y="688"/>
                </a:lnTo>
                <a:lnTo>
                  <a:pt x="1269" y="690"/>
                </a:lnTo>
                <a:lnTo>
                  <a:pt x="1263" y="692"/>
                </a:lnTo>
                <a:lnTo>
                  <a:pt x="1257" y="696"/>
                </a:lnTo>
                <a:lnTo>
                  <a:pt x="1250" y="697"/>
                </a:lnTo>
                <a:lnTo>
                  <a:pt x="1246" y="698"/>
                </a:lnTo>
                <a:lnTo>
                  <a:pt x="1243" y="698"/>
                </a:lnTo>
                <a:lnTo>
                  <a:pt x="1240" y="697"/>
                </a:lnTo>
                <a:lnTo>
                  <a:pt x="1238" y="696"/>
                </a:lnTo>
                <a:lnTo>
                  <a:pt x="1237" y="691"/>
                </a:lnTo>
                <a:lnTo>
                  <a:pt x="1235" y="684"/>
                </a:lnTo>
                <a:lnTo>
                  <a:pt x="1237" y="672"/>
                </a:lnTo>
                <a:lnTo>
                  <a:pt x="1240" y="662"/>
                </a:lnTo>
                <a:lnTo>
                  <a:pt x="1241" y="658"/>
                </a:lnTo>
                <a:lnTo>
                  <a:pt x="1243" y="654"/>
                </a:lnTo>
                <a:lnTo>
                  <a:pt x="1243" y="650"/>
                </a:lnTo>
                <a:lnTo>
                  <a:pt x="1243" y="647"/>
                </a:lnTo>
                <a:lnTo>
                  <a:pt x="1240" y="643"/>
                </a:lnTo>
                <a:lnTo>
                  <a:pt x="1238" y="640"/>
                </a:lnTo>
                <a:lnTo>
                  <a:pt x="1233" y="639"/>
                </a:lnTo>
                <a:lnTo>
                  <a:pt x="1227" y="636"/>
                </a:lnTo>
                <a:lnTo>
                  <a:pt x="1215" y="634"/>
                </a:lnTo>
                <a:lnTo>
                  <a:pt x="1202" y="629"/>
                </a:lnTo>
                <a:lnTo>
                  <a:pt x="1197" y="626"/>
                </a:lnTo>
                <a:lnTo>
                  <a:pt x="1195" y="623"/>
                </a:lnTo>
                <a:lnTo>
                  <a:pt x="1194" y="621"/>
                </a:lnTo>
                <a:lnTo>
                  <a:pt x="1195" y="617"/>
                </a:lnTo>
                <a:lnTo>
                  <a:pt x="1199" y="612"/>
                </a:lnTo>
                <a:lnTo>
                  <a:pt x="1206" y="606"/>
                </a:lnTo>
                <a:lnTo>
                  <a:pt x="1208" y="603"/>
                </a:lnTo>
                <a:lnTo>
                  <a:pt x="1208" y="601"/>
                </a:lnTo>
                <a:lnTo>
                  <a:pt x="1208" y="598"/>
                </a:lnTo>
                <a:lnTo>
                  <a:pt x="1206" y="596"/>
                </a:lnTo>
                <a:lnTo>
                  <a:pt x="1200" y="589"/>
                </a:lnTo>
                <a:lnTo>
                  <a:pt x="1193" y="578"/>
                </a:lnTo>
                <a:lnTo>
                  <a:pt x="1184" y="564"/>
                </a:lnTo>
                <a:lnTo>
                  <a:pt x="1174" y="546"/>
                </a:lnTo>
                <a:lnTo>
                  <a:pt x="1164" y="528"/>
                </a:lnTo>
                <a:lnTo>
                  <a:pt x="1157" y="514"/>
                </a:lnTo>
                <a:lnTo>
                  <a:pt x="1156" y="508"/>
                </a:lnTo>
                <a:lnTo>
                  <a:pt x="1155" y="503"/>
                </a:lnTo>
                <a:lnTo>
                  <a:pt x="1156" y="500"/>
                </a:lnTo>
                <a:lnTo>
                  <a:pt x="1158" y="496"/>
                </a:lnTo>
                <a:lnTo>
                  <a:pt x="1162" y="494"/>
                </a:lnTo>
                <a:lnTo>
                  <a:pt x="1165" y="491"/>
                </a:lnTo>
                <a:lnTo>
                  <a:pt x="1170" y="490"/>
                </a:lnTo>
                <a:lnTo>
                  <a:pt x="1175" y="490"/>
                </a:lnTo>
                <a:lnTo>
                  <a:pt x="1184" y="490"/>
                </a:lnTo>
                <a:lnTo>
                  <a:pt x="1194" y="489"/>
                </a:lnTo>
                <a:lnTo>
                  <a:pt x="1199" y="488"/>
                </a:lnTo>
                <a:lnTo>
                  <a:pt x="1202" y="486"/>
                </a:lnTo>
                <a:lnTo>
                  <a:pt x="1205" y="485"/>
                </a:lnTo>
                <a:lnTo>
                  <a:pt x="1207" y="483"/>
                </a:lnTo>
                <a:lnTo>
                  <a:pt x="1209" y="477"/>
                </a:lnTo>
                <a:lnTo>
                  <a:pt x="1209" y="471"/>
                </a:lnTo>
                <a:lnTo>
                  <a:pt x="1208" y="465"/>
                </a:lnTo>
                <a:lnTo>
                  <a:pt x="1205" y="459"/>
                </a:lnTo>
                <a:lnTo>
                  <a:pt x="1203" y="457"/>
                </a:lnTo>
                <a:lnTo>
                  <a:pt x="1202" y="454"/>
                </a:lnTo>
                <a:lnTo>
                  <a:pt x="1202" y="452"/>
                </a:lnTo>
                <a:lnTo>
                  <a:pt x="1203" y="451"/>
                </a:lnTo>
                <a:lnTo>
                  <a:pt x="1207" y="446"/>
                </a:lnTo>
                <a:lnTo>
                  <a:pt x="1210" y="439"/>
                </a:lnTo>
                <a:lnTo>
                  <a:pt x="1210" y="435"/>
                </a:lnTo>
                <a:lnTo>
                  <a:pt x="1209" y="432"/>
                </a:lnTo>
                <a:lnTo>
                  <a:pt x="1208" y="429"/>
                </a:lnTo>
                <a:lnTo>
                  <a:pt x="1205" y="427"/>
                </a:lnTo>
                <a:lnTo>
                  <a:pt x="1196" y="423"/>
                </a:lnTo>
                <a:lnTo>
                  <a:pt x="1189" y="420"/>
                </a:lnTo>
                <a:lnTo>
                  <a:pt x="1186" y="417"/>
                </a:lnTo>
                <a:lnTo>
                  <a:pt x="1183" y="414"/>
                </a:lnTo>
                <a:lnTo>
                  <a:pt x="1181" y="412"/>
                </a:lnTo>
                <a:lnTo>
                  <a:pt x="1180" y="408"/>
                </a:lnTo>
                <a:lnTo>
                  <a:pt x="1178" y="400"/>
                </a:lnTo>
                <a:lnTo>
                  <a:pt x="1178" y="391"/>
                </a:lnTo>
                <a:lnTo>
                  <a:pt x="1176" y="382"/>
                </a:lnTo>
                <a:lnTo>
                  <a:pt x="1172" y="374"/>
                </a:lnTo>
                <a:lnTo>
                  <a:pt x="1166" y="364"/>
                </a:lnTo>
                <a:lnTo>
                  <a:pt x="1161" y="353"/>
                </a:lnTo>
                <a:lnTo>
                  <a:pt x="1155" y="340"/>
                </a:lnTo>
                <a:lnTo>
                  <a:pt x="1149" y="325"/>
                </a:lnTo>
                <a:lnTo>
                  <a:pt x="1146" y="319"/>
                </a:lnTo>
                <a:lnTo>
                  <a:pt x="1144" y="313"/>
                </a:lnTo>
                <a:lnTo>
                  <a:pt x="1140" y="308"/>
                </a:lnTo>
                <a:lnTo>
                  <a:pt x="1138" y="305"/>
                </a:lnTo>
                <a:lnTo>
                  <a:pt x="1120" y="306"/>
                </a:lnTo>
                <a:lnTo>
                  <a:pt x="1107" y="307"/>
                </a:lnTo>
                <a:lnTo>
                  <a:pt x="1106" y="305"/>
                </a:lnTo>
                <a:lnTo>
                  <a:pt x="1108" y="302"/>
                </a:lnTo>
                <a:lnTo>
                  <a:pt x="1111" y="300"/>
                </a:lnTo>
                <a:lnTo>
                  <a:pt x="1113" y="296"/>
                </a:lnTo>
                <a:lnTo>
                  <a:pt x="1117" y="293"/>
                </a:lnTo>
                <a:lnTo>
                  <a:pt x="1120" y="287"/>
                </a:lnTo>
                <a:lnTo>
                  <a:pt x="1121" y="281"/>
                </a:lnTo>
                <a:lnTo>
                  <a:pt x="1121" y="274"/>
                </a:lnTo>
                <a:lnTo>
                  <a:pt x="1121" y="270"/>
                </a:lnTo>
                <a:lnTo>
                  <a:pt x="1119" y="267"/>
                </a:lnTo>
                <a:lnTo>
                  <a:pt x="1118" y="263"/>
                </a:lnTo>
                <a:lnTo>
                  <a:pt x="1114" y="261"/>
                </a:lnTo>
                <a:lnTo>
                  <a:pt x="1108" y="256"/>
                </a:lnTo>
                <a:lnTo>
                  <a:pt x="1101" y="251"/>
                </a:lnTo>
                <a:lnTo>
                  <a:pt x="1086" y="245"/>
                </a:lnTo>
                <a:lnTo>
                  <a:pt x="1075" y="238"/>
                </a:lnTo>
                <a:lnTo>
                  <a:pt x="1071" y="236"/>
                </a:lnTo>
                <a:lnTo>
                  <a:pt x="1069" y="232"/>
                </a:lnTo>
                <a:lnTo>
                  <a:pt x="1068" y="227"/>
                </a:lnTo>
                <a:lnTo>
                  <a:pt x="1068" y="224"/>
                </a:lnTo>
                <a:lnTo>
                  <a:pt x="1069" y="215"/>
                </a:lnTo>
                <a:lnTo>
                  <a:pt x="1073" y="206"/>
                </a:lnTo>
                <a:lnTo>
                  <a:pt x="1075" y="201"/>
                </a:lnTo>
                <a:lnTo>
                  <a:pt x="1075" y="196"/>
                </a:lnTo>
                <a:lnTo>
                  <a:pt x="1075" y="193"/>
                </a:lnTo>
                <a:lnTo>
                  <a:pt x="1074" y="189"/>
                </a:lnTo>
                <a:lnTo>
                  <a:pt x="1073" y="187"/>
                </a:lnTo>
                <a:lnTo>
                  <a:pt x="1069" y="186"/>
                </a:lnTo>
                <a:lnTo>
                  <a:pt x="1065" y="185"/>
                </a:lnTo>
                <a:lnTo>
                  <a:pt x="1062" y="186"/>
                </a:lnTo>
                <a:lnTo>
                  <a:pt x="1051" y="189"/>
                </a:lnTo>
                <a:lnTo>
                  <a:pt x="1042" y="194"/>
                </a:lnTo>
                <a:lnTo>
                  <a:pt x="1038" y="198"/>
                </a:lnTo>
                <a:lnTo>
                  <a:pt x="1035" y="202"/>
                </a:lnTo>
                <a:lnTo>
                  <a:pt x="1032" y="206"/>
                </a:lnTo>
                <a:lnTo>
                  <a:pt x="1031" y="211"/>
                </a:lnTo>
                <a:lnTo>
                  <a:pt x="1030" y="220"/>
                </a:lnTo>
                <a:lnTo>
                  <a:pt x="1027" y="226"/>
                </a:lnTo>
                <a:lnTo>
                  <a:pt x="1025" y="229"/>
                </a:lnTo>
                <a:lnTo>
                  <a:pt x="1021" y="231"/>
                </a:lnTo>
                <a:lnTo>
                  <a:pt x="1018" y="233"/>
                </a:lnTo>
                <a:lnTo>
                  <a:pt x="1013" y="233"/>
                </a:lnTo>
                <a:lnTo>
                  <a:pt x="1008" y="234"/>
                </a:lnTo>
                <a:lnTo>
                  <a:pt x="1005" y="237"/>
                </a:lnTo>
                <a:lnTo>
                  <a:pt x="1001" y="239"/>
                </a:lnTo>
                <a:lnTo>
                  <a:pt x="999" y="242"/>
                </a:lnTo>
                <a:lnTo>
                  <a:pt x="996" y="248"/>
                </a:lnTo>
                <a:lnTo>
                  <a:pt x="995" y="256"/>
                </a:lnTo>
                <a:lnTo>
                  <a:pt x="995" y="263"/>
                </a:lnTo>
                <a:lnTo>
                  <a:pt x="995" y="272"/>
                </a:lnTo>
                <a:lnTo>
                  <a:pt x="994" y="277"/>
                </a:lnTo>
                <a:lnTo>
                  <a:pt x="993" y="281"/>
                </a:lnTo>
                <a:lnTo>
                  <a:pt x="989" y="286"/>
                </a:lnTo>
                <a:lnTo>
                  <a:pt x="986" y="290"/>
                </a:lnTo>
                <a:lnTo>
                  <a:pt x="981" y="294"/>
                </a:lnTo>
                <a:lnTo>
                  <a:pt x="975" y="296"/>
                </a:lnTo>
                <a:lnTo>
                  <a:pt x="970" y="299"/>
                </a:lnTo>
                <a:lnTo>
                  <a:pt x="966" y="300"/>
                </a:lnTo>
                <a:lnTo>
                  <a:pt x="954" y="301"/>
                </a:lnTo>
                <a:lnTo>
                  <a:pt x="942" y="301"/>
                </a:lnTo>
                <a:lnTo>
                  <a:pt x="936" y="301"/>
                </a:lnTo>
                <a:lnTo>
                  <a:pt x="931" y="303"/>
                </a:lnTo>
                <a:lnTo>
                  <a:pt x="928" y="306"/>
                </a:lnTo>
                <a:lnTo>
                  <a:pt x="924" y="309"/>
                </a:lnTo>
                <a:lnTo>
                  <a:pt x="922" y="313"/>
                </a:lnTo>
                <a:lnTo>
                  <a:pt x="920" y="318"/>
                </a:lnTo>
                <a:lnTo>
                  <a:pt x="920" y="321"/>
                </a:lnTo>
                <a:lnTo>
                  <a:pt x="922" y="325"/>
                </a:lnTo>
                <a:lnTo>
                  <a:pt x="925" y="333"/>
                </a:lnTo>
                <a:lnTo>
                  <a:pt x="929" y="344"/>
                </a:lnTo>
                <a:lnTo>
                  <a:pt x="931" y="357"/>
                </a:lnTo>
                <a:lnTo>
                  <a:pt x="931" y="372"/>
                </a:lnTo>
                <a:lnTo>
                  <a:pt x="931" y="389"/>
                </a:lnTo>
                <a:lnTo>
                  <a:pt x="929" y="404"/>
                </a:lnTo>
                <a:lnTo>
                  <a:pt x="926" y="410"/>
                </a:lnTo>
                <a:lnTo>
                  <a:pt x="924" y="417"/>
                </a:lnTo>
                <a:lnTo>
                  <a:pt x="922" y="422"/>
                </a:lnTo>
                <a:lnTo>
                  <a:pt x="919" y="426"/>
                </a:lnTo>
                <a:lnTo>
                  <a:pt x="917" y="431"/>
                </a:lnTo>
                <a:lnTo>
                  <a:pt x="913" y="435"/>
                </a:lnTo>
                <a:lnTo>
                  <a:pt x="911" y="441"/>
                </a:lnTo>
                <a:lnTo>
                  <a:pt x="910" y="448"/>
                </a:lnTo>
                <a:lnTo>
                  <a:pt x="909" y="456"/>
                </a:lnTo>
                <a:lnTo>
                  <a:pt x="907" y="460"/>
                </a:lnTo>
                <a:lnTo>
                  <a:pt x="906" y="461"/>
                </a:lnTo>
                <a:lnTo>
                  <a:pt x="904" y="460"/>
                </a:lnTo>
                <a:lnTo>
                  <a:pt x="901" y="459"/>
                </a:lnTo>
                <a:lnTo>
                  <a:pt x="898" y="454"/>
                </a:lnTo>
                <a:lnTo>
                  <a:pt x="893" y="447"/>
                </a:lnTo>
                <a:lnTo>
                  <a:pt x="890" y="439"/>
                </a:lnTo>
                <a:lnTo>
                  <a:pt x="886" y="431"/>
                </a:lnTo>
                <a:lnTo>
                  <a:pt x="884" y="420"/>
                </a:lnTo>
                <a:lnTo>
                  <a:pt x="882" y="415"/>
                </a:lnTo>
                <a:lnTo>
                  <a:pt x="880" y="409"/>
                </a:lnTo>
                <a:lnTo>
                  <a:pt x="876" y="404"/>
                </a:lnTo>
                <a:lnTo>
                  <a:pt x="873" y="400"/>
                </a:lnTo>
                <a:lnTo>
                  <a:pt x="866" y="391"/>
                </a:lnTo>
                <a:lnTo>
                  <a:pt x="860" y="384"/>
                </a:lnTo>
                <a:lnTo>
                  <a:pt x="855" y="377"/>
                </a:lnTo>
                <a:lnTo>
                  <a:pt x="851" y="369"/>
                </a:lnTo>
                <a:lnTo>
                  <a:pt x="848" y="359"/>
                </a:lnTo>
                <a:lnTo>
                  <a:pt x="848" y="350"/>
                </a:lnTo>
                <a:lnTo>
                  <a:pt x="849" y="343"/>
                </a:lnTo>
                <a:lnTo>
                  <a:pt x="851" y="335"/>
                </a:lnTo>
                <a:lnTo>
                  <a:pt x="855" y="330"/>
                </a:lnTo>
                <a:lnTo>
                  <a:pt x="857" y="325"/>
                </a:lnTo>
                <a:lnTo>
                  <a:pt x="860" y="316"/>
                </a:lnTo>
                <a:lnTo>
                  <a:pt x="860" y="307"/>
                </a:lnTo>
                <a:lnTo>
                  <a:pt x="860" y="296"/>
                </a:lnTo>
                <a:lnTo>
                  <a:pt x="859" y="287"/>
                </a:lnTo>
                <a:lnTo>
                  <a:pt x="856" y="276"/>
                </a:lnTo>
                <a:lnTo>
                  <a:pt x="854" y="265"/>
                </a:lnTo>
                <a:lnTo>
                  <a:pt x="850" y="255"/>
                </a:lnTo>
                <a:lnTo>
                  <a:pt x="847" y="244"/>
                </a:lnTo>
                <a:lnTo>
                  <a:pt x="844" y="233"/>
                </a:lnTo>
                <a:lnTo>
                  <a:pt x="842" y="220"/>
                </a:lnTo>
                <a:lnTo>
                  <a:pt x="840" y="206"/>
                </a:lnTo>
                <a:lnTo>
                  <a:pt x="840" y="193"/>
                </a:lnTo>
                <a:lnTo>
                  <a:pt x="841" y="181"/>
                </a:lnTo>
                <a:lnTo>
                  <a:pt x="843" y="169"/>
                </a:lnTo>
                <a:lnTo>
                  <a:pt x="846" y="160"/>
                </a:lnTo>
                <a:lnTo>
                  <a:pt x="848" y="152"/>
                </a:lnTo>
                <a:lnTo>
                  <a:pt x="850" y="137"/>
                </a:lnTo>
                <a:lnTo>
                  <a:pt x="850" y="118"/>
                </a:lnTo>
                <a:lnTo>
                  <a:pt x="853" y="107"/>
                </a:lnTo>
                <a:lnTo>
                  <a:pt x="856" y="95"/>
                </a:lnTo>
                <a:lnTo>
                  <a:pt x="860" y="84"/>
                </a:lnTo>
                <a:lnTo>
                  <a:pt x="862" y="74"/>
                </a:lnTo>
                <a:lnTo>
                  <a:pt x="862" y="63"/>
                </a:lnTo>
                <a:lnTo>
                  <a:pt x="862" y="50"/>
                </a:lnTo>
                <a:lnTo>
                  <a:pt x="863" y="34"/>
                </a:lnTo>
                <a:lnTo>
                  <a:pt x="863" y="13"/>
                </a:lnTo>
                <a:lnTo>
                  <a:pt x="863" y="6"/>
                </a:lnTo>
                <a:lnTo>
                  <a:pt x="863" y="4"/>
                </a:lnTo>
                <a:lnTo>
                  <a:pt x="862" y="3"/>
                </a:lnTo>
                <a:lnTo>
                  <a:pt x="856" y="1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4" name="青海"/>
          <p:cNvSpPr/>
          <p:nvPr/>
        </p:nvSpPr>
        <p:spPr bwMode="auto">
          <a:xfrm>
            <a:off x="3296920" y="2697480"/>
            <a:ext cx="1961515" cy="1426210"/>
          </a:xfrm>
          <a:custGeom>
            <a:avLst/>
            <a:gdLst>
              <a:gd name="T0" fmla="*/ 4484 w 4767"/>
              <a:gd name="T1" fmla="*/ 1080 h 3475"/>
              <a:gd name="T2" fmla="*/ 4267 w 4767"/>
              <a:gd name="T3" fmla="*/ 940 h 3475"/>
              <a:gd name="T4" fmla="*/ 3970 w 4767"/>
              <a:gd name="T5" fmla="*/ 724 h 3475"/>
              <a:gd name="T6" fmla="*/ 3855 w 4767"/>
              <a:gd name="T7" fmla="*/ 686 h 3475"/>
              <a:gd name="T8" fmla="*/ 3520 w 4767"/>
              <a:gd name="T9" fmla="*/ 407 h 3475"/>
              <a:gd name="T10" fmla="*/ 3316 w 4767"/>
              <a:gd name="T11" fmla="*/ 341 h 3475"/>
              <a:gd name="T12" fmla="*/ 3107 w 4767"/>
              <a:gd name="T13" fmla="*/ 338 h 3475"/>
              <a:gd name="T14" fmla="*/ 2841 w 4767"/>
              <a:gd name="T15" fmla="*/ 214 h 3475"/>
              <a:gd name="T16" fmla="*/ 2741 w 4767"/>
              <a:gd name="T17" fmla="*/ 462 h 3475"/>
              <a:gd name="T18" fmla="*/ 2572 w 4767"/>
              <a:gd name="T19" fmla="*/ 613 h 3475"/>
              <a:gd name="T20" fmla="*/ 2258 w 4767"/>
              <a:gd name="T21" fmla="*/ 510 h 3475"/>
              <a:gd name="T22" fmla="*/ 1977 w 4767"/>
              <a:gd name="T23" fmla="*/ 266 h 3475"/>
              <a:gd name="T24" fmla="*/ 1714 w 4767"/>
              <a:gd name="T25" fmla="*/ 140 h 3475"/>
              <a:gd name="T26" fmla="*/ 1379 w 4767"/>
              <a:gd name="T27" fmla="*/ 13 h 3475"/>
              <a:gd name="T28" fmla="*/ 995 w 4767"/>
              <a:gd name="T29" fmla="*/ 77 h 3475"/>
              <a:gd name="T30" fmla="*/ 575 w 4767"/>
              <a:gd name="T31" fmla="*/ 226 h 3475"/>
              <a:gd name="T32" fmla="*/ 747 w 4767"/>
              <a:gd name="T33" fmla="*/ 602 h 3475"/>
              <a:gd name="T34" fmla="*/ 637 w 4767"/>
              <a:gd name="T35" fmla="*/ 872 h 3475"/>
              <a:gd name="T36" fmla="*/ 684 w 4767"/>
              <a:gd name="T37" fmla="*/ 1099 h 3475"/>
              <a:gd name="T38" fmla="*/ 620 w 4767"/>
              <a:gd name="T39" fmla="*/ 1228 h 3475"/>
              <a:gd name="T40" fmla="*/ 297 w 4767"/>
              <a:gd name="T41" fmla="*/ 1142 h 3475"/>
              <a:gd name="T42" fmla="*/ 151 w 4767"/>
              <a:gd name="T43" fmla="*/ 1229 h 3475"/>
              <a:gd name="T44" fmla="*/ 160 w 4767"/>
              <a:gd name="T45" fmla="*/ 1402 h 3475"/>
              <a:gd name="T46" fmla="*/ 48 w 4767"/>
              <a:gd name="T47" fmla="*/ 1621 h 3475"/>
              <a:gd name="T48" fmla="*/ 102 w 4767"/>
              <a:gd name="T49" fmla="*/ 1783 h 3475"/>
              <a:gd name="T50" fmla="*/ 25 w 4767"/>
              <a:gd name="T51" fmla="*/ 2058 h 3475"/>
              <a:gd name="T52" fmla="*/ 154 w 4767"/>
              <a:gd name="T53" fmla="*/ 2283 h 3475"/>
              <a:gd name="T54" fmla="*/ 349 w 4767"/>
              <a:gd name="T55" fmla="*/ 2480 h 3475"/>
              <a:gd name="T56" fmla="*/ 535 w 4767"/>
              <a:gd name="T57" fmla="*/ 2458 h 3475"/>
              <a:gd name="T58" fmla="*/ 805 w 4767"/>
              <a:gd name="T59" fmla="*/ 2695 h 3475"/>
              <a:gd name="T60" fmla="*/ 1068 w 4767"/>
              <a:gd name="T61" fmla="*/ 2800 h 3475"/>
              <a:gd name="T62" fmla="*/ 1293 w 4767"/>
              <a:gd name="T63" fmla="*/ 2908 h 3475"/>
              <a:gd name="T64" fmla="*/ 1575 w 4767"/>
              <a:gd name="T65" fmla="*/ 2940 h 3475"/>
              <a:gd name="T66" fmla="*/ 1799 w 4767"/>
              <a:gd name="T67" fmla="*/ 3128 h 3475"/>
              <a:gd name="T68" fmla="*/ 1898 w 4767"/>
              <a:gd name="T69" fmla="*/ 3362 h 3475"/>
              <a:gd name="T70" fmla="*/ 2118 w 4767"/>
              <a:gd name="T71" fmla="*/ 3459 h 3475"/>
              <a:gd name="T72" fmla="*/ 2153 w 4767"/>
              <a:gd name="T73" fmla="*/ 3342 h 3475"/>
              <a:gd name="T74" fmla="*/ 2363 w 4767"/>
              <a:gd name="T75" fmla="*/ 3450 h 3475"/>
              <a:gd name="T76" fmla="*/ 2490 w 4767"/>
              <a:gd name="T77" fmla="*/ 3308 h 3475"/>
              <a:gd name="T78" fmla="*/ 2607 w 4767"/>
              <a:gd name="T79" fmla="*/ 3183 h 3475"/>
              <a:gd name="T80" fmla="*/ 2667 w 4767"/>
              <a:gd name="T81" fmla="*/ 3041 h 3475"/>
              <a:gd name="T82" fmla="*/ 2714 w 4767"/>
              <a:gd name="T83" fmla="*/ 2824 h 3475"/>
              <a:gd name="T84" fmla="*/ 2705 w 4767"/>
              <a:gd name="T85" fmla="*/ 2666 h 3475"/>
              <a:gd name="T86" fmla="*/ 2815 w 4767"/>
              <a:gd name="T87" fmla="*/ 2484 h 3475"/>
              <a:gd name="T88" fmla="*/ 3033 w 4767"/>
              <a:gd name="T89" fmla="*/ 2568 h 3475"/>
              <a:gd name="T90" fmla="*/ 3163 w 4767"/>
              <a:gd name="T91" fmla="*/ 2858 h 3475"/>
              <a:gd name="T92" fmla="*/ 3390 w 4767"/>
              <a:gd name="T93" fmla="*/ 3058 h 3475"/>
              <a:gd name="T94" fmla="*/ 3562 w 4767"/>
              <a:gd name="T95" fmla="*/ 3006 h 3475"/>
              <a:gd name="T96" fmla="*/ 3656 w 4767"/>
              <a:gd name="T97" fmla="*/ 3139 h 3475"/>
              <a:gd name="T98" fmla="*/ 3791 w 4767"/>
              <a:gd name="T99" fmla="*/ 3233 h 3475"/>
              <a:gd name="T100" fmla="*/ 3971 w 4767"/>
              <a:gd name="T101" fmla="*/ 3197 h 3475"/>
              <a:gd name="T102" fmla="*/ 4081 w 4767"/>
              <a:gd name="T103" fmla="*/ 2974 h 3475"/>
              <a:gd name="T104" fmla="*/ 4211 w 4767"/>
              <a:gd name="T105" fmla="*/ 2888 h 3475"/>
              <a:gd name="T106" fmla="*/ 4101 w 4767"/>
              <a:gd name="T107" fmla="*/ 2763 h 3475"/>
              <a:gd name="T108" fmla="*/ 3917 w 4767"/>
              <a:gd name="T109" fmla="*/ 2548 h 3475"/>
              <a:gd name="T110" fmla="*/ 4074 w 4767"/>
              <a:gd name="T111" fmla="*/ 2490 h 3475"/>
              <a:gd name="T112" fmla="*/ 4310 w 4767"/>
              <a:gd name="T113" fmla="*/ 2584 h 3475"/>
              <a:gd name="T114" fmla="*/ 4414 w 4767"/>
              <a:gd name="T115" fmla="*/ 2449 h 3475"/>
              <a:gd name="T116" fmla="*/ 4499 w 4767"/>
              <a:gd name="T117" fmla="*/ 2126 h 3475"/>
              <a:gd name="T118" fmla="*/ 4622 w 4767"/>
              <a:gd name="T119" fmla="*/ 1986 h 3475"/>
              <a:gd name="T120" fmla="*/ 4720 w 4767"/>
              <a:gd name="T121" fmla="*/ 1784 h 3475"/>
              <a:gd name="T122" fmla="*/ 4623 w 4767"/>
              <a:gd name="T123" fmla="*/ 1483 h 3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767" h="3475">
                <a:moveTo>
                  <a:pt x="4599" y="1319"/>
                </a:moveTo>
                <a:lnTo>
                  <a:pt x="4599" y="1311"/>
                </a:lnTo>
                <a:lnTo>
                  <a:pt x="4599" y="1304"/>
                </a:lnTo>
                <a:lnTo>
                  <a:pt x="4600" y="1301"/>
                </a:lnTo>
                <a:lnTo>
                  <a:pt x="4601" y="1299"/>
                </a:lnTo>
                <a:lnTo>
                  <a:pt x="4603" y="1298"/>
                </a:lnTo>
                <a:lnTo>
                  <a:pt x="4605" y="1297"/>
                </a:lnTo>
                <a:lnTo>
                  <a:pt x="4611" y="1297"/>
                </a:lnTo>
                <a:lnTo>
                  <a:pt x="4617" y="1297"/>
                </a:lnTo>
                <a:lnTo>
                  <a:pt x="4622" y="1295"/>
                </a:lnTo>
                <a:lnTo>
                  <a:pt x="4626" y="1293"/>
                </a:lnTo>
                <a:lnTo>
                  <a:pt x="4630" y="1288"/>
                </a:lnTo>
                <a:lnTo>
                  <a:pt x="4631" y="1281"/>
                </a:lnTo>
                <a:lnTo>
                  <a:pt x="4631" y="1277"/>
                </a:lnTo>
                <a:lnTo>
                  <a:pt x="4630" y="1273"/>
                </a:lnTo>
                <a:lnTo>
                  <a:pt x="4629" y="1269"/>
                </a:lnTo>
                <a:lnTo>
                  <a:pt x="4626" y="1263"/>
                </a:lnTo>
                <a:lnTo>
                  <a:pt x="4612" y="1253"/>
                </a:lnTo>
                <a:lnTo>
                  <a:pt x="4600" y="1241"/>
                </a:lnTo>
                <a:lnTo>
                  <a:pt x="4597" y="1231"/>
                </a:lnTo>
                <a:lnTo>
                  <a:pt x="4592" y="1224"/>
                </a:lnTo>
                <a:lnTo>
                  <a:pt x="4588" y="1220"/>
                </a:lnTo>
                <a:lnTo>
                  <a:pt x="4586" y="1217"/>
                </a:lnTo>
                <a:lnTo>
                  <a:pt x="4581" y="1214"/>
                </a:lnTo>
                <a:lnTo>
                  <a:pt x="4576" y="1212"/>
                </a:lnTo>
                <a:lnTo>
                  <a:pt x="4568" y="1207"/>
                </a:lnTo>
                <a:lnTo>
                  <a:pt x="4561" y="1203"/>
                </a:lnTo>
                <a:lnTo>
                  <a:pt x="4556" y="1197"/>
                </a:lnTo>
                <a:lnTo>
                  <a:pt x="4550" y="1188"/>
                </a:lnTo>
                <a:lnTo>
                  <a:pt x="4542" y="1179"/>
                </a:lnTo>
                <a:lnTo>
                  <a:pt x="4530" y="1168"/>
                </a:lnTo>
                <a:lnTo>
                  <a:pt x="4517" y="1159"/>
                </a:lnTo>
                <a:lnTo>
                  <a:pt x="4505" y="1150"/>
                </a:lnTo>
                <a:lnTo>
                  <a:pt x="4493" y="1141"/>
                </a:lnTo>
                <a:lnTo>
                  <a:pt x="4486" y="1134"/>
                </a:lnTo>
                <a:lnTo>
                  <a:pt x="4484" y="1130"/>
                </a:lnTo>
                <a:lnTo>
                  <a:pt x="4483" y="1128"/>
                </a:lnTo>
                <a:lnTo>
                  <a:pt x="4483" y="1123"/>
                </a:lnTo>
                <a:lnTo>
                  <a:pt x="4483" y="1119"/>
                </a:lnTo>
                <a:lnTo>
                  <a:pt x="4485" y="1109"/>
                </a:lnTo>
                <a:lnTo>
                  <a:pt x="4487" y="1098"/>
                </a:lnTo>
                <a:lnTo>
                  <a:pt x="4487" y="1093"/>
                </a:lnTo>
                <a:lnTo>
                  <a:pt x="4487" y="1088"/>
                </a:lnTo>
                <a:lnTo>
                  <a:pt x="4486" y="1084"/>
                </a:lnTo>
                <a:lnTo>
                  <a:pt x="4484" y="1080"/>
                </a:lnTo>
                <a:lnTo>
                  <a:pt x="4479" y="1073"/>
                </a:lnTo>
                <a:lnTo>
                  <a:pt x="4475" y="1066"/>
                </a:lnTo>
                <a:lnTo>
                  <a:pt x="4469" y="1055"/>
                </a:lnTo>
                <a:lnTo>
                  <a:pt x="4463" y="1042"/>
                </a:lnTo>
                <a:lnTo>
                  <a:pt x="4460" y="1036"/>
                </a:lnTo>
                <a:lnTo>
                  <a:pt x="4458" y="1029"/>
                </a:lnTo>
                <a:lnTo>
                  <a:pt x="4456" y="1023"/>
                </a:lnTo>
                <a:lnTo>
                  <a:pt x="4455" y="1017"/>
                </a:lnTo>
                <a:lnTo>
                  <a:pt x="4455" y="1009"/>
                </a:lnTo>
                <a:lnTo>
                  <a:pt x="4453" y="1002"/>
                </a:lnTo>
                <a:lnTo>
                  <a:pt x="4452" y="998"/>
                </a:lnTo>
                <a:lnTo>
                  <a:pt x="4450" y="996"/>
                </a:lnTo>
                <a:lnTo>
                  <a:pt x="4448" y="995"/>
                </a:lnTo>
                <a:lnTo>
                  <a:pt x="4446" y="995"/>
                </a:lnTo>
                <a:lnTo>
                  <a:pt x="4443" y="995"/>
                </a:lnTo>
                <a:lnTo>
                  <a:pt x="4441" y="996"/>
                </a:lnTo>
                <a:lnTo>
                  <a:pt x="4439" y="997"/>
                </a:lnTo>
                <a:lnTo>
                  <a:pt x="4436" y="999"/>
                </a:lnTo>
                <a:lnTo>
                  <a:pt x="4430" y="1006"/>
                </a:lnTo>
                <a:lnTo>
                  <a:pt x="4421" y="1017"/>
                </a:lnTo>
                <a:lnTo>
                  <a:pt x="4406" y="1030"/>
                </a:lnTo>
                <a:lnTo>
                  <a:pt x="4396" y="1037"/>
                </a:lnTo>
                <a:lnTo>
                  <a:pt x="4391" y="1043"/>
                </a:lnTo>
                <a:lnTo>
                  <a:pt x="4389" y="1045"/>
                </a:lnTo>
                <a:lnTo>
                  <a:pt x="4385" y="1043"/>
                </a:lnTo>
                <a:lnTo>
                  <a:pt x="4380" y="1040"/>
                </a:lnTo>
                <a:lnTo>
                  <a:pt x="4371" y="1033"/>
                </a:lnTo>
                <a:lnTo>
                  <a:pt x="4357" y="1020"/>
                </a:lnTo>
                <a:lnTo>
                  <a:pt x="4349" y="1014"/>
                </a:lnTo>
                <a:lnTo>
                  <a:pt x="4346" y="1012"/>
                </a:lnTo>
                <a:lnTo>
                  <a:pt x="4343" y="1010"/>
                </a:lnTo>
                <a:lnTo>
                  <a:pt x="4336" y="1004"/>
                </a:lnTo>
                <a:lnTo>
                  <a:pt x="4337" y="998"/>
                </a:lnTo>
                <a:lnTo>
                  <a:pt x="4340" y="987"/>
                </a:lnTo>
                <a:lnTo>
                  <a:pt x="4333" y="976"/>
                </a:lnTo>
                <a:lnTo>
                  <a:pt x="4323" y="965"/>
                </a:lnTo>
                <a:lnTo>
                  <a:pt x="4318" y="959"/>
                </a:lnTo>
                <a:lnTo>
                  <a:pt x="4314" y="954"/>
                </a:lnTo>
                <a:lnTo>
                  <a:pt x="4307" y="951"/>
                </a:lnTo>
                <a:lnTo>
                  <a:pt x="4301" y="946"/>
                </a:lnTo>
                <a:lnTo>
                  <a:pt x="4289" y="940"/>
                </a:lnTo>
                <a:lnTo>
                  <a:pt x="4282" y="935"/>
                </a:lnTo>
                <a:lnTo>
                  <a:pt x="4278" y="935"/>
                </a:lnTo>
                <a:lnTo>
                  <a:pt x="4273" y="936"/>
                </a:lnTo>
                <a:lnTo>
                  <a:pt x="4267" y="940"/>
                </a:lnTo>
                <a:lnTo>
                  <a:pt x="4260" y="943"/>
                </a:lnTo>
                <a:lnTo>
                  <a:pt x="4253" y="948"/>
                </a:lnTo>
                <a:lnTo>
                  <a:pt x="4247" y="952"/>
                </a:lnTo>
                <a:lnTo>
                  <a:pt x="4241" y="953"/>
                </a:lnTo>
                <a:lnTo>
                  <a:pt x="4236" y="953"/>
                </a:lnTo>
                <a:lnTo>
                  <a:pt x="4222" y="943"/>
                </a:lnTo>
                <a:lnTo>
                  <a:pt x="4208" y="936"/>
                </a:lnTo>
                <a:lnTo>
                  <a:pt x="4200" y="932"/>
                </a:lnTo>
                <a:lnTo>
                  <a:pt x="4194" y="926"/>
                </a:lnTo>
                <a:lnTo>
                  <a:pt x="4188" y="919"/>
                </a:lnTo>
                <a:lnTo>
                  <a:pt x="4181" y="907"/>
                </a:lnTo>
                <a:lnTo>
                  <a:pt x="4172" y="895"/>
                </a:lnTo>
                <a:lnTo>
                  <a:pt x="4164" y="886"/>
                </a:lnTo>
                <a:lnTo>
                  <a:pt x="4156" y="879"/>
                </a:lnTo>
                <a:lnTo>
                  <a:pt x="4144" y="871"/>
                </a:lnTo>
                <a:lnTo>
                  <a:pt x="4133" y="864"/>
                </a:lnTo>
                <a:lnTo>
                  <a:pt x="4122" y="859"/>
                </a:lnTo>
                <a:lnTo>
                  <a:pt x="4114" y="857"/>
                </a:lnTo>
                <a:lnTo>
                  <a:pt x="4108" y="856"/>
                </a:lnTo>
                <a:lnTo>
                  <a:pt x="4101" y="854"/>
                </a:lnTo>
                <a:lnTo>
                  <a:pt x="4093" y="850"/>
                </a:lnTo>
                <a:lnTo>
                  <a:pt x="4082" y="844"/>
                </a:lnTo>
                <a:lnTo>
                  <a:pt x="4071" y="833"/>
                </a:lnTo>
                <a:lnTo>
                  <a:pt x="4065" y="828"/>
                </a:lnTo>
                <a:lnTo>
                  <a:pt x="4059" y="823"/>
                </a:lnTo>
                <a:lnTo>
                  <a:pt x="4052" y="819"/>
                </a:lnTo>
                <a:lnTo>
                  <a:pt x="4046" y="815"/>
                </a:lnTo>
                <a:lnTo>
                  <a:pt x="4033" y="809"/>
                </a:lnTo>
                <a:lnTo>
                  <a:pt x="4024" y="806"/>
                </a:lnTo>
                <a:lnTo>
                  <a:pt x="4020" y="803"/>
                </a:lnTo>
                <a:lnTo>
                  <a:pt x="4017" y="800"/>
                </a:lnTo>
                <a:lnTo>
                  <a:pt x="4015" y="796"/>
                </a:lnTo>
                <a:lnTo>
                  <a:pt x="4014" y="793"/>
                </a:lnTo>
                <a:lnTo>
                  <a:pt x="4013" y="784"/>
                </a:lnTo>
                <a:lnTo>
                  <a:pt x="4013" y="775"/>
                </a:lnTo>
                <a:lnTo>
                  <a:pt x="4013" y="764"/>
                </a:lnTo>
                <a:lnTo>
                  <a:pt x="4011" y="753"/>
                </a:lnTo>
                <a:lnTo>
                  <a:pt x="4008" y="747"/>
                </a:lnTo>
                <a:lnTo>
                  <a:pt x="4006" y="743"/>
                </a:lnTo>
                <a:lnTo>
                  <a:pt x="4001" y="737"/>
                </a:lnTo>
                <a:lnTo>
                  <a:pt x="3996" y="732"/>
                </a:lnTo>
                <a:lnTo>
                  <a:pt x="3989" y="728"/>
                </a:lnTo>
                <a:lnTo>
                  <a:pt x="3983" y="726"/>
                </a:lnTo>
                <a:lnTo>
                  <a:pt x="3976" y="725"/>
                </a:lnTo>
                <a:lnTo>
                  <a:pt x="3970" y="724"/>
                </a:lnTo>
                <a:lnTo>
                  <a:pt x="3957" y="724"/>
                </a:lnTo>
                <a:lnTo>
                  <a:pt x="3946" y="722"/>
                </a:lnTo>
                <a:lnTo>
                  <a:pt x="3942" y="720"/>
                </a:lnTo>
                <a:lnTo>
                  <a:pt x="3937" y="716"/>
                </a:lnTo>
                <a:lnTo>
                  <a:pt x="3932" y="712"/>
                </a:lnTo>
                <a:lnTo>
                  <a:pt x="3927" y="707"/>
                </a:lnTo>
                <a:lnTo>
                  <a:pt x="3924" y="702"/>
                </a:lnTo>
                <a:lnTo>
                  <a:pt x="3921" y="697"/>
                </a:lnTo>
                <a:lnTo>
                  <a:pt x="3919" y="693"/>
                </a:lnTo>
                <a:lnTo>
                  <a:pt x="3918" y="688"/>
                </a:lnTo>
                <a:lnTo>
                  <a:pt x="3917" y="681"/>
                </a:lnTo>
                <a:lnTo>
                  <a:pt x="3914" y="675"/>
                </a:lnTo>
                <a:lnTo>
                  <a:pt x="3913" y="674"/>
                </a:lnTo>
                <a:lnTo>
                  <a:pt x="3911" y="671"/>
                </a:lnTo>
                <a:lnTo>
                  <a:pt x="3908" y="671"/>
                </a:lnTo>
                <a:lnTo>
                  <a:pt x="3905" y="671"/>
                </a:lnTo>
                <a:lnTo>
                  <a:pt x="3901" y="671"/>
                </a:lnTo>
                <a:lnTo>
                  <a:pt x="3898" y="670"/>
                </a:lnTo>
                <a:lnTo>
                  <a:pt x="3896" y="669"/>
                </a:lnTo>
                <a:lnTo>
                  <a:pt x="3895" y="667"/>
                </a:lnTo>
                <a:lnTo>
                  <a:pt x="3894" y="661"/>
                </a:lnTo>
                <a:lnTo>
                  <a:pt x="3894" y="651"/>
                </a:lnTo>
                <a:lnTo>
                  <a:pt x="3893" y="646"/>
                </a:lnTo>
                <a:lnTo>
                  <a:pt x="3892" y="642"/>
                </a:lnTo>
                <a:lnTo>
                  <a:pt x="3891" y="637"/>
                </a:lnTo>
                <a:lnTo>
                  <a:pt x="3888" y="633"/>
                </a:lnTo>
                <a:lnTo>
                  <a:pt x="3882" y="626"/>
                </a:lnTo>
                <a:lnTo>
                  <a:pt x="3874" y="619"/>
                </a:lnTo>
                <a:lnTo>
                  <a:pt x="3869" y="615"/>
                </a:lnTo>
                <a:lnTo>
                  <a:pt x="3863" y="613"/>
                </a:lnTo>
                <a:lnTo>
                  <a:pt x="3857" y="609"/>
                </a:lnTo>
                <a:lnTo>
                  <a:pt x="3850" y="608"/>
                </a:lnTo>
                <a:lnTo>
                  <a:pt x="3844" y="607"/>
                </a:lnTo>
                <a:lnTo>
                  <a:pt x="3839" y="608"/>
                </a:lnTo>
                <a:lnTo>
                  <a:pt x="3837" y="608"/>
                </a:lnTo>
                <a:lnTo>
                  <a:pt x="3835" y="609"/>
                </a:lnTo>
                <a:lnTo>
                  <a:pt x="3835" y="612"/>
                </a:lnTo>
                <a:lnTo>
                  <a:pt x="3833" y="614"/>
                </a:lnTo>
                <a:lnTo>
                  <a:pt x="3833" y="624"/>
                </a:lnTo>
                <a:lnTo>
                  <a:pt x="3832" y="633"/>
                </a:lnTo>
                <a:lnTo>
                  <a:pt x="3832" y="640"/>
                </a:lnTo>
                <a:lnTo>
                  <a:pt x="3837" y="651"/>
                </a:lnTo>
                <a:lnTo>
                  <a:pt x="3842" y="662"/>
                </a:lnTo>
                <a:lnTo>
                  <a:pt x="3847" y="671"/>
                </a:lnTo>
                <a:lnTo>
                  <a:pt x="3855" y="686"/>
                </a:lnTo>
                <a:lnTo>
                  <a:pt x="3862" y="701"/>
                </a:lnTo>
                <a:lnTo>
                  <a:pt x="3864" y="708"/>
                </a:lnTo>
                <a:lnTo>
                  <a:pt x="3866" y="713"/>
                </a:lnTo>
                <a:lnTo>
                  <a:pt x="3866" y="718"/>
                </a:lnTo>
                <a:lnTo>
                  <a:pt x="3864" y="720"/>
                </a:lnTo>
                <a:lnTo>
                  <a:pt x="3863" y="721"/>
                </a:lnTo>
                <a:lnTo>
                  <a:pt x="3860" y="721"/>
                </a:lnTo>
                <a:lnTo>
                  <a:pt x="3856" y="720"/>
                </a:lnTo>
                <a:lnTo>
                  <a:pt x="3850" y="718"/>
                </a:lnTo>
                <a:lnTo>
                  <a:pt x="3838" y="711"/>
                </a:lnTo>
                <a:lnTo>
                  <a:pt x="3826" y="705"/>
                </a:lnTo>
                <a:lnTo>
                  <a:pt x="3814" y="697"/>
                </a:lnTo>
                <a:lnTo>
                  <a:pt x="3804" y="690"/>
                </a:lnTo>
                <a:lnTo>
                  <a:pt x="3789" y="682"/>
                </a:lnTo>
                <a:lnTo>
                  <a:pt x="3773" y="672"/>
                </a:lnTo>
                <a:lnTo>
                  <a:pt x="3757" y="663"/>
                </a:lnTo>
                <a:lnTo>
                  <a:pt x="3744" y="655"/>
                </a:lnTo>
                <a:lnTo>
                  <a:pt x="3731" y="645"/>
                </a:lnTo>
                <a:lnTo>
                  <a:pt x="3716" y="633"/>
                </a:lnTo>
                <a:lnTo>
                  <a:pt x="3700" y="621"/>
                </a:lnTo>
                <a:lnTo>
                  <a:pt x="3690" y="612"/>
                </a:lnTo>
                <a:lnTo>
                  <a:pt x="3682" y="602"/>
                </a:lnTo>
                <a:lnTo>
                  <a:pt x="3675" y="590"/>
                </a:lnTo>
                <a:lnTo>
                  <a:pt x="3669" y="579"/>
                </a:lnTo>
                <a:lnTo>
                  <a:pt x="3666" y="569"/>
                </a:lnTo>
                <a:lnTo>
                  <a:pt x="3665" y="563"/>
                </a:lnTo>
                <a:lnTo>
                  <a:pt x="3663" y="558"/>
                </a:lnTo>
                <a:lnTo>
                  <a:pt x="3660" y="554"/>
                </a:lnTo>
                <a:lnTo>
                  <a:pt x="3653" y="547"/>
                </a:lnTo>
                <a:lnTo>
                  <a:pt x="3644" y="538"/>
                </a:lnTo>
                <a:lnTo>
                  <a:pt x="3637" y="529"/>
                </a:lnTo>
                <a:lnTo>
                  <a:pt x="3631" y="518"/>
                </a:lnTo>
                <a:lnTo>
                  <a:pt x="3624" y="505"/>
                </a:lnTo>
                <a:lnTo>
                  <a:pt x="3621" y="499"/>
                </a:lnTo>
                <a:lnTo>
                  <a:pt x="3616" y="492"/>
                </a:lnTo>
                <a:lnTo>
                  <a:pt x="3610" y="486"/>
                </a:lnTo>
                <a:lnTo>
                  <a:pt x="3603" y="479"/>
                </a:lnTo>
                <a:lnTo>
                  <a:pt x="3589" y="467"/>
                </a:lnTo>
                <a:lnTo>
                  <a:pt x="3575" y="456"/>
                </a:lnTo>
                <a:lnTo>
                  <a:pt x="3562" y="445"/>
                </a:lnTo>
                <a:lnTo>
                  <a:pt x="3547" y="434"/>
                </a:lnTo>
                <a:lnTo>
                  <a:pt x="3534" y="423"/>
                </a:lnTo>
                <a:lnTo>
                  <a:pt x="3524" y="415"/>
                </a:lnTo>
                <a:lnTo>
                  <a:pt x="3521" y="411"/>
                </a:lnTo>
                <a:lnTo>
                  <a:pt x="3520" y="407"/>
                </a:lnTo>
                <a:lnTo>
                  <a:pt x="3520" y="405"/>
                </a:lnTo>
                <a:lnTo>
                  <a:pt x="3520" y="403"/>
                </a:lnTo>
                <a:lnTo>
                  <a:pt x="3521" y="398"/>
                </a:lnTo>
                <a:lnTo>
                  <a:pt x="3524" y="392"/>
                </a:lnTo>
                <a:lnTo>
                  <a:pt x="3526" y="390"/>
                </a:lnTo>
                <a:lnTo>
                  <a:pt x="3524" y="386"/>
                </a:lnTo>
                <a:lnTo>
                  <a:pt x="3523" y="384"/>
                </a:lnTo>
                <a:lnTo>
                  <a:pt x="3522" y="381"/>
                </a:lnTo>
                <a:lnTo>
                  <a:pt x="3516" y="378"/>
                </a:lnTo>
                <a:lnTo>
                  <a:pt x="3508" y="375"/>
                </a:lnTo>
                <a:lnTo>
                  <a:pt x="3497" y="373"/>
                </a:lnTo>
                <a:lnTo>
                  <a:pt x="3486" y="369"/>
                </a:lnTo>
                <a:lnTo>
                  <a:pt x="3480" y="366"/>
                </a:lnTo>
                <a:lnTo>
                  <a:pt x="3476" y="363"/>
                </a:lnTo>
                <a:lnTo>
                  <a:pt x="3470" y="360"/>
                </a:lnTo>
                <a:lnTo>
                  <a:pt x="3465" y="355"/>
                </a:lnTo>
                <a:lnTo>
                  <a:pt x="3461" y="350"/>
                </a:lnTo>
                <a:lnTo>
                  <a:pt x="3459" y="346"/>
                </a:lnTo>
                <a:lnTo>
                  <a:pt x="3457" y="341"/>
                </a:lnTo>
                <a:lnTo>
                  <a:pt x="3455" y="335"/>
                </a:lnTo>
                <a:lnTo>
                  <a:pt x="3452" y="325"/>
                </a:lnTo>
                <a:lnTo>
                  <a:pt x="3447" y="316"/>
                </a:lnTo>
                <a:lnTo>
                  <a:pt x="3444" y="312"/>
                </a:lnTo>
                <a:lnTo>
                  <a:pt x="3440" y="310"/>
                </a:lnTo>
                <a:lnTo>
                  <a:pt x="3435" y="309"/>
                </a:lnTo>
                <a:lnTo>
                  <a:pt x="3432" y="308"/>
                </a:lnTo>
                <a:lnTo>
                  <a:pt x="3427" y="309"/>
                </a:lnTo>
                <a:lnTo>
                  <a:pt x="3422" y="311"/>
                </a:lnTo>
                <a:lnTo>
                  <a:pt x="3417" y="314"/>
                </a:lnTo>
                <a:lnTo>
                  <a:pt x="3413" y="318"/>
                </a:lnTo>
                <a:lnTo>
                  <a:pt x="3403" y="330"/>
                </a:lnTo>
                <a:lnTo>
                  <a:pt x="3392" y="344"/>
                </a:lnTo>
                <a:lnTo>
                  <a:pt x="3382" y="356"/>
                </a:lnTo>
                <a:lnTo>
                  <a:pt x="3372" y="366"/>
                </a:lnTo>
                <a:lnTo>
                  <a:pt x="3367" y="368"/>
                </a:lnTo>
                <a:lnTo>
                  <a:pt x="3363" y="368"/>
                </a:lnTo>
                <a:lnTo>
                  <a:pt x="3357" y="368"/>
                </a:lnTo>
                <a:lnTo>
                  <a:pt x="3350" y="367"/>
                </a:lnTo>
                <a:lnTo>
                  <a:pt x="3338" y="363"/>
                </a:lnTo>
                <a:lnTo>
                  <a:pt x="3327" y="359"/>
                </a:lnTo>
                <a:lnTo>
                  <a:pt x="3323" y="358"/>
                </a:lnTo>
                <a:lnTo>
                  <a:pt x="3321" y="355"/>
                </a:lnTo>
                <a:lnTo>
                  <a:pt x="3319" y="352"/>
                </a:lnTo>
                <a:lnTo>
                  <a:pt x="3318" y="349"/>
                </a:lnTo>
                <a:lnTo>
                  <a:pt x="3316" y="341"/>
                </a:lnTo>
                <a:lnTo>
                  <a:pt x="3316" y="330"/>
                </a:lnTo>
                <a:lnTo>
                  <a:pt x="3315" y="324"/>
                </a:lnTo>
                <a:lnTo>
                  <a:pt x="3312" y="321"/>
                </a:lnTo>
                <a:lnTo>
                  <a:pt x="3307" y="317"/>
                </a:lnTo>
                <a:lnTo>
                  <a:pt x="3301" y="315"/>
                </a:lnTo>
                <a:lnTo>
                  <a:pt x="3294" y="314"/>
                </a:lnTo>
                <a:lnTo>
                  <a:pt x="3288" y="314"/>
                </a:lnTo>
                <a:lnTo>
                  <a:pt x="3281" y="314"/>
                </a:lnTo>
                <a:lnTo>
                  <a:pt x="3276" y="315"/>
                </a:lnTo>
                <a:lnTo>
                  <a:pt x="3271" y="317"/>
                </a:lnTo>
                <a:lnTo>
                  <a:pt x="3269" y="319"/>
                </a:lnTo>
                <a:lnTo>
                  <a:pt x="3266" y="323"/>
                </a:lnTo>
                <a:lnTo>
                  <a:pt x="3266" y="327"/>
                </a:lnTo>
                <a:lnTo>
                  <a:pt x="3266" y="336"/>
                </a:lnTo>
                <a:lnTo>
                  <a:pt x="3266" y="346"/>
                </a:lnTo>
                <a:lnTo>
                  <a:pt x="3265" y="350"/>
                </a:lnTo>
                <a:lnTo>
                  <a:pt x="3264" y="354"/>
                </a:lnTo>
                <a:lnTo>
                  <a:pt x="3260" y="358"/>
                </a:lnTo>
                <a:lnTo>
                  <a:pt x="3256" y="362"/>
                </a:lnTo>
                <a:lnTo>
                  <a:pt x="3243" y="371"/>
                </a:lnTo>
                <a:lnTo>
                  <a:pt x="3227" y="381"/>
                </a:lnTo>
                <a:lnTo>
                  <a:pt x="3220" y="386"/>
                </a:lnTo>
                <a:lnTo>
                  <a:pt x="3214" y="391"/>
                </a:lnTo>
                <a:lnTo>
                  <a:pt x="3211" y="394"/>
                </a:lnTo>
                <a:lnTo>
                  <a:pt x="3208" y="398"/>
                </a:lnTo>
                <a:lnTo>
                  <a:pt x="3207" y="404"/>
                </a:lnTo>
                <a:lnTo>
                  <a:pt x="3205" y="410"/>
                </a:lnTo>
                <a:lnTo>
                  <a:pt x="3202" y="413"/>
                </a:lnTo>
                <a:lnTo>
                  <a:pt x="3200" y="416"/>
                </a:lnTo>
                <a:lnTo>
                  <a:pt x="3197" y="417"/>
                </a:lnTo>
                <a:lnTo>
                  <a:pt x="3196" y="417"/>
                </a:lnTo>
                <a:lnTo>
                  <a:pt x="3194" y="417"/>
                </a:lnTo>
                <a:lnTo>
                  <a:pt x="3192" y="415"/>
                </a:lnTo>
                <a:lnTo>
                  <a:pt x="3189" y="412"/>
                </a:lnTo>
                <a:lnTo>
                  <a:pt x="3187" y="409"/>
                </a:lnTo>
                <a:lnTo>
                  <a:pt x="3183" y="401"/>
                </a:lnTo>
                <a:lnTo>
                  <a:pt x="3178" y="393"/>
                </a:lnTo>
                <a:lnTo>
                  <a:pt x="3174" y="386"/>
                </a:lnTo>
                <a:lnTo>
                  <a:pt x="3165" y="380"/>
                </a:lnTo>
                <a:lnTo>
                  <a:pt x="3156" y="374"/>
                </a:lnTo>
                <a:lnTo>
                  <a:pt x="3146" y="368"/>
                </a:lnTo>
                <a:lnTo>
                  <a:pt x="3137" y="361"/>
                </a:lnTo>
                <a:lnTo>
                  <a:pt x="3127" y="354"/>
                </a:lnTo>
                <a:lnTo>
                  <a:pt x="3118" y="346"/>
                </a:lnTo>
                <a:lnTo>
                  <a:pt x="3107" y="338"/>
                </a:lnTo>
                <a:lnTo>
                  <a:pt x="3101" y="336"/>
                </a:lnTo>
                <a:lnTo>
                  <a:pt x="3095" y="334"/>
                </a:lnTo>
                <a:lnTo>
                  <a:pt x="3090" y="331"/>
                </a:lnTo>
                <a:lnTo>
                  <a:pt x="3086" y="331"/>
                </a:lnTo>
                <a:lnTo>
                  <a:pt x="3081" y="330"/>
                </a:lnTo>
                <a:lnTo>
                  <a:pt x="3079" y="330"/>
                </a:lnTo>
                <a:lnTo>
                  <a:pt x="3076" y="329"/>
                </a:lnTo>
                <a:lnTo>
                  <a:pt x="3074" y="328"/>
                </a:lnTo>
                <a:lnTo>
                  <a:pt x="3073" y="323"/>
                </a:lnTo>
                <a:lnTo>
                  <a:pt x="3073" y="316"/>
                </a:lnTo>
                <a:lnTo>
                  <a:pt x="3071" y="311"/>
                </a:lnTo>
                <a:lnTo>
                  <a:pt x="3069" y="308"/>
                </a:lnTo>
                <a:lnTo>
                  <a:pt x="3067" y="304"/>
                </a:lnTo>
                <a:lnTo>
                  <a:pt x="3063" y="300"/>
                </a:lnTo>
                <a:lnTo>
                  <a:pt x="3054" y="292"/>
                </a:lnTo>
                <a:lnTo>
                  <a:pt x="3044" y="284"/>
                </a:lnTo>
                <a:lnTo>
                  <a:pt x="3036" y="274"/>
                </a:lnTo>
                <a:lnTo>
                  <a:pt x="3025" y="264"/>
                </a:lnTo>
                <a:lnTo>
                  <a:pt x="3016" y="254"/>
                </a:lnTo>
                <a:lnTo>
                  <a:pt x="3007" y="246"/>
                </a:lnTo>
                <a:lnTo>
                  <a:pt x="3001" y="239"/>
                </a:lnTo>
                <a:lnTo>
                  <a:pt x="2995" y="232"/>
                </a:lnTo>
                <a:lnTo>
                  <a:pt x="2991" y="227"/>
                </a:lnTo>
                <a:lnTo>
                  <a:pt x="2985" y="224"/>
                </a:lnTo>
                <a:lnTo>
                  <a:pt x="2980" y="224"/>
                </a:lnTo>
                <a:lnTo>
                  <a:pt x="2976" y="223"/>
                </a:lnTo>
                <a:lnTo>
                  <a:pt x="2972" y="221"/>
                </a:lnTo>
                <a:lnTo>
                  <a:pt x="2967" y="214"/>
                </a:lnTo>
                <a:lnTo>
                  <a:pt x="2963" y="210"/>
                </a:lnTo>
                <a:lnTo>
                  <a:pt x="2957" y="207"/>
                </a:lnTo>
                <a:lnTo>
                  <a:pt x="2950" y="203"/>
                </a:lnTo>
                <a:lnTo>
                  <a:pt x="2943" y="199"/>
                </a:lnTo>
                <a:lnTo>
                  <a:pt x="2926" y="195"/>
                </a:lnTo>
                <a:lnTo>
                  <a:pt x="2912" y="189"/>
                </a:lnTo>
                <a:lnTo>
                  <a:pt x="2905" y="186"/>
                </a:lnTo>
                <a:lnTo>
                  <a:pt x="2898" y="185"/>
                </a:lnTo>
                <a:lnTo>
                  <a:pt x="2890" y="185"/>
                </a:lnTo>
                <a:lnTo>
                  <a:pt x="2882" y="185"/>
                </a:lnTo>
                <a:lnTo>
                  <a:pt x="2874" y="186"/>
                </a:lnTo>
                <a:lnTo>
                  <a:pt x="2867" y="189"/>
                </a:lnTo>
                <a:lnTo>
                  <a:pt x="2860" y="192"/>
                </a:lnTo>
                <a:lnTo>
                  <a:pt x="2854" y="197"/>
                </a:lnTo>
                <a:lnTo>
                  <a:pt x="2849" y="203"/>
                </a:lnTo>
                <a:lnTo>
                  <a:pt x="2844" y="209"/>
                </a:lnTo>
                <a:lnTo>
                  <a:pt x="2841" y="214"/>
                </a:lnTo>
                <a:lnTo>
                  <a:pt x="2838" y="220"/>
                </a:lnTo>
                <a:lnTo>
                  <a:pt x="2837" y="226"/>
                </a:lnTo>
                <a:lnTo>
                  <a:pt x="2837" y="232"/>
                </a:lnTo>
                <a:lnTo>
                  <a:pt x="2838" y="236"/>
                </a:lnTo>
                <a:lnTo>
                  <a:pt x="2840" y="242"/>
                </a:lnTo>
                <a:lnTo>
                  <a:pt x="2842" y="248"/>
                </a:lnTo>
                <a:lnTo>
                  <a:pt x="2844" y="255"/>
                </a:lnTo>
                <a:lnTo>
                  <a:pt x="2846" y="264"/>
                </a:lnTo>
                <a:lnTo>
                  <a:pt x="2846" y="272"/>
                </a:lnTo>
                <a:lnTo>
                  <a:pt x="2846" y="280"/>
                </a:lnTo>
                <a:lnTo>
                  <a:pt x="2844" y="287"/>
                </a:lnTo>
                <a:lnTo>
                  <a:pt x="2843" y="295"/>
                </a:lnTo>
                <a:lnTo>
                  <a:pt x="2841" y="302"/>
                </a:lnTo>
                <a:lnTo>
                  <a:pt x="2838" y="308"/>
                </a:lnTo>
                <a:lnTo>
                  <a:pt x="2836" y="316"/>
                </a:lnTo>
                <a:lnTo>
                  <a:pt x="2835" y="324"/>
                </a:lnTo>
                <a:lnTo>
                  <a:pt x="2835" y="335"/>
                </a:lnTo>
                <a:lnTo>
                  <a:pt x="2835" y="355"/>
                </a:lnTo>
                <a:lnTo>
                  <a:pt x="2836" y="375"/>
                </a:lnTo>
                <a:lnTo>
                  <a:pt x="2837" y="391"/>
                </a:lnTo>
                <a:lnTo>
                  <a:pt x="2840" y="404"/>
                </a:lnTo>
                <a:lnTo>
                  <a:pt x="2843" y="415"/>
                </a:lnTo>
                <a:lnTo>
                  <a:pt x="2847" y="422"/>
                </a:lnTo>
                <a:lnTo>
                  <a:pt x="2848" y="436"/>
                </a:lnTo>
                <a:lnTo>
                  <a:pt x="2847" y="449"/>
                </a:lnTo>
                <a:lnTo>
                  <a:pt x="2846" y="454"/>
                </a:lnTo>
                <a:lnTo>
                  <a:pt x="2843" y="460"/>
                </a:lnTo>
                <a:lnTo>
                  <a:pt x="2840" y="464"/>
                </a:lnTo>
                <a:lnTo>
                  <a:pt x="2834" y="469"/>
                </a:lnTo>
                <a:lnTo>
                  <a:pt x="2827" y="472"/>
                </a:lnTo>
                <a:lnTo>
                  <a:pt x="2819" y="472"/>
                </a:lnTo>
                <a:lnTo>
                  <a:pt x="2815" y="472"/>
                </a:lnTo>
                <a:lnTo>
                  <a:pt x="2810" y="470"/>
                </a:lnTo>
                <a:lnTo>
                  <a:pt x="2806" y="468"/>
                </a:lnTo>
                <a:lnTo>
                  <a:pt x="2802" y="466"/>
                </a:lnTo>
                <a:lnTo>
                  <a:pt x="2787" y="457"/>
                </a:lnTo>
                <a:lnTo>
                  <a:pt x="2775" y="453"/>
                </a:lnTo>
                <a:lnTo>
                  <a:pt x="2764" y="448"/>
                </a:lnTo>
                <a:lnTo>
                  <a:pt x="2753" y="444"/>
                </a:lnTo>
                <a:lnTo>
                  <a:pt x="2750" y="444"/>
                </a:lnTo>
                <a:lnTo>
                  <a:pt x="2748" y="444"/>
                </a:lnTo>
                <a:lnTo>
                  <a:pt x="2747" y="445"/>
                </a:lnTo>
                <a:lnTo>
                  <a:pt x="2746" y="448"/>
                </a:lnTo>
                <a:lnTo>
                  <a:pt x="2743" y="454"/>
                </a:lnTo>
                <a:lnTo>
                  <a:pt x="2741" y="462"/>
                </a:lnTo>
                <a:lnTo>
                  <a:pt x="2740" y="469"/>
                </a:lnTo>
                <a:lnTo>
                  <a:pt x="2739" y="476"/>
                </a:lnTo>
                <a:lnTo>
                  <a:pt x="2737" y="482"/>
                </a:lnTo>
                <a:lnTo>
                  <a:pt x="2735" y="486"/>
                </a:lnTo>
                <a:lnTo>
                  <a:pt x="2728" y="487"/>
                </a:lnTo>
                <a:lnTo>
                  <a:pt x="2720" y="489"/>
                </a:lnTo>
                <a:lnTo>
                  <a:pt x="2716" y="491"/>
                </a:lnTo>
                <a:lnTo>
                  <a:pt x="2712" y="493"/>
                </a:lnTo>
                <a:lnTo>
                  <a:pt x="2710" y="495"/>
                </a:lnTo>
                <a:lnTo>
                  <a:pt x="2709" y="499"/>
                </a:lnTo>
                <a:lnTo>
                  <a:pt x="2710" y="510"/>
                </a:lnTo>
                <a:lnTo>
                  <a:pt x="2712" y="519"/>
                </a:lnTo>
                <a:lnTo>
                  <a:pt x="2714" y="524"/>
                </a:lnTo>
                <a:lnTo>
                  <a:pt x="2714" y="527"/>
                </a:lnTo>
                <a:lnTo>
                  <a:pt x="2712" y="531"/>
                </a:lnTo>
                <a:lnTo>
                  <a:pt x="2710" y="533"/>
                </a:lnTo>
                <a:lnTo>
                  <a:pt x="2705" y="536"/>
                </a:lnTo>
                <a:lnTo>
                  <a:pt x="2703" y="538"/>
                </a:lnTo>
                <a:lnTo>
                  <a:pt x="2701" y="543"/>
                </a:lnTo>
                <a:lnTo>
                  <a:pt x="2698" y="548"/>
                </a:lnTo>
                <a:lnTo>
                  <a:pt x="2696" y="561"/>
                </a:lnTo>
                <a:lnTo>
                  <a:pt x="2693" y="574"/>
                </a:lnTo>
                <a:lnTo>
                  <a:pt x="2692" y="587"/>
                </a:lnTo>
                <a:lnTo>
                  <a:pt x="2690" y="599"/>
                </a:lnTo>
                <a:lnTo>
                  <a:pt x="2689" y="604"/>
                </a:lnTo>
                <a:lnTo>
                  <a:pt x="2686" y="607"/>
                </a:lnTo>
                <a:lnTo>
                  <a:pt x="2685" y="611"/>
                </a:lnTo>
                <a:lnTo>
                  <a:pt x="2683" y="612"/>
                </a:lnTo>
                <a:lnTo>
                  <a:pt x="2677" y="612"/>
                </a:lnTo>
                <a:lnTo>
                  <a:pt x="2672" y="612"/>
                </a:lnTo>
                <a:lnTo>
                  <a:pt x="2668" y="609"/>
                </a:lnTo>
                <a:lnTo>
                  <a:pt x="2665" y="608"/>
                </a:lnTo>
                <a:lnTo>
                  <a:pt x="2658" y="602"/>
                </a:lnTo>
                <a:lnTo>
                  <a:pt x="2651" y="596"/>
                </a:lnTo>
                <a:lnTo>
                  <a:pt x="2642" y="592"/>
                </a:lnTo>
                <a:lnTo>
                  <a:pt x="2633" y="587"/>
                </a:lnTo>
                <a:lnTo>
                  <a:pt x="2623" y="582"/>
                </a:lnTo>
                <a:lnTo>
                  <a:pt x="2614" y="580"/>
                </a:lnTo>
                <a:lnTo>
                  <a:pt x="2609" y="580"/>
                </a:lnTo>
                <a:lnTo>
                  <a:pt x="2605" y="581"/>
                </a:lnTo>
                <a:lnTo>
                  <a:pt x="2601" y="585"/>
                </a:lnTo>
                <a:lnTo>
                  <a:pt x="2597" y="588"/>
                </a:lnTo>
                <a:lnTo>
                  <a:pt x="2589" y="598"/>
                </a:lnTo>
                <a:lnTo>
                  <a:pt x="2579" y="608"/>
                </a:lnTo>
                <a:lnTo>
                  <a:pt x="2572" y="613"/>
                </a:lnTo>
                <a:lnTo>
                  <a:pt x="2566" y="615"/>
                </a:lnTo>
                <a:lnTo>
                  <a:pt x="2560" y="617"/>
                </a:lnTo>
                <a:lnTo>
                  <a:pt x="2556" y="617"/>
                </a:lnTo>
                <a:lnTo>
                  <a:pt x="2551" y="617"/>
                </a:lnTo>
                <a:lnTo>
                  <a:pt x="2548" y="615"/>
                </a:lnTo>
                <a:lnTo>
                  <a:pt x="2546" y="613"/>
                </a:lnTo>
                <a:lnTo>
                  <a:pt x="2544" y="611"/>
                </a:lnTo>
                <a:lnTo>
                  <a:pt x="2540" y="607"/>
                </a:lnTo>
                <a:lnTo>
                  <a:pt x="2535" y="604"/>
                </a:lnTo>
                <a:lnTo>
                  <a:pt x="2529" y="601"/>
                </a:lnTo>
                <a:lnTo>
                  <a:pt x="2521" y="598"/>
                </a:lnTo>
                <a:lnTo>
                  <a:pt x="2506" y="592"/>
                </a:lnTo>
                <a:lnTo>
                  <a:pt x="2494" y="586"/>
                </a:lnTo>
                <a:lnTo>
                  <a:pt x="2483" y="580"/>
                </a:lnTo>
                <a:lnTo>
                  <a:pt x="2474" y="573"/>
                </a:lnTo>
                <a:lnTo>
                  <a:pt x="2469" y="569"/>
                </a:lnTo>
                <a:lnTo>
                  <a:pt x="2464" y="564"/>
                </a:lnTo>
                <a:lnTo>
                  <a:pt x="2460" y="558"/>
                </a:lnTo>
                <a:lnTo>
                  <a:pt x="2457" y="551"/>
                </a:lnTo>
                <a:lnTo>
                  <a:pt x="2451" y="538"/>
                </a:lnTo>
                <a:lnTo>
                  <a:pt x="2445" y="526"/>
                </a:lnTo>
                <a:lnTo>
                  <a:pt x="2439" y="517"/>
                </a:lnTo>
                <a:lnTo>
                  <a:pt x="2432" y="507"/>
                </a:lnTo>
                <a:lnTo>
                  <a:pt x="2422" y="500"/>
                </a:lnTo>
                <a:lnTo>
                  <a:pt x="2413" y="494"/>
                </a:lnTo>
                <a:lnTo>
                  <a:pt x="2408" y="491"/>
                </a:lnTo>
                <a:lnTo>
                  <a:pt x="2403" y="489"/>
                </a:lnTo>
                <a:lnTo>
                  <a:pt x="2401" y="488"/>
                </a:lnTo>
                <a:lnTo>
                  <a:pt x="2397" y="488"/>
                </a:lnTo>
                <a:lnTo>
                  <a:pt x="2390" y="491"/>
                </a:lnTo>
                <a:lnTo>
                  <a:pt x="2381" y="495"/>
                </a:lnTo>
                <a:lnTo>
                  <a:pt x="2368" y="505"/>
                </a:lnTo>
                <a:lnTo>
                  <a:pt x="2351" y="516"/>
                </a:lnTo>
                <a:lnTo>
                  <a:pt x="2342" y="520"/>
                </a:lnTo>
                <a:lnTo>
                  <a:pt x="2331" y="524"/>
                </a:lnTo>
                <a:lnTo>
                  <a:pt x="2326" y="525"/>
                </a:lnTo>
                <a:lnTo>
                  <a:pt x="2321" y="525"/>
                </a:lnTo>
                <a:lnTo>
                  <a:pt x="2315" y="524"/>
                </a:lnTo>
                <a:lnTo>
                  <a:pt x="2311" y="523"/>
                </a:lnTo>
                <a:lnTo>
                  <a:pt x="2300" y="518"/>
                </a:lnTo>
                <a:lnTo>
                  <a:pt x="2290" y="513"/>
                </a:lnTo>
                <a:lnTo>
                  <a:pt x="2282" y="511"/>
                </a:lnTo>
                <a:lnTo>
                  <a:pt x="2273" y="508"/>
                </a:lnTo>
                <a:lnTo>
                  <a:pt x="2264" y="508"/>
                </a:lnTo>
                <a:lnTo>
                  <a:pt x="2258" y="510"/>
                </a:lnTo>
                <a:lnTo>
                  <a:pt x="2252" y="512"/>
                </a:lnTo>
                <a:lnTo>
                  <a:pt x="2249" y="514"/>
                </a:lnTo>
                <a:lnTo>
                  <a:pt x="2246" y="514"/>
                </a:lnTo>
                <a:lnTo>
                  <a:pt x="2244" y="513"/>
                </a:lnTo>
                <a:lnTo>
                  <a:pt x="2242" y="512"/>
                </a:lnTo>
                <a:lnTo>
                  <a:pt x="2241" y="508"/>
                </a:lnTo>
                <a:lnTo>
                  <a:pt x="2236" y="501"/>
                </a:lnTo>
                <a:lnTo>
                  <a:pt x="2232" y="492"/>
                </a:lnTo>
                <a:lnTo>
                  <a:pt x="2229" y="482"/>
                </a:lnTo>
                <a:lnTo>
                  <a:pt x="2224" y="473"/>
                </a:lnTo>
                <a:lnTo>
                  <a:pt x="2220" y="464"/>
                </a:lnTo>
                <a:lnTo>
                  <a:pt x="2214" y="461"/>
                </a:lnTo>
                <a:lnTo>
                  <a:pt x="2201" y="455"/>
                </a:lnTo>
                <a:lnTo>
                  <a:pt x="2183" y="449"/>
                </a:lnTo>
                <a:lnTo>
                  <a:pt x="2167" y="443"/>
                </a:lnTo>
                <a:lnTo>
                  <a:pt x="2154" y="437"/>
                </a:lnTo>
                <a:lnTo>
                  <a:pt x="2148" y="436"/>
                </a:lnTo>
                <a:lnTo>
                  <a:pt x="2143" y="437"/>
                </a:lnTo>
                <a:lnTo>
                  <a:pt x="2137" y="438"/>
                </a:lnTo>
                <a:lnTo>
                  <a:pt x="2132" y="442"/>
                </a:lnTo>
                <a:lnTo>
                  <a:pt x="2126" y="445"/>
                </a:lnTo>
                <a:lnTo>
                  <a:pt x="2120" y="448"/>
                </a:lnTo>
                <a:lnTo>
                  <a:pt x="2116" y="450"/>
                </a:lnTo>
                <a:lnTo>
                  <a:pt x="2110" y="450"/>
                </a:lnTo>
                <a:lnTo>
                  <a:pt x="2093" y="449"/>
                </a:lnTo>
                <a:lnTo>
                  <a:pt x="2067" y="449"/>
                </a:lnTo>
                <a:lnTo>
                  <a:pt x="2053" y="448"/>
                </a:lnTo>
                <a:lnTo>
                  <a:pt x="2040" y="448"/>
                </a:lnTo>
                <a:lnTo>
                  <a:pt x="2027" y="445"/>
                </a:lnTo>
                <a:lnTo>
                  <a:pt x="2016" y="443"/>
                </a:lnTo>
                <a:lnTo>
                  <a:pt x="2011" y="441"/>
                </a:lnTo>
                <a:lnTo>
                  <a:pt x="2008" y="437"/>
                </a:lnTo>
                <a:lnTo>
                  <a:pt x="2005" y="434"/>
                </a:lnTo>
                <a:lnTo>
                  <a:pt x="2003" y="429"/>
                </a:lnTo>
                <a:lnTo>
                  <a:pt x="1999" y="418"/>
                </a:lnTo>
                <a:lnTo>
                  <a:pt x="1997" y="406"/>
                </a:lnTo>
                <a:lnTo>
                  <a:pt x="1994" y="380"/>
                </a:lnTo>
                <a:lnTo>
                  <a:pt x="1992" y="358"/>
                </a:lnTo>
                <a:lnTo>
                  <a:pt x="1989" y="349"/>
                </a:lnTo>
                <a:lnTo>
                  <a:pt x="1985" y="340"/>
                </a:lnTo>
                <a:lnTo>
                  <a:pt x="1983" y="316"/>
                </a:lnTo>
                <a:lnTo>
                  <a:pt x="1981" y="293"/>
                </a:lnTo>
                <a:lnTo>
                  <a:pt x="1980" y="283"/>
                </a:lnTo>
                <a:lnTo>
                  <a:pt x="1978" y="273"/>
                </a:lnTo>
                <a:lnTo>
                  <a:pt x="1977" y="266"/>
                </a:lnTo>
                <a:lnTo>
                  <a:pt x="1973" y="261"/>
                </a:lnTo>
                <a:lnTo>
                  <a:pt x="1969" y="260"/>
                </a:lnTo>
                <a:lnTo>
                  <a:pt x="1965" y="259"/>
                </a:lnTo>
                <a:lnTo>
                  <a:pt x="1958" y="258"/>
                </a:lnTo>
                <a:lnTo>
                  <a:pt x="1948" y="258"/>
                </a:lnTo>
                <a:lnTo>
                  <a:pt x="1928" y="258"/>
                </a:lnTo>
                <a:lnTo>
                  <a:pt x="1904" y="259"/>
                </a:lnTo>
                <a:lnTo>
                  <a:pt x="1879" y="261"/>
                </a:lnTo>
                <a:lnTo>
                  <a:pt x="1855" y="262"/>
                </a:lnTo>
                <a:lnTo>
                  <a:pt x="1836" y="262"/>
                </a:lnTo>
                <a:lnTo>
                  <a:pt x="1822" y="260"/>
                </a:lnTo>
                <a:lnTo>
                  <a:pt x="1813" y="258"/>
                </a:lnTo>
                <a:lnTo>
                  <a:pt x="1804" y="254"/>
                </a:lnTo>
                <a:lnTo>
                  <a:pt x="1797" y="251"/>
                </a:lnTo>
                <a:lnTo>
                  <a:pt x="1790" y="246"/>
                </a:lnTo>
                <a:lnTo>
                  <a:pt x="1785" y="240"/>
                </a:lnTo>
                <a:lnTo>
                  <a:pt x="1780" y="233"/>
                </a:lnTo>
                <a:lnTo>
                  <a:pt x="1777" y="224"/>
                </a:lnTo>
                <a:lnTo>
                  <a:pt x="1775" y="215"/>
                </a:lnTo>
                <a:lnTo>
                  <a:pt x="1773" y="210"/>
                </a:lnTo>
                <a:lnTo>
                  <a:pt x="1773" y="208"/>
                </a:lnTo>
                <a:lnTo>
                  <a:pt x="1775" y="205"/>
                </a:lnTo>
                <a:lnTo>
                  <a:pt x="1776" y="203"/>
                </a:lnTo>
                <a:lnTo>
                  <a:pt x="1779" y="202"/>
                </a:lnTo>
                <a:lnTo>
                  <a:pt x="1785" y="202"/>
                </a:lnTo>
                <a:lnTo>
                  <a:pt x="1791" y="203"/>
                </a:lnTo>
                <a:lnTo>
                  <a:pt x="1798" y="204"/>
                </a:lnTo>
                <a:lnTo>
                  <a:pt x="1802" y="204"/>
                </a:lnTo>
                <a:lnTo>
                  <a:pt x="1804" y="203"/>
                </a:lnTo>
                <a:lnTo>
                  <a:pt x="1808" y="203"/>
                </a:lnTo>
                <a:lnTo>
                  <a:pt x="1810" y="201"/>
                </a:lnTo>
                <a:lnTo>
                  <a:pt x="1817" y="193"/>
                </a:lnTo>
                <a:lnTo>
                  <a:pt x="1820" y="189"/>
                </a:lnTo>
                <a:lnTo>
                  <a:pt x="1821" y="185"/>
                </a:lnTo>
                <a:lnTo>
                  <a:pt x="1820" y="183"/>
                </a:lnTo>
                <a:lnTo>
                  <a:pt x="1820" y="180"/>
                </a:lnTo>
                <a:lnTo>
                  <a:pt x="1816" y="176"/>
                </a:lnTo>
                <a:lnTo>
                  <a:pt x="1809" y="171"/>
                </a:lnTo>
                <a:lnTo>
                  <a:pt x="1794" y="163"/>
                </a:lnTo>
                <a:lnTo>
                  <a:pt x="1777" y="153"/>
                </a:lnTo>
                <a:lnTo>
                  <a:pt x="1760" y="146"/>
                </a:lnTo>
                <a:lnTo>
                  <a:pt x="1752" y="144"/>
                </a:lnTo>
                <a:lnTo>
                  <a:pt x="1741" y="142"/>
                </a:lnTo>
                <a:lnTo>
                  <a:pt x="1728" y="140"/>
                </a:lnTo>
                <a:lnTo>
                  <a:pt x="1714" y="140"/>
                </a:lnTo>
                <a:lnTo>
                  <a:pt x="1697" y="139"/>
                </a:lnTo>
                <a:lnTo>
                  <a:pt x="1681" y="136"/>
                </a:lnTo>
                <a:lnTo>
                  <a:pt x="1664" y="133"/>
                </a:lnTo>
                <a:lnTo>
                  <a:pt x="1650" y="129"/>
                </a:lnTo>
                <a:lnTo>
                  <a:pt x="1635" y="127"/>
                </a:lnTo>
                <a:lnTo>
                  <a:pt x="1624" y="125"/>
                </a:lnTo>
                <a:lnTo>
                  <a:pt x="1614" y="125"/>
                </a:lnTo>
                <a:lnTo>
                  <a:pt x="1608" y="126"/>
                </a:lnTo>
                <a:lnTo>
                  <a:pt x="1606" y="127"/>
                </a:lnTo>
                <a:lnTo>
                  <a:pt x="1603" y="125"/>
                </a:lnTo>
                <a:lnTo>
                  <a:pt x="1602" y="121"/>
                </a:lnTo>
                <a:lnTo>
                  <a:pt x="1602" y="116"/>
                </a:lnTo>
                <a:lnTo>
                  <a:pt x="1603" y="102"/>
                </a:lnTo>
                <a:lnTo>
                  <a:pt x="1605" y="84"/>
                </a:lnTo>
                <a:lnTo>
                  <a:pt x="1607" y="66"/>
                </a:lnTo>
                <a:lnTo>
                  <a:pt x="1607" y="48"/>
                </a:lnTo>
                <a:lnTo>
                  <a:pt x="1607" y="41"/>
                </a:lnTo>
                <a:lnTo>
                  <a:pt x="1607" y="34"/>
                </a:lnTo>
                <a:lnTo>
                  <a:pt x="1606" y="29"/>
                </a:lnTo>
                <a:lnTo>
                  <a:pt x="1605" y="25"/>
                </a:lnTo>
                <a:lnTo>
                  <a:pt x="1600" y="19"/>
                </a:lnTo>
                <a:lnTo>
                  <a:pt x="1594" y="15"/>
                </a:lnTo>
                <a:lnTo>
                  <a:pt x="1589" y="12"/>
                </a:lnTo>
                <a:lnTo>
                  <a:pt x="1583" y="9"/>
                </a:lnTo>
                <a:lnTo>
                  <a:pt x="1572" y="8"/>
                </a:lnTo>
                <a:lnTo>
                  <a:pt x="1561" y="8"/>
                </a:lnTo>
                <a:lnTo>
                  <a:pt x="1556" y="8"/>
                </a:lnTo>
                <a:lnTo>
                  <a:pt x="1550" y="7"/>
                </a:lnTo>
                <a:lnTo>
                  <a:pt x="1545" y="6"/>
                </a:lnTo>
                <a:lnTo>
                  <a:pt x="1540" y="5"/>
                </a:lnTo>
                <a:lnTo>
                  <a:pt x="1534" y="2"/>
                </a:lnTo>
                <a:lnTo>
                  <a:pt x="1528" y="2"/>
                </a:lnTo>
                <a:lnTo>
                  <a:pt x="1521" y="1"/>
                </a:lnTo>
                <a:lnTo>
                  <a:pt x="1515" y="2"/>
                </a:lnTo>
                <a:lnTo>
                  <a:pt x="1494" y="2"/>
                </a:lnTo>
                <a:lnTo>
                  <a:pt x="1469" y="1"/>
                </a:lnTo>
                <a:lnTo>
                  <a:pt x="1442" y="1"/>
                </a:lnTo>
                <a:lnTo>
                  <a:pt x="1417" y="0"/>
                </a:lnTo>
                <a:lnTo>
                  <a:pt x="1406" y="0"/>
                </a:lnTo>
                <a:lnTo>
                  <a:pt x="1399" y="2"/>
                </a:lnTo>
                <a:lnTo>
                  <a:pt x="1393" y="3"/>
                </a:lnTo>
                <a:lnTo>
                  <a:pt x="1389" y="6"/>
                </a:lnTo>
                <a:lnTo>
                  <a:pt x="1386" y="9"/>
                </a:lnTo>
                <a:lnTo>
                  <a:pt x="1382" y="10"/>
                </a:lnTo>
                <a:lnTo>
                  <a:pt x="1379" y="13"/>
                </a:lnTo>
                <a:lnTo>
                  <a:pt x="1374" y="13"/>
                </a:lnTo>
                <a:lnTo>
                  <a:pt x="1368" y="13"/>
                </a:lnTo>
                <a:lnTo>
                  <a:pt x="1363" y="13"/>
                </a:lnTo>
                <a:lnTo>
                  <a:pt x="1360" y="15"/>
                </a:lnTo>
                <a:lnTo>
                  <a:pt x="1356" y="18"/>
                </a:lnTo>
                <a:lnTo>
                  <a:pt x="1350" y="22"/>
                </a:lnTo>
                <a:lnTo>
                  <a:pt x="1345" y="28"/>
                </a:lnTo>
                <a:lnTo>
                  <a:pt x="1343" y="32"/>
                </a:lnTo>
                <a:lnTo>
                  <a:pt x="1341" y="33"/>
                </a:lnTo>
                <a:lnTo>
                  <a:pt x="1337" y="34"/>
                </a:lnTo>
                <a:lnTo>
                  <a:pt x="1334" y="34"/>
                </a:lnTo>
                <a:lnTo>
                  <a:pt x="1325" y="32"/>
                </a:lnTo>
                <a:lnTo>
                  <a:pt x="1317" y="29"/>
                </a:lnTo>
                <a:lnTo>
                  <a:pt x="1312" y="28"/>
                </a:lnTo>
                <a:lnTo>
                  <a:pt x="1307" y="28"/>
                </a:lnTo>
                <a:lnTo>
                  <a:pt x="1303" y="28"/>
                </a:lnTo>
                <a:lnTo>
                  <a:pt x="1297" y="28"/>
                </a:lnTo>
                <a:lnTo>
                  <a:pt x="1285" y="31"/>
                </a:lnTo>
                <a:lnTo>
                  <a:pt x="1273" y="35"/>
                </a:lnTo>
                <a:lnTo>
                  <a:pt x="1262" y="40"/>
                </a:lnTo>
                <a:lnTo>
                  <a:pt x="1254" y="41"/>
                </a:lnTo>
                <a:lnTo>
                  <a:pt x="1244" y="43"/>
                </a:lnTo>
                <a:lnTo>
                  <a:pt x="1232" y="43"/>
                </a:lnTo>
                <a:lnTo>
                  <a:pt x="1219" y="44"/>
                </a:lnTo>
                <a:lnTo>
                  <a:pt x="1209" y="45"/>
                </a:lnTo>
                <a:lnTo>
                  <a:pt x="1198" y="50"/>
                </a:lnTo>
                <a:lnTo>
                  <a:pt x="1187" y="56"/>
                </a:lnTo>
                <a:lnTo>
                  <a:pt x="1180" y="59"/>
                </a:lnTo>
                <a:lnTo>
                  <a:pt x="1172" y="63"/>
                </a:lnTo>
                <a:lnTo>
                  <a:pt x="1164" y="66"/>
                </a:lnTo>
                <a:lnTo>
                  <a:pt x="1154" y="68"/>
                </a:lnTo>
                <a:lnTo>
                  <a:pt x="1144" y="70"/>
                </a:lnTo>
                <a:lnTo>
                  <a:pt x="1135" y="71"/>
                </a:lnTo>
                <a:lnTo>
                  <a:pt x="1127" y="71"/>
                </a:lnTo>
                <a:lnTo>
                  <a:pt x="1120" y="71"/>
                </a:lnTo>
                <a:lnTo>
                  <a:pt x="1103" y="69"/>
                </a:lnTo>
                <a:lnTo>
                  <a:pt x="1084" y="65"/>
                </a:lnTo>
                <a:lnTo>
                  <a:pt x="1073" y="64"/>
                </a:lnTo>
                <a:lnTo>
                  <a:pt x="1062" y="64"/>
                </a:lnTo>
                <a:lnTo>
                  <a:pt x="1052" y="64"/>
                </a:lnTo>
                <a:lnTo>
                  <a:pt x="1040" y="64"/>
                </a:lnTo>
                <a:lnTo>
                  <a:pt x="1029" y="66"/>
                </a:lnTo>
                <a:lnTo>
                  <a:pt x="1017" y="69"/>
                </a:lnTo>
                <a:lnTo>
                  <a:pt x="1007" y="72"/>
                </a:lnTo>
                <a:lnTo>
                  <a:pt x="995" y="77"/>
                </a:lnTo>
                <a:lnTo>
                  <a:pt x="976" y="84"/>
                </a:lnTo>
                <a:lnTo>
                  <a:pt x="963" y="88"/>
                </a:lnTo>
                <a:lnTo>
                  <a:pt x="948" y="90"/>
                </a:lnTo>
                <a:lnTo>
                  <a:pt x="927" y="91"/>
                </a:lnTo>
                <a:lnTo>
                  <a:pt x="901" y="92"/>
                </a:lnTo>
                <a:lnTo>
                  <a:pt x="875" y="94"/>
                </a:lnTo>
                <a:lnTo>
                  <a:pt x="851" y="95"/>
                </a:lnTo>
                <a:lnTo>
                  <a:pt x="826" y="94"/>
                </a:lnTo>
                <a:lnTo>
                  <a:pt x="802" y="92"/>
                </a:lnTo>
                <a:lnTo>
                  <a:pt x="782" y="90"/>
                </a:lnTo>
                <a:lnTo>
                  <a:pt x="774" y="90"/>
                </a:lnTo>
                <a:lnTo>
                  <a:pt x="764" y="91"/>
                </a:lnTo>
                <a:lnTo>
                  <a:pt x="755" y="94"/>
                </a:lnTo>
                <a:lnTo>
                  <a:pt x="745" y="97"/>
                </a:lnTo>
                <a:lnTo>
                  <a:pt x="726" y="107"/>
                </a:lnTo>
                <a:lnTo>
                  <a:pt x="705" y="119"/>
                </a:lnTo>
                <a:lnTo>
                  <a:pt x="683" y="130"/>
                </a:lnTo>
                <a:lnTo>
                  <a:pt x="665" y="138"/>
                </a:lnTo>
                <a:lnTo>
                  <a:pt x="649" y="144"/>
                </a:lnTo>
                <a:lnTo>
                  <a:pt x="633" y="146"/>
                </a:lnTo>
                <a:lnTo>
                  <a:pt x="625" y="147"/>
                </a:lnTo>
                <a:lnTo>
                  <a:pt x="618" y="146"/>
                </a:lnTo>
                <a:lnTo>
                  <a:pt x="611" y="145"/>
                </a:lnTo>
                <a:lnTo>
                  <a:pt x="604" y="142"/>
                </a:lnTo>
                <a:lnTo>
                  <a:pt x="598" y="141"/>
                </a:lnTo>
                <a:lnTo>
                  <a:pt x="592" y="140"/>
                </a:lnTo>
                <a:lnTo>
                  <a:pt x="586" y="140"/>
                </a:lnTo>
                <a:lnTo>
                  <a:pt x="580" y="141"/>
                </a:lnTo>
                <a:lnTo>
                  <a:pt x="569" y="146"/>
                </a:lnTo>
                <a:lnTo>
                  <a:pt x="560" y="151"/>
                </a:lnTo>
                <a:lnTo>
                  <a:pt x="554" y="157"/>
                </a:lnTo>
                <a:lnTo>
                  <a:pt x="549" y="164"/>
                </a:lnTo>
                <a:lnTo>
                  <a:pt x="547" y="170"/>
                </a:lnTo>
                <a:lnTo>
                  <a:pt x="545" y="177"/>
                </a:lnTo>
                <a:lnTo>
                  <a:pt x="545" y="184"/>
                </a:lnTo>
                <a:lnTo>
                  <a:pt x="547" y="191"/>
                </a:lnTo>
                <a:lnTo>
                  <a:pt x="549" y="198"/>
                </a:lnTo>
                <a:lnTo>
                  <a:pt x="553" y="204"/>
                </a:lnTo>
                <a:lnTo>
                  <a:pt x="556" y="210"/>
                </a:lnTo>
                <a:lnTo>
                  <a:pt x="560" y="216"/>
                </a:lnTo>
                <a:lnTo>
                  <a:pt x="563" y="220"/>
                </a:lnTo>
                <a:lnTo>
                  <a:pt x="567" y="223"/>
                </a:lnTo>
                <a:lnTo>
                  <a:pt x="569" y="224"/>
                </a:lnTo>
                <a:lnTo>
                  <a:pt x="572" y="226"/>
                </a:lnTo>
                <a:lnTo>
                  <a:pt x="575" y="226"/>
                </a:lnTo>
                <a:lnTo>
                  <a:pt x="579" y="228"/>
                </a:lnTo>
                <a:lnTo>
                  <a:pt x="582" y="230"/>
                </a:lnTo>
                <a:lnTo>
                  <a:pt x="586" y="235"/>
                </a:lnTo>
                <a:lnTo>
                  <a:pt x="592" y="246"/>
                </a:lnTo>
                <a:lnTo>
                  <a:pt x="598" y="259"/>
                </a:lnTo>
                <a:lnTo>
                  <a:pt x="608" y="284"/>
                </a:lnTo>
                <a:lnTo>
                  <a:pt x="616" y="302"/>
                </a:lnTo>
                <a:lnTo>
                  <a:pt x="623" y="312"/>
                </a:lnTo>
                <a:lnTo>
                  <a:pt x="629" y="328"/>
                </a:lnTo>
                <a:lnTo>
                  <a:pt x="635" y="344"/>
                </a:lnTo>
                <a:lnTo>
                  <a:pt x="636" y="358"/>
                </a:lnTo>
                <a:lnTo>
                  <a:pt x="636" y="362"/>
                </a:lnTo>
                <a:lnTo>
                  <a:pt x="633" y="366"/>
                </a:lnTo>
                <a:lnTo>
                  <a:pt x="631" y="369"/>
                </a:lnTo>
                <a:lnTo>
                  <a:pt x="627" y="371"/>
                </a:lnTo>
                <a:lnTo>
                  <a:pt x="618" y="374"/>
                </a:lnTo>
                <a:lnTo>
                  <a:pt x="607" y="377"/>
                </a:lnTo>
                <a:lnTo>
                  <a:pt x="602" y="379"/>
                </a:lnTo>
                <a:lnTo>
                  <a:pt x="599" y="381"/>
                </a:lnTo>
                <a:lnTo>
                  <a:pt x="596" y="386"/>
                </a:lnTo>
                <a:lnTo>
                  <a:pt x="594" y="392"/>
                </a:lnTo>
                <a:lnTo>
                  <a:pt x="593" y="405"/>
                </a:lnTo>
                <a:lnTo>
                  <a:pt x="593" y="421"/>
                </a:lnTo>
                <a:lnTo>
                  <a:pt x="593" y="428"/>
                </a:lnTo>
                <a:lnTo>
                  <a:pt x="595" y="435"/>
                </a:lnTo>
                <a:lnTo>
                  <a:pt x="599" y="442"/>
                </a:lnTo>
                <a:lnTo>
                  <a:pt x="604" y="448"/>
                </a:lnTo>
                <a:lnTo>
                  <a:pt x="608" y="454"/>
                </a:lnTo>
                <a:lnTo>
                  <a:pt x="614" y="460"/>
                </a:lnTo>
                <a:lnTo>
                  <a:pt x="620" y="464"/>
                </a:lnTo>
                <a:lnTo>
                  <a:pt x="627" y="469"/>
                </a:lnTo>
                <a:lnTo>
                  <a:pt x="644" y="480"/>
                </a:lnTo>
                <a:lnTo>
                  <a:pt x="664" y="493"/>
                </a:lnTo>
                <a:lnTo>
                  <a:pt x="687" y="507"/>
                </a:lnTo>
                <a:lnTo>
                  <a:pt x="706" y="523"/>
                </a:lnTo>
                <a:lnTo>
                  <a:pt x="713" y="531"/>
                </a:lnTo>
                <a:lnTo>
                  <a:pt x="718" y="538"/>
                </a:lnTo>
                <a:lnTo>
                  <a:pt x="720" y="545"/>
                </a:lnTo>
                <a:lnTo>
                  <a:pt x="722" y="552"/>
                </a:lnTo>
                <a:lnTo>
                  <a:pt x="725" y="567"/>
                </a:lnTo>
                <a:lnTo>
                  <a:pt x="730" y="582"/>
                </a:lnTo>
                <a:lnTo>
                  <a:pt x="733" y="589"/>
                </a:lnTo>
                <a:lnTo>
                  <a:pt x="737" y="595"/>
                </a:lnTo>
                <a:lnTo>
                  <a:pt x="743" y="599"/>
                </a:lnTo>
                <a:lnTo>
                  <a:pt x="747" y="602"/>
                </a:lnTo>
                <a:lnTo>
                  <a:pt x="759" y="608"/>
                </a:lnTo>
                <a:lnTo>
                  <a:pt x="770" y="612"/>
                </a:lnTo>
                <a:lnTo>
                  <a:pt x="775" y="614"/>
                </a:lnTo>
                <a:lnTo>
                  <a:pt x="778" y="618"/>
                </a:lnTo>
                <a:lnTo>
                  <a:pt x="782" y="621"/>
                </a:lnTo>
                <a:lnTo>
                  <a:pt x="785" y="626"/>
                </a:lnTo>
                <a:lnTo>
                  <a:pt x="790" y="637"/>
                </a:lnTo>
                <a:lnTo>
                  <a:pt x="793" y="650"/>
                </a:lnTo>
                <a:lnTo>
                  <a:pt x="795" y="665"/>
                </a:lnTo>
                <a:lnTo>
                  <a:pt x="797" y="686"/>
                </a:lnTo>
                <a:lnTo>
                  <a:pt x="800" y="706"/>
                </a:lnTo>
                <a:lnTo>
                  <a:pt x="805" y="721"/>
                </a:lnTo>
                <a:lnTo>
                  <a:pt x="809" y="733"/>
                </a:lnTo>
                <a:lnTo>
                  <a:pt x="816" y="746"/>
                </a:lnTo>
                <a:lnTo>
                  <a:pt x="824" y="758"/>
                </a:lnTo>
                <a:lnTo>
                  <a:pt x="828" y="768"/>
                </a:lnTo>
                <a:lnTo>
                  <a:pt x="833" y="778"/>
                </a:lnTo>
                <a:lnTo>
                  <a:pt x="835" y="794"/>
                </a:lnTo>
                <a:lnTo>
                  <a:pt x="837" y="801"/>
                </a:lnTo>
                <a:lnTo>
                  <a:pt x="837" y="808"/>
                </a:lnTo>
                <a:lnTo>
                  <a:pt x="834" y="814"/>
                </a:lnTo>
                <a:lnTo>
                  <a:pt x="832" y="819"/>
                </a:lnTo>
                <a:lnTo>
                  <a:pt x="828" y="822"/>
                </a:lnTo>
                <a:lnTo>
                  <a:pt x="824" y="823"/>
                </a:lnTo>
                <a:lnTo>
                  <a:pt x="819" y="825"/>
                </a:lnTo>
                <a:lnTo>
                  <a:pt x="814" y="825"/>
                </a:lnTo>
                <a:lnTo>
                  <a:pt x="802" y="822"/>
                </a:lnTo>
                <a:lnTo>
                  <a:pt x="788" y="820"/>
                </a:lnTo>
                <a:lnTo>
                  <a:pt x="781" y="819"/>
                </a:lnTo>
                <a:lnTo>
                  <a:pt x="775" y="820"/>
                </a:lnTo>
                <a:lnTo>
                  <a:pt x="770" y="822"/>
                </a:lnTo>
                <a:lnTo>
                  <a:pt x="766" y="826"/>
                </a:lnTo>
                <a:lnTo>
                  <a:pt x="758" y="834"/>
                </a:lnTo>
                <a:lnTo>
                  <a:pt x="747" y="845"/>
                </a:lnTo>
                <a:lnTo>
                  <a:pt x="740" y="848"/>
                </a:lnTo>
                <a:lnTo>
                  <a:pt x="733" y="851"/>
                </a:lnTo>
                <a:lnTo>
                  <a:pt x="724" y="853"/>
                </a:lnTo>
                <a:lnTo>
                  <a:pt x="715" y="853"/>
                </a:lnTo>
                <a:lnTo>
                  <a:pt x="696" y="853"/>
                </a:lnTo>
                <a:lnTo>
                  <a:pt x="681" y="851"/>
                </a:lnTo>
                <a:lnTo>
                  <a:pt x="674" y="852"/>
                </a:lnTo>
                <a:lnTo>
                  <a:pt x="667" y="853"/>
                </a:lnTo>
                <a:lnTo>
                  <a:pt x="658" y="858"/>
                </a:lnTo>
                <a:lnTo>
                  <a:pt x="651" y="861"/>
                </a:lnTo>
                <a:lnTo>
                  <a:pt x="637" y="872"/>
                </a:lnTo>
                <a:lnTo>
                  <a:pt x="625" y="882"/>
                </a:lnTo>
                <a:lnTo>
                  <a:pt x="620" y="885"/>
                </a:lnTo>
                <a:lnTo>
                  <a:pt x="618" y="889"/>
                </a:lnTo>
                <a:lnTo>
                  <a:pt x="616" y="892"/>
                </a:lnTo>
                <a:lnTo>
                  <a:pt x="613" y="895"/>
                </a:lnTo>
                <a:lnTo>
                  <a:pt x="613" y="898"/>
                </a:lnTo>
                <a:lnTo>
                  <a:pt x="613" y="902"/>
                </a:lnTo>
                <a:lnTo>
                  <a:pt x="614" y="905"/>
                </a:lnTo>
                <a:lnTo>
                  <a:pt x="616" y="908"/>
                </a:lnTo>
                <a:lnTo>
                  <a:pt x="617" y="915"/>
                </a:lnTo>
                <a:lnTo>
                  <a:pt x="618" y="920"/>
                </a:lnTo>
                <a:lnTo>
                  <a:pt x="616" y="924"/>
                </a:lnTo>
                <a:lnTo>
                  <a:pt x="612" y="929"/>
                </a:lnTo>
                <a:lnTo>
                  <a:pt x="610" y="932"/>
                </a:lnTo>
                <a:lnTo>
                  <a:pt x="608" y="936"/>
                </a:lnTo>
                <a:lnTo>
                  <a:pt x="607" y="941"/>
                </a:lnTo>
                <a:lnTo>
                  <a:pt x="606" y="947"/>
                </a:lnTo>
                <a:lnTo>
                  <a:pt x="605" y="961"/>
                </a:lnTo>
                <a:lnTo>
                  <a:pt x="607" y="974"/>
                </a:lnTo>
                <a:lnTo>
                  <a:pt x="608" y="980"/>
                </a:lnTo>
                <a:lnTo>
                  <a:pt x="611" y="984"/>
                </a:lnTo>
                <a:lnTo>
                  <a:pt x="613" y="987"/>
                </a:lnTo>
                <a:lnTo>
                  <a:pt x="617" y="990"/>
                </a:lnTo>
                <a:lnTo>
                  <a:pt x="623" y="992"/>
                </a:lnTo>
                <a:lnTo>
                  <a:pt x="630" y="992"/>
                </a:lnTo>
                <a:lnTo>
                  <a:pt x="635" y="993"/>
                </a:lnTo>
                <a:lnTo>
                  <a:pt x="638" y="995"/>
                </a:lnTo>
                <a:lnTo>
                  <a:pt x="639" y="998"/>
                </a:lnTo>
                <a:lnTo>
                  <a:pt x="640" y="1004"/>
                </a:lnTo>
                <a:lnTo>
                  <a:pt x="642" y="1006"/>
                </a:lnTo>
                <a:lnTo>
                  <a:pt x="644" y="1009"/>
                </a:lnTo>
                <a:lnTo>
                  <a:pt x="648" y="1010"/>
                </a:lnTo>
                <a:lnTo>
                  <a:pt x="652" y="1011"/>
                </a:lnTo>
                <a:lnTo>
                  <a:pt x="664" y="1012"/>
                </a:lnTo>
                <a:lnTo>
                  <a:pt x="679" y="1015"/>
                </a:lnTo>
                <a:lnTo>
                  <a:pt x="686" y="1017"/>
                </a:lnTo>
                <a:lnTo>
                  <a:pt x="690" y="1021"/>
                </a:lnTo>
                <a:lnTo>
                  <a:pt x="693" y="1026"/>
                </a:lnTo>
                <a:lnTo>
                  <a:pt x="694" y="1030"/>
                </a:lnTo>
                <a:lnTo>
                  <a:pt x="695" y="1042"/>
                </a:lnTo>
                <a:lnTo>
                  <a:pt x="695" y="1054"/>
                </a:lnTo>
                <a:lnTo>
                  <a:pt x="694" y="1066"/>
                </a:lnTo>
                <a:lnTo>
                  <a:pt x="692" y="1075"/>
                </a:lnTo>
                <a:lnTo>
                  <a:pt x="688" y="1087"/>
                </a:lnTo>
                <a:lnTo>
                  <a:pt x="684" y="1099"/>
                </a:lnTo>
                <a:lnTo>
                  <a:pt x="683" y="1105"/>
                </a:lnTo>
                <a:lnTo>
                  <a:pt x="683" y="1110"/>
                </a:lnTo>
                <a:lnTo>
                  <a:pt x="684" y="1115"/>
                </a:lnTo>
                <a:lnTo>
                  <a:pt x="686" y="1117"/>
                </a:lnTo>
                <a:lnTo>
                  <a:pt x="688" y="1119"/>
                </a:lnTo>
                <a:lnTo>
                  <a:pt x="690" y="1121"/>
                </a:lnTo>
                <a:lnTo>
                  <a:pt x="694" y="1122"/>
                </a:lnTo>
                <a:lnTo>
                  <a:pt x="696" y="1123"/>
                </a:lnTo>
                <a:lnTo>
                  <a:pt x="700" y="1123"/>
                </a:lnTo>
                <a:lnTo>
                  <a:pt x="701" y="1123"/>
                </a:lnTo>
                <a:lnTo>
                  <a:pt x="702" y="1124"/>
                </a:lnTo>
                <a:lnTo>
                  <a:pt x="702" y="1125"/>
                </a:lnTo>
                <a:lnTo>
                  <a:pt x="699" y="1129"/>
                </a:lnTo>
                <a:lnTo>
                  <a:pt x="694" y="1132"/>
                </a:lnTo>
                <a:lnTo>
                  <a:pt x="692" y="1135"/>
                </a:lnTo>
                <a:lnTo>
                  <a:pt x="690" y="1137"/>
                </a:lnTo>
                <a:lnTo>
                  <a:pt x="689" y="1140"/>
                </a:lnTo>
                <a:lnTo>
                  <a:pt x="689" y="1142"/>
                </a:lnTo>
                <a:lnTo>
                  <a:pt x="690" y="1147"/>
                </a:lnTo>
                <a:lnTo>
                  <a:pt x="695" y="1153"/>
                </a:lnTo>
                <a:lnTo>
                  <a:pt x="696" y="1155"/>
                </a:lnTo>
                <a:lnTo>
                  <a:pt x="699" y="1159"/>
                </a:lnTo>
                <a:lnTo>
                  <a:pt x="700" y="1163"/>
                </a:lnTo>
                <a:lnTo>
                  <a:pt x="701" y="1169"/>
                </a:lnTo>
                <a:lnTo>
                  <a:pt x="701" y="1180"/>
                </a:lnTo>
                <a:lnTo>
                  <a:pt x="700" y="1192"/>
                </a:lnTo>
                <a:lnTo>
                  <a:pt x="699" y="1198"/>
                </a:lnTo>
                <a:lnTo>
                  <a:pt x="696" y="1201"/>
                </a:lnTo>
                <a:lnTo>
                  <a:pt x="694" y="1205"/>
                </a:lnTo>
                <a:lnTo>
                  <a:pt x="690" y="1207"/>
                </a:lnTo>
                <a:lnTo>
                  <a:pt x="687" y="1209"/>
                </a:lnTo>
                <a:lnTo>
                  <a:pt x="683" y="1210"/>
                </a:lnTo>
                <a:lnTo>
                  <a:pt x="679" y="1210"/>
                </a:lnTo>
                <a:lnTo>
                  <a:pt x="674" y="1209"/>
                </a:lnTo>
                <a:lnTo>
                  <a:pt x="664" y="1207"/>
                </a:lnTo>
                <a:lnTo>
                  <a:pt x="656" y="1209"/>
                </a:lnTo>
                <a:lnTo>
                  <a:pt x="652" y="1210"/>
                </a:lnTo>
                <a:lnTo>
                  <a:pt x="649" y="1212"/>
                </a:lnTo>
                <a:lnTo>
                  <a:pt x="646" y="1214"/>
                </a:lnTo>
                <a:lnTo>
                  <a:pt x="643" y="1217"/>
                </a:lnTo>
                <a:lnTo>
                  <a:pt x="640" y="1220"/>
                </a:lnTo>
                <a:lnTo>
                  <a:pt x="637" y="1223"/>
                </a:lnTo>
                <a:lnTo>
                  <a:pt x="633" y="1224"/>
                </a:lnTo>
                <a:lnTo>
                  <a:pt x="630" y="1226"/>
                </a:lnTo>
                <a:lnTo>
                  <a:pt x="620" y="1228"/>
                </a:lnTo>
                <a:lnTo>
                  <a:pt x="610" y="1228"/>
                </a:lnTo>
                <a:lnTo>
                  <a:pt x="605" y="1226"/>
                </a:lnTo>
                <a:lnTo>
                  <a:pt x="600" y="1225"/>
                </a:lnTo>
                <a:lnTo>
                  <a:pt x="595" y="1223"/>
                </a:lnTo>
                <a:lnTo>
                  <a:pt x="592" y="1219"/>
                </a:lnTo>
                <a:lnTo>
                  <a:pt x="583" y="1212"/>
                </a:lnTo>
                <a:lnTo>
                  <a:pt x="577" y="1204"/>
                </a:lnTo>
                <a:lnTo>
                  <a:pt x="570" y="1194"/>
                </a:lnTo>
                <a:lnTo>
                  <a:pt x="563" y="1186"/>
                </a:lnTo>
                <a:lnTo>
                  <a:pt x="555" y="1178"/>
                </a:lnTo>
                <a:lnTo>
                  <a:pt x="544" y="1171"/>
                </a:lnTo>
                <a:lnTo>
                  <a:pt x="533" y="1162"/>
                </a:lnTo>
                <a:lnTo>
                  <a:pt x="520" y="1156"/>
                </a:lnTo>
                <a:lnTo>
                  <a:pt x="509" y="1151"/>
                </a:lnTo>
                <a:lnTo>
                  <a:pt x="499" y="1150"/>
                </a:lnTo>
                <a:lnTo>
                  <a:pt x="488" y="1150"/>
                </a:lnTo>
                <a:lnTo>
                  <a:pt x="475" y="1150"/>
                </a:lnTo>
                <a:lnTo>
                  <a:pt x="468" y="1150"/>
                </a:lnTo>
                <a:lnTo>
                  <a:pt x="461" y="1149"/>
                </a:lnTo>
                <a:lnTo>
                  <a:pt x="454" y="1147"/>
                </a:lnTo>
                <a:lnTo>
                  <a:pt x="447" y="1144"/>
                </a:lnTo>
                <a:lnTo>
                  <a:pt x="429" y="1137"/>
                </a:lnTo>
                <a:lnTo>
                  <a:pt x="410" y="1130"/>
                </a:lnTo>
                <a:lnTo>
                  <a:pt x="400" y="1127"/>
                </a:lnTo>
                <a:lnTo>
                  <a:pt x="392" y="1123"/>
                </a:lnTo>
                <a:lnTo>
                  <a:pt x="385" y="1118"/>
                </a:lnTo>
                <a:lnTo>
                  <a:pt x="381" y="1115"/>
                </a:lnTo>
                <a:lnTo>
                  <a:pt x="375" y="1105"/>
                </a:lnTo>
                <a:lnTo>
                  <a:pt x="369" y="1094"/>
                </a:lnTo>
                <a:lnTo>
                  <a:pt x="362" y="1084"/>
                </a:lnTo>
                <a:lnTo>
                  <a:pt x="354" y="1074"/>
                </a:lnTo>
                <a:lnTo>
                  <a:pt x="346" y="1067"/>
                </a:lnTo>
                <a:lnTo>
                  <a:pt x="339" y="1062"/>
                </a:lnTo>
                <a:lnTo>
                  <a:pt x="335" y="1062"/>
                </a:lnTo>
                <a:lnTo>
                  <a:pt x="333" y="1062"/>
                </a:lnTo>
                <a:lnTo>
                  <a:pt x="330" y="1065"/>
                </a:lnTo>
                <a:lnTo>
                  <a:pt x="329" y="1068"/>
                </a:lnTo>
                <a:lnTo>
                  <a:pt x="327" y="1081"/>
                </a:lnTo>
                <a:lnTo>
                  <a:pt x="322" y="1098"/>
                </a:lnTo>
                <a:lnTo>
                  <a:pt x="316" y="1116"/>
                </a:lnTo>
                <a:lnTo>
                  <a:pt x="311" y="1129"/>
                </a:lnTo>
                <a:lnTo>
                  <a:pt x="308" y="1132"/>
                </a:lnTo>
                <a:lnTo>
                  <a:pt x="304" y="1137"/>
                </a:lnTo>
                <a:lnTo>
                  <a:pt x="300" y="1140"/>
                </a:lnTo>
                <a:lnTo>
                  <a:pt x="297" y="1142"/>
                </a:lnTo>
                <a:lnTo>
                  <a:pt x="293" y="1144"/>
                </a:lnTo>
                <a:lnTo>
                  <a:pt x="289" y="1144"/>
                </a:lnTo>
                <a:lnTo>
                  <a:pt x="285" y="1144"/>
                </a:lnTo>
                <a:lnTo>
                  <a:pt x="280" y="1142"/>
                </a:lnTo>
                <a:lnTo>
                  <a:pt x="273" y="1138"/>
                </a:lnTo>
                <a:lnTo>
                  <a:pt x="266" y="1137"/>
                </a:lnTo>
                <a:lnTo>
                  <a:pt x="258" y="1137"/>
                </a:lnTo>
                <a:lnTo>
                  <a:pt x="246" y="1136"/>
                </a:lnTo>
                <a:lnTo>
                  <a:pt x="236" y="1135"/>
                </a:lnTo>
                <a:lnTo>
                  <a:pt x="226" y="1131"/>
                </a:lnTo>
                <a:lnTo>
                  <a:pt x="215" y="1128"/>
                </a:lnTo>
                <a:lnTo>
                  <a:pt x="202" y="1122"/>
                </a:lnTo>
                <a:lnTo>
                  <a:pt x="196" y="1118"/>
                </a:lnTo>
                <a:lnTo>
                  <a:pt x="191" y="1117"/>
                </a:lnTo>
                <a:lnTo>
                  <a:pt x="186" y="1118"/>
                </a:lnTo>
                <a:lnTo>
                  <a:pt x="180" y="1122"/>
                </a:lnTo>
                <a:lnTo>
                  <a:pt x="174" y="1125"/>
                </a:lnTo>
                <a:lnTo>
                  <a:pt x="167" y="1129"/>
                </a:lnTo>
                <a:lnTo>
                  <a:pt x="160" y="1132"/>
                </a:lnTo>
                <a:lnTo>
                  <a:pt x="153" y="1134"/>
                </a:lnTo>
                <a:lnTo>
                  <a:pt x="142" y="1135"/>
                </a:lnTo>
                <a:lnTo>
                  <a:pt x="135" y="1136"/>
                </a:lnTo>
                <a:lnTo>
                  <a:pt x="133" y="1136"/>
                </a:lnTo>
                <a:lnTo>
                  <a:pt x="130" y="1137"/>
                </a:lnTo>
                <a:lnTo>
                  <a:pt x="129" y="1140"/>
                </a:lnTo>
                <a:lnTo>
                  <a:pt x="127" y="1142"/>
                </a:lnTo>
                <a:lnTo>
                  <a:pt x="125" y="1146"/>
                </a:lnTo>
                <a:lnTo>
                  <a:pt x="121" y="1148"/>
                </a:lnTo>
                <a:lnTo>
                  <a:pt x="116" y="1150"/>
                </a:lnTo>
                <a:lnTo>
                  <a:pt x="110" y="1151"/>
                </a:lnTo>
                <a:lnTo>
                  <a:pt x="107" y="1151"/>
                </a:lnTo>
                <a:lnTo>
                  <a:pt x="104" y="1153"/>
                </a:lnTo>
                <a:lnTo>
                  <a:pt x="103" y="1155"/>
                </a:lnTo>
                <a:lnTo>
                  <a:pt x="102" y="1157"/>
                </a:lnTo>
                <a:lnTo>
                  <a:pt x="101" y="1163"/>
                </a:lnTo>
                <a:lnTo>
                  <a:pt x="101" y="1169"/>
                </a:lnTo>
                <a:lnTo>
                  <a:pt x="102" y="1176"/>
                </a:lnTo>
                <a:lnTo>
                  <a:pt x="103" y="1182"/>
                </a:lnTo>
                <a:lnTo>
                  <a:pt x="108" y="1190"/>
                </a:lnTo>
                <a:lnTo>
                  <a:pt x="114" y="1197"/>
                </a:lnTo>
                <a:lnTo>
                  <a:pt x="122" y="1205"/>
                </a:lnTo>
                <a:lnTo>
                  <a:pt x="129" y="1213"/>
                </a:lnTo>
                <a:lnTo>
                  <a:pt x="136" y="1220"/>
                </a:lnTo>
                <a:lnTo>
                  <a:pt x="144" y="1225"/>
                </a:lnTo>
                <a:lnTo>
                  <a:pt x="151" y="1229"/>
                </a:lnTo>
                <a:lnTo>
                  <a:pt x="160" y="1230"/>
                </a:lnTo>
                <a:lnTo>
                  <a:pt x="172" y="1231"/>
                </a:lnTo>
                <a:lnTo>
                  <a:pt x="186" y="1231"/>
                </a:lnTo>
                <a:lnTo>
                  <a:pt x="193" y="1232"/>
                </a:lnTo>
                <a:lnTo>
                  <a:pt x="198" y="1234"/>
                </a:lnTo>
                <a:lnTo>
                  <a:pt x="203" y="1235"/>
                </a:lnTo>
                <a:lnTo>
                  <a:pt x="207" y="1237"/>
                </a:lnTo>
                <a:lnTo>
                  <a:pt x="209" y="1239"/>
                </a:lnTo>
                <a:lnTo>
                  <a:pt x="210" y="1243"/>
                </a:lnTo>
                <a:lnTo>
                  <a:pt x="211" y="1247"/>
                </a:lnTo>
                <a:lnTo>
                  <a:pt x="211" y="1250"/>
                </a:lnTo>
                <a:lnTo>
                  <a:pt x="210" y="1254"/>
                </a:lnTo>
                <a:lnTo>
                  <a:pt x="209" y="1258"/>
                </a:lnTo>
                <a:lnTo>
                  <a:pt x="207" y="1263"/>
                </a:lnTo>
                <a:lnTo>
                  <a:pt x="204" y="1268"/>
                </a:lnTo>
                <a:lnTo>
                  <a:pt x="197" y="1277"/>
                </a:lnTo>
                <a:lnTo>
                  <a:pt x="189" y="1286"/>
                </a:lnTo>
                <a:lnTo>
                  <a:pt x="185" y="1292"/>
                </a:lnTo>
                <a:lnTo>
                  <a:pt x="182" y="1297"/>
                </a:lnTo>
                <a:lnTo>
                  <a:pt x="179" y="1304"/>
                </a:lnTo>
                <a:lnTo>
                  <a:pt x="177" y="1310"/>
                </a:lnTo>
                <a:lnTo>
                  <a:pt x="176" y="1316"/>
                </a:lnTo>
                <a:lnTo>
                  <a:pt x="176" y="1321"/>
                </a:lnTo>
                <a:lnTo>
                  <a:pt x="176" y="1327"/>
                </a:lnTo>
                <a:lnTo>
                  <a:pt x="177" y="1332"/>
                </a:lnTo>
                <a:lnTo>
                  <a:pt x="180" y="1339"/>
                </a:lnTo>
                <a:lnTo>
                  <a:pt x="183" y="1346"/>
                </a:lnTo>
                <a:lnTo>
                  <a:pt x="183" y="1349"/>
                </a:lnTo>
                <a:lnTo>
                  <a:pt x="183" y="1351"/>
                </a:lnTo>
                <a:lnTo>
                  <a:pt x="180" y="1352"/>
                </a:lnTo>
                <a:lnTo>
                  <a:pt x="178" y="1355"/>
                </a:lnTo>
                <a:lnTo>
                  <a:pt x="173" y="1357"/>
                </a:lnTo>
                <a:lnTo>
                  <a:pt x="170" y="1359"/>
                </a:lnTo>
                <a:lnTo>
                  <a:pt x="167" y="1362"/>
                </a:lnTo>
                <a:lnTo>
                  <a:pt x="165" y="1364"/>
                </a:lnTo>
                <a:lnTo>
                  <a:pt x="164" y="1368"/>
                </a:lnTo>
                <a:lnTo>
                  <a:pt x="163" y="1371"/>
                </a:lnTo>
                <a:lnTo>
                  <a:pt x="164" y="1375"/>
                </a:lnTo>
                <a:lnTo>
                  <a:pt x="165" y="1377"/>
                </a:lnTo>
                <a:lnTo>
                  <a:pt x="166" y="1382"/>
                </a:lnTo>
                <a:lnTo>
                  <a:pt x="167" y="1388"/>
                </a:lnTo>
                <a:lnTo>
                  <a:pt x="166" y="1392"/>
                </a:lnTo>
                <a:lnTo>
                  <a:pt x="165" y="1395"/>
                </a:lnTo>
                <a:lnTo>
                  <a:pt x="163" y="1399"/>
                </a:lnTo>
                <a:lnTo>
                  <a:pt x="160" y="1402"/>
                </a:lnTo>
                <a:lnTo>
                  <a:pt x="153" y="1407"/>
                </a:lnTo>
                <a:lnTo>
                  <a:pt x="146" y="1411"/>
                </a:lnTo>
                <a:lnTo>
                  <a:pt x="136" y="1413"/>
                </a:lnTo>
                <a:lnTo>
                  <a:pt x="123" y="1415"/>
                </a:lnTo>
                <a:lnTo>
                  <a:pt x="108" y="1417"/>
                </a:lnTo>
                <a:lnTo>
                  <a:pt x="94" y="1419"/>
                </a:lnTo>
                <a:lnTo>
                  <a:pt x="87" y="1421"/>
                </a:lnTo>
                <a:lnTo>
                  <a:pt x="82" y="1425"/>
                </a:lnTo>
                <a:lnTo>
                  <a:pt x="77" y="1428"/>
                </a:lnTo>
                <a:lnTo>
                  <a:pt x="75" y="1434"/>
                </a:lnTo>
                <a:lnTo>
                  <a:pt x="72" y="1445"/>
                </a:lnTo>
                <a:lnTo>
                  <a:pt x="72" y="1453"/>
                </a:lnTo>
                <a:lnTo>
                  <a:pt x="71" y="1457"/>
                </a:lnTo>
                <a:lnTo>
                  <a:pt x="71" y="1459"/>
                </a:lnTo>
                <a:lnTo>
                  <a:pt x="70" y="1462"/>
                </a:lnTo>
                <a:lnTo>
                  <a:pt x="67" y="1463"/>
                </a:lnTo>
                <a:lnTo>
                  <a:pt x="62" y="1466"/>
                </a:lnTo>
                <a:lnTo>
                  <a:pt x="54" y="1470"/>
                </a:lnTo>
                <a:lnTo>
                  <a:pt x="52" y="1471"/>
                </a:lnTo>
                <a:lnTo>
                  <a:pt x="48" y="1475"/>
                </a:lnTo>
                <a:lnTo>
                  <a:pt x="46" y="1477"/>
                </a:lnTo>
                <a:lnTo>
                  <a:pt x="45" y="1481"/>
                </a:lnTo>
                <a:lnTo>
                  <a:pt x="44" y="1489"/>
                </a:lnTo>
                <a:lnTo>
                  <a:pt x="46" y="1499"/>
                </a:lnTo>
                <a:lnTo>
                  <a:pt x="47" y="1503"/>
                </a:lnTo>
                <a:lnTo>
                  <a:pt x="50" y="1509"/>
                </a:lnTo>
                <a:lnTo>
                  <a:pt x="52" y="1513"/>
                </a:lnTo>
                <a:lnTo>
                  <a:pt x="54" y="1518"/>
                </a:lnTo>
                <a:lnTo>
                  <a:pt x="62" y="1525"/>
                </a:lnTo>
                <a:lnTo>
                  <a:pt x="69" y="1532"/>
                </a:lnTo>
                <a:lnTo>
                  <a:pt x="72" y="1535"/>
                </a:lnTo>
                <a:lnTo>
                  <a:pt x="75" y="1539"/>
                </a:lnTo>
                <a:lnTo>
                  <a:pt x="77" y="1544"/>
                </a:lnTo>
                <a:lnTo>
                  <a:pt x="79" y="1547"/>
                </a:lnTo>
                <a:lnTo>
                  <a:pt x="79" y="1552"/>
                </a:lnTo>
                <a:lnTo>
                  <a:pt x="79" y="1556"/>
                </a:lnTo>
                <a:lnTo>
                  <a:pt x="77" y="1560"/>
                </a:lnTo>
                <a:lnTo>
                  <a:pt x="76" y="1564"/>
                </a:lnTo>
                <a:lnTo>
                  <a:pt x="70" y="1572"/>
                </a:lnTo>
                <a:lnTo>
                  <a:pt x="64" y="1581"/>
                </a:lnTo>
                <a:lnTo>
                  <a:pt x="59" y="1590"/>
                </a:lnTo>
                <a:lnTo>
                  <a:pt x="53" y="1600"/>
                </a:lnTo>
                <a:lnTo>
                  <a:pt x="50" y="1609"/>
                </a:lnTo>
                <a:lnTo>
                  <a:pt x="48" y="1617"/>
                </a:lnTo>
                <a:lnTo>
                  <a:pt x="48" y="1621"/>
                </a:lnTo>
                <a:lnTo>
                  <a:pt x="50" y="1625"/>
                </a:lnTo>
                <a:lnTo>
                  <a:pt x="51" y="1628"/>
                </a:lnTo>
                <a:lnTo>
                  <a:pt x="53" y="1632"/>
                </a:lnTo>
                <a:lnTo>
                  <a:pt x="58" y="1638"/>
                </a:lnTo>
                <a:lnTo>
                  <a:pt x="65" y="1641"/>
                </a:lnTo>
                <a:lnTo>
                  <a:pt x="73" y="1642"/>
                </a:lnTo>
                <a:lnTo>
                  <a:pt x="83" y="1642"/>
                </a:lnTo>
                <a:lnTo>
                  <a:pt x="92" y="1640"/>
                </a:lnTo>
                <a:lnTo>
                  <a:pt x="101" y="1638"/>
                </a:lnTo>
                <a:lnTo>
                  <a:pt x="106" y="1636"/>
                </a:lnTo>
                <a:lnTo>
                  <a:pt x="110" y="1636"/>
                </a:lnTo>
                <a:lnTo>
                  <a:pt x="116" y="1638"/>
                </a:lnTo>
                <a:lnTo>
                  <a:pt x="121" y="1640"/>
                </a:lnTo>
                <a:lnTo>
                  <a:pt x="127" y="1642"/>
                </a:lnTo>
                <a:lnTo>
                  <a:pt x="132" y="1645"/>
                </a:lnTo>
                <a:lnTo>
                  <a:pt x="136" y="1648"/>
                </a:lnTo>
                <a:lnTo>
                  <a:pt x="139" y="1652"/>
                </a:lnTo>
                <a:lnTo>
                  <a:pt x="142" y="1661"/>
                </a:lnTo>
                <a:lnTo>
                  <a:pt x="144" y="1672"/>
                </a:lnTo>
                <a:lnTo>
                  <a:pt x="144" y="1683"/>
                </a:lnTo>
                <a:lnTo>
                  <a:pt x="142" y="1691"/>
                </a:lnTo>
                <a:lnTo>
                  <a:pt x="140" y="1695"/>
                </a:lnTo>
                <a:lnTo>
                  <a:pt x="138" y="1698"/>
                </a:lnTo>
                <a:lnTo>
                  <a:pt x="133" y="1702"/>
                </a:lnTo>
                <a:lnTo>
                  <a:pt x="128" y="1704"/>
                </a:lnTo>
                <a:lnTo>
                  <a:pt x="119" y="1708"/>
                </a:lnTo>
                <a:lnTo>
                  <a:pt x="110" y="1710"/>
                </a:lnTo>
                <a:lnTo>
                  <a:pt x="102" y="1714"/>
                </a:lnTo>
                <a:lnTo>
                  <a:pt x="94" y="1717"/>
                </a:lnTo>
                <a:lnTo>
                  <a:pt x="90" y="1720"/>
                </a:lnTo>
                <a:lnTo>
                  <a:pt x="87" y="1722"/>
                </a:lnTo>
                <a:lnTo>
                  <a:pt x="84" y="1724"/>
                </a:lnTo>
                <a:lnTo>
                  <a:pt x="83" y="1728"/>
                </a:lnTo>
                <a:lnTo>
                  <a:pt x="83" y="1735"/>
                </a:lnTo>
                <a:lnTo>
                  <a:pt x="85" y="1741"/>
                </a:lnTo>
                <a:lnTo>
                  <a:pt x="89" y="1746"/>
                </a:lnTo>
                <a:lnTo>
                  <a:pt x="94" y="1751"/>
                </a:lnTo>
                <a:lnTo>
                  <a:pt x="100" y="1754"/>
                </a:lnTo>
                <a:lnTo>
                  <a:pt x="103" y="1760"/>
                </a:lnTo>
                <a:lnTo>
                  <a:pt x="104" y="1762"/>
                </a:lnTo>
                <a:lnTo>
                  <a:pt x="106" y="1766"/>
                </a:lnTo>
                <a:lnTo>
                  <a:pt x="106" y="1770"/>
                </a:lnTo>
                <a:lnTo>
                  <a:pt x="104" y="1773"/>
                </a:lnTo>
                <a:lnTo>
                  <a:pt x="103" y="1778"/>
                </a:lnTo>
                <a:lnTo>
                  <a:pt x="102" y="1783"/>
                </a:lnTo>
                <a:lnTo>
                  <a:pt x="102" y="1786"/>
                </a:lnTo>
                <a:lnTo>
                  <a:pt x="103" y="1792"/>
                </a:lnTo>
                <a:lnTo>
                  <a:pt x="104" y="1803"/>
                </a:lnTo>
                <a:lnTo>
                  <a:pt x="104" y="1816"/>
                </a:lnTo>
                <a:lnTo>
                  <a:pt x="102" y="1830"/>
                </a:lnTo>
                <a:lnTo>
                  <a:pt x="100" y="1843"/>
                </a:lnTo>
                <a:lnTo>
                  <a:pt x="97" y="1854"/>
                </a:lnTo>
                <a:lnTo>
                  <a:pt x="95" y="1861"/>
                </a:lnTo>
                <a:lnTo>
                  <a:pt x="95" y="1865"/>
                </a:lnTo>
                <a:lnTo>
                  <a:pt x="96" y="1868"/>
                </a:lnTo>
                <a:lnTo>
                  <a:pt x="96" y="1872"/>
                </a:lnTo>
                <a:lnTo>
                  <a:pt x="98" y="1877"/>
                </a:lnTo>
                <a:lnTo>
                  <a:pt x="102" y="1884"/>
                </a:lnTo>
                <a:lnTo>
                  <a:pt x="107" y="1888"/>
                </a:lnTo>
                <a:lnTo>
                  <a:pt x="108" y="1890"/>
                </a:lnTo>
                <a:lnTo>
                  <a:pt x="108" y="1892"/>
                </a:lnTo>
                <a:lnTo>
                  <a:pt x="108" y="1894"/>
                </a:lnTo>
                <a:lnTo>
                  <a:pt x="107" y="1898"/>
                </a:lnTo>
                <a:lnTo>
                  <a:pt x="95" y="1912"/>
                </a:lnTo>
                <a:lnTo>
                  <a:pt x="83" y="1926"/>
                </a:lnTo>
                <a:lnTo>
                  <a:pt x="79" y="1935"/>
                </a:lnTo>
                <a:lnTo>
                  <a:pt x="77" y="1941"/>
                </a:lnTo>
                <a:lnTo>
                  <a:pt x="76" y="1948"/>
                </a:lnTo>
                <a:lnTo>
                  <a:pt x="75" y="1955"/>
                </a:lnTo>
                <a:lnTo>
                  <a:pt x="72" y="1962"/>
                </a:lnTo>
                <a:lnTo>
                  <a:pt x="69" y="1967"/>
                </a:lnTo>
                <a:lnTo>
                  <a:pt x="66" y="1969"/>
                </a:lnTo>
                <a:lnTo>
                  <a:pt x="64" y="1970"/>
                </a:lnTo>
                <a:lnTo>
                  <a:pt x="59" y="1972"/>
                </a:lnTo>
                <a:lnTo>
                  <a:pt x="56" y="1973"/>
                </a:lnTo>
                <a:lnTo>
                  <a:pt x="44" y="1973"/>
                </a:lnTo>
                <a:lnTo>
                  <a:pt x="33" y="1974"/>
                </a:lnTo>
                <a:lnTo>
                  <a:pt x="22" y="1975"/>
                </a:lnTo>
                <a:lnTo>
                  <a:pt x="15" y="1979"/>
                </a:lnTo>
                <a:lnTo>
                  <a:pt x="9" y="1985"/>
                </a:lnTo>
                <a:lnTo>
                  <a:pt x="3" y="1993"/>
                </a:lnTo>
                <a:lnTo>
                  <a:pt x="2" y="1998"/>
                </a:lnTo>
                <a:lnTo>
                  <a:pt x="1" y="2003"/>
                </a:lnTo>
                <a:lnTo>
                  <a:pt x="0" y="2007"/>
                </a:lnTo>
                <a:lnTo>
                  <a:pt x="1" y="2012"/>
                </a:lnTo>
                <a:lnTo>
                  <a:pt x="4" y="2022"/>
                </a:lnTo>
                <a:lnTo>
                  <a:pt x="9" y="2032"/>
                </a:lnTo>
                <a:lnTo>
                  <a:pt x="15" y="2043"/>
                </a:lnTo>
                <a:lnTo>
                  <a:pt x="20" y="2051"/>
                </a:lnTo>
                <a:lnTo>
                  <a:pt x="25" y="2058"/>
                </a:lnTo>
                <a:lnTo>
                  <a:pt x="28" y="2064"/>
                </a:lnTo>
                <a:lnTo>
                  <a:pt x="31" y="2071"/>
                </a:lnTo>
                <a:lnTo>
                  <a:pt x="33" y="2079"/>
                </a:lnTo>
                <a:lnTo>
                  <a:pt x="35" y="2085"/>
                </a:lnTo>
                <a:lnTo>
                  <a:pt x="40" y="2088"/>
                </a:lnTo>
                <a:lnTo>
                  <a:pt x="44" y="2090"/>
                </a:lnTo>
                <a:lnTo>
                  <a:pt x="48" y="2090"/>
                </a:lnTo>
                <a:lnTo>
                  <a:pt x="53" y="2092"/>
                </a:lnTo>
                <a:lnTo>
                  <a:pt x="58" y="2093"/>
                </a:lnTo>
                <a:lnTo>
                  <a:pt x="63" y="2096"/>
                </a:lnTo>
                <a:lnTo>
                  <a:pt x="69" y="2102"/>
                </a:lnTo>
                <a:lnTo>
                  <a:pt x="72" y="2109"/>
                </a:lnTo>
                <a:lnTo>
                  <a:pt x="76" y="2118"/>
                </a:lnTo>
                <a:lnTo>
                  <a:pt x="77" y="2121"/>
                </a:lnTo>
                <a:lnTo>
                  <a:pt x="78" y="2125"/>
                </a:lnTo>
                <a:lnTo>
                  <a:pt x="78" y="2129"/>
                </a:lnTo>
                <a:lnTo>
                  <a:pt x="77" y="2131"/>
                </a:lnTo>
                <a:lnTo>
                  <a:pt x="73" y="2136"/>
                </a:lnTo>
                <a:lnTo>
                  <a:pt x="70" y="2140"/>
                </a:lnTo>
                <a:lnTo>
                  <a:pt x="69" y="2142"/>
                </a:lnTo>
                <a:lnTo>
                  <a:pt x="69" y="2145"/>
                </a:lnTo>
                <a:lnTo>
                  <a:pt x="69" y="2149"/>
                </a:lnTo>
                <a:lnTo>
                  <a:pt x="71" y="2153"/>
                </a:lnTo>
                <a:lnTo>
                  <a:pt x="78" y="2163"/>
                </a:lnTo>
                <a:lnTo>
                  <a:pt x="83" y="2172"/>
                </a:lnTo>
                <a:lnTo>
                  <a:pt x="85" y="2177"/>
                </a:lnTo>
                <a:lnTo>
                  <a:pt x="87" y="2181"/>
                </a:lnTo>
                <a:lnTo>
                  <a:pt x="88" y="2186"/>
                </a:lnTo>
                <a:lnTo>
                  <a:pt x="88" y="2192"/>
                </a:lnTo>
                <a:lnTo>
                  <a:pt x="87" y="2202"/>
                </a:lnTo>
                <a:lnTo>
                  <a:pt x="84" y="2212"/>
                </a:lnTo>
                <a:lnTo>
                  <a:pt x="84" y="2215"/>
                </a:lnTo>
                <a:lnTo>
                  <a:pt x="85" y="2219"/>
                </a:lnTo>
                <a:lnTo>
                  <a:pt x="88" y="2222"/>
                </a:lnTo>
                <a:lnTo>
                  <a:pt x="91" y="2226"/>
                </a:lnTo>
                <a:lnTo>
                  <a:pt x="104" y="2233"/>
                </a:lnTo>
                <a:lnTo>
                  <a:pt x="122" y="2240"/>
                </a:lnTo>
                <a:lnTo>
                  <a:pt x="130" y="2245"/>
                </a:lnTo>
                <a:lnTo>
                  <a:pt x="139" y="2250"/>
                </a:lnTo>
                <a:lnTo>
                  <a:pt x="145" y="2256"/>
                </a:lnTo>
                <a:lnTo>
                  <a:pt x="148" y="2262"/>
                </a:lnTo>
                <a:lnTo>
                  <a:pt x="151" y="2268"/>
                </a:lnTo>
                <a:lnTo>
                  <a:pt x="153" y="2274"/>
                </a:lnTo>
                <a:lnTo>
                  <a:pt x="153" y="2278"/>
                </a:lnTo>
                <a:lnTo>
                  <a:pt x="154" y="2283"/>
                </a:lnTo>
                <a:lnTo>
                  <a:pt x="153" y="2291"/>
                </a:lnTo>
                <a:lnTo>
                  <a:pt x="153" y="2302"/>
                </a:lnTo>
                <a:lnTo>
                  <a:pt x="153" y="2314"/>
                </a:lnTo>
                <a:lnTo>
                  <a:pt x="157" y="2329"/>
                </a:lnTo>
                <a:lnTo>
                  <a:pt x="159" y="2337"/>
                </a:lnTo>
                <a:lnTo>
                  <a:pt x="161" y="2344"/>
                </a:lnTo>
                <a:lnTo>
                  <a:pt x="165" y="2350"/>
                </a:lnTo>
                <a:lnTo>
                  <a:pt x="169" y="2354"/>
                </a:lnTo>
                <a:lnTo>
                  <a:pt x="176" y="2365"/>
                </a:lnTo>
                <a:lnTo>
                  <a:pt x="183" y="2379"/>
                </a:lnTo>
                <a:lnTo>
                  <a:pt x="188" y="2385"/>
                </a:lnTo>
                <a:lnTo>
                  <a:pt x="191" y="2391"/>
                </a:lnTo>
                <a:lnTo>
                  <a:pt x="196" y="2396"/>
                </a:lnTo>
                <a:lnTo>
                  <a:pt x="199" y="2400"/>
                </a:lnTo>
                <a:lnTo>
                  <a:pt x="204" y="2402"/>
                </a:lnTo>
                <a:lnTo>
                  <a:pt x="209" y="2403"/>
                </a:lnTo>
                <a:lnTo>
                  <a:pt x="215" y="2404"/>
                </a:lnTo>
                <a:lnTo>
                  <a:pt x="221" y="2404"/>
                </a:lnTo>
                <a:lnTo>
                  <a:pt x="227" y="2404"/>
                </a:lnTo>
                <a:lnTo>
                  <a:pt x="233" y="2405"/>
                </a:lnTo>
                <a:lnTo>
                  <a:pt x="237" y="2408"/>
                </a:lnTo>
                <a:lnTo>
                  <a:pt x="241" y="2410"/>
                </a:lnTo>
                <a:lnTo>
                  <a:pt x="248" y="2416"/>
                </a:lnTo>
                <a:lnTo>
                  <a:pt x="255" y="2421"/>
                </a:lnTo>
                <a:lnTo>
                  <a:pt x="265" y="2423"/>
                </a:lnTo>
                <a:lnTo>
                  <a:pt x="274" y="2424"/>
                </a:lnTo>
                <a:lnTo>
                  <a:pt x="279" y="2424"/>
                </a:lnTo>
                <a:lnTo>
                  <a:pt x="281" y="2426"/>
                </a:lnTo>
                <a:lnTo>
                  <a:pt x="284" y="2427"/>
                </a:lnTo>
                <a:lnTo>
                  <a:pt x="284" y="2429"/>
                </a:lnTo>
                <a:lnTo>
                  <a:pt x="283" y="2435"/>
                </a:lnTo>
                <a:lnTo>
                  <a:pt x="279" y="2441"/>
                </a:lnTo>
                <a:lnTo>
                  <a:pt x="278" y="2443"/>
                </a:lnTo>
                <a:lnTo>
                  <a:pt x="278" y="2446"/>
                </a:lnTo>
                <a:lnTo>
                  <a:pt x="278" y="2448"/>
                </a:lnTo>
                <a:lnTo>
                  <a:pt x="280" y="2451"/>
                </a:lnTo>
                <a:lnTo>
                  <a:pt x="285" y="2457"/>
                </a:lnTo>
                <a:lnTo>
                  <a:pt x="291" y="2463"/>
                </a:lnTo>
                <a:lnTo>
                  <a:pt x="300" y="2470"/>
                </a:lnTo>
                <a:lnTo>
                  <a:pt x="314" y="2477"/>
                </a:lnTo>
                <a:lnTo>
                  <a:pt x="322" y="2479"/>
                </a:lnTo>
                <a:lnTo>
                  <a:pt x="329" y="2482"/>
                </a:lnTo>
                <a:lnTo>
                  <a:pt x="336" y="2483"/>
                </a:lnTo>
                <a:lnTo>
                  <a:pt x="343" y="2483"/>
                </a:lnTo>
                <a:lnTo>
                  <a:pt x="349" y="2480"/>
                </a:lnTo>
                <a:lnTo>
                  <a:pt x="355" y="2478"/>
                </a:lnTo>
                <a:lnTo>
                  <a:pt x="360" y="2476"/>
                </a:lnTo>
                <a:lnTo>
                  <a:pt x="363" y="2472"/>
                </a:lnTo>
                <a:lnTo>
                  <a:pt x="372" y="2463"/>
                </a:lnTo>
                <a:lnTo>
                  <a:pt x="379" y="2454"/>
                </a:lnTo>
                <a:lnTo>
                  <a:pt x="383" y="2451"/>
                </a:lnTo>
                <a:lnTo>
                  <a:pt x="387" y="2447"/>
                </a:lnTo>
                <a:lnTo>
                  <a:pt x="391" y="2445"/>
                </a:lnTo>
                <a:lnTo>
                  <a:pt x="396" y="2442"/>
                </a:lnTo>
                <a:lnTo>
                  <a:pt x="399" y="2442"/>
                </a:lnTo>
                <a:lnTo>
                  <a:pt x="403" y="2442"/>
                </a:lnTo>
                <a:lnTo>
                  <a:pt x="406" y="2443"/>
                </a:lnTo>
                <a:lnTo>
                  <a:pt x="410" y="2447"/>
                </a:lnTo>
                <a:lnTo>
                  <a:pt x="412" y="2451"/>
                </a:lnTo>
                <a:lnTo>
                  <a:pt x="416" y="2453"/>
                </a:lnTo>
                <a:lnTo>
                  <a:pt x="418" y="2455"/>
                </a:lnTo>
                <a:lnTo>
                  <a:pt x="423" y="2458"/>
                </a:lnTo>
                <a:lnTo>
                  <a:pt x="432" y="2459"/>
                </a:lnTo>
                <a:lnTo>
                  <a:pt x="443" y="2459"/>
                </a:lnTo>
                <a:lnTo>
                  <a:pt x="455" y="2459"/>
                </a:lnTo>
                <a:lnTo>
                  <a:pt x="465" y="2455"/>
                </a:lnTo>
                <a:lnTo>
                  <a:pt x="468" y="2454"/>
                </a:lnTo>
                <a:lnTo>
                  <a:pt x="470" y="2451"/>
                </a:lnTo>
                <a:lnTo>
                  <a:pt x="473" y="2447"/>
                </a:lnTo>
                <a:lnTo>
                  <a:pt x="475" y="2443"/>
                </a:lnTo>
                <a:lnTo>
                  <a:pt x="479" y="2436"/>
                </a:lnTo>
                <a:lnTo>
                  <a:pt x="484" y="2432"/>
                </a:lnTo>
                <a:lnTo>
                  <a:pt x="487" y="2429"/>
                </a:lnTo>
                <a:lnTo>
                  <a:pt x="491" y="2429"/>
                </a:lnTo>
                <a:lnTo>
                  <a:pt x="494" y="2428"/>
                </a:lnTo>
                <a:lnTo>
                  <a:pt x="500" y="2429"/>
                </a:lnTo>
                <a:lnTo>
                  <a:pt x="511" y="2430"/>
                </a:lnTo>
                <a:lnTo>
                  <a:pt x="522" y="2432"/>
                </a:lnTo>
                <a:lnTo>
                  <a:pt x="530" y="2433"/>
                </a:lnTo>
                <a:lnTo>
                  <a:pt x="539" y="2434"/>
                </a:lnTo>
                <a:lnTo>
                  <a:pt x="543" y="2435"/>
                </a:lnTo>
                <a:lnTo>
                  <a:pt x="545" y="2436"/>
                </a:lnTo>
                <a:lnTo>
                  <a:pt x="548" y="2438"/>
                </a:lnTo>
                <a:lnTo>
                  <a:pt x="549" y="2439"/>
                </a:lnTo>
                <a:lnTo>
                  <a:pt x="549" y="2441"/>
                </a:lnTo>
                <a:lnTo>
                  <a:pt x="549" y="2442"/>
                </a:lnTo>
                <a:lnTo>
                  <a:pt x="547" y="2445"/>
                </a:lnTo>
                <a:lnTo>
                  <a:pt x="544" y="2446"/>
                </a:lnTo>
                <a:lnTo>
                  <a:pt x="538" y="2451"/>
                </a:lnTo>
                <a:lnTo>
                  <a:pt x="535" y="2458"/>
                </a:lnTo>
                <a:lnTo>
                  <a:pt x="533" y="2461"/>
                </a:lnTo>
                <a:lnTo>
                  <a:pt x="533" y="2466"/>
                </a:lnTo>
                <a:lnTo>
                  <a:pt x="535" y="2471"/>
                </a:lnTo>
                <a:lnTo>
                  <a:pt x="537" y="2477"/>
                </a:lnTo>
                <a:lnTo>
                  <a:pt x="544" y="2487"/>
                </a:lnTo>
                <a:lnTo>
                  <a:pt x="553" y="2499"/>
                </a:lnTo>
                <a:lnTo>
                  <a:pt x="561" y="2512"/>
                </a:lnTo>
                <a:lnTo>
                  <a:pt x="569" y="2528"/>
                </a:lnTo>
                <a:lnTo>
                  <a:pt x="575" y="2543"/>
                </a:lnTo>
                <a:lnTo>
                  <a:pt x="582" y="2558"/>
                </a:lnTo>
                <a:lnTo>
                  <a:pt x="586" y="2565"/>
                </a:lnTo>
                <a:lnTo>
                  <a:pt x="589" y="2573"/>
                </a:lnTo>
                <a:lnTo>
                  <a:pt x="595" y="2580"/>
                </a:lnTo>
                <a:lnTo>
                  <a:pt x="601" y="2587"/>
                </a:lnTo>
                <a:lnTo>
                  <a:pt x="608" y="2594"/>
                </a:lnTo>
                <a:lnTo>
                  <a:pt x="616" y="2602"/>
                </a:lnTo>
                <a:lnTo>
                  <a:pt x="623" y="2606"/>
                </a:lnTo>
                <a:lnTo>
                  <a:pt x="629" y="2611"/>
                </a:lnTo>
                <a:lnTo>
                  <a:pt x="642" y="2618"/>
                </a:lnTo>
                <a:lnTo>
                  <a:pt x="652" y="2622"/>
                </a:lnTo>
                <a:lnTo>
                  <a:pt x="663" y="2625"/>
                </a:lnTo>
                <a:lnTo>
                  <a:pt x="674" y="2630"/>
                </a:lnTo>
                <a:lnTo>
                  <a:pt x="679" y="2634"/>
                </a:lnTo>
                <a:lnTo>
                  <a:pt x="682" y="2637"/>
                </a:lnTo>
                <a:lnTo>
                  <a:pt x="687" y="2641"/>
                </a:lnTo>
                <a:lnTo>
                  <a:pt x="689" y="2646"/>
                </a:lnTo>
                <a:lnTo>
                  <a:pt x="696" y="2657"/>
                </a:lnTo>
                <a:lnTo>
                  <a:pt x="705" y="2672"/>
                </a:lnTo>
                <a:lnTo>
                  <a:pt x="713" y="2685"/>
                </a:lnTo>
                <a:lnTo>
                  <a:pt x="720" y="2693"/>
                </a:lnTo>
                <a:lnTo>
                  <a:pt x="724" y="2694"/>
                </a:lnTo>
                <a:lnTo>
                  <a:pt x="727" y="2694"/>
                </a:lnTo>
                <a:lnTo>
                  <a:pt x="732" y="2693"/>
                </a:lnTo>
                <a:lnTo>
                  <a:pt x="737" y="2692"/>
                </a:lnTo>
                <a:lnTo>
                  <a:pt x="745" y="2686"/>
                </a:lnTo>
                <a:lnTo>
                  <a:pt x="753" y="2680"/>
                </a:lnTo>
                <a:lnTo>
                  <a:pt x="757" y="2678"/>
                </a:lnTo>
                <a:lnTo>
                  <a:pt x="765" y="2678"/>
                </a:lnTo>
                <a:lnTo>
                  <a:pt x="774" y="2679"/>
                </a:lnTo>
                <a:lnTo>
                  <a:pt x="784" y="2681"/>
                </a:lnTo>
                <a:lnTo>
                  <a:pt x="793" y="2685"/>
                </a:lnTo>
                <a:lnTo>
                  <a:pt x="800" y="2688"/>
                </a:lnTo>
                <a:lnTo>
                  <a:pt x="802" y="2691"/>
                </a:lnTo>
                <a:lnTo>
                  <a:pt x="805" y="2693"/>
                </a:lnTo>
                <a:lnTo>
                  <a:pt x="805" y="2695"/>
                </a:lnTo>
                <a:lnTo>
                  <a:pt x="805" y="2699"/>
                </a:lnTo>
                <a:lnTo>
                  <a:pt x="800" y="2709"/>
                </a:lnTo>
                <a:lnTo>
                  <a:pt x="796" y="2717"/>
                </a:lnTo>
                <a:lnTo>
                  <a:pt x="795" y="2720"/>
                </a:lnTo>
                <a:lnTo>
                  <a:pt x="794" y="2725"/>
                </a:lnTo>
                <a:lnTo>
                  <a:pt x="794" y="2729"/>
                </a:lnTo>
                <a:lnTo>
                  <a:pt x="795" y="2735"/>
                </a:lnTo>
                <a:lnTo>
                  <a:pt x="797" y="2739"/>
                </a:lnTo>
                <a:lnTo>
                  <a:pt x="801" y="2742"/>
                </a:lnTo>
                <a:lnTo>
                  <a:pt x="805" y="2744"/>
                </a:lnTo>
                <a:lnTo>
                  <a:pt x="809" y="2745"/>
                </a:lnTo>
                <a:lnTo>
                  <a:pt x="818" y="2745"/>
                </a:lnTo>
                <a:lnTo>
                  <a:pt x="824" y="2743"/>
                </a:lnTo>
                <a:lnTo>
                  <a:pt x="827" y="2742"/>
                </a:lnTo>
                <a:lnTo>
                  <a:pt x="831" y="2742"/>
                </a:lnTo>
                <a:lnTo>
                  <a:pt x="835" y="2744"/>
                </a:lnTo>
                <a:lnTo>
                  <a:pt x="839" y="2748"/>
                </a:lnTo>
                <a:lnTo>
                  <a:pt x="850" y="2747"/>
                </a:lnTo>
                <a:lnTo>
                  <a:pt x="870" y="2748"/>
                </a:lnTo>
                <a:lnTo>
                  <a:pt x="889" y="2761"/>
                </a:lnTo>
                <a:lnTo>
                  <a:pt x="903" y="2772"/>
                </a:lnTo>
                <a:lnTo>
                  <a:pt x="915" y="2774"/>
                </a:lnTo>
                <a:lnTo>
                  <a:pt x="928" y="2775"/>
                </a:lnTo>
                <a:lnTo>
                  <a:pt x="942" y="2775"/>
                </a:lnTo>
                <a:lnTo>
                  <a:pt x="954" y="2774"/>
                </a:lnTo>
                <a:lnTo>
                  <a:pt x="961" y="2772"/>
                </a:lnTo>
                <a:lnTo>
                  <a:pt x="967" y="2770"/>
                </a:lnTo>
                <a:lnTo>
                  <a:pt x="970" y="2770"/>
                </a:lnTo>
                <a:lnTo>
                  <a:pt x="972" y="2772"/>
                </a:lnTo>
                <a:lnTo>
                  <a:pt x="976" y="2773"/>
                </a:lnTo>
                <a:lnTo>
                  <a:pt x="980" y="2776"/>
                </a:lnTo>
                <a:lnTo>
                  <a:pt x="990" y="2785"/>
                </a:lnTo>
                <a:lnTo>
                  <a:pt x="1001" y="2793"/>
                </a:lnTo>
                <a:lnTo>
                  <a:pt x="1010" y="2799"/>
                </a:lnTo>
                <a:lnTo>
                  <a:pt x="1017" y="2802"/>
                </a:lnTo>
                <a:lnTo>
                  <a:pt x="1024" y="2805"/>
                </a:lnTo>
                <a:lnTo>
                  <a:pt x="1032" y="2804"/>
                </a:lnTo>
                <a:lnTo>
                  <a:pt x="1039" y="2801"/>
                </a:lnTo>
                <a:lnTo>
                  <a:pt x="1045" y="2799"/>
                </a:lnTo>
                <a:lnTo>
                  <a:pt x="1047" y="2798"/>
                </a:lnTo>
                <a:lnTo>
                  <a:pt x="1052" y="2797"/>
                </a:lnTo>
                <a:lnTo>
                  <a:pt x="1055" y="2797"/>
                </a:lnTo>
                <a:lnTo>
                  <a:pt x="1060" y="2797"/>
                </a:lnTo>
                <a:lnTo>
                  <a:pt x="1065" y="2798"/>
                </a:lnTo>
                <a:lnTo>
                  <a:pt x="1068" y="2800"/>
                </a:lnTo>
                <a:lnTo>
                  <a:pt x="1072" y="2802"/>
                </a:lnTo>
                <a:lnTo>
                  <a:pt x="1074" y="2805"/>
                </a:lnTo>
                <a:lnTo>
                  <a:pt x="1078" y="2819"/>
                </a:lnTo>
                <a:lnTo>
                  <a:pt x="1081" y="2835"/>
                </a:lnTo>
                <a:lnTo>
                  <a:pt x="1083" y="2837"/>
                </a:lnTo>
                <a:lnTo>
                  <a:pt x="1085" y="2839"/>
                </a:lnTo>
                <a:lnTo>
                  <a:pt x="1087" y="2840"/>
                </a:lnTo>
                <a:lnTo>
                  <a:pt x="1091" y="2842"/>
                </a:lnTo>
                <a:lnTo>
                  <a:pt x="1098" y="2842"/>
                </a:lnTo>
                <a:lnTo>
                  <a:pt x="1108" y="2840"/>
                </a:lnTo>
                <a:lnTo>
                  <a:pt x="1118" y="2838"/>
                </a:lnTo>
                <a:lnTo>
                  <a:pt x="1130" y="2837"/>
                </a:lnTo>
                <a:lnTo>
                  <a:pt x="1136" y="2837"/>
                </a:lnTo>
                <a:lnTo>
                  <a:pt x="1142" y="2838"/>
                </a:lnTo>
                <a:lnTo>
                  <a:pt x="1147" y="2840"/>
                </a:lnTo>
                <a:lnTo>
                  <a:pt x="1150" y="2844"/>
                </a:lnTo>
                <a:lnTo>
                  <a:pt x="1155" y="2852"/>
                </a:lnTo>
                <a:lnTo>
                  <a:pt x="1160" y="2862"/>
                </a:lnTo>
                <a:lnTo>
                  <a:pt x="1166" y="2870"/>
                </a:lnTo>
                <a:lnTo>
                  <a:pt x="1173" y="2881"/>
                </a:lnTo>
                <a:lnTo>
                  <a:pt x="1181" y="2889"/>
                </a:lnTo>
                <a:lnTo>
                  <a:pt x="1187" y="2895"/>
                </a:lnTo>
                <a:lnTo>
                  <a:pt x="1191" y="2898"/>
                </a:lnTo>
                <a:lnTo>
                  <a:pt x="1194" y="2899"/>
                </a:lnTo>
                <a:lnTo>
                  <a:pt x="1198" y="2900"/>
                </a:lnTo>
                <a:lnTo>
                  <a:pt x="1203" y="2899"/>
                </a:lnTo>
                <a:lnTo>
                  <a:pt x="1210" y="2899"/>
                </a:lnTo>
                <a:lnTo>
                  <a:pt x="1216" y="2899"/>
                </a:lnTo>
                <a:lnTo>
                  <a:pt x="1218" y="2900"/>
                </a:lnTo>
                <a:lnTo>
                  <a:pt x="1221" y="2902"/>
                </a:lnTo>
                <a:lnTo>
                  <a:pt x="1222" y="2905"/>
                </a:lnTo>
                <a:lnTo>
                  <a:pt x="1223" y="2907"/>
                </a:lnTo>
                <a:lnTo>
                  <a:pt x="1225" y="2915"/>
                </a:lnTo>
                <a:lnTo>
                  <a:pt x="1229" y="2922"/>
                </a:lnTo>
                <a:lnTo>
                  <a:pt x="1231" y="2925"/>
                </a:lnTo>
                <a:lnTo>
                  <a:pt x="1235" y="2928"/>
                </a:lnTo>
                <a:lnTo>
                  <a:pt x="1238" y="2930"/>
                </a:lnTo>
                <a:lnTo>
                  <a:pt x="1244" y="2931"/>
                </a:lnTo>
                <a:lnTo>
                  <a:pt x="1254" y="2930"/>
                </a:lnTo>
                <a:lnTo>
                  <a:pt x="1261" y="2927"/>
                </a:lnTo>
                <a:lnTo>
                  <a:pt x="1268" y="2924"/>
                </a:lnTo>
                <a:lnTo>
                  <a:pt x="1276" y="2917"/>
                </a:lnTo>
                <a:lnTo>
                  <a:pt x="1281" y="2913"/>
                </a:lnTo>
                <a:lnTo>
                  <a:pt x="1287" y="2911"/>
                </a:lnTo>
                <a:lnTo>
                  <a:pt x="1293" y="2908"/>
                </a:lnTo>
                <a:lnTo>
                  <a:pt x="1300" y="2907"/>
                </a:lnTo>
                <a:lnTo>
                  <a:pt x="1314" y="2907"/>
                </a:lnTo>
                <a:lnTo>
                  <a:pt x="1325" y="2907"/>
                </a:lnTo>
                <a:lnTo>
                  <a:pt x="1330" y="2908"/>
                </a:lnTo>
                <a:lnTo>
                  <a:pt x="1335" y="2911"/>
                </a:lnTo>
                <a:lnTo>
                  <a:pt x="1338" y="2912"/>
                </a:lnTo>
                <a:lnTo>
                  <a:pt x="1343" y="2915"/>
                </a:lnTo>
                <a:lnTo>
                  <a:pt x="1350" y="2922"/>
                </a:lnTo>
                <a:lnTo>
                  <a:pt x="1356" y="2932"/>
                </a:lnTo>
                <a:lnTo>
                  <a:pt x="1362" y="2943"/>
                </a:lnTo>
                <a:lnTo>
                  <a:pt x="1368" y="2952"/>
                </a:lnTo>
                <a:lnTo>
                  <a:pt x="1372" y="2956"/>
                </a:lnTo>
                <a:lnTo>
                  <a:pt x="1375" y="2958"/>
                </a:lnTo>
                <a:lnTo>
                  <a:pt x="1379" y="2959"/>
                </a:lnTo>
                <a:lnTo>
                  <a:pt x="1383" y="2959"/>
                </a:lnTo>
                <a:lnTo>
                  <a:pt x="1392" y="2958"/>
                </a:lnTo>
                <a:lnTo>
                  <a:pt x="1399" y="2958"/>
                </a:lnTo>
                <a:lnTo>
                  <a:pt x="1402" y="2959"/>
                </a:lnTo>
                <a:lnTo>
                  <a:pt x="1405" y="2961"/>
                </a:lnTo>
                <a:lnTo>
                  <a:pt x="1407" y="2962"/>
                </a:lnTo>
                <a:lnTo>
                  <a:pt x="1410" y="2964"/>
                </a:lnTo>
                <a:lnTo>
                  <a:pt x="1416" y="2970"/>
                </a:lnTo>
                <a:lnTo>
                  <a:pt x="1426" y="2975"/>
                </a:lnTo>
                <a:lnTo>
                  <a:pt x="1437" y="2978"/>
                </a:lnTo>
                <a:lnTo>
                  <a:pt x="1446" y="2981"/>
                </a:lnTo>
                <a:lnTo>
                  <a:pt x="1455" y="2980"/>
                </a:lnTo>
                <a:lnTo>
                  <a:pt x="1462" y="2977"/>
                </a:lnTo>
                <a:lnTo>
                  <a:pt x="1468" y="2972"/>
                </a:lnTo>
                <a:lnTo>
                  <a:pt x="1474" y="2966"/>
                </a:lnTo>
                <a:lnTo>
                  <a:pt x="1477" y="2963"/>
                </a:lnTo>
                <a:lnTo>
                  <a:pt x="1481" y="2961"/>
                </a:lnTo>
                <a:lnTo>
                  <a:pt x="1484" y="2959"/>
                </a:lnTo>
                <a:lnTo>
                  <a:pt x="1489" y="2959"/>
                </a:lnTo>
                <a:lnTo>
                  <a:pt x="1498" y="2959"/>
                </a:lnTo>
                <a:lnTo>
                  <a:pt x="1506" y="2961"/>
                </a:lnTo>
                <a:lnTo>
                  <a:pt x="1517" y="2962"/>
                </a:lnTo>
                <a:lnTo>
                  <a:pt x="1526" y="2962"/>
                </a:lnTo>
                <a:lnTo>
                  <a:pt x="1532" y="2962"/>
                </a:lnTo>
                <a:lnTo>
                  <a:pt x="1536" y="2959"/>
                </a:lnTo>
                <a:lnTo>
                  <a:pt x="1540" y="2957"/>
                </a:lnTo>
                <a:lnTo>
                  <a:pt x="1543" y="2953"/>
                </a:lnTo>
                <a:lnTo>
                  <a:pt x="1547" y="2947"/>
                </a:lnTo>
                <a:lnTo>
                  <a:pt x="1553" y="2944"/>
                </a:lnTo>
                <a:lnTo>
                  <a:pt x="1562" y="2942"/>
                </a:lnTo>
                <a:lnTo>
                  <a:pt x="1575" y="2940"/>
                </a:lnTo>
                <a:lnTo>
                  <a:pt x="1589" y="2940"/>
                </a:lnTo>
                <a:lnTo>
                  <a:pt x="1603" y="2938"/>
                </a:lnTo>
                <a:lnTo>
                  <a:pt x="1609" y="2937"/>
                </a:lnTo>
                <a:lnTo>
                  <a:pt x="1614" y="2936"/>
                </a:lnTo>
                <a:lnTo>
                  <a:pt x="1619" y="2933"/>
                </a:lnTo>
                <a:lnTo>
                  <a:pt x="1621" y="2930"/>
                </a:lnTo>
                <a:lnTo>
                  <a:pt x="1627" y="2924"/>
                </a:lnTo>
                <a:lnTo>
                  <a:pt x="1632" y="2919"/>
                </a:lnTo>
                <a:lnTo>
                  <a:pt x="1633" y="2918"/>
                </a:lnTo>
                <a:lnTo>
                  <a:pt x="1637" y="2918"/>
                </a:lnTo>
                <a:lnTo>
                  <a:pt x="1639" y="2919"/>
                </a:lnTo>
                <a:lnTo>
                  <a:pt x="1643" y="2922"/>
                </a:lnTo>
                <a:lnTo>
                  <a:pt x="1651" y="2932"/>
                </a:lnTo>
                <a:lnTo>
                  <a:pt x="1663" y="2942"/>
                </a:lnTo>
                <a:lnTo>
                  <a:pt x="1672" y="2951"/>
                </a:lnTo>
                <a:lnTo>
                  <a:pt x="1679" y="2958"/>
                </a:lnTo>
                <a:lnTo>
                  <a:pt x="1683" y="2964"/>
                </a:lnTo>
                <a:lnTo>
                  <a:pt x="1685" y="2970"/>
                </a:lnTo>
                <a:lnTo>
                  <a:pt x="1688" y="2977"/>
                </a:lnTo>
                <a:lnTo>
                  <a:pt x="1689" y="2985"/>
                </a:lnTo>
                <a:lnTo>
                  <a:pt x="1693" y="2995"/>
                </a:lnTo>
                <a:lnTo>
                  <a:pt x="1696" y="3002"/>
                </a:lnTo>
                <a:lnTo>
                  <a:pt x="1698" y="3006"/>
                </a:lnTo>
                <a:lnTo>
                  <a:pt x="1702" y="3008"/>
                </a:lnTo>
                <a:lnTo>
                  <a:pt x="1706" y="3009"/>
                </a:lnTo>
                <a:lnTo>
                  <a:pt x="1709" y="3010"/>
                </a:lnTo>
                <a:lnTo>
                  <a:pt x="1716" y="3012"/>
                </a:lnTo>
                <a:lnTo>
                  <a:pt x="1721" y="3014"/>
                </a:lnTo>
                <a:lnTo>
                  <a:pt x="1723" y="3016"/>
                </a:lnTo>
                <a:lnTo>
                  <a:pt x="1725" y="3019"/>
                </a:lnTo>
                <a:lnTo>
                  <a:pt x="1726" y="3021"/>
                </a:lnTo>
                <a:lnTo>
                  <a:pt x="1727" y="3025"/>
                </a:lnTo>
                <a:lnTo>
                  <a:pt x="1729" y="3035"/>
                </a:lnTo>
                <a:lnTo>
                  <a:pt x="1732" y="3047"/>
                </a:lnTo>
                <a:lnTo>
                  <a:pt x="1734" y="3053"/>
                </a:lnTo>
                <a:lnTo>
                  <a:pt x="1736" y="3060"/>
                </a:lnTo>
                <a:lnTo>
                  <a:pt x="1739" y="3066"/>
                </a:lnTo>
                <a:lnTo>
                  <a:pt x="1744" y="3072"/>
                </a:lnTo>
                <a:lnTo>
                  <a:pt x="1753" y="3085"/>
                </a:lnTo>
                <a:lnTo>
                  <a:pt x="1764" y="3100"/>
                </a:lnTo>
                <a:lnTo>
                  <a:pt x="1773" y="3111"/>
                </a:lnTo>
                <a:lnTo>
                  <a:pt x="1782" y="3121"/>
                </a:lnTo>
                <a:lnTo>
                  <a:pt x="1786" y="3125"/>
                </a:lnTo>
                <a:lnTo>
                  <a:pt x="1792" y="3126"/>
                </a:lnTo>
                <a:lnTo>
                  <a:pt x="1799" y="3128"/>
                </a:lnTo>
                <a:lnTo>
                  <a:pt x="1807" y="3129"/>
                </a:lnTo>
                <a:lnTo>
                  <a:pt x="1822" y="3130"/>
                </a:lnTo>
                <a:lnTo>
                  <a:pt x="1834" y="3132"/>
                </a:lnTo>
                <a:lnTo>
                  <a:pt x="1843" y="3133"/>
                </a:lnTo>
                <a:lnTo>
                  <a:pt x="1849" y="3135"/>
                </a:lnTo>
                <a:lnTo>
                  <a:pt x="1853" y="3136"/>
                </a:lnTo>
                <a:lnTo>
                  <a:pt x="1854" y="3139"/>
                </a:lnTo>
                <a:lnTo>
                  <a:pt x="1857" y="3142"/>
                </a:lnTo>
                <a:lnTo>
                  <a:pt x="1858" y="3146"/>
                </a:lnTo>
                <a:lnTo>
                  <a:pt x="1859" y="3153"/>
                </a:lnTo>
                <a:lnTo>
                  <a:pt x="1861" y="3159"/>
                </a:lnTo>
                <a:lnTo>
                  <a:pt x="1864" y="3161"/>
                </a:lnTo>
                <a:lnTo>
                  <a:pt x="1866" y="3163"/>
                </a:lnTo>
                <a:lnTo>
                  <a:pt x="1870" y="3164"/>
                </a:lnTo>
                <a:lnTo>
                  <a:pt x="1874" y="3165"/>
                </a:lnTo>
                <a:lnTo>
                  <a:pt x="1883" y="3167"/>
                </a:lnTo>
                <a:lnTo>
                  <a:pt x="1887" y="3171"/>
                </a:lnTo>
                <a:lnTo>
                  <a:pt x="1891" y="3176"/>
                </a:lnTo>
                <a:lnTo>
                  <a:pt x="1893" y="3183"/>
                </a:lnTo>
                <a:lnTo>
                  <a:pt x="1893" y="3191"/>
                </a:lnTo>
                <a:lnTo>
                  <a:pt x="1892" y="3199"/>
                </a:lnTo>
                <a:lnTo>
                  <a:pt x="1889" y="3208"/>
                </a:lnTo>
                <a:lnTo>
                  <a:pt x="1886" y="3215"/>
                </a:lnTo>
                <a:lnTo>
                  <a:pt x="1883" y="3220"/>
                </a:lnTo>
                <a:lnTo>
                  <a:pt x="1882" y="3223"/>
                </a:lnTo>
                <a:lnTo>
                  <a:pt x="1880" y="3227"/>
                </a:lnTo>
                <a:lnTo>
                  <a:pt x="1880" y="3230"/>
                </a:lnTo>
                <a:lnTo>
                  <a:pt x="1880" y="3235"/>
                </a:lnTo>
                <a:lnTo>
                  <a:pt x="1879" y="3240"/>
                </a:lnTo>
                <a:lnTo>
                  <a:pt x="1876" y="3245"/>
                </a:lnTo>
                <a:lnTo>
                  <a:pt x="1870" y="3247"/>
                </a:lnTo>
                <a:lnTo>
                  <a:pt x="1867" y="3248"/>
                </a:lnTo>
                <a:lnTo>
                  <a:pt x="1865" y="3249"/>
                </a:lnTo>
                <a:lnTo>
                  <a:pt x="1863" y="3252"/>
                </a:lnTo>
                <a:lnTo>
                  <a:pt x="1860" y="3254"/>
                </a:lnTo>
                <a:lnTo>
                  <a:pt x="1858" y="3258"/>
                </a:lnTo>
                <a:lnTo>
                  <a:pt x="1858" y="3262"/>
                </a:lnTo>
                <a:lnTo>
                  <a:pt x="1857" y="3267"/>
                </a:lnTo>
                <a:lnTo>
                  <a:pt x="1858" y="3273"/>
                </a:lnTo>
                <a:lnTo>
                  <a:pt x="1860" y="3287"/>
                </a:lnTo>
                <a:lnTo>
                  <a:pt x="1866" y="3304"/>
                </a:lnTo>
                <a:lnTo>
                  <a:pt x="1873" y="3322"/>
                </a:lnTo>
                <a:lnTo>
                  <a:pt x="1882" y="3338"/>
                </a:lnTo>
                <a:lnTo>
                  <a:pt x="1890" y="3352"/>
                </a:lnTo>
                <a:lnTo>
                  <a:pt x="1898" y="3362"/>
                </a:lnTo>
                <a:lnTo>
                  <a:pt x="1905" y="3368"/>
                </a:lnTo>
                <a:lnTo>
                  <a:pt x="1911" y="3372"/>
                </a:lnTo>
                <a:lnTo>
                  <a:pt x="1914" y="3372"/>
                </a:lnTo>
                <a:lnTo>
                  <a:pt x="1916" y="3372"/>
                </a:lnTo>
                <a:lnTo>
                  <a:pt x="1920" y="3371"/>
                </a:lnTo>
                <a:lnTo>
                  <a:pt x="1923" y="3369"/>
                </a:lnTo>
                <a:lnTo>
                  <a:pt x="1929" y="3366"/>
                </a:lnTo>
                <a:lnTo>
                  <a:pt x="1936" y="3362"/>
                </a:lnTo>
                <a:lnTo>
                  <a:pt x="1942" y="3359"/>
                </a:lnTo>
                <a:lnTo>
                  <a:pt x="1949" y="3359"/>
                </a:lnTo>
                <a:lnTo>
                  <a:pt x="1958" y="3360"/>
                </a:lnTo>
                <a:lnTo>
                  <a:pt x="1966" y="3362"/>
                </a:lnTo>
                <a:lnTo>
                  <a:pt x="1974" y="3366"/>
                </a:lnTo>
                <a:lnTo>
                  <a:pt x="1983" y="3371"/>
                </a:lnTo>
                <a:lnTo>
                  <a:pt x="1986" y="3373"/>
                </a:lnTo>
                <a:lnTo>
                  <a:pt x="1990" y="3377"/>
                </a:lnTo>
                <a:lnTo>
                  <a:pt x="1992" y="3380"/>
                </a:lnTo>
                <a:lnTo>
                  <a:pt x="1994" y="3385"/>
                </a:lnTo>
                <a:lnTo>
                  <a:pt x="1997" y="3390"/>
                </a:lnTo>
                <a:lnTo>
                  <a:pt x="1999" y="3393"/>
                </a:lnTo>
                <a:lnTo>
                  <a:pt x="2002" y="3396"/>
                </a:lnTo>
                <a:lnTo>
                  <a:pt x="2004" y="3397"/>
                </a:lnTo>
                <a:lnTo>
                  <a:pt x="2008" y="3398"/>
                </a:lnTo>
                <a:lnTo>
                  <a:pt x="2011" y="3398"/>
                </a:lnTo>
                <a:lnTo>
                  <a:pt x="2015" y="3398"/>
                </a:lnTo>
                <a:lnTo>
                  <a:pt x="2018" y="3396"/>
                </a:lnTo>
                <a:lnTo>
                  <a:pt x="2025" y="3392"/>
                </a:lnTo>
                <a:lnTo>
                  <a:pt x="2031" y="3391"/>
                </a:lnTo>
                <a:lnTo>
                  <a:pt x="2036" y="3392"/>
                </a:lnTo>
                <a:lnTo>
                  <a:pt x="2042" y="3396"/>
                </a:lnTo>
                <a:lnTo>
                  <a:pt x="2047" y="3399"/>
                </a:lnTo>
                <a:lnTo>
                  <a:pt x="2052" y="3400"/>
                </a:lnTo>
                <a:lnTo>
                  <a:pt x="2057" y="3403"/>
                </a:lnTo>
                <a:lnTo>
                  <a:pt x="2065" y="3404"/>
                </a:lnTo>
                <a:lnTo>
                  <a:pt x="2076" y="3405"/>
                </a:lnTo>
                <a:lnTo>
                  <a:pt x="2087" y="3405"/>
                </a:lnTo>
                <a:lnTo>
                  <a:pt x="2095" y="3407"/>
                </a:lnTo>
                <a:lnTo>
                  <a:pt x="2105" y="3410"/>
                </a:lnTo>
                <a:lnTo>
                  <a:pt x="2109" y="3412"/>
                </a:lnTo>
                <a:lnTo>
                  <a:pt x="2112" y="3415"/>
                </a:lnTo>
                <a:lnTo>
                  <a:pt x="2115" y="3418"/>
                </a:lnTo>
                <a:lnTo>
                  <a:pt x="2116" y="3422"/>
                </a:lnTo>
                <a:lnTo>
                  <a:pt x="2116" y="3438"/>
                </a:lnTo>
                <a:lnTo>
                  <a:pt x="2116" y="3455"/>
                </a:lnTo>
                <a:lnTo>
                  <a:pt x="2118" y="3459"/>
                </a:lnTo>
                <a:lnTo>
                  <a:pt x="2120" y="3463"/>
                </a:lnTo>
                <a:lnTo>
                  <a:pt x="2124" y="3467"/>
                </a:lnTo>
                <a:lnTo>
                  <a:pt x="2129" y="3470"/>
                </a:lnTo>
                <a:lnTo>
                  <a:pt x="2135" y="3473"/>
                </a:lnTo>
                <a:lnTo>
                  <a:pt x="2139" y="3475"/>
                </a:lnTo>
                <a:lnTo>
                  <a:pt x="2144" y="3474"/>
                </a:lnTo>
                <a:lnTo>
                  <a:pt x="2149" y="3473"/>
                </a:lnTo>
                <a:lnTo>
                  <a:pt x="2153" y="3470"/>
                </a:lnTo>
                <a:lnTo>
                  <a:pt x="2154" y="3467"/>
                </a:lnTo>
                <a:lnTo>
                  <a:pt x="2155" y="3464"/>
                </a:lnTo>
                <a:lnTo>
                  <a:pt x="2155" y="3463"/>
                </a:lnTo>
                <a:lnTo>
                  <a:pt x="2154" y="3461"/>
                </a:lnTo>
                <a:lnTo>
                  <a:pt x="2153" y="3460"/>
                </a:lnTo>
                <a:lnTo>
                  <a:pt x="2150" y="3460"/>
                </a:lnTo>
                <a:lnTo>
                  <a:pt x="2147" y="3460"/>
                </a:lnTo>
                <a:lnTo>
                  <a:pt x="2144" y="3460"/>
                </a:lnTo>
                <a:lnTo>
                  <a:pt x="2142" y="3460"/>
                </a:lnTo>
                <a:lnTo>
                  <a:pt x="2141" y="3457"/>
                </a:lnTo>
                <a:lnTo>
                  <a:pt x="2141" y="3455"/>
                </a:lnTo>
                <a:lnTo>
                  <a:pt x="2141" y="3453"/>
                </a:lnTo>
                <a:lnTo>
                  <a:pt x="2142" y="3449"/>
                </a:lnTo>
                <a:lnTo>
                  <a:pt x="2143" y="3445"/>
                </a:lnTo>
                <a:lnTo>
                  <a:pt x="2147" y="3442"/>
                </a:lnTo>
                <a:lnTo>
                  <a:pt x="2153" y="3435"/>
                </a:lnTo>
                <a:lnTo>
                  <a:pt x="2159" y="3426"/>
                </a:lnTo>
                <a:lnTo>
                  <a:pt x="2161" y="3422"/>
                </a:lnTo>
                <a:lnTo>
                  <a:pt x="2161" y="3417"/>
                </a:lnTo>
                <a:lnTo>
                  <a:pt x="2161" y="3412"/>
                </a:lnTo>
                <a:lnTo>
                  <a:pt x="2159" y="3406"/>
                </a:lnTo>
                <a:lnTo>
                  <a:pt x="2154" y="3399"/>
                </a:lnTo>
                <a:lnTo>
                  <a:pt x="2151" y="3393"/>
                </a:lnTo>
                <a:lnTo>
                  <a:pt x="2151" y="3386"/>
                </a:lnTo>
                <a:lnTo>
                  <a:pt x="2151" y="3378"/>
                </a:lnTo>
                <a:lnTo>
                  <a:pt x="2148" y="3366"/>
                </a:lnTo>
                <a:lnTo>
                  <a:pt x="2142" y="3355"/>
                </a:lnTo>
                <a:lnTo>
                  <a:pt x="2141" y="3352"/>
                </a:lnTo>
                <a:lnTo>
                  <a:pt x="2139" y="3348"/>
                </a:lnTo>
                <a:lnTo>
                  <a:pt x="2139" y="3346"/>
                </a:lnTo>
                <a:lnTo>
                  <a:pt x="2139" y="3346"/>
                </a:lnTo>
                <a:lnTo>
                  <a:pt x="2141" y="3344"/>
                </a:lnTo>
                <a:lnTo>
                  <a:pt x="2143" y="3344"/>
                </a:lnTo>
                <a:lnTo>
                  <a:pt x="2147" y="3344"/>
                </a:lnTo>
                <a:lnTo>
                  <a:pt x="2149" y="3343"/>
                </a:lnTo>
                <a:lnTo>
                  <a:pt x="2151" y="3343"/>
                </a:lnTo>
                <a:lnTo>
                  <a:pt x="2153" y="3342"/>
                </a:lnTo>
                <a:lnTo>
                  <a:pt x="2154" y="3337"/>
                </a:lnTo>
                <a:lnTo>
                  <a:pt x="2154" y="3330"/>
                </a:lnTo>
                <a:lnTo>
                  <a:pt x="2154" y="3325"/>
                </a:lnTo>
                <a:lnTo>
                  <a:pt x="2155" y="3322"/>
                </a:lnTo>
                <a:lnTo>
                  <a:pt x="2157" y="3319"/>
                </a:lnTo>
                <a:lnTo>
                  <a:pt x="2160" y="3317"/>
                </a:lnTo>
                <a:lnTo>
                  <a:pt x="2163" y="3316"/>
                </a:lnTo>
                <a:lnTo>
                  <a:pt x="2168" y="3314"/>
                </a:lnTo>
                <a:lnTo>
                  <a:pt x="2174" y="3314"/>
                </a:lnTo>
                <a:lnTo>
                  <a:pt x="2181" y="3312"/>
                </a:lnTo>
                <a:lnTo>
                  <a:pt x="2187" y="3314"/>
                </a:lnTo>
                <a:lnTo>
                  <a:pt x="2193" y="3314"/>
                </a:lnTo>
                <a:lnTo>
                  <a:pt x="2197" y="3316"/>
                </a:lnTo>
                <a:lnTo>
                  <a:pt x="2200" y="3317"/>
                </a:lnTo>
                <a:lnTo>
                  <a:pt x="2202" y="3321"/>
                </a:lnTo>
                <a:lnTo>
                  <a:pt x="2204" y="3323"/>
                </a:lnTo>
                <a:lnTo>
                  <a:pt x="2205" y="3327"/>
                </a:lnTo>
                <a:lnTo>
                  <a:pt x="2205" y="3331"/>
                </a:lnTo>
                <a:lnTo>
                  <a:pt x="2205" y="3340"/>
                </a:lnTo>
                <a:lnTo>
                  <a:pt x="2206" y="3346"/>
                </a:lnTo>
                <a:lnTo>
                  <a:pt x="2208" y="3349"/>
                </a:lnTo>
                <a:lnTo>
                  <a:pt x="2210" y="3353"/>
                </a:lnTo>
                <a:lnTo>
                  <a:pt x="2213" y="3355"/>
                </a:lnTo>
                <a:lnTo>
                  <a:pt x="2217" y="3359"/>
                </a:lnTo>
                <a:lnTo>
                  <a:pt x="2220" y="3361"/>
                </a:lnTo>
                <a:lnTo>
                  <a:pt x="2223" y="3365"/>
                </a:lnTo>
                <a:lnTo>
                  <a:pt x="2224" y="3368"/>
                </a:lnTo>
                <a:lnTo>
                  <a:pt x="2225" y="3372"/>
                </a:lnTo>
                <a:lnTo>
                  <a:pt x="2226" y="3379"/>
                </a:lnTo>
                <a:lnTo>
                  <a:pt x="2226" y="3386"/>
                </a:lnTo>
                <a:lnTo>
                  <a:pt x="2227" y="3390"/>
                </a:lnTo>
                <a:lnTo>
                  <a:pt x="2229" y="3394"/>
                </a:lnTo>
                <a:lnTo>
                  <a:pt x="2232" y="3397"/>
                </a:lnTo>
                <a:lnTo>
                  <a:pt x="2236" y="3400"/>
                </a:lnTo>
                <a:lnTo>
                  <a:pt x="2245" y="3405"/>
                </a:lnTo>
                <a:lnTo>
                  <a:pt x="2256" y="3410"/>
                </a:lnTo>
                <a:lnTo>
                  <a:pt x="2273" y="3415"/>
                </a:lnTo>
                <a:lnTo>
                  <a:pt x="2295" y="3423"/>
                </a:lnTo>
                <a:lnTo>
                  <a:pt x="2317" y="3431"/>
                </a:lnTo>
                <a:lnTo>
                  <a:pt x="2332" y="3438"/>
                </a:lnTo>
                <a:lnTo>
                  <a:pt x="2342" y="3444"/>
                </a:lnTo>
                <a:lnTo>
                  <a:pt x="2351" y="3449"/>
                </a:lnTo>
                <a:lnTo>
                  <a:pt x="2355" y="3450"/>
                </a:lnTo>
                <a:lnTo>
                  <a:pt x="2359" y="3451"/>
                </a:lnTo>
                <a:lnTo>
                  <a:pt x="2363" y="3450"/>
                </a:lnTo>
                <a:lnTo>
                  <a:pt x="2365" y="3450"/>
                </a:lnTo>
                <a:lnTo>
                  <a:pt x="2369" y="3448"/>
                </a:lnTo>
                <a:lnTo>
                  <a:pt x="2370" y="3443"/>
                </a:lnTo>
                <a:lnTo>
                  <a:pt x="2371" y="3440"/>
                </a:lnTo>
                <a:lnTo>
                  <a:pt x="2370" y="3434"/>
                </a:lnTo>
                <a:lnTo>
                  <a:pt x="2369" y="3428"/>
                </a:lnTo>
                <a:lnTo>
                  <a:pt x="2367" y="3422"/>
                </a:lnTo>
                <a:lnTo>
                  <a:pt x="2364" y="3416"/>
                </a:lnTo>
                <a:lnTo>
                  <a:pt x="2361" y="3411"/>
                </a:lnTo>
                <a:lnTo>
                  <a:pt x="2355" y="3401"/>
                </a:lnTo>
                <a:lnTo>
                  <a:pt x="2350" y="3392"/>
                </a:lnTo>
                <a:lnTo>
                  <a:pt x="2350" y="3387"/>
                </a:lnTo>
                <a:lnTo>
                  <a:pt x="2350" y="3382"/>
                </a:lnTo>
                <a:lnTo>
                  <a:pt x="2350" y="3377"/>
                </a:lnTo>
                <a:lnTo>
                  <a:pt x="2352" y="3371"/>
                </a:lnTo>
                <a:lnTo>
                  <a:pt x="2356" y="3360"/>
                </a:lnTo>
                <a:lnTo>
                  <a:pt x="2357" y="3350"/>
                </a:lnTo>
                <a:lnTo>
                  <a:pt x="2357" y="3346"/>
                </a:lnTo>
                <a:lnTo>
                  <a:pt x="2356" y="3341"/>
                </a:lnTo>
                <a:lnTo>
                  <a:pt x="2355" y="3336"/>
                </a:lnTo>
                <a:lnTo>
                  <a:pt x="2352" y="3330"/>
                </a:lnTo>
                <a:lnTo>
                  <a:pt x="2349" y="3319"/>
                </a:lnTo>
                <a:lnTo>
                  <a:pt x="2346" y="3310"/>
                </a:lnTo>
                <a:lnTo>
                  <a:pt x="2348" y="3306"/>
                </a:lnTo>
                <a:lnTo>
                  <a:pt x="2349" y="3304"/>
                </a:lnTo>
                <a:lnTo>
                  <a:pt x="2350" y="3302"/>
                </a:lnTo>
                <a:lnTo>
                  <a:pt x="2352" y="3302"/>
                </a:lnTo>
                <a:lnTo>
                  <a:pt x="2364" y="3305"/>
                </a:lnTo>
                <a:lnTo>
                  <a:pt x="2380" y="3314"/>
                </a:lnTo>
                <a:lnTo>
                  <a:pt x="2390" y="3317"/>
                </a:lnTo>
                <a:lnTo>
                  <a:pt x="2401" y="3321"/>
                </a:lnTo>
                <a:lnTo>
                  <a:pt x="2411" y="3323"/>
                </a:lnTo>
                <a:lnTo>
                  <a:pt x="2419" y="3323"/>
                </a:lnTo>
                <a:lnTo>
                  <a:pt x="2426" y="3323"/>
                </a:lnTo>
                <a:lnTo>
                  <a:pt x="2428" y="3321"/>
                </a:lnTo>
                <a:lnTo>
                  <a:pt x="2431" y="3316"/>
                </a:lnTo>
                <a:lnTo>
                  <a:pt x="2431" y="3310"/>
                </a:lnTo>
                <a:lnTo>
                  <a:pt x="2431" y="3306"/>
                </a:lnTo>
                <a:lnTo>
                  <a:pt x="2433" y="3304"/>
                </a:lnTo>
                <a:lnTo>
                  <a:pt x="2437" y="3303"/>
                </a:lnTo>
                <a:lnTo>
                  <a:pt x="2441" y="3302"/>
                </a:lnTo>
                <a:lnTo>
                  <a:pt x="2452" y="3300"/>
                </a:lnTo>
                <a:lnTo>
                  <a:pt x="2466" y="3302"/>
                </a:lnTo>
                <a:lnTo>
                  <a:pt x="2479" y="3304"/>
                </a:lnTo>
                <a:lnTo>
                  <a:pt x="2490" y="3308"/>
                </a:lnTo>
                <a:lnTo>
                  <a:pt x="2497" y="3311"/>
                </a:lnTo>
                <a:lnTo>
                  <a:pt x="2504" y="3314"/>
                </a:lnTo>
                <a:lnTo>
                  <a:pt x="2508" y="3315"/>
                </a:lnTo>
                <a:lnTo>
                  <a:pt x="2510" y="3315"/>
                </a:lnTo>
                <a:lnTo>
                  <a:pt x="2514" y="3315"/>
                </a:lnTo>
                <a:lnTo>
                  <a:pt x="2516" y="3314"/>
                </a:lnTo>
                <a:lnTo>
                  <a:pt x="2520" y="3309"/>
                </a:lnTo>
                <a:lnTo>
                  <a:pt x="2522" y="3304"/>
                </a:lnTo>
                <a:lnTo>
                  <a:pt x="2523" y="3296"/>
                </a:lnTo>
                <a:lnTo>
                  <a:pt x="2527" y="3289"/>
                </a:lnTo>
                <a:lnTo>
                  <a:pt x="2529" y="3286"/>
                </a:lnTo>
                <a:lnTo>
                  <a:pt x="2532" y="3285"/>
                </a:lnTo>
                <a:lnTo>
                  <a:pt x="2535" y="3285"/>
                </a:lnTo>
                <a:lnTo>
                  <a:pt x="2539" y="3286"/>
                </a:lnTo>
                <a:lnTo>
                  <a:pt x="2548" y="3291"/>
                </a:lnTo>
                <a:lnTo>
                  <a:pt x="2558" y="3292"/>
                </a:lnTo>
                <a:lnTo>
                  <a:pt x="2561" y="3292"/>
                </a:lnTo>
                <a:lnTo>
                  <a:pt x="2564" y="3291"/>
                </a:lnTo>
                <a:lnTo>
                  <a:pt x="2566" y="3289"/>
                </a:lnTo>
                <a:lnTo>
                  <a:pt x="2566" y="3285"/>
                </a:lnTo>
                <a:lnTo>
                  <a:pt x="2564" y="3276"/>
                </a:lnTo>
                <a:lnTo>
                  <a:pt x="2561" y="3264"/>
                </a:lnTo>
                <a:lnTo>
                  <a:pt x="2560" y="3256"/>
                </a:lnTo>
                <a:lnTo>
                  <a:pt x="2559" y="3249"/>
                </a:lnTo>
                <a:lnTo>
                  <a:pt x="2559" y="3241"/>
                </a:lnTo>
                <a:lnTo>
                  <a:pt x="2560" y="3232"/>
                </a:lnTo>
                <a:lnTo>
                  <a:pt x="2563" y="3223"/>
                </a:lnTo>
                <a:lnTo>
                  <a:pt x="2565" y="3217"/>
                </a:lnTo>
                <a:lnTo>
                  <a:pt x="2569" y="3213"/>
                </a:lnTo>
                <a:lnTo>
                  <a:pt x="2571" y="3210"/>
                </a:lnTo>
                <a:lnTo>
                  <a:pt x="2575" y="3209"/>
                </a:lnTo>
                <a:lnTo>
                  <a:pt x="2578" y="3209"/>
                </a:lnTo>
                <a:lnTo>
                  <a:pt x="2582" y="3210"/>
                </a:lnTo>
                <a:lnTo>
                  <a:pt x="2585" y="3211"/>
                </a:lnTo>
                <a:lnTo>
                  <a:pt x="2594" y="3215"/>
                </a:lnTo>
                <a:lnTo>
                  <a:pt x="2602" y="3216"/>
                </a:lnTo>
                <a:lnTo>
                  <a:pt x="2605" y="3216"/>
                </a:lnTo>
                <a:lnTo>
                  <a:pt x="2608" y="3215"/>
                </a:lnTo>
                <a:lnTo>
                  <a:pt x="2609" y="3213"/>
                </a:lnTo>
                <a:lnTo>
                  <a:pt x="2609" y="3209"/>
                </a:lnTo>
                <a:lnTo>
                  <a:pt x="2605" y="3199"/>
                </a:lnTo>
                <a:lnTo>
                  <a:pt x="2604" y="3192"/>
                </a:lnTo>
                <a:lnTo>
                  <a:pt x="2604" y="3189"/>
                </a:lnTo>
                <a:lnTo>
                  <a:pt x="2605" y="3185"/>
                </a:lnTo>
                <a:lnTo>
                  <a:pt x="2607" y="3183"/>
                </a:lnTo>
                <a:lnTo>
                  <a:pt x="2609" y="3180"/>
                </a:lnTo>
                <a:lnTo>
                  <a:pt x="2613" y="3179"/>
                </a:lnTo>
                <a:lnTo>
                  <a:pt x="2615" y="3176"/>
                </a:lnTo>
                <a:lnTo>
                  <a:pt x="2617" y="3173"/>
                </a:lnTo>
                <a:lnTo>
                  <a:pt x="2619" y="3170"/>
                </a:lnTo>
                <a:lnTo>
                  <a:pt x="2620" y="3167"/>
                </a:lnTo>
                <a:lnTo>
                  <a:pt x="2619" y="3164"/>
                </a:lnTo>
                <a:lnTo>
                  <a:pt x="2617" y="3161"/>
                </a:lnTo>
                <a:lnTo>
                  <a:pt x="2614" y="3160"/>
                </a:lnTo>
                <a:lnTo>
                  <a:pt x="2605" y="3155"/>
                </a:lnTo>
                <a:lnTo>
                  <a:pt x="2598" y="3152"/>
                </a:lnTo>
                <a:lnTo>
                  <a:pt x="2596" y="3148"/>
                </a:lnTo>
                <a:lnTo>
                  <a:pt x="2595" y="3146"/>
                </a:lnTo>
                <a:lnTo>
                  <a:pt x="2595" y="3142"/>
                </a:lnTo>
                <a:lnTo>
                  <a:pt x="2597" y="3138"/>
                </a:lnTo>
                <a:lnTo>
                  <a:pt x="2602" y="3129"/>
                </a:lnTo>
                <a:lnTo>
                  <a:pt x="2609" y="3121"/>
                </a:lnTo>
                <a:lnTo>
                  <a:pt x="2613" y="3117"/>
                </a:lnTo>
                <a:lnTo>
                  <a:pt x="2616" y="3115"/>
                </a:lnTo>
                <a:lnTo>
                  <a:pt x="2621" y="3113"/>
                </a:lnTo>
                <a:lnTo>
                  <a:pt x="2626" y="3113"/>
                </a:lnTo>
                <a:lnTo>
                  <a:pt x="2641" y="3119"/>
                </a:lnTo>
                <a:lnTo>
                  <a:pt x="2664" y="3128"/>
                </a:lnTo>
                <a:lnTo>
                  <a:pt x="2686" y="3138"/>
                </a:lnTo>
                <a:lnTo>
                  <a:pt x="2704" y="3144"/>
                </a:lnTo>
                <a:lnTo>
                  <a:pt x="2708" y="3144"/>
                </a:lnTo>
                <a:lnTo>
                  <a:pt x="2711" y="3144"/>
                </a:lnTo>
                <a:lnTo>
                  <a:pt x="2712" y="3144"/>
                </a:lnTo>
                <a:lnTo>
                  <a:pt x="2715" y="3142"/>
                </a:lnTo>
                <a:lnTo>
                  <a:pt x="2717" y="3138"/>
                </a:lnTo>
                <a:lnTo>
                  <a:pt x="2723" y="3132"/>
                </a:lnTo>
                <a:lnTo>
                  <a:pt x="2730" y="3126"/>
                </a:lnTo>
                <a:lnTo>
                  <a:pt x="2736" y="3123"/>
                </a:lnTo>
                <a:lnTo>
                  <a:pt x="2739" y="3121"/>
                </a:lnTo>
                <a:lnTo>
                  <a:pt x="2740" y="3120"/>
                </a:lnTo>
                <a:lnTo>
                  <a:pt x="2739" y="3119"/>
                </a:lnTo>
                <a:lnTo>
                  <a:pt x="2736" y="3116"/>
                </a:lnTo>
                <a:lnTo>
                  <a:pt x="2729" y="3108"/>
                </a:lnTo>
                <a:lnTo>
                  <a:pt x="2721" y="3100"/>
                </a:lnTo>
                <a:lnTo>
                  <a:pt x="2710" y="3087"/>
                </a:lnTo>
                <a:lnTo>
                  <a:pt x="2698" y="3075"/>
                </a:lnTo>
                <a:lnTo>
                  <a:pt x="2689" y="3063"/>
                </a:lnTo>
                <a:lnTo>
                  <a:pt x="2682" y="3053"/>
                </a:lnTo>
                <a:lnTo>
                  <a:pt x="2674" y="3046"/>
                </a:lnTo>
                <a:lnTo>
                  <a:pt x="2667" y="3041"/>
                </a:lnTo>
                <a:lnTo>
                  <a:pt x="2660" y="3037"/>
                </a:lnTo>
                <a:lnTo>
                  <a:pt x="2653" y="3034"/>
                </a:lnTo>
                <a:lnTo>
                  <a:pt x="2647" y="3029"/>
                </a:lnTo>
                <a:lnTo>
                  <a:pt x="2640" y="3024"/>
                </a:lnTo>
                <a:lnTo>
                  <a:pt x="2634" y="3016"/>
                </a:lnTo>
                <a:lnTo>
                  <a:pt x="2630" y="3008"/>
                </a:lnTo>
                <a:lnTo>
                  <a:pt x="2629" y="2999"/>
                </a:lnTo>
                <a:lnTo>
                  <a:pt x="2628" y="2987"/>
                </a:lnTo>
                <a:lnTo>
                  <a:pt x="2627" y="2974"/>
                </a:lnTo>
                <a:lnTo>
                  <a:pt x="2627" y="2963"/>
                </a:lnTo>
                <a:lnTo>
                  <a:pt x="2627" y="2958"/>
                </a:lnTo>
                <a:lnTo>
                  <a:pt x="2626" y="2956"/>
                </a:lnTo>
                <a:lnTo>
                  <a:pt x="2623" y="2952"/>
                </a:lnTo>
                <a:lnTo>
                  <a:pt x="2622" y="2950"/>
                </a:lnTo>
                <a:lnTo>
                  <a:pt x="2619" y="2946"/>
                </a:lnTo>
                <a:lnTo>
                  <a:pt x="2617" y="2943"/>
                </a:lnTo>
                <a:lnTo>
                  <a:pt x="2616" y="2940"/>
                </a:lnTo>
                <a:lnTo>
                  <a:pt x="2616" y="2938"/>
                </a:lnTo>
                <a:lnTo>
                  <a:pt x="2619" y="2934"/>
                </a:lnTo>
                <a:lnTo>
                  <a:pt x="2626" y="2927"/>
                </a:lnTo>
                <a:lnTo>
                  <a:pt x="2632" y="2924"/>
                </a:lnTo>
                <a:lnTo>
                  <a:pt x="2638" y="2921"/>
                </a:lnTo>
                <a:lnTo>
                  <a:pt x="2644" y="2919"/>
                </a:lnTo>
                <a:lnTo>
                  <a:pt x="2653" y="2919"/>
                </a:lnTo>
                <a:lnTo>
                  <a:pt x="2670" y="2919"/>
                </a:lnTo>
                <a:lnTo>
                  <a:pt x="2682" y="2918"/>
                </a:lnTo>
                <a:lnTo>
                  <a:pt x="2687" y="2915"/>
                </a:lnTo>
                <a:lnTo>
                  <a:pt x="2691" y="2913"/>
                </a:lnTo>
                <a:lnTo>
                  <a:pt x="2695" y="2909"/>
                </a:lnTo>
                <a:lnTo>
                  <a:pt x="2698" y="2903"/>
                </a:lnTo>
                <a:lnTo>
                  <a:pt x="2699" y="2898"/>
                </a:lnTo>
                <a:lnTo>
                  <a:pt x="2699" y="2890"/>
                </a:lnTo>
                <a:lnTo>
                  <a:pt x="2698" y="2884"/>
                </a:lnTo>
                <a:lnTo>
                  <a:pt x="2696" y="2877"/>
                </a:lnTo>
                <a:lnTo>
                  <a:pt x="2690" y="2867"/>
                </a:lnTo>
                <a:lnTo>
                  <a:pt x="2685" y="2857"/>
                </a:lnTo>
                <a:lnTo>
                  <a:pt x="2684" y="2854"/>
                </a:lnTo>
                <a:lnTo>
                  <a:pt x="2684" y="2851"/>
                </a:lnTo>
                <a:lnTo>
                  <a:pt x="2685" y="2848"/>
                </a:lnTo>
                <a:lnTo>
                  <a:pt x="2686" y="2844"/>
                </a:lnTo>
                <a:lnTo>
                  <a:pt x="2689" y="2840"/>
                </a:lnTo>
                <a:lnTo>
                  <a:pt x="2692" y="2837"/>
                </a:lnTo>
                <a:lnTo>
                  <a:pt x="2697" y="2833"/>
                </a:lnTo>
                <a:lnTo>
                  <a:pt x="2702" y="2831"/>
                </a:lnTo>
                <a:lnTo>
                  <a:pt x="2714" y="2824"/>
                </a:lnTo>
                <a:lnTo>
                  <a:pt x="2723" y="2816"/>
                </a:lnTo>
                <a:lnTo>
                  <a:pt x="2727" y="2811"/>
                </a:lnTo>
                <a:lnTo>
                  <a:pt x="2729" y="2806"/>
                </a:lnTo>
                <a:lnTo>
                  <a:pt x="2731" y="2800"/>
                </a:lnTo>
                <a:lnTo>
                  <a:pt x="2733" y="2794"/>
                </a:lnTo>
                <a:lnTo>
                  <a:pt x="2734" y="2787"/>
                </a:lnTo>
                <a:lnTo>
                  <a:pt x="2735" y="2781"/>
                </a:lnTo>
                <a:lnTo>
                  <a:pt x="2737" y="2775"/>
                </a:lnTo>
                <a:lnTo>
                  <a:pt x="2740" y="2769"/>
                </a:lnTo>
                <a:lnTo>
                  <a:pt x="2743" y="2766"/>
                </a:lnTo>
                <a:lnTo>
                  <a:pt x="2748" y="2762"/>
                </a:lnTo>
                <a:lnTo>
                  <a:pt x="2753" y="2760"/>
                </a:lnTo>
                <a:lnTo>
                  <a:pt x="2758" y="2758"/>
                </a:lnTo>
                <a:lnTo>
                  <a:pt x="2768" y="2757"/>
                </a:lnTo>
                <a:lnTo>
                  <a:pt x="2780" y="2755"/>
                </a:lnTo>
                <a:lnTo>
                  <a:pt x="2790" y="2753"/>
                </a:lnTo>
                <a:lnTo>
                  <a:pt x="2797" y="2750"/>
                </a:lnTo>
                <a:lnTo>
                  <a:pt x="2799" y="2749"/>
                </a:lnTo>
                <a:lnTo>
                  <a:pt x="2800" y="2747"/>
                </a:lnTo>
                <a:lnTo>
                  <a:pt x="2799" y="2744"/>
                </a:lnTo>
                <a:lnTo>
                  <a:pt x="2796" y="2742"/>
                </a:lnTo>
                <a:lnTo>
                  <a:pt x="2792" y="2738"/>
                </a:lnTo>
                <a:lnTo>
                  <a:pt x="2787" y="2736"/>
                </a:lnTo>
                <a:lnTo>
                  <a:pt x="2781" y="2734"/>
                </a:lnTo>
                <a:lnTo>
                  <a:pt x="2774" y="2731"/>
                </a:lnTo>
                <a:lnTo>
                  <a:pt x="2767" y="2729"/>
                </a:lnTo>
                <a:lnTo>
                  <a:pt x="2760" y="2726"/>
                </a:lnTo>
                <a:lnTo>
                  <a:pt x="2754" y="2723"/>
                </a:lnTo>
                <a:lnTo>
                  <a:pt x="2748" y="2719"/>
                </a:lnTo>
                <a:lnTo>
                  <a:pt x="2736" y="2712"/>
                </a:lnTo>
                <a:lnTo>
                  <a:pt x="2727" y="2706"/>
                </a:lnTo>
                <a:lnTo>
                  <a:pt x="2722" y="2703"/>
                </a:lnTo>
                <a:lnTo>
                  <a:pt x="2720" y="2699"/>
                </a:lnTo>
                <a:lnTo>
                  <a:pt x="2717" y="2695"/>
                </a:lnTo>
                <a:lnTo>
                  <a:pt x="2715" y="2692"/>
                </a:lnTo>
                <a:lnTo>
                  <a:pt x="2715" y="2687"/>
                </a:lnTo>
                <a:lnTo>
                  <a:pt x="2715" y="2684"/>
                </a:lnTo>
                <a:lnTo>
                  <a:pt x="2716" y="2680"/>
                </a:lnTo>
                <a:lnTo>
                  <a:pt x="2717" y="2676"/>
                </a:lnTo>
                <a:lnTo>
                  <a:pt x="2718" y="2673"/>
                </a:lnTo>
                <a:lnTo>
                  <a:pt x="2718" y="2671"/>
                </a:lnTo>
                <a:lnTo>
                  <a:pt x="2718" y="2669"/>
                </a:lnTo>
                <a:lnTo>
                  <a:pt x="2717" y="2668"/>
                </a:lnTo>
                <a:lnTo>
                  <a:pt x="2712" y="2666"/>
                </a:lnTo>
                <a:lnTo>
                  <a:pt x="2705" y="2666"/>
                </a:lnTo>
                <a:lnTo>
                  <a:pt x="2701" y="2665"/>
                </a:lnTo>
                <a:lnTo>
                  <a:pt x="2697" y="2662"/>
                </a:lnTo>
                <a:lnTo>
                  <a:pt x="2692" y="2661"/>
                </a:lnTo>
                <a:lnTo>
                  <a:pt x="2690" y="2657"/>
                </a:lnTo>
                <a:lnTo>
                  <a:pt x="2686" y="2654"/>
                </a:lnTo>
                <a:lnTo>
                  <a:pt x="2685" y="2650"/>
                </a:lnTo>
                <a:lnTo>
                  <a:pt x="2685" y="2646"/>
                </a:lnTo>
                <a:lnTo>
                  <a:pt x="2685" y="2641"/>
                </a:lnTo>
                <a:lnTo>
                  <a:pt x="2690" y="2631"/>
                </a:lnTo>
                <a:lnTo>
                  <a:pt x="2693" y="2622"/>
                </a:lnTo>
                <a:lnTo>
                  <a:pt x="2695" y="2616"/>
                </a:lnTo>
                <a:lnTo>
                  <a:pt x="2695" y="2610"/>
                </a:lnTo>
                <a:lnTo>
                  <a:pt x="2695" y="2603"/>
                </a:lnTo>
                <a:lnTo>
                  <a:pt x="2693" y="2594"/>
                </a:lnTo>
                <a:lnTo>
                  <a:pt x="2690" y="2580"/>
                </a:lnTo>
                <a:lnTo>
                  <a:pt x="2685" y="2571"/>
                </a:lnTo>
                <a:lnTo>
                  <a:pt x="2682" y="2564"/>
                </a:lnTo>
                <a:lnTo>
                  <a:pt x="2678" y="2555"/>
                </a:lnTo>
                <a:lnTo>
                  <a:pt x="2677" y="2550"/>
                </a:lnTo>
                <a:lnTo>
                  <a:pt x="2678" y="2547"/>
                </a:lnTo>
                <a:lnTo>
                  <a:pt x="2679" y="2543"/>
                </a:lnTo>
                <a:lnTo>
                  <a:pt x="2682" y="2539"/>
                </a:lnTo>
                <a:lnTo>
                  <a:pt x="2684" y="2536"/>
                </a:lnTo>
                <a:lnTo>
                  <a:pt x="2689" y="2533"/>
                </a:lnTo>
                <a:lnTo>
                  <a:pt x="2693" y="2530"/>
                </a:lnTo>
                <a:lnTo>
                  <a:pt x="2698" y="2529"/>
                </a:lnTo>
                <a:lnTo>
                  <a:pt x="2709" y="2527"/>
                </a:lnTo>
                <a:lnTo>
                  <a:pt x="2720" y="2526"/>
                </a:lnTo>
                <a:lnTo>
                  <a:pt x="2733" y="2524"/>
                </a:lnTo>
                <a:lnTo>
                  <a:pt x="2746" y="2521"/>
                </a:lnTo>
                <a:lnTo>
                  <a:pt x="2760" y="2517"/>
                </a:lnTo>
                <a:lnTo>
                  <a:pt x="2770" y="2515"/>
                </a:lnTo>
                <a:lnTo>
                  <a:pt x="2774" y="2514"/>
                </a:lnTo>
                <a:lnTo>
                  <a:pt x="2778" y="2510"/>
                </a:lnTo>
                <a:lnTo>
                  <a:pt x="2781" y="2506"/>
                </a:lnTo>
                <a:lnTo>
                  <a:pt x="2784" y="2501"/>
                </a:lnTo>
                <a:lnTo>
                  <a:pt x="2786" y="2495"/>
                </a:lnTo>
                <a:lnTo>
                  <a:pt x="2790" y="2490"/>
                </a:lnTo>
                <a:lnTo>
                  <a:pt x="2792" y="2486"/>
                </a:lnTo>
                <a:lnTo>
                  <a:pt x="2796" y="2484"/>
                </a:lnTo>
                <a:lnTo>
                  <a:pt x="2799" y="2482"/>
                </a:lnTo>
                <a:lnTo>
                  <a:pt x="2803" y="2482"/>
                </a:lnTo>
                <a:lnTo>
                  <a:pt x="2806" y="2482"/>
                </a:lnTo>
                <a:lnTo>
                  <a:pt x="2810" y="2483"/>
                </a:lnTo>
                <a:lnTo>
                  <a:pt x="2815" y="2484"/>
                </a:lnTo>
                <a:lnTo>
                  <a:pt x="2818" y="2487"/>
                </a:lnTo>
                <a:lnTo>
                  <a:pt x="2823" y="2490"/>
                </a:lnTo>
                <a:lnTo>
                  <a:pt x="2827" y="2495"/>
                </a:lnTo>
                <a:lnTo>
                  <a:pt x="2830" y="2499"/>
                </a:lnTo>
                <a:lnTo>
                  <a:pt x="2833" y="2505"/>
                </a:lnTo>
                <a:lnTo>
                  <a:pt x="2833" y="2512"/>
                </a:lnTo>
                <a:lnTo>
                  <a:pt x="2833" y="2521"/>
                </a:lnTo>
                <a:lnTo>
                  <a:pt x="2830" y="2535"/>
                </a:lnTo>
                <a:lnTo>
                  <a:pt x="2830" y="2545"/>
                </a:lnTo>
                <a:lnTo>
                  <a:pt x="2831" y="2547"/>
                </a:lnTo>
                <a:lnTo>
                  <a:pt x="2834" y="2549"/>
                </a:lnTo>
                <a:lnTo>
                  <a:pt x="2837" y="2552"/>
                </a:lnTo>
                <a:lnTo>
                  <a:pt x="2842" y="2552"/>
                </a:lnTo>
                <a:lnTo>
                  <a:pt x="2847" y="2553"/>
                </a:lnTo>
                <a:lnTo>
                  <a:pt x="2852" y="2552"/>
                </a:lnTo>
                <a:lnTo>
                  <a:pt x="2856" y="2552"/>
                </a:lnTo>
                <a:lnTo>
                  <a:pt x="2861" y="2549"/>
                </a:lnTo>
                <a:lnTo>
                  <a:pt x="2871" y="2545"/>
                </a:lnTo>
                <a:lnTo>
                  <a:pt x="2881" y="2536"/>
                </a:lnTo>
                <a:lnTo>
                  <a:pt x="2888" y="2528"/>
                </a:lnTo>
                <a:lnTo>
                  <a:pt x="2896" y="2522"/>
                </a:lnTo>
                <a:lnTo>
                  <a:pt x="2899" y="2520"/>
                </a:lnTo>
                <a:lnTo>
                  <a:pt x="2905" y="2518"/>
                </a:lnTo>
                <a:lnTo>
                  <a:pt x="2911" y="2517"/>
                </a:lnTo>
                <a:lnTo>
                  <a:pt x="2920" y="2517"/>
                </a:lnTo>
                <a:lnTo>
                  <a:pt x="2940" y="2521"/>
                </a:lnTo>
                <a:lnTo>
                  <a:pt x="2957" y="2524"/>
                </a:lnTo>
                <a:lnTo>
                  <a:pt x="2974" y="2530"/>
                </a:lnTo>
                <a:lnTo>
                  <a:pt x="2986" y="2534"/>
                </a:lnTo>
                <a:lnTo>
                  <a:pt x="2993" y="2539"/>
                </a:lnTo>
                <a:lnTo>
                  <a:pt x="2998" y="2543"/>
                </a:lnTo>
                <a:lnTo>
                  <a:pt x="3000" y="2549"/>
                </a:lnTo>
                <a:lnTo>
                  <a:pt x="3001" y="2556"/>
                </a:lnTo>
                <a:lnTo>
                  <a:pt x="2999" y="2568"/>
                </a:lnTo>
                <a:lnTo>
                  <a:pt x="2998" y="2583"/>
                </a:lnTo>
                <a:lnTo>
                  <a:pt x="2998" y="2585"/>
                </a:lnTo>
                <a:lnTo>
                  <a:pt x="2998" y="2587"/>
                </a:lnTo>
                <a:lnTo>
                  <a:pt x="2999" y="2588"/>
                </a:lnTo>
                <a:lnTo>
                  <a:pt x="3000" y="2590"/>
                </a:lnTo>
                <a:lnTo>
                  <a:pt x="3005" y="2587"/>
                </a:lnTo>
                <a:lnTo>
                  <a:pt x="3013" y="2579"/>
                </a:lnTo>
                <a:lnTo>
                  <a:pt x="3018" y="2574"/>
                </a:lnTo>
                <a:lnTo>
                  <a:pt x="3024" y="2572"/>
                </a:lnTo>
                <a:lnTo>
                  <a:pt x="3029" y="2569"/>
                </a:lnTo>
                <a:lnTo>
                  <a:pt x="3033" y="2568"/>
                </a:lnTo>
                <a:lnTo>
                  <a:pt x="3038" y="2568"/>
                </a:lnTo>
                <a:lnTo>
                  <a:pt x="3043" y="2568"/>
                </a:lnTo>
                <a:lnTo>
                  <a:pt x="3048" y="2569"/>
                </a:lnTo>
                <a:lnTo>
                  <a:pt x="3052" y="2572"/>
                </a:lnTo>
                <a:lnTo>
                  <a:pt x="3061" y="2577"/>
                </a:lnTo>
                <a:lnTo>
                  <a:pt x="3068" y="2583"/>
                </a:lnTo>
                <a:lnTo>
                  <a:pt x="3075" y="2588"/>
                </a:lnTo>
                <a:lnTo>
                  <a:pt x="3080" y="2593"/>
                </a:lnTo>
                <a:lnTo>
                  <a:pt x="3086" y="2600"/>
                </a:lnTo>
                <a:lnTo>
                  <a:pt x="3089" y="2605"/>
                </a:lnTo>
                <a:lnTo>
                  <a:pt x="3090" y="2611"/>
                </a:lnTo>
                <a:lnTo>
                  <a:pt x="3094" y="2618"/>
                </a:lnTo>
                <a:lnTo>
                  <a:pt x="3102" y="2630"/>
                </a:lnTo>
                <a:lnTo>
                  <a:pt x="3117" y="2646"/>
                </a:lnTo>
                <a:lnTo>
                  <a:pt x="3124" y="2654"/>
                </a:lnTo>
                <a:lnTo>
                  <a:pt x="3130" y="2661"/>
                </a:lnTo>
                <a:lnTo>
                  <a:pt x="3134" y="2668"/>
                </a:lnTo>
                <a:lnTo>
                  <a:pt x="3137" y="2674"/>
                </a:lnTo>
                <a:lnTo>
                  <a:pt x="3136" y="2678"/>
                </a:lnTo>
                <a:lnTo>
                  <a:pt x="3133" y="2681"/>
                </a:lnTo>
                <a:lnTo>
                  <a:pt x="3131" y="2685"/>
                </a:lnTo>
                <a:lnTo>
                  <a:pt x="3127" y="2688"/>
                </a:lnTo>
                <a:lnTo>
                  <a:pt x="3124" y="2692"/>
                </a:lnTo>
                <a:lnTo>
                  <a:pt x="3121" y="2697"/>
                </a:lnTo>
                <a:lnTo>
                  <a:pt x="3119" y="2701"/>
                </a:lnTo>
                <a:lnTo>
                  <a:pt x="3120" y="2709"/>
                </a:lnTo>
                <a:lnTo>
                  <a:pt x="3123" y="2716"/>
                </a:lnTo>
                <a:lnTo>
                  <a:pt x="3125" y="2723"/>
                </a:lnTo>
                <a:lnTo>
                  <a:pt x="3129" y="2730"/>
                </a:lnTo>
                <a:lnTo>
                  <a:pt x="3133" y="2736"/>
                </a:lnTo>
                <a:lnTo>
                  <a:pt x="3140" y="2748"/>
                </a:lnTo>
                <a:lnTo>
                  <a:pt x="3146" y="2756"/>
                </a:lnTo>
                <a:lnTo>
                  <a:pt x="3149" y="2763"/>
                </a:lnTo>
                <a:lnTo>
                  <a:pt x="3151" y="2773"/>
                </a:lnTo>
                <a:lnTo>
                  <a:pt x="3150" y="2783"/>
                </a:lnTo>
                <a:lnTo>
                  <a:pt x="3149" y="2798"/>
                </a:lnTo>
                <a:lnTo>
                  <a:pt x="3148" y="2805"/>
                </a:lnTo>
                <a:lnTo>
                  <a:pt x="3149" y="2811"/>
                </a:lnTo>
                <a:lnTo>
                  <a:pt x="3151" y="2816"/>
                </a:lnTo>
                <a:lnTo>
                  <a:pt x="3155" y="2820"/>
                </a:lnTo>
                <a:lnTo>
                  <a:pt x="3158" y="2825"/>
                </a:lnTo>
                <a:lnTo>
                  <a:pt x="3161" y="2830"/>
                </a:lnTo>
                <a:lnTo>
                  <a:pt x="3163" y="2836"/>
                </a:lnTo>
                <a:lnTo>
                  <a:pt x="3163" y="2843"/>
                </a:lnTo>
                <a:lnTo>
                  <a:pt x="3163" y="2858"/>
                </a:lnTo>
                <a:lnTo>
                  <a:pt x="3162" y="2874"/>
                </a:lnTo>
                <a:lnTo>
                  <a:pt x="3163" y="2881"/>
                </a:lnTo>
                <a:lnTo>
                  <a:pt x="3163" y="2887"/>
                </a:lnTo>
                <a:lnTo>
                  <a:pt x="3165" y="2893"/>
                </a:lnTo>
                <a:lnTo>
                  <a:pt x="3168" y="2899"/>
                </a:lnTo>
                <a:lnTo>
                  <a:pt x="3171" y="2902"/>
                </a:lnTo>
                <a:lnTo>
                  <a:pt x="3177" y="2906"/>
                </a:lnTo>
                <a:lnTo>
                  <a:pt x="3184" y="2909"/>
                </a:lnTo>
                <a:lnTo>
                  <a:pt x="3192" y="2913"/>
                </a:lnTo>
                <a:lnTo>
                  <a:pt x="3199" y="2917"/>
                </a:lnTo>
                <a:lnTo>
                  <a:pt x="3205" y="2920"/>
                </a:lnTo>
                <a:lnTo>
                  <a:pt x="3209" y="2925"/>
                </a:lnTo>
                <a:lnTo>
                  <a:pt x="3212" y="2928"/>
                </a:lnTo>
                <a:lnTo>
                  <a:pt x="3215" y="2937"/>
                </a:lnTo>
                <a:lnTo>
                  <a:pt x="3220" y="2943"/>
                </a:lnTo>
                <a:lnTo>
                  <a:pt x="3222" y="2944"/>
                </a:lnTo>
                <a:lnTo>
                  <a:pt x="3226" y="2946"/>
                </a:lnTo>
                <a:lnTo>
                  <a:pt x="3230" y="2946"/>
                </a:lnTo>
                <a:lnTo>
                  <a:pt x="3233" y="2947"/>
                </a:lnTo>
                <a:lnTo>
                  <a:pt x="3243" y="2947"/>
                </a:lnTo>
                <a:lnTo>
                  <a:pt x="3256" y="2949"/>
                </a:lnTo>
                <a:lnTo>
                  <a:pt x="3263" y="2951"/>
                </a:lnTo>
                <a:lnTo>
                  <a:pt x="3270" y="2955"/>
                </a:lnTo>
                <a:lnTo>
                  <a:pt x="3276" y="2959"/>
                </a:lnTo>
                <a:lnTo>
                  <a:pt x="3283" y="2965"/>
                </a:lnTo>
                <a:lnTo>
                  <a:pt x="3288" y="2972"/>
                </a:lnTo>
                <a:lnTo>
                  <a:pt x="3293" y="2980"/>
                </a:lnTo>
                <a:lnTo>
                  <a:pt x="3296" y="2985"/>
                </a:lnTo>
                <a:lnTo>
                  <a:pt x="3299" y="2993"/>
                </a:lnTo>
                <a:lnTo>
                  <a:pt x="3303" y="3006"/>
                </a:lnTo>
                <a:lnTo>
                  <a:pt x="3307" y="3018"/>
                </a:lnTo>
                <a:lnTo>
                  <a:pt x="3308" y="3021"/>
                </a:lnTo>
                <a:lnTo>
                  <a:pt x="3310" y="3025"/>
                </a:lnTo>
                <a:lnTo>
                  <a:pt x="3313" y="3028"/>
                </a:lnTo>
                <a:lnTo>
                  <a:pt x="3316" y="3031"/>
                </a:lnTo>
                <a:lnTo>
                  <a:pt x="3322" y="3033"/>
                </a:lnTo>
                <a:lnTo>
                  <a:pt x="3329" y="3035"/>
                </a:lnTo>
                <a:lnTo>
                  <a:pt x="3337" y="3038"/>
                </a:lnTo>
                <a:lnTo>
                  <a:pt x="3345" y="3039"/>
                </a:lnTo>
                <a:lnTo>
                  <a:pt x="3353" y="3043"/>
                </a:lnTo>
                <a:lnTo>
                  <a:pt x="3362" y="3048"/>
                </a:lnTo>
                <a:lnTo>
                  <a:pt x="3369" y="3052"/>
                </a:lnTo>
                <a:lnTo>
                  <a:pt x="3375" y="3054"/>
                </a:lnTo>
                <a:lnTo>
                  <a:pt x="3382" y="3056"/>
                </a:lnTo>
                <a:lnTo>
                  <a:pt x="3390" y="3058"/>
                </a:lnTo>
                <a:lnTo>
                  <a:pt x="3395" y="3060"/>
                </a:lnTo>
                <a:lnTo>
                  <a:pt x="3400" y="3064"/>
                </a:lnTo>
                <a:lnTo>
                  <a:pt x="3404" y="3069"/>
                </a:lnTo>
                <a:lnTo>
                  <a:pt x="3409" y="3073"/>
                </a:lnTo>
                <a:lnTo>
                  <a:pt x="3417" y="3084"/>
                </a:lnTo>
                <a:lnTo>
                  <a:pt x="3426" y="3094"/>
                </a:lnTo>
                <a:lnTo>
                  <a:pt x="3432" y="3100"/>
                </a:lnTo>
                <a:lnTo>
                  <a:pt x="3441" y="3106"/>
                </a:lnTo>
                <a:lnTo>
                  <a:pt x="3451" y="3111"/>
                </a:lnTo>
                <a:lnTo>
                  <a:pt x="3463" y="3116"/>
                </a:lnTo>
                <a:lnTo>
                  <a:pt x="3467" y="3119"/>
                </a:lnTo>
                <a:lnTo>
                  <a:pt x="3473" y="3120"/>
                </a:lnTo>
                <a:lnTo>
                  <a:pt x="3478" y="3120"/>
                </a:lnTo>
                <a:lnTo>
                  <a:pt x="3482" y="3119"/>
                </a:lnTo>
                <a:lnTo>
                  <a:pt x="3485" y="3116"/>
                </a:lnTo>
                <a:lnTo>
                  <a:pt x="3489" y="3114"/>
                </a:lnTo>
                <a:lnTo>
                  <a:pt x="3490" y="3109"/>
                </a:lnTo>
                <a:lnTo>
                  <a:pt x="3491" y="3103"/>
                </a:lnTo>
                <a:lnTo>
                  <a:pt x="3492" y="3085"/>
                </a:lnTo>
                <a:lnTo>
                  <a:pt x="3493" y="3067"/>
                </a:lnTo>
                <a:lnTo>
                  <a:pt x="3493" y="3051"/>
                </a:lnTo>
                <a:lnTo>
                  <a:pt x="3493" y="3039"/>
                </a:lnTo>
                <a:lnTo>
                  <a:pt x="3493" y="3034"/>
                </a:lnTo>
                <a:lnTo>
                  <a:pt x="3495" y="3031"/>
                </a:lnTo>
                <a:lnTo>
                  <a:pt x="3497" y="3028"/>
                </a:lnTo>
                <a:lnTo>
                  <a:pt x="3501" y="3026"/>
                </a:lnTo>
                <a:lnTo>
                  <a:pt x="3508" y="3021"/>
                </a:lnTo>
                <a:lnTo>
                  <a:pt x="3518" y="3018"/>
                </a:lnTo>
                <a:lnTo>
                  <a:pt x="3524" y="3014"/>
                </a:lnTo>
                <a:lnTo>
                  <a:pt x="3528" y="3009"/>
                </a:lnTo>
                <a:lnTo>
                  <a:pt x="3530" y="3003"/>
                </a:lnTo>
                <a:lnTo>
                  <a:pt x="3533" y="2997"/>
                </a:lnTo>
                <a:lnTo>
                  <a:pt x="3534" y="2990"/>
                </a:lnTo>
                <a:lnTo>
                  <a:pt x="3536" y="2984"/>
                </a:lnTo>
                <a:lnTo>
                  <a:pt x="3540" y="2980"/>
                </a:lnTo>
                <a:lnTo>
                  <a:pt x="3546" y="2976"/>
                </a:lnTo>
                <a:lnTo>
                  <a:pt x="3547" y="2975"/>
                </a:lnTo>
                <a:lnTo>
                  <a:pt x="3549" y="2975"/>
                </a:lnTo>
                <a:lnTo>
                  <a:pt x="3552" y="2976"/>
                </a:lnTo>
                <a:lnTo>
                  <a:pt x="3553" y="2977"/>
                </a:lnTo>
                <a:lnTo>
                  <a:pt x="3555" y="2982"/>
                </a:lnTo>
                <a:lnTo>
                  <a:pt x="3556" y="2989"/>
                </a:lnTo>
                <a:lnTo>
                  <a:pt x="3558" y="2997"/>
                </a:lnTo>
                <a:lnTo>
                  <a:pt x="3560" y="3003"/>
                </a:lnTo>
                <a:lnTo>
                  <a:pt x="3562" y="3006"/>
                </a:lnTo>
                <a:lnTo>
                  <a:pt x="3565" y="3009"/>
                </a:lnTo>
                <a:lnTo>
                  <a:pt x="3570" y="3012"/>
                </a:lnTo>
                <a:lnTo>
                  <a:pt x="3575" y="3014"/>
                </a:lnTo>
                <a:lnTo>
                  <a:pt x="3580" y="3016"/>
                </a:lnTo>
                <a:lnTo>
                  <a:pt x="3585" y="3019"/>
                </a:lnTo>
                <a:lnTo>
                  <a:pt x="3590" y="3022"/>
                </a:lnTo>
                <a:lnTo>
                  <a:pt x="3593" y="3027"/>
                </a:lnTo>
                <a:lnTo>
                  <a:pt x="3597" y="3032"/>
                </a:lnTo>
                <a:lnTo>
                  <a:pt x="3599" y="3038"/>
                </a:lnTo>
                <a:lnTo>
                  <a:pt x="3603" y="3045"/>
                </a:lnTo>
                <a:lnTo>
                  <a:pt x="3606" y="3053"/>
                </a:lnTo>
                <a:lnTo>
                  <a:pt x="3609" y="3064"/>
                </a:lnTo>
                <a:lnTo>
                  <a:pt x="3609" y="3076"/>
                </a:lnTo>
                <a:lnTo>
                  <a:pt x="3610" y="3088"/>
                </a:lnTo>
                <a:lnTo>
                  <a:pt x="3611" y="3101"/>
                </a:lnTo>
                <a:lnTo>
                  <a:pt x="3612" y="3114"/>
                </a:lnTo>
                <a:lnTo>
                  <a:pt x="3610" y="3125"/>
                </a:lnTo>
                <a:lnTo>
                  <a:pt x="3608" y="3134"/>
                </a:lnTo>
                <a:lnTo>
                  <a:pt x="3604" y="3141"/>
                </a:lnTo>
                <a:lnTo>
                  <a:pt x="3599" y="3148"/>
                </a:lnTo>
                <a:lnTo>
                  <a:pt x="3596" y="3158"/>
                </a:lnTo>
                <a:lnTo>
                  <a:pt x="3595" y="3163"/>
                </a:lnTo>
                <a:lnTo>
                  <a:pt x="3595" y="3167"/>
                </a:lnTo>
                <a:lnTo>
                  <a:pt x="3596" y="3172"/>
                </a:lnTo>
                <a:lnTo>
                  <a:pt x="3598" y="3177"/>
                </a:lnTo>
                <a:lnTo>
                  <a:pt x="3602" y="3180"/>
                </a:lnTo>
                <a:lnTo>
                  <a:pt x="3606" y="3184"/>
                </a:lnTo>
                <a:lnTo>
                  <a:pt x="3611" y="3186"/>
                </a:lnTo>
                <a:lnTo>
                  <a:pt x="3617" y="3189"/>
                </a:lnTo>
                <a:lnTo>
                  <a:pt x="3623" y="3189"/>
                </a:lnTo>
                <a:lnTo>
                  <a:pt x="3629" y="3189"/>
                </a:lnTo>
                <a:lnTo>
                  <a:pt x="3634" y="3188"/>
                </a:lnTo>
                <a:lnTo>
                  <a:pt x="3638" y="3186"/>
                </a:lnTo>
                <a:lnTo>
                  <a:pt x="3642" y="3183"/>
                </a:lnTo>
                <a:lnTo>
                  <a:pt x="3644" y="3179"/>
                </a:lnTo>
                <a:lnTo>
                  <a:pt x="3647" y="3176"/>
                </a:lnTo>
                <a:lnTo>
                  <a:pt x="3647" y="3171"/>
                </a:lnTo>
                <a:lnTo>
                  <a:pt x="3648" y="3161"/>
                </a:lnTo>
                <a:lnTo>
                  <a:pt x="3648" y="3151"/>
                </a:lnTo>
                <a:lnTo>
                  <a:pt x="3649" y="3146"/>
                </a:lnTo>
                <a:lnTo>
                  <a:pt x="3649" y="3144"/>
                </a:lnTo>
                <a:lnTo>
                  <a:pt x="3650" y="3140"/>
                </a:lnTo>
                <a:lnTo>
                  <a:pt x="3653" y="3139"/>
                </a:lnTo>
                <a:lnTo>
                  <a:pt x="3654" y="3139"/>
                </a:lnTo>
                <a:lnTo>
                  <a:pt x="3656" y="3139"/>
                </a:lnTo>
                <a:lnTo>
                  <a:pt x="3660" y="3140"/>
                </a:lnTo>
                <a:lnTo>
                  <a:pt x="3663" y="3141"/>
                </a:lnTo>
                <a:lnTo>
                  <a:pt x="3669" y="3145"/>
                </a:lnTo>
                <a:lnTo>
                  <a:pt x="3675" y="3146"/>
                </a:lnTo>
                <a:lnTo>
                  <a:pt x="3684" y="3146"/>
                </a:lnTo>
                <a:lnTo>
                  <a:pt x="3692" y="3144"/>
                </a:lnTo>
                <a:lnTo>
                  <a:pt x="3698" y="3141"/>
                </a:lnTo>
                <a:lnTo>
                  <a:pt x="3703" y="3139"/>
                </a:lnTo>
                <a:lnTo>
                  <a:pt x="3706" y="3139"/>
                </a:lnTo>
                <a:lnTo>
                  <a:pt x="3710" y="3141"/>
                </a:lnTo>
                <a:lnTo>
                  <a:pt x="3716" y="3145"/>
                </a:lnTo>
                <a:lnTo>
                  <a:pt x="3722" y="3151"/>
                </a:lnTo>
                <a:lnTo>
                  <a:pt x="3728" y="3157"/>
                </a:lnTo>
                <a:lnTo>
                  <a:pt x="3731" y="3163"/>
                </a:lnTo>
                <a:lnTo>
                  <a:pt x="3737" y="3179"/>
                </a:lnTo>
                <a:lnTo>
                  <a:pt x="3744" y="3192"/>
                </a:lnTo>
                <a:lnTo>
                  <a:pt x="3753" y="3205"/>
                </a:lnTo>
                <a:lnTo>
                  <a:pt x="3757" y="3215"/>
                </a:lnTo>
                <a:lnTo>
                  <a:pt x="3757" y="3217"/>
                </a:lnTo>
                <a:lnTo>
                  <a:pt x="3757" y="3220"/>
                </a:lnTo>
                <a:lnTo>
                  <a:pt x="3755" y="3221"/>
                </a:lnTo>
                <a:lnTo>
                  <a:pt x="3751" y="3223"/>
                </a:lnTo>
                <a:lnTo>
                  <a:pt x="3737" y="3234"/>
                </a:lnTo>
                <a:lnTo>
                  <a:pt x="3725" y="3242"/>
                </a:lnTo>
                <a:lnTo>
                  <a:pt x="3719" y="3247"/>
                </a:lnTo>
                <a:lnTo>
                  <a:pt x="3716" y="3254"/>
                </a:lnTo>
                <a:lnTo>
                  <a:pt x="3715" y="3258"/>
                </a:lnTo>
                <a:lnTo>
                  <a:pt x="3713" y="3261"/>
                </a:lnTo>
                <a:lnTo>
                  <a:pt x="3713" y="3266"/>
                </a:lnTo>
                <a:lnTo>
                  <a:pt x="3715" y="3271"/>
                </a:lnTo>
                <a:lnTo>
                  <a:pt x="3716" y="3276"/>
                </a:lnTo>
                <a:lnTo>
                  <a:pt x="3719" y="3279"/>
                </a:lnTo>
                <a:lnTo>
                  <a:pt x="3723" y="3283"/>
                </a:lnTo>
                <a:lnTo>
                  <a:pt x="3728" y="3285"/>
                </a:lnTo>
                <a:lnTo>
                  <a:pt x="3732" y="3287"/>
                </a:lnTo>
                <a:lnTo>
                  <a:pt x="3737" y="3289"/>
                </a:lnTo>
                <a:lnTo>
                  <a:pt x="3743" y="3289"/>
                </a:lnTo>
                <a:lnTo>
                  <a:pt x="3748" y="3286"/>
                </a:lnTo>
                <a:lnTo>
                  <a:pt x="3754" y="3284"/>
                </a:lnTo>
                <a:lnTo>
                  <a:pt x="3759" y="3280"/>
                </a:lnTo>
                <a:lnTo>
                  <a:pt x="3763" y="3276"/>
                </a:lnTo>
                <a:lnTo>
                  <a:pt x="3769" y="3270"/>
                </a:lnTo>
                <a:lnTo>
                  <a:pt x="3778" y="3258"/>
                </a:lnTo>
                <a:lnTo>
                  <a:pt x="3786" y="3245"/>
                </a:lnTo>
                <a:lnTo>
                  <a:pt x="3791" y="3233"/>
                </a:lnTo>
                <a:lnTo>
                  <a:pt x="3793" y="3222"/>
                </a:lnTo>
                <a:lnTo>
                  <a:pt x="3794" y="3217"/>
                </a:lnTo>
                <a:lnTo>
                  <a:pt x="3795" y="3214"/>
                </a:lnTo>
                <a:lnTo>
                  <a:pt x="3797" y="3210"/>
                </a:lnTo>
                <a:lnTo>
                  <a:pt x="3800" y="3208"/>
                </a:lnTo>
                <a:lnTo>
                  <a:pt x="3803" y="3207"/>
                </a:lnTo>
                <a:lnTo>
                  <a:pt x="3805" y="3204"/>
                </a:lnTo>
                <a:lnTo>
                  <a:pt x="3806" y="3202"/>
                </a:lnTo>
                <a:lnTo>
                  <a:pt x="3807" y="3199"/>
                </a:lnTo>
                <a:lnTo>
                  <a:pt x="3807" y="3197"/>
                </a:lnTo>
                <a:lnTo>
                  <a:pt x="3807" y="3193"/>
                </a:lnTo>
                <a:lnTo>
                  <a:pt x="3806" y="3190"/>
                </a:lnTo>
                <a:lnTo>
                  <a:pt x="3804" y="3186"/>
                </a:lnTo>
                <a:lnTo>
                  <a:pt x="3803" y="3182"/>
                </a:lnTo>
                <a:lnTo>
                  <a:pt x="3801" y="3179"/>
                </a:lnTo>
                <a:lnTo>
                  <a:pt x="3801" y="3177"/>
                </a:lnTo>
                <a:lnTo>
                  <a:pt x="3801" y="3174"/>
                </a:lnTo>
                <a:lnTo>
                  <a:pt x="3804" y="3174"/>
                </a:lnTo>
                <a:lnTo>
                  <a:pt x="3806" y="3174"/>
                </a:lnTo>
                <a:lnTo>
                  <a:pt x="3811" y="3176"/>
                </a:lnTo>
                <a:lnTo>
                  <a:pt x="3816" y="3177"/>
                </a:lnTo>
                <a:lnTo>
                  <a:pt x="3826" y="3182"/>
                </a:lnTo>
                <a:lnTo>
                  <a:pt x="3836" y="3188"/>
                </a:lnTo>
                <a:lnTo>
                  <a:pt x="3844" y="3192"/>
                </a:lnTo>
                <a:lnTo>
                  <a:pt x="3851" y="3195"/>
                </a:lnTo>
                <a:lnTo>
                  <a:pt x="3858" y="3195"/>
                </a:lnTo>
                <a:lnTo>
                  <a:pt x="3867" y="3197"/>
                </a:lnTo>
                <a:lnTo>
                  <a:pt x="3874" y="3201"/>
                </a:lnTo>
                <a:lnTo>
                  <a:pt x="3880" y="3205"/>
                </a:lnTo>
                <a:lnTo>
                  <a:pt x="3885" y="3210"/>
                </a:lnTo>
                <a:lnTo>
                  <a:pt x="3889" y="3213"/>
                </a:lnTo>
                <a:lnTo>
                  <a:pt x="3895" y="3211"/>
                </a:lnTo>
                <a:lnTo>
                  <a:pt x="3902" y="3209"/>
                </a:lnTo>
                <a:lnTo>
                  <a:pt x="3912" y="3204"/>
                </a:lnTo>
                <a:lnTo>
                  <a:pt x="3918" y="3201"/>
                </a:lnTo>
                <a:lnTo>
                  <a:pt x="3930" y="3196"/>
                </a:lnTo>
                <a:lnTo>
                  <a:pt x="3942" y="3193"/>
                </a:lnTo>
                <a:lnTo>
                  <a:pt x="3948" y="3192"/>
                </a:lnTo>
                <a:lnTo>
                  <a:pt x="3952" y="3192"/>
                </a:lnTo>
                <a:lnTo>
                  <a:pt x="3956" y="3192"/>
                </a:lnTo>
                <a:lnTo>
                  <a:pt x="3959" y="3193"/>
                </a:lnTo>
                <a:lnTo>
                  <a:pt x="3964" y="3196"/>
                </a:lnTo>
                <a:lnTo>
                  <a:pt x="3967" y="3198"/>
                </a:lnTo>
                <a:lnTo>
                  <a:pt x="3969" y="3198"/>
                </a:lnTo>
                <a:lnTo>
                  <a:pt x="3971" y="3197"/>
                </a:lnTo>
                <a:lnTo>
                  <a:pt x="3976" y="3193"/>
                </a:lnTo>
                <a:lnTo>
                  <a:pt x="3983" y="3185"/>
                </a:lnTo>
                <a:lnTo>
                  <a:pt x="3992" y="3176"/>
                </a:lnTo>
                <a:lnTo>
                  <a:pt x="4000" y="3166"/>
                </a:lnTo>
                <a:lnTo>
                  <a:pt x="4002" y="3161"/>
                </a:lnTo>
                <a:lnTo>
                  <a:pt x="4005" y="3155"/>
                </a:lnTo>
                <a:lnTo>
                  <a:pt x="4007" y="3150"/>
                </a:lnTo>
                <a:lnTo>
                  <a:pt x="4008" y="3144"/>
                </a:lnTo>
                <a:lnTo>
                  <a:pt x="4008" y="3136"/>
                </a:lnTo>
                <a:lnTo>
                  <a:pt x="4008" y="3130"/>
                </a:lnTo>
                <a:lnTo>
                  <a:pt x="4007" y="3125"/>
                </a:lnTo>
                <a:lnTo>
                  <a:pt x="4003" y="3120"/>
                </a:lnTo>
                <a:lnTo>
                  <a:pt x="3995" y="3111"/>
                </a:lnTo>
                <a:lnTo>
                  <a:pt x="3986" y="3102"/>
                </a:lnTo>
                <a:lnTo>
                  <a:pt x="3981" y="3096"/>
                </a:lnTo>
                <a:lnTo>
                  <a:pt x="3976" y="3091"/>
                </a:lnTo>
                <a:lnTo>
                  <a:pt x="3974" y="3085"/>
                </a:lnTo>
                <a:lnTo>
                  <a:pt x="3971" y="3079"/>
                </a:lnTo>
                <a:lnTo>
                  <a:pt x="3970" y="3071"/>
                </a:lnTo>
                <a:lnTo>
                  <a:pt x="3970" y="3063"/>
                </a:lnTo>
                <a:lnTo>
                  <a:pt x="3971" y="3053"/>
                </a:lnTo>
                <a:lnTo>
                  <a:pt x="3974" y="3043"/>
                </a:lnTo>
                <a:lnTo>
                  <a:pt x="3978" y="3021"/>
                </a:lnTo>
                <a:lnTo>
                  <a:pt x="3984" y="3003"/>
                </a:lnTo>
                <a:lnTo>
                  <a:pt x="3987" y="2996"/>
                </a:lnTo>
                <a:lnTo>
                  <a:pt x="3989" y="2991"/>
                </a:lnTo>
                <a:lnTo>
                  <a:pt x="3993" y="2987"/>
                </a:lnTo>
                <a:lnTo>
                  <a:pt x="3996" y="2983"/>
                </a:lnTo>
                <a:lnTo>
                  <a:pt x="4001" y="2980"/>
                </a:lnTo>
                <a:lnTo>
                  <a:pt x="4006" y="2977"/>
                </a:lnTo>
                <a:lnTo>
                  <a:pt x="4012" y="2976"/>
                </a:lnTo>
                <a:lnTo>
                  <a:pt x="4020" y="2974"/>
                </a:lnTo>
                <a:lnTo>
                  <a:pt x="4037" y="2971"/>
                </a:lnTo>
                <a:lnTo>
                  <a:pt x="4050" y="2971"/>
                </a:lnTo>
                <a:lnTo>
                  <a:pt x="4055" y="2971"/>
                </a:lnTo>
                <a:lnTo>
                  <a:pt x="4059" y="2972"/>
                </a:lnTo>
                <a:lnTo>
                  <a:pt x="4063" y="2975"/>
                </a:lnTo>
                <a:lnTo>
                  <a:pt x="4065" y="2978"/>
                </a:lnTo>
                <a:lnTo>
                  <a:pt x="4070" y="2984"/>
                </a:lnTo>
                <a:lnTo>
                  <a:pt x="4074" y="2988"/>
                </a:lnTo>
                <a:lnTo>
                  <a:pt x="4076" y="2988"/>
                </a:lnTo>
                <a:lnTo>
                  <a:pt x="4077" y="2987"/>
                </a:lnTo>
                <a:lnTo>
                  <a:pt x="4078" y="2985"/>
                </a:lnTo>
                <a:lnTo>
                  <a:pt x="4078" y="2982"/>
                </a:lnTo>
                <a:lnTo>
                  <a:pt x="4081" y="2974"/>
                </a:lnTo>
                <a:lnTo>
                  <a:pt x="4083" y="2966"/>
                </a:lnTo>
                <a:lnTo>
                  <a:pt x="4085" y="2964"/>
                </a:lnTo>
                <a:lnTo>
                  <a:pt x="4089" y="2962"/>
                </a:lnTo>
                <a:lnTo>
                  <a:pt x="4093" y="2961"/>
                </a:lnTo>
                <a:lnTo>
                  <a:pt x="4096" y="2961"/>
                </a:lnTo>
                <a:lnTo>
                  <a:pt x="4101" y="2962"/>
                </a:lnTo>
                <a:lnTo>
                  <a:pt x="4106" y="2963"/>
                </a:lnTo>
                <a:lnTo>
                  <a:pt x="4110" y="2964"/>
                </a:lnTo>
                <a:lnTo>
                  <a:pt x="4115" y="2968"/>
                </a:lnTo>
                <a:lnTo>
                  <a:pt x="4125" y="2975"/>
                </a:lnTo>
                <a:lnTo>
                  <a:pt x="4133" y="2985"/>
                </a:lnTo>
                <a:lnTo>
                  <a:pt x="4141" y="2996"/>
                </a:lnTo>
                <a:lnTo>
                  <a:pt x="4150" y="3005"/>
                </a:lnTo>
                <a:lnTo>
                  <a:pt x="4153" y="3008"/>
                </a:lnTo>
                <a:lnTo>
                  <a:pt x="4157" y="3012"/>
                </a:lnTo>
                <a:lnTo>
                  <a:pt x="4160" y="3013"/>
                </a:lnTo>
                <a:lnTo>
                  <a:pt x="4163" y="3014"/>
                </a:lnTo>
                <a:lnTo>
                  <a:pt x="4165" y="3013"/>
                </a:lnTo>
                <a:lnTo>
                  <a:pt x="4169" y="3012"/>
                </a:lnTo>
                <a:lnTo>
                  <a:pt x="4171" y="3008"/>
                </a:lnTo>
                <a:lnTo>
                  <a:pt x="4173" y="3005"/>
                </a:lnTo>
                <a:lnTo>
                  <a:pt x="4179" y="2995"/>
                </a:lnTo>
                <a:lnTo>
                  <a:pt x="4187" y="2987"/>
                </a:lnTo>
                <a:lnTo>
                  <a:pt x="4190" y="2982"/>
                </a:lnTo>
                <a:lnTo>
                  <a:pt x="4192" y="2976"/>
                </a:lnTo>
                <a:lnTo>
                  <a:pt x="4194" y="2970"/>
                </a:lnTo>
                <a:lnTo>
                  <a:pt x="4195" y="2964"/>
                </a:lnTo>
                <a:lnTo>
                  <a:pt x="4195" y="2958"/>
                </a:lnTo>
                <a:lnTo>
                  <a:pt x="4194" y="2953"/>
                </a:lnTo>
                <a:lnTo>
                  <a:pt x="4191" y="2949"/>
                </a:lnTo>
                <a:lnTo>
                  <a:pt x="4188" y="2946"/>
                </a:lnTo>
                <a:lnTo>
                  <a:pt x="4181" y="2942"/>
                </a:lnTo>
                <a:lnTo>
                  <a:pt x="4173" y="2937"/>
                </a:lnTo>
                <a:lnTo>
                  <a:pt x="4171" y="2934"/>
                </a:lnTo>
                <a:lnTo>
                  <a:pt x="4171" y="2930"/>
                </a:lnTo>
                <a:lnTo>
                  <a:pt x="4171" y="2925"/>
                </a:lnTo>
                <a:lnTo>
                  <a:pt x="4172" y="2920"/>
                </a:lnTo>
                <a:lnTo>
                  <a:pt x="4176" y="2914"/>
                </a:lnTo>
                <a:lnTo>
                  <a:pt x="4179" y="2908"/>
                </a:lnTo>
                <a:lnTo>
                  <a:pt x="4184" y="2903"/>
                </a:lnTo>
                <a:lnTo>
                  <a:pt x="4189" y="2899"/>
                </a:lnTo>
                <a:lnTo>
                  <a:pt x="4194" y="2895"/>
                </a:lnTo>
                <a:lnTo>
                  <a:pt x="4200" y="2893"/>
                </a:lnTo>
                <a:lnTo>
                  <a:pt x="4206" y="2890"/>
                </a:lnTo>
                <a:lnTo>
                  <a:pt x="4211" y="2888"/>
                </a:lnTo>
                <a:lnTo>
                  <a:pt x="4216" y="2887"/>
                </a:lnTo>
                <a:lnTo>
                  <a:pt x="4221" y="2884"/>
                </a:lnTo>
                <a:lnTo>
                  <a:pt x="4226" y="2881"/>
                </a:lnTo>
                <a:lnTo>
                  <a:pt x="4228" y="2877"/>
                </a:lnTo>
                <a:lnTo>
                  <a:pt x="4230" y="2873"/>
                </a:lnTo>
                <a:lnTo>
                  <a:pt x="4233" y="2868"/>
                </a:lnTo>
                <a:lnTo>
                  <a:pt x="4234" y="2864"/>
                </a:lnTo>
                <a:lnTo>
                  <a:pt x="4234" y="2859"/>
                </a:lnTo>
                <a:lnTo>
                  <a:pt x="4234" y="2848"/>
                </a:lnTo>
                <a:lnTo>
                  <a:pt x="4234" y="2838"/>
                </a:lnTo>
                <a:lnTo>
                  <a:pt x="4233" y="2835"/>
                </a:lnTo>
                <a:lnTo>
                  <a:pt x="4232" y="2835"/>
                </a:lnTo>
                <a:lnTo>
                  <a:pt x="4228" y="2837"/>
                </a:lnTo>
                <a:lnTo>
                  <a:pt x="4226" y="2842"/>
                </a:lnTo>
                <a:lnTo>
                  <a:pt x="4221" y="2848"/>
                </a:lnTo>
                <a:lnTo>
                  <a:pt x="4215" y="2852"/>
                </a:lnTo>
                <a:lnTo>
                  <a:pt x="4207" y="2855"/>
                </a:lnTo>
                <a:lnTo>
                  <a:pt x="4200" y="2857"/>
                </a:lnTo>
                <a:lnTo>
                  <a:pt x="4191" y="2858"/>
                </a:lnTo>
                <a:lnTo>
                  <a:pt x="4184" y="2857"/>
                </a:lnTo>
                <a:lnTo>
                  <a:pt x="4178" y="2857"/>
                </a:lnTo>
                <a:lnTo>
                  <a:pt x="4173" y="2855"/>
                </a:lnTo>
                <a:lnTo>
                  <a:pt x="4171" y="2852"/>
                </a:lnTo>
                <a:lnTo>
                  <a:pt x="4170" y="2849"/>
                </a:lnTo>
                <a:lnTo>
                  <a:pt x="4169" y="2844"/>
                </a:lnTo>
                <a:lnTo>
                  <a:pt x="4167" y="2839"/>
                </a:lnTo>
                <a:lnTo>
                  <a:pt x="4169" y="2830"/>
                </a:lnTo>
                <a:lnTo>
                  <a:pt x="4172" y="2820"/>
                </a:lnTo>
                <a:lnTo>
                  <a:pt x="4173" y="2813"/>
                </a:lnTo>
                <a:lnTo>
                  <a:pt x="4173" y="2806"/>
                </a:lnTo>
                <a:lnTo>
                  <a:pt x="4171" y="2799"/>
                </a:lnTo>
                <a:lnTo>
                  <a:pt x="4167" y="2791"/>
                </a:lnTo>
                <a:lnTo>
                  <a:pt x="4164" y="2783"/>
                </a:lnTo>
                <a:lnTo>
                  <a:pt x="4164" y="2775"/>
                </a:lnTo>
                <a:lnTo>
                  <a:pt x="4164" y="2769"/>
                </a:lnTo>
                <a:lnTo>
                  <a:pt x="4164" y="2766"/>
                </a:lnTo>
                <a:lnTo>
                  <a:pt x="4163" y="2764"/>
                </a:lnTo>
                <a:lnTo>
                  <a:pt x="4156" y="2762"/>
                </a:lnTo>
                <a:lnTo>
                  <a:pt x="4150" y="2761"/>
                </a:lnTo>
                <a:lnTo>
                  <a:pt x="4141" y="2760"/>
                </a:lnTo>
                <a:lnTo>
                  <a:pt x="4129" y="2761"/>
                </a:lnTo>
                <a:lnTo>
                  <a:pt x="4115" y="2761"/>
                </a:lnTo>
                <a:lnTo>
                  <a:pt x="4107" y="2761"/>
                </a:lnTo>
                <a:lnTo>
                  <a:pt x="4103" y="2762"/>
                </a:lnTo>
                <a:lnTo>
                  <a:pt x="4101" y="2763"/>
                </a:lnTo>
                <a:lnTo>
                  <a:pt x="4096" y="2769"/>
                </a:lnTo>
                <a:lnTo>
                  <a:pt x="4093" y="2773"/>
                </a:lnTo>
                <a:lnTo>
                  <a:pt x="4088" y="2775"/>
                </a:lnTo>
                <a:lnTo>
                  <a:pt x="4080" y="2776"/>
                </a:lnTo>
                <a:lnTo>
                  <a:pt x="4071" y="2776"/>
                </a:lnTo>
                <a:lnTo>
                  <a:pt x="4064" y="2775"/>
                </a:lnTo>
                <a:lnTo>
                  <a:pt x="4057" y="2773"/>
                </a:lnTo>
                <a:lnTo>
                  <a:pt x="4051" y="2770"/>
                </a:lnTo>
                <a:lnTo>
                  <a:pt x="4045" y="2769"/>
                </a:lnTo>
                <a:lnTo>
                  <a:pt x="4038" y="2768"/>
                </a:lnTo>
                <a:lnTo>
                  <a:pt x="4028" y="2769"/>
                </a:lnTo>
                <a:lnTo>
                  <a:pt x="4024" y="2769"/>
                </a:lnTo>
                <a:lnTo>
                  <a:pt x="4020" y="2768"/>
                </a:lnTo>
                <a:lnTo>
                  <a:pt x="4018" y="2767"/>
                </a:lnTo>
                <a:lnTo>
                  <a:pt x="4017" y="2764"/>
                </a:lnTo>
                <a:lnTo>
                  <a:pt x="4017" y="2758"/>
                </a:lnTo>
                <a:lnTo>
                  <a:pt x="4019" y="2750"/>
                </a:lnTo>
                <a:lnTo>
                  <a:pt x="4025" y="2737"/>
                </a:lnTo>
                <a:lnTo>
                  <a:pt x="4034" y="2723"/>
                </a:lnTo>
                <a:lnTo>
                  <a:pt x="4037" y="2718"/>
                </a:lnTo>
                <a:lnTo>
                  <a:pt x="4038" y="2713"/>
                </a:lnTo>
                <a:lnTo>
                  <a:pt x="4036" y="2709"/>
                </a:lnTo>
                <a:lnTo>
                  <a:pt x="4033" y="2704"/>
                </a:lnTo>
                <a:lnTo>
                  <a:pt x="4021" y="2690"/>
                </a:lnTo>
                <a:lnTo>
                  <a:pt x="4006" y="2675"/>
                </a:lnTo>
                <a:lnTo>
                  <a:pt x="4000" y="2669"/>
                </a:lnTo>
                <a:lnTo>
                  <a:pt x="3993" y="2665"/>
                </a:lnTo>
                <a:lnTo>
                  <a:pt x="3989" y="2662"/>
                </a:lnTo>
                <a:lnTo>
                  <a:pt x="3986" y="2661"/>
                </a:lnTo>
                <a:lnTo>
                  <a:pt x="3982" y="2660"/>
                </a:lnTo>
                <a:lnTo>
                  <a:pt x="3978" y="2660"/>
                </a:lnTo>
                <a:lnTo>
                  <a:pt x="3975" y="2661"/>
                </a:lnTo>
                <a:lnTo>
                  <a:pt x="3973" y="2660"/>
                </a:lnTo>
                <a:lnTo>
                  <a:pt x="3970" y="2660"/>
                </a:lnTo>
                <a:lnTo>
                  <a:pt x="3969" y="2659"/>
                </a:lnTo>
                <a:lnTo>
                  <a:pt x="3967" y="2654"/>
                </a:lnTo>
                <a:lnTo>
                  <a:pt x="3964" y="2649"/>
                </a:lnTo>
                <a:lnTo>
                  <a:pt x="3954" y="2631"/>
                </a:lnTo>
                <a:lnTo>
                  <a:pt x="3944" y="2613"/>
                </a:lnTo>
                <a:lnTo>
                  <a:pt x="3939" y="2602"/>
                </a:lnTo>
                <a:lnTo>
                  <a:pt x="3937" y="2587"/>
                </a:lnTo>
                <a:lnTo>
                  <a:pt x="3933" y="2575"/>
                </a:lnTo>
                <a:lnTo>
                  <a:pt x="3931" y="2566"/>
                </a:lnTo>
                <a:lnTo>
                  <a:pt x="3925" y="2559"/>
                </a:lnTo>
                <a:lnTo>
                  <a:pt x="3917" y="2548"/>
                </a:lnTo>
                <a:lnTo>
                  <a:pt x="3908" y="2539"/>
                </a:lnTo>
                <a:lnTo>
                  <a:pt x="3901" y="2528"/>
                </a:lnTo>
                <a:lnTo>
                  <a:pt x="3900" y="2523"/>
                </a:lnTo>
                <a:lnTo>
                  <a:pt x="3899" y="2520"/>
                </a:lnTo>
                <a:lnTo>
                  <a:pt x="3899" y="2516"/>
                </a:lnTo>
                <a:lnTo>
                  <a:pt x="3900" y="2512"/>
                </a:lnTo>
                <a:lnTo>
                  <a:pt x="3902" y="2508"/>
                </a:lnTo>
                <a:lnTo>
                  <a:pt x="3907" y="2504"/>
                </a:lnTo>
                <a:lnTo>
                  <a:pt x="3910" y="2502"/>
                </a:lnTo>
                <a:lnTo>
                  <a:pt x="3912" y="2497"/>
                </a:lnTo>
                <a:lnTo>
                  <a:pt x="3913" y="2491"/>
                </a:lnTo>
                <a:lnTo>
                  <a:pt x="3912" y="2485"/>
                </a:lnTo>
                <a:lnTo>
                  <a:pt x="3913" y="2478"/>
                </a:lnTo>
                <a:lnTo>
                  <a:pt x="3917" y="2470"/>
                </a:lnTo>
                <a:lnTo>
                  <a:pt x="3919" y="2466"/>
                </a:lnTo>
                <a:lnTo>
                  <a:pt x="3921" y="2464"/>
                </a:lnTo>
                <a:lnTo>
                  <a:pt x="3925" y="2461"/>
                </a:lnTo>
                <a:lnTo>
                  <a:pt x="3929" y="2459"/>
                </a:lnTo>
                <a:lnTo>
                  <a:pt x="3936" y="2457"/>
                </a:lnTo>
                <a:lnTo>
                  <a:pt x="3942" y="2454"/>
                </a:lnTo>
                <a:lnTo>
                  <a:pt x="3948" y="2451"/>
                </a:lnTo>
                <a:lnTo>
                  <a:pt x="3954" y="2447"/>
                </a:lnTo>
                <a:lnTo>
                  <a:pt x="3956" y="2445"/>
                </a:lnTo>
                <a:lnTo>
                  <a:pt x="3959" y="2443"/>
                </a:lnTo>
                <a:lnTo>
                  <a:pt x="3964" y="2442"/>
                </a:lnTo>
                <a:lnTo>
                  <a:pt x="3968" y="2443"/>
                </a:lnTo>
                <a:lnTo>
                  <a:pt x="3973" y="2443"/>
                </a:lnTo>
                <a:lnTo>
                  <a:pt x="3977" y="2446"/>
                </a:lnTo>
                <a:lnTo>
                  <a:pt x="3981" y="2448"/>
                </a:lnTo>
                <a:lnTo>
                  <a:pt x="3986" y="2451"/>
                </a:lnTo>
                <a:lnTo>
                  <a:pt x="3996" y="2463"/>
                </a:lnTo>
                <a:lnTo>
                  <a:pt x="4006" y="2476"/>
                </a:lnTo>
                <a:lnTo>
                  <a:pt x="4012" y="2482"/>
                </a:lnTo>
                <a:lnTo>
                  <a:pt x="4018" y="2486"/>
                </a:lnTo>
                <a:lnTo>
                  <a:pt x="4021" y="2487"/>
                </a:lnTo>
                <a:lnTo>
                  <a:pt x="4025" y="2487"/>
                </a:lnTo>
                <a:lnTo>
                  <a:pt x="4028" y="2487"/>
                </a:lnTo>
                <a:lnTo>
                  <a:pt x="4032" y="2486"/>
                </a:lnTo>
                <a:lnTo>
                  <a:pt x="4040" y="2483"/>
                </a:lnTo>
                <a:lnTo>
                  <a:pt x="4047" y="2482"/>
                </a:lnTo>
                <a:lnTo>
                  <a:pt x="4053" y="2480"/>
                </a:lnTo>
                <a:lnTo>
                  <a:pt x="4059" y="2480"/>
                </a:lnTo>
                <a:lnTo>
                  <a:pt x="4064" y="2482"/>
                </a:lnTo>
                <a:lnTo>
                  <a:pt x="4069" y="2484"/>
                </a:lnTo>
                <a:lnTo>
                  <a:pt x="4074" y="2490"/>
                </a:lnTo>
                <a:lnTo>
                  <a:pt x="4080" y="2496"/>
                </a:lnTo>
                <a:lnTo>
                  <a:pt x="4084" y="2502"/>
                </a:lnTo>
                <a:lnTo>
                  <a:pt x="4089" y="2506"/>
                </a:lnTo>
                <a:lnTo>
                  <a:pt x="4094" y="2509"/>
                </a:lnTo>
                <a:lnTo>
                  <a:pt x="4099" y="2511"/>
                </a:lnTo>
                <a:lnTo>
                  <a:pt x="4107" y="2514"/>
                </a:lnTo>
                <a:lnTo>
                  <a:pt x="4115" y="2515"/>
                </a:lnTo>
                <a:lnTo>
                  <a:pt x="4122" y="2516"/>
                </a:lnTo>
                <a:lnTo>
                  <a:pt x="4129" y="2518"/>
                </a:lnTo>
                <a:lnTo>
                  <a:pt x="4137" y="2522"/>
                </a:lnTo>
                <a:lnTo>
                  <a:pt x="4144" y="2527"/>
                </a:lnTo>
                <a:lnTo>
                  <a:pt x="4151" y="2531"/>
                </a:lnTo>
                <a:lnTo>
                  <a:pt x="4157" y="2535"/>
                </a:lnTo>
                <a:lnTo>
                  <a:pt x="4164" y="2536"/>
                </a:lnTo>
                <a:lnTo>
                  <a:pt x="4172" y="2537"/>
                </a:lnTo>
                <a:lnTo>
                  <a:pt x="4177" y="2537"/>
                </a:lnTo>
                <a:lnTo>
                  <a:pt x="4181" y="2540"/>
                </a:lnTo>
                <a:lnTo>
                  <a:pt x="4185" y="2542"/>
                </a:lnTo>
                <a:lnTo>
                  <a:pt x="4190" y="2546"/>
                </a:lnTo>
                <a:lnTo>
                  <a:pt x="4194" y="2550"/>
                </a:lnTo>
                <a:lnTo>
                  <a:pt x="4196" y="2555"/>
                </a:lnTo>
                <a:lnTo>
                  <a:pt x="4198" y="2560"/>
                </a:lnTo>
                <a:lnTo>
                  <a:pt x="4201" y="2565"/>
                </a:lnTo>
                <a:lnTo>
                  <a:pt x="4202" y="2569"/>
                </a:lnTo>
                <a:lnTo>
                  <a:pt x="4204" y="2573"/>
                </a:lnTo>
                <a:lnTo>
                  <a:pt x="4208" y="2578"/>
                </a:lnTo>
                <a:lnTo>
                  <a:pt x="4211" y="2581"/>
                </a:lnTo>
                <a:lnTo>
                  <a:pt x="4220" y="2587"/>
                </a:lnTo>
                <a:lnTo>
                  <a:pt x="4228" y="2592"/>
                </a:lnTo>
                <a:lnTo>
                  <a:pt x="4235" y="2597"/>
                </a:lnTo>
                <a:lnTo>
                  <a:pt x="4242" y="2603"/>
                </a:lnTo>
                <a:lnTo>
                  <a:pt x="4247" y="2605"/>
                </a:lnTo>
                <a:lnTo>
                  <a:pt x="4250" y="2606"/>
                </a:lnTo>
                <a:lnTo>
                  <a:pt x="4252" y="2608"/>
                </a:lnTo>
                <a:lnTo>
                  <a:pt x="4254" y="2606"/>
                </a:lnTo>
                <a:lnTo>
                  <a:pt x="4258" y="2604"/>
                </a:lnTo>
                <a:lnTo>
                  <a:pt x="4261" y="2598"/>
                </a:lnTo>
                <a:lnTo>
                  <a:pt x="4270" y="2590"/>
                </a:lnTo>
                <a:lnTo>
                  <a:pt x="4276" y="2581"/>
                </a:lnTo>
                <a:lnTo>
                  <a:pt x="4282" y="2577"/>
                </a:lnTo>
                <a:lnTo>
                  <a:pt x="4286" y="2575"/>
                </a:lnTo>
                <a:lnTo>
                  <a:pt x="4291" y="2575"/>
                </a:lnTo>
                <a:lnTo>
                  <a:pt x="4297" y="2579"/>
                </a:lnTo>
                <a:lnTo>
                  <a:pt x="4304" y="2583"/>
                </a:lnTo>
                <a:lnTo>
                  <a:pt x="4310" y="2584"/>
                </a:lnTo>
                <a:lnTo>
                  <a:pt x="4315" y="2584"/>
                </a:lnTo>
                <a:lnTo>
                  <a:pt x="4318" y="2583"/>
                </a:lnTo>
                <a:lnTo>
                  <a:pt x="4322" y="2580"/>
                </a:lnTo>
                <a:lnTo>
                  <a:pt x="4327" y="2577"/>
                </a:lnTo>
                <a:lnTo>
                  <a:pt x="4334" y="2568"/>
                </a:lnTo>
                <a:lnTo>
                  <a:pt x="4342" y="2559"/>
                </a:lnTo>
                <a:lnTo>
                  <a:pt x="4348" y="2549"/>
                </a:lnTo>
                <a:lnTo>
                  <a:pt x="4351" y="2539"/>
                </a:lnTo>
                <a:lnTo>
                  <a:pt x="4353" y="2534"/>
                </a:lnTo>
                <a:lnTo>
                  <a:pt x="4354" y="2529"/>
                </a:lnTo>
                <a:lnTo>
                  <a:pt x="4357" y="2526"/>
                </a:lnTo>
                <a:lnTo>
                  <a:pt x="4360" y="2523"/>
                </a:lnTo>
                <a:lnTo>
                  <a:pt x="4364" y="2522"/>
                </a:lnTo>
                <a:lnTo>
                  <a:pt x="4367" y="2521"/>
                </a:lnTo>
                <a:lnTo>
                  <a:pt x="4372" y="2520"/>
                </a:lnTo>
                <a:lnTo>
                  <a:pt x="4377" y="2521"/>
                </a:lnTo>
                <a:lnTo>
                  <a:pt x="4381" y="2521"/>
                </a:lnTo>
                <a:lnTo>
                  <a:pt x="4385" y="2521"/>
                </a:lnTo>
                <a:lnTo>
                  <a:pt x="4389" y="2520"/>
                </a:lnTo>
                <a:lnTo>
                  <a:pt x="4391" y="2518"/>
                </a:lnTo>
                <a:lnTo>
                  <a:pt x="4393" y="2516"/>
                </a:lnTo>
                <a:lnTo>
                  <a:pt x="4395" y="2514"/>
                </a:lnTo>
                <a:lnTo>
                  <a:pt x="4395" y="2510"/>
                </a:lnTo>
                <a:lnTo>
                  <a:pt x="4396" y="2506"/>
                </a:lnTo>
                <a:lnTo>
                  <a:pt x="4396" y="2499"/>
                </a:lnTo>
                <a:lnTo>
                  <a:pt x="4399" y="2495"/>
                </a:lnTo>
                <a:lnTo>
                  <a:pt x="4400" y="2493"/>
                </a:lnTo>
                <a:lnTo>
                  <a:pt x="4403" y="2492"/>
                </a:lnTo>
                <a:lnTo>
                  <a:pt x="4405" y="2492"/>
                </a:lnTo>
                <a:lnTo>
                  <a:pt x="4409" y="2492"/>
                </a:lnTo>
                <a:lnTo>
                  <a:pt x="4415" y="2496"/>
                </a:lnTo>
                <a:lnTo>
                  <a:pt x="4420" y="2499"/>
                </a:lnTo>
                <a:lnTo>
                  <a:pt x="4422" y="2501"/>
                </a:lnTo>
                <a:lnTo>
                  <a:pt x="4424" y="2502"/>
                </a:lnTo>
                <a:lnTo>
                  <a:pt x="4425" y="2502"/>
                </a:lnTo>
                <a:lnTo>
                  <a:pt x="4428" y="2501"/>
                </a:lnTo>
                <a:lnTo>
                  <a:pt x="4429" y="2499"/>
                </a:lnTo>
                <a:lnTo>
                  <a:pt x="4430" y="2498"/>
                </a:lnTo>
                <a:lnTo>
                  <a:pt x="4430" y="2496"/>
                </a:lnTo>
                <a:lnTo>
                  <a:pt x="4430" y="2492"/>
                </a:lnTo>
                <a:lnTo>
                  <a:pt x="4428" y="2484"/>
                </a:lnTo>
                <a:lnTo>
                  <a:pt x="4424" y="2470"/>
                </a:lnTo>
                <a:lnTo>
                  <a:pt x="4421" y="2463"/>
                </a:lnTo>
                <a:lnTo>
                  <a:pt x="4418" y="2455"/>
                </a:lnTo>
                <a:lnTo>
                  <a:pt x="4414" y="2449"/>
                </a:lnTo>
                <a:lnTo>
                  <a:pt x="4409" y="2443"/>
                </a:lnTo>
                <a:lnTo>
                  <a:pt x="4404" y="2439"/>
                </a:lnTo>
                <a:lnTo>
                  <a:pt x="4398" y="2434"/>
                </a:lnTo>
                <a:lnTo>
                  <a:pt x="4392" y="2429"/>
                </a:lnTo>
                <a:lnTo>
                  <a:pt x="4386" y="2426"/>
                </a:lnTo>
                <a:lnTo>
                  <a:pt x="4370" y="2420"/>
                </a:lnTo>
                <a:lnTo>
                  <a:pt x="4353" y="2415"/>
                </a:lnTo>
                <a:lnTo>
                  <a:pt x="4346" y="2413"/>
                </a:lnTo>
                <a:lnTo>
                  <a:pt x="4340" y="2409"/>
                </a:lnTo>
                <a:lnTo>
                  <a:pt x="4337" y="2408"/>
                </a:lnTo>
                <a:lnTo>
                  <a:pt x="4336" y="2405"/>
                </a:lnTo>
                <a:lnTo>
                  <a:pt x="4336" y="2403"/>
                </a:lnTo>
                <a:lnTo>
                  <a:pt x="4337" y="2401"/>
                </a:lnTo>
                <a:lnTo>
                  <a:pt x="4339" y="2394"/>
                </a:lnTo>
                <a:lnTo>
                  <a:pt x="4340" y="2386"/>
                </a:lnTo>
                <a:lnTo>
                  <a:pt x="4339" y="2377"/>
                </a:lnTo>
                <a:lnTo>
                  <a:pt x="4337" y="2367"/>
                </a:lnTo>
                <a:lnTo>
                  <a:pt x="4333" y="2346"/>
                </a:lnTo>
                <a:lnTo>
                  <a:pt x="4327" y="2325"/>
                </a:lnTo>
                <a:lnTo>
                  <a:pt x="4326" y="2314"/>
                </a:lnTo>
                <a:lnTo>
                  <a:pt x="4323" y="2303"/>
                </a:lnTo>
                <a:lnTo>
                  <a:pt x="4323" y="2293"/>
                </a:lnTo>
                <a:lnTo>
                  <a:pt x="4323" y="2283"/>
                </a:lnTo>
                <a:lnTo>
                  <a:pt x="4324" y="2275"/>
                </a:lnTo>
                <a:lnTo>
                  <a:pt x="4328" y="2266"/>
                </a:lnTo>
                <a:lnTo>
                  <a:pt x="4333" y="2259"/>
                </a:lnTo>
                <a:lnTo>
                  <a:pt x="4340" y="2255"/>
                </a:lnTo>
                <a:lnTo>
                  <a:pt x="4345" y="2249"/>
                </a:lnTo>
                <a:lnTo>
                  <a:pt x="4348" y="2241"/>
                </a:lnTo>
                <a:lnTo>
                  <a:pt x="4351" y="2237"/>
                </a:lnTo>
                <a:lnTo>
                  <a:pt x="4354" y="2232"/>
                </a:lnTo>
                <a:lnTo>
                  <a:pt x="4359" y="2227"/>
                </a:lnTo>
                <a:lnTo>
                  <a:pt x="4365" y="2222"/>
                </a:lnTo>
                <a:lnTo>
                  <a:pt x="4384" y="2212"/>
                </a:lnTo>
                <a:lnTo>
                  <a:pt x="4409" y="2200"/>
                </a:lnTo>
                <a:lnTo>
                  <a:pt x="4433" y="2190"/>
                </a:lnTo>
                <a:lnTo>
                  <a:pt x="4452" y="2181"/>
                </a:lnTo>
                <a:lnTo>
                  <a:pt x="4460" y="2175"/>
                </a:lnTo>
                <a:lnTo>
                  <a:pt x="4467" y="2169"/>
                </a:lnTo>
                <a:lnTo>
                  <a:pt x="4475" y="2162"/>
                </a:lnTo>
                <a:lnTo>
                  <a:pt x="4481" y="2153"/>
                </a:lnTo>
                <a:lnTo>
                  <a:pt x="4488" y="2146"/>
                </a:lnTo>
                <a:lnTo>
                  <a:pt x="4493" y="2138"/>
                </a:lnTo>
                <a:lnTo>
                  <a:pt x="4497" y="2132"/>
                </a:lnTo>
                <a:lnTo>
                  <a:pt x="4499" y="2126"/>
                </a:lnTo>
                <a:lnTo>
                  <a:pt x="4502" y="2114"/>
                </a:lnTo>
                <a:lnTo>
                  <a:pt x="4503" y="2104"/>
                </a:lnTo>
                <a:lnTo>
                  <a:pt x="4502" y="2098"/>
                </a:lnTo>
                <a:lnTo>
                  <a:pt x="4500" y="2093"/>
                </a:lnTo>
                <a:lnTo>
                  <a:pt x="4498" y="2089"/>
                </a:lnTo>
                <a:lnTo>
                  <a:pt x="4494" y="2087"/>
                </a:lnTo>
                <a:lnTo>
                  <a:pt x="4491" y="2083"/>
                </a:lnTo>
                <a:lnTo>
                  <a:pt x="4488" y="2081"/>
                </a:lnTo>
                <a:lnTo>
                  <a:pt x="4488" y="2079"/>
                </a:lnTo>
                <a:lnTo>
                  <a:pt x="4488" y="2075"/>
                </a:lnTo>
                <a:lnTo>
                  <a:pt x="4490" y="2068"/>
                </a:lnTo>
                <a:lnTo>
                  <a:pt x="4490" y="2055"/>
                </a:lnTo>
                <a:lnTo>
                  <a:pt x="4490" y="2049"/>
                </a:lnTo>
                <a:lnTo>
                  <a:pt x="4490" y="2044"/>
                </a:lnTo>
                <a:lnTo>
                  <a:pt x="4491" y="2041"/>
                </a:lnTo>
                <a:lnTo>
                  <a:pt x="4493" y="2037"/>
                </a:lnTo>
                <a:lnTo>
                  <a:pt x="4496" y="2036"/>
                </a:lnTo>
                <a:lnTo>
                  <a:pt x="4498" y="2035"/>
                </a:lnTo>
                <a:lnTo>
                  <a:pt x="4502" y="2033"/>
                </a:lnTo>
                <a:lnTo>
                  <a:pt x="4505" y="2033"/>
                </a:lnTo>
                <a:lnTo>
                  <a:pt x="4512" y="2033"/>
                </a:lnTo>
                <a:lnTo>
                  <a:pt x="4518" y="2032"/>
                </a:lnTo>
                <a:lnTo>
                  <a:pt x="4525" y="2030"/>
                </a:lnTo>
                <a:lnTo>
                  <a:pt x="4534" y="2025"/>
                </a:lnTo>
                <a:lnTo>
                  <a:pt x="4538" y="2022"/>
                </a:lnTo>
                <a:lnTo>
                  <a:pt x="4542" y="2017"/>
                </a:lnTo>
                <a:lnTo>
                  <a:pt x="4544" y="2012"/>
                </a:lnTo>
                <a:lnTo>
                  <a:pt x="4546" y="2005"/>
                </a:lnTo>
                <a:lnTo>
                  <a:pt x="4549" y="1992"/>
                </a:lnTo>
                <a:lnTo>
                  <a:pt x="4553" y="1980"/>
                </a:lnTo>
                <a:lnTo>
                  <a:pt x="4555" y="1975"/>
                </a:lnTo>
                <a:lnTo>
                  <a:pt x="4559" y="1973"/>
                </a:lnTo>
                <a:lnTo>
                  <a:pt x="4563" y="1972"/>
                </a:lnTo>
                <a:lnTo>
                  <a:pt x="4568" y="1970"/>
                </a:lnTo>
                <a:lnTo>
                  <a:pt x="4573" y="1972"/>
                </a:lnTo>
                <a:lnTo>
                  <a:pt x="4578" y="1973"/>
                </a:lnTo>
                <a:lnTo>
                  <a:pt x="4582" y="1975"/>
                </a:lnTo>
                <a:lnTo>
                  <a:pt x="4587" y="1978"/>
                </a:lnTo>
                <a:lnTo>
                  <a:pt x="4595" y="1982"/>
                </a:lnTo>
                <a:lnTo>
                  <a:pt x="4603" y="1987"/>
                </a:lnTo>
                <a:lnTo>
                  <a:pt x="4606" y="1988"/>
                </a:lnTo>
                <a:lnTo>
                  <a:pt x="4610" y="1989"/>
                </a:lnTo>
                <a:lnTo>
                  <a:pt x="4614" y="1989"/>
                </a:lnTo>
                <a:lnTo>
                  <a:pt x="4618" y="1988"/>
                </a:lnTo>
                <a:lnTo>
                  <a:pt x="4622" y="1986"/>
                </a:lnTo>
                <a:lnTo>
                  <a:pt x="4625" y="1982"/>
                </a:lnTo>
                <a:lnTo>
                  <a:pt x="4629" y="1978"/>
                </a:lnTo>
                <a:lnTo>
                  <a:pt x="4632" y="1973"/>
                </a:lnTo>
                <a:lnTo>
                  <a:pt x="4636" y="1967"/>
                </a:lnTo>
                <a:lnTo>
                  <a:pt x="4638" y="1961"/>
                </a:lnTo>
                <a:lnTo>
                  <a:pt x="4641" y="1955"/>
                </a:lnTo>
                <a:lnTo>
                  <a:pt x="4642" y="1950"/>
                </a:lnTo>
                <a:lnTo>
                  <a:pt x="4642" y="1944"/>
                </a:lnTo>
                <a:lnTo>
                  <a:pt x="4641" y="1940"/>
                </a:lnTo>
                <a:lnTo>
                  <a:pt x="4638" y="1934"/>
                </a:lnTo>
                <a:lnTo>
                  <a:pt x="4636" y="1929"/>
                </a:lnTo>
                <a:lnTo>
                  <a:pt x="4631" y="1917"/>
                </a:lnTo>
                <a:lnTo>
                  <a:pt x="4626" y="1903"/>
                </a:lnTo>
                <a:lnTo>
                  <a:pt x="4625" y="1892"/>
                </a:lnTo>
                <a:lnTo>
                  <a:pt x="4625" y="1882"/>
                </a:lnTo>
                <a:lnTo>
                  <a:pt x="4625" y="1873"/>
                </a:lnTo>
                <a:lnTo>
                  <a:pt x="4626" y="1866"/>
                </a:lnTo>
                <a:lnTo>
                  <a:pt x="4626" y="1860"/>
                </a:lnTo>
                <a:lnTo>
                  <a:pt x="4629" y="1858"/>
                </a:lnTo>
                <a:lnTo>
                  <a:pt x="4631" y="1856"/>
                </a:lnTo>
                <a:lnTo>
                  <a:pt x="4636" y="1856"/>
                </a:lnTo>
                <a:lnTo>
                  <a:pt x="4642" y="1856"/>
                </a:lnTo>
                <a:lnTo>
                  <a:pt x="4647" y="1855"/>
                </a:lnTo>
                <a:lnTo>
                  <a:pt x="4654" y="1853"/>
                </a:lnTo>
                <a:lnTo>
                  <a:pt x="4661" y="1849"/>
                </a:lnTo>
                <a:lnTo>
                  <a:pt x="4668" y="1846"/>
                </a:lnTo>
                <a:lnTo>
                  <a:pt x="4673" y="1843"/>
                </a:lnTo>
                <a:lnTo>
                  <a:pt x="4677" y="1842"/>
                </a:lnTo>
                <a:lnTo>
                  <a:pt x="4683" y="1841"/>
                </a:lnTo>
                <a:lnTo>
                  <a:pt x="4688" y="1842"/>
                </a:lnTo>
                <a:lnTo>
                  <a:pt x="4692" y="1844"/>
                </a:lnTo>
                <a:lnTo>
                  <a:pt x="4695" y="1846"/>
                </a:lnTo>
                <a:lnTo>
                  <a:pt x="4698" y="1848"/>
                </a:lnTo>
                <a:lnTo>
                  <a:pt x="4702" y="1850"/>
                </a:lnTo>
                <a:lnTo>
                  <a:pt x="4706" y="1852"/>
                </a:lnTo>
                <a:lnTo>
                  <a:pt x="4710" y="1849"/>
                </a:lnTo>
                <a:lnTo>
                  <a:pt x="4712" y="1847"/>
                </a:lnTo>
                <a:lnTo>
                  <a:pt x="4716" y="1838"/>
                </a:lnTo>
                <a:lnTo>
                  <a:pt x="4718" y="1830"/>
                </a:lnTo>
                <a:lnTo>
                  <a:pt x="4720" y="1821"/>
                </a:lnTo>
                <a:lnTo>
                  <a:pt x="4723" y="1811"/>
                </a:lnTo>
                <a:lnTo>
                  <a:pt x="4723" y="1803"/>
                </a:lnTo>
                <a:lnTo>
                  <a:pt x="4723" y="1796"/>
                </a:lnTo>
                <a:lnTo>
                  <a:pt x="4723" y="1790"/>
                </a:lnTo>
                <a:lnTo>
                  <a:pt x="4720" y="1784"/>
                </a:lnTo>
                <a:lnTo>
                  <a:pt x="4718" y="1778"/>
                </a:lnTo>
                <a:lnTo>
                  <a:pt x="4716" y="1772"/>
                </a:lnTo>
                <a:lnTo>
                  <a:pt x="4710" y="1762"/>
                </a:lnTo>
                <a:lnTo>
                  <a:pt x="4706" y="1754"/>
                </a:lnTo>
                <a:lnTo>
                  <a:pt x="4705" y="1751"/>
                </a:lnTo>
                <a:lnTo>
                  <a:pt x="4706" y="1746"/>
                </a:lnTo>
                <a:lnTo>
                  <a:pt x="4708" y="1742"/>
                </a:lnTo>
                <a:lnTo>
                  <a:pt x="4711" y="1739"/>
                </a:lnTo>
                <a:lnTo>
                  <a:pt x="4719" y="1729"/>
                </a:lnTo>
                <a:lnTo>
                  <a:pt x="4727" y="1721"/>
                </a:lnTo>
                <a:lnTo>
                  <a:pt x="4735" y="1715"/>
                </a:lnTo>
                <a:lnTo>
                  <a:pt x="4742" y="1709"/>
                </a:lnTo>
                <a:lnTo>
                  <a:pt x="4751" y="1703"/>
                </a:lnTo>
                <a:lnTo>
                  <a:pt x="4759" y="1698"/>
                </a:lnTo>
                <a:lnTo>
                  <a:pt x="4764" y="1695"/>
                </a:lnTo>
                <a:lnTo>
                  <a:pt x="4767" y="1692"/>
                </a:lnTo>
                <a:lnTo>
                  <a:pt x="4765" y="1690"/>
                </a:lnTo>
                <a:lnTo>
                  <a:pt x="4759" y="1688"/>
                </a:lnTo>
                <a:lnTo>
                  <a:pt x="4754" y="1685"/>
                </a:lnTo>
                <a:lnTo>
                  <a:pt x="4746" y="1683"/>
                </a:lnTo>
                <a:lnTo>
                  <a:pt x="4740" y="1678"/>
                </a:lnTo>
                <a:lnTo>
                  <a:pt x="4736" y="1674"/>
                </a:lnTo>
                <a:lnTo>
                  <a:pt x="4727" y="1664"/>
                </a:lnTo>
                <a:lnTo>
                  <a:pt x="4723" y="1655"/>
                </a:lnTo>
                <a:lnTo>
                  <a:pt x="4717" y="1648"/>
                </a:lnTo>
                <a:lnTo>
                  <a:pt x="4710" y="1642"/>
                </a:lnTo>
                <a:lnTo>
                  <a:pt x="4704" y="1638"/>
                </a:lnTo>
                <a:lnTo>
                  <a:pt x="4696" y="1629"/>
                </a:lnTo>
                <a:lnTo>
                  <a:pt x="4692" y="1622"/>
                </a:lnTo>
                <a:lnTo>
                  <a:pt x="4688" y="1616"/>
                </a:lnTo>
                <a:lnTo>
                  <a:pt x="4686" y="1608"/>
                </a:lnTo>
                <a:lnTo>
                  <a:pt x="4685" y="1592"/>
                </a:lnTo>
                <a:lnTo>
                  <a:pt x="4683" y="1579"/>
                </a:lnTo>
                <a:lnTo>
                  <a:pt x="4681" y="1565"/>
                </a:lnTo>
                <a:lnTo>
                  <a:pt x="4677" y="1551"/>
                </a:lnTo>
                <a:lnTo>
                  <a:pt x="4673" y="1538"/>
                </a:lnTo>
                <a:lnTo>
                  <a:pt x="4668" y="1529"/>
                </a:lnTo>
                <a:lnTo>
                  <a:pt x="4663" y="1524"/>
                </a:lnTo>
                <a:lnTo>
                  <a:pt x="4658" y="1518"/>
                </a:lnTo>
                <a:lnTo>
                  <a:pt x="4652" y="1513"/>
                </a:lnTo>
                <a:lnTo>
                  <a:pt x="4642" y="1506"/>
                </a:lnTo>
                <a:lnTo>
                  <a:pt x="4632" y="1499"/>
                </a:lnTo>
                <a:lnTo>
                  <a:pt x="4628" y="1494"/>
                </a:lnTo>
                <a:lnTo>
                  <a:pt x="4625" y="1489"/>
                </a:lnTo>
                <a:lnTo>
                  <a:pt x="4623" y="1483"/>
                </a:lnTo>
                <a:lnTo>
                  <a:pt x="4622" y="1478"/>
                </a:lnTo>
                <a:lnTo>
                  <a:pt x="4622" y="1472"/>
                </a:lnTo>
                <a:lnTo>
                  <a:pt x="4623" y="1468"/>
                </a:lnTo>
                <a:lnTo>
                  <a:pt x="4626" y="1463"/>
                </a:lnTo>
                <a:lnTo>
                  <a:pt x="4630" y="1459"/>
                </a:lnTo>
                <a:lnTo>
                  <a:pt x="4643" y="1453"/>
                </a:lnTo>
                <a:lnTo>
                  <a:pt x="4657" y="1449"/>
                </a:lnTo>
                <a:lnTo>
                  <a:pt x="4663" y="1447"/>
                </a:lnTo>
                <a:lnTo>
                  <a:pt x="4667" y="1445"/>
                </a:lnTo>
                <a:lnTo>
                  <a:pt x="4668" y="1444"/>
                </a:lnTo>
                <a:lnTo>
                  <a:pt x="4669" y="1443"/>
                </a:lnTo>
                <a:lnTo>
                  <a:pt x="4669" y="1440"/>
                </a:lnTo>
                <a:lnTo>
                  <a:pt x="4669" y="1439"/>
                </a:lnTo>
                <a:lnTo>
                  <a:pt x="4663" y="1425"/>
                </a:lnTo>
                <a:lnTo>
                  <a:pt x="4658" y="1411"/>
                </a:lnTo>
                <a:lnTo>
                  <a:pt x="4655" y="1405"/>
                </a:lnTo>
                <a:lnTo>
                  <a:pt x="4649" y="1396"/>
                </a:lnTo>
                <a:lnTo>
                  <a:pt x="4643" y="1389"/>
                </a:lnTo>
                <a:lnTo>
                  <a:pt x="4637" y="1383"/>
                </a:lnTo>
                <a:lnTo>
                  <a:pt x="4624" y="1371"/>
                </a:lnTo>
                <a:lnTo>
                  <a:pt x="4607" y="1356"/>
                </a:lnTo>
                <a:lnTo>
                  <a:pt x="4604" y="1351"/>
                </a:lnTo>
                <a:lnTo>
                  <a:pt x="4601" y="1348"/>
                </a:lnTo>
                <a:lnTo>
                  <a:pt x="4599" y="1343"/>
                </a:lnTo>
                <a:lnTo>
                  <a:pt x="4599" y="1339"/>
                </a:lnTo>
                <a:lnTo>
                  <a:pt x="4599" y="1331"/>
                </a:lnTo>
                <a:lnTo>
                  <a:pt x="4599" y="1319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5" name="西藏"/>
          <p:cNvSpPr/>
          <p:nvPr/>
        </p:nvSpPr>
        <p:spPr bwMode="auto">
          <a:xfrm>
            <a:off x="1617980" y="2944495"/>
            <a:ext cx="2957195" cy="1946275"/>
          </a:xfrm>
          <a:custGeom>
            <a:avLst/>
            <a:gdLst>
              <a:gd name="T0" fmla="*/ 7031 w 7150"/>
              <a:gd name="T1" fmla="*/ 2898 h 4733"/>
              <a:gd name="T2" fmla="*/ 7084 w 7150"/>
              <a:gd name="T3" fmla="*/ 3189 h 4733"/>
              <a:gd name="T4" fmla="*/ 7132 w 7150"/>
              <a:gd name="T5" fmla="*/ 3593 h 4733"/>
              <a:gd name="T6" fmla="*/ 7083 w 7150"/>
              <a:gd name="T7" fmla="*/ 4058 h 4733"/>
              <a:gd name="T8" fmla="*/ 6950 w 7150"/>
              <a:gd name="T9" fmla="*/ 4115 h 4733"/>
              <a:gd name="T10" fmla="*/ 6864 w 7150"/>
              <a:gd name="T11" fmla="*/ 4456 h 4733"/>
              <a:gd name="T12" fmla="*/ 6653 w 7150"/>
              <a:gd name="T13" fmla="*/ 4387 h 4733"/>
              <a:gd name="T14" fmla="*/ 6435 w 7150"/>
              <a:gd name="T15" fmla="*/ 4373 h 4733"/>
              <a:gd name="T16" fmla="*/ 6285 w 7150"/>
              <a:gd name="T17" fmla="*/ 4528 h 4733"/>
              <a:gd name="T18" fmla="*/ 5894 w 7150"/>
              <a:gd name="T19" fmla="*/ 4318 h 4733"/>
              <a:gd name="T20" fmla="*/ 5095 w 7150"/>
              <a:gd name="T21" fmla="*/ 4600 h 4733"/>
              <a:gd name="T22" fmla="*/ 4581 w 7150"/>
              <a:gd name="T23" fmla="*/ 4667 h 4733"/>
              <a:gd name="T24" fmla="*/ 4323 w 7150"/>
              <a:gd name="T25" fmla="*/ 4387 h 4733"/>
              <a:gd name="T26" fmla="*/ 4127 w 7150"/>
              <a:gd name="T27" fmla="*/ 4124 h 4733"/>
              <a:gd name="T28" fmla="*/ 3734 w 7150"/>
              <a:gd name="T29" fmla="*/ 3951 h 4733"/>
              <a:gd name="T30" fmla="*/ 3334 w 7150"/>
              <a:gd name="T31" fmla="*/ 4075 h 4733"/>
              <a:gd name="T32" fmla="*/ 3190 w 7150"/>
              <a:gd name="T33" fmla="*/ 4078 h 4733"/>
              <a:gd name="T34" fmla="*/ 2955 w 7150"/>
              <a:gd name="T35" fmla="*/ 3920 h 4733"/>
              <a:gd name="T36" fmla="*/ 2594 w 7150"/>
              <a:gd name="T37" fmla="*/ 3863 h 4733"/>
              <a:gd name="T38" fmla="*/ 2351 w 7150"/>
              <a:gd name="T39" fmla="*/ 3763 h 4733"/>
              <a:gd name="T40" fmla="*/ 2160 w 7150"/>
              <a:gd name="T41" fmla="*/ 3684 h 4733"/>
              <a:gd name="T42" fmla="*/ 1969 w 7150"/>
              <a:gd name="T43" fmla="*/ 3499 h 4733"/>
              <a:gd name="T44" fmla="*/ 1780 w 7150"/>
              <a:gd name="T45" fmla="*/ 3293 h 4733"/>
              <a:gd name="T46" fmla="*/ 1629 w 7150"/>
              <a:gd name="T47" fmla="*/ 2969 h 4733"/>
              <a:gd name="T48" fmla="*/ 1363 w 7150"/>
              <a:gd name="T49" fmla="*/ 2779 h 4733"/>
              <a:gd name="T50" fmla="*/ 1145 w 7150"/>
              <a:gd name="T51" fmla="*/ 2528 h 4733"/>
              <a:gd name="T52" fmla="*/ 887 w 7150"/>
              <a:gd name="T53" fmla="*/ 2246 h 4733"/>
              <a:gd name="T54" fmla="*/ 664 w 7150"/>
              <a:gd name="T55" fmla="*/ 2360 h 4733"/>
              <a:gd name="T56" fmla="*/ 352 w 7150"/>
              <a:gd name="T57" fmla="*/ 1998 h 4733"/>
              <a:gd name="T58" fmla="*/ 125 w 7150"/>
              <a:gd name="T59" fmla="*/ 1758 h 4733"/>
              <a:gd name="T60" fmla="*/ 23 w 7150"/>
              <a:gd name="T61" fmla="*/ 1458 h 4733"/>
              <a:gd name="T62" fmla="*/ 27 w 7150"/>
              <a:gd name="T63" fmla="*/ 1129 h 4733"/>
              <a:gd name="T64" fmla="*/ 224 w 7150"/>
              <a:gd name="T65" fmla="*/ 1144 h 4733"/>
              <a:gd name="T66" fmla="*/ 359 w 7150"/>
              <a:gd name="T67" fmla="*/ 803 h 4733"/>
              <a:gd name="T68" fmla="*/ 437 w 7150"/>
              <a:gd name="T69" fmla="*/ 372 h 4733"/>
              <a:gd name="T70" fmla="*/ 787 w 7150"/>
              <a:gd name="T71" fmla="*/ 344 h 4733"/>
              <a:gd name="T72" fmla="*/ 1055 w 7150"/>
              <a:gd name="T73" fmla="*/ 24 h 4733"/>
              <a:gd name="T74" fmla="*/ 1310 w 7150"/>
              <a:gd name="T75" fmla="*/ 95 h 4733"/>
              <a:gd name="T76" fmla="*/ 1717 w 7150"/>
              <a:gd name="T77" fmla="*/ 148 h 4733"/>
              <a:gd name="T78" fmla="*/ 1955 w 7150"/>
              <a:gd name="T79" fmla="*/ 233 h 4733"/>
              <a:gd name="T80" fmla="*/ 2298 w 7150"/>
              <a:gd name="T81" fmla="*/ 363 h 4733"/>
              <a:gd name="T82" fmla="*/ 2787 w 7150"/>
              <a:gd name="T83" fmla="*/ 352 h 4733"/>
              <a:gd name="T84" fmla="*/ 3146 w 7150"/>
              <a:gd name="T85" fmla="*/ 232 h 4733"/>
              <a:gd name="T86" fmla="*/ 3464 w 7150"/>
              <a:gd name="T87" fmla="*/ 224 h 4733"/>
              <a:gd name="T88" fmla="*/ 3869 w 7150"/>
              <a:gd name="T89" fmla="*/ 266 h 4733"/>
              <a:gd name="T90" fmla="*/ 4125 w 7150"/>
              <a:gd name="T91" fmla="*/ 413 h 4733"/>
              <a:gd name="T92" fmla="*/ 4261 w 7150"/>
              <a:gd name="T93" fmla="*/ 634 h 4733"/>
              <a:gd name="T94" fmla="*/ 4122 w 7150"/>
              <a:gd name="T95" fmla="*/ 857 h 4733"/>
              <a:gd name="T96" fmla="*/ 4192 w 7150"/>
              <a:gd name="T97" fmla="*/ 1090 h 4733"/>
              <a:gd name="T98" fmla="*/ 4111 w 7150"/>
              <a:gd name="T99" fmla="*/ 1367 h 4733"/>
              <a:gd name="T100" fmla="*/ 4156 w 7150"/>
              <a:gd name="T101" fmla="*/ 1628 h 4733"/>
              <a:gd name="T102" fmla="*/ 4388 w 7150"/>
              <a:gd name="T103" fmla="*/ 1878 h 4733"/>
              <a:gd name="T104" fmla="*/ 4596 w 7150"/>
              <a:gd name="T105" fmla="*/ 1882 h 4733"/>
              <a:gd name="T106" fmla="*/ 4870 w 7150"/>
              <a:gd name="T107" fmla="*/ 2140 h 4733"/>
              <a:gd name="T108" fmla="*/ 5218 w 7150"/>
              <a:gd name="T109" fmla="*/ 2265 h 4733"/>
              <a:gd name="T110" fmla="*/ 5507 w 7150"/>
              <a:gd name="T111" fmla="*/ 2375 h 4733"/>
              <a:gd name="T112" fmla="*/ 5780 w 7150"/>
              <a:gd name="T113" fmla="*/ 2421 h 4733"/>
              <a:gd name="T114" fmla="*/ 5919 w 7150"/>
              <a:gd name="T115" fmla="*/ 2566 h 4733"/>
              <a:gd name="T116" fmla="*/ 6049 w 7150"/>
              <a:gd name="T117" fmla="*/ 2783 h 4733"/>
              <a:gd name="T118" fmla="*/ 6193 w 7150"/>
              <a:gd name="T119" fmla="*/ 2848 h 4733"/>
              <a:gd name="T120" fmla="*/ 6276 w 7150"/>
              <a:gd name="T121" fmla="*/ 2763 h 4733"/>
              <a:gd name="T122" fmla="*/ 6478 w 7150"/>
              <a:gd name="T123" fmla="*/ 2718 h 4733"/>
              <a:gd name="T124" fmla="*/ 6657 w 7150"/>
              <a:gd name="T125" fmla="*/ 2594 h 4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50" h="4733">
                <a:moveTo>
                  <a:pt x="6802" y="2524"/>
                </a:moveTo>
                <a:lnTo>
                  <a:pt x="6813" y="2533"/>
                </a:lnTo>
                <a:lnTo>
                  <a:pt x="6822" y="2540"/>
                </a:lnTo>
                <a:lnTo>
                  <a:pt x="6833" y="2547"/>
                </a:lnTo>
                <a:lnTo>
                  <a:pt x="6848" y="2555"/>
                </a:lnTo>
                <a:lnTo>
                  <a:pt x="6861" y="2564"/>
                </a:lnTo>
                <a:lnTo>
                  <a:pt x="6871" y="2568"/>
                </a:lnTo>
                <a:lnTo>
                  <a:pt x="6881" y="2572"/>
                </a:lnTo>
                <a:lnTo>
                  <a:pt x="6894" y="2577"/>
                </a:lnTo>
                <a:lnTo>
                  <a:pt x="6906" y="2581"/>
                </a:lnTo>
                <a:lnTo>
                  <a:pt x="6915" y="2586"/>
                </a:lnTo>
                <a:lnTo>
                  <a:pt x="6923" y="2593"/>
                </a:lnTo>
                <a:lnTo>
                  <a:pt x="6931" y="2602"/>
                </a:lnTo>
                <a:lnTo>
                  <a:pt x="6938" y="2610"/>
                </a:lnTo>
                <a:lnTo>
                  <a:pt x="6942" y="2618"/>
                </a:lnTo>
                <a:lnTo>
                  <a:pt x="6945" y="2625"/>
                </a:lnTo>
                <a:lnTo>
                  <a:pt x="6946" y="2634"/>
                </a:lnTo>
                <a:lnTo>
                  <a:pt x="6949" y="2642"/>
                </a:lnTo>
                <a:lnTo>
                  <a:pt x="6949" y="2651"/>
                </a:lnTo>
                <a:lnTo>
                  <a:pt x="6949" y="2662"/>
                </a:lnTo>
                <a:lnTo>
                  <a:pt x="6950" y="2671"/>
                </a:lnTo>
                <a:lnTo>
                  <a:pt x="6952" y="2679"/>
                </a:lnTo>
                <a:lnTo>
                  <a:pt x="6955" y="2685"/>
                </a:lnTo>
                <a:lnTo>
                  <a:pt x="6962" y="2697"/>
                </a:lnTo>
                <a:lnTo>
                  <a:pt x="6968" y="2709"/>
                </a:lnTo>
                <a:lnTo>
                  <a:pt x="6971" y="2718"/>
                </a:lnTo>
                <a:lnTo>
                  <a:pt x="6978" y="2728"/>
                </a:lnTo>
                <a:lnTo>
                  <a:pt x="6986" y="2738"/>
                </a:lnTo>
                <a:lnTo>
                  <a:pt x="6992" y="2747"/>
                </a:lnTo>
                <a:lnTo>
                  <a:pt x="6996" y="2754"/>
                </a:lnTo>
                <a:lnTo>
                  <a:pt x="7001" y="2761"/>
                </a:lnTo>
                <a:lnTo>
                  <a:pt x="7005" y="2769"/>
                </a:lnTo>
                <a:lnTo>
                  <a:pt x="7007" y="2779"/>
                </a:lnTo>
                <a:lnTo>
                  <a:pt x="7007" y="2789"/>
                </a:lnTo>
                <a:lnTo>
                  <a:pt x="7006" y="2798"/>
                </a:lnTo>
                <a:lnTo>
                  <a:pt x="7005" y="2806"/>
                </a:lnTo>
                <a:lnTo>
                  <a:pt x="7002" y="2812"/>
                </a:lnTo>
                <a:lnTo>
                  <a:pt x="6996" y="2819"/>
                </a:lnTo>
                <a:lnTo>
                  <a:pt x="6993" y="2826"/>
                </a:lnTo>
                <a:lnTo>
                  <a:pt x="6993" y="2830"/>
                </a:lnTo>
                <a:lnTo>
                  <a:pt x="6994" y="2833"/>
                </a:lnTo>
                <a:lnTo>
                  <a:pt x="6997" y="2838"/>
                </a:lnTo>
                <a:lnTo>
                  <a:pt x="7001" y="2840"/>
                </a:lnTo>
                <a:lnTo>
                  <a:pt x="7003" y="2844"/>
                </a:lnTo>
                <a:lnTo>
                  <a:pt x="7006" y="2848"/>
                </a:lnTo>
                <a:lnTo>
                  <a:pt x="7008" y="2852"/>
                </a:lnTo>
                <a:lnTo>
                  <a:pt x="7009" y="2858"/>
                </a:lnTo>
                <a:lnTo>
                  <a:pt x="7011" y="2867"/>
                </a:lnTo>
                <a:lnTo>
                  <a:pt x="7014" y="2875"/>
                </a:lnTo>
                <a:lnTo>
                  <a:pt x="7020" y="2883"/>
                </a:lnTo>
                <a:lnTo>
                  <a:pt x="7025" y="2890"/>
                </a:lnTo>
                <a:lnTo>
                  <a:pt x="7031" y="2898"/>
                </a:lnTo>
                <a:lnTo>
                  <a:pt x="7037" y="2905"/>
                </a:lnTo>
                <a:lnTo>
                  <a:pt x="7041" y="2911"/>
                </a:lnTo>
                <a:lnTo>
                  <a:pt x="7044" y="2918"/>
                </a:lnTo>
                <a:lnTo>
                  <a:pt x="7045" y="2927"/>
                </a:lnTo>
                <a:lnTo>
                  <a:pt x="7049" y="2937"/>
                </a:lnTo>
                <a:lnTo>
                  <a:pt x="7052" y="2946"/>
                </a:lnTo>
                <a:lnTo>
                  <a:pt x="7058" y="2955"/>
                </a:lnTo>
                <a:lnTo>
                  <a:pt x="7065" y="2964"/>
                </a:lnTo>
                <a:lnTo>
                  <a:pt x="7077" y="2976"/>
                </a:lnTo>
                <a:lnTo>
                  <a:pt x="7089" y="2989"/>
                </a:lnTo>
                <a:lnTo>
                  <a:pt x="7098" y="3000"/>
                </a:lnTo>
                <a:lnTo>
                  <a:pt x="7108" y="3010"/>
                </a:lnTo>
                <a:lnTo>
                  <a:pt x="7120" y="3026"/>
                </a:lnTo>
                <a:lnTo>
                  <a:pt x="7132" y="3039"/>
                </a:lnTo>
                <a:lnTo>
                  <a:pt x="7139" y="3048"/>
                </a:lnTo>
                <a:lnTo>
                  <a:pt x="7144" y="3054"/>
                </a:lnTo>
                <a:lnTo>
                  <a:pt x="7147" y="3063"/>
                </a:lnTo>
                <a:lnTo>
                  <a:pt x="7148" y="3066"/>
                </a:lnTo>
                <a:lnTo>
                  <a:pt x="7148" y="3070"/>
                </a:lnTo>
                <a:lnTo>
                  <a:pt x="7148" y="3073"/>
                </a:lnTo>
                <a:lnTo>
                  <a:pt x="7147" y="3077"/>
                </a:lnTo>
                <a:lnTo>
                  <a:pt x="7141" y="3083"/>
                </a:lnTo>
                <a:lnTo>
                  <a:pt x="7131" y="3091"/>
                </a:lnTo>
                <a:lnTo>
                  <a:pt x="7120" y="3098"/>
                </a:lnTo>
                <a:lnTo>
                  <a:pt x="7113" y="3104"/>
                </a:lnTo>
                <a:lnTo>
                  <a:pt x="7109" y="3106"/>
                </a:lnTo>
                <a:lnTo>
                  <a:pt x="7106" y="3107"/>
                </a:lnTo>
                <a:lnTo>
                  <a:pt x="7103" y="3107"/>
                </a:lnTo>
                <a:lnTo>
                  <a:pt x="7100" y="3106"/>
                </a:lnTo>
                <a:lnTo>
                  <a:pt x="7094" y="3102"/>
                </a:lnTo>
                <a:lnTo>
                  <a:pt x="7089" y="3097"/>
                </a:lnTo>
                <a:lnTo>
                  <a:pt x="7084" y="3090"/>
                </a:lnTo>
                <a:lnTo>
                  <a:pt x="7079" y="3084"/>
                </a:lnTo>
                <a:lnTo>
                  <a:pt x="7076" y="3079"/>
                </a:lnTo>
                <a:lnTo>
                  <a:pt x="7071" y="3077"/>
                </a:lnTo>
                <a:lnTo>
                  <a:pt x="7065" y="3078"/>
                </a:lnTo>
                <a:lnTo>
                  <a:pt x="7059" y="3081"/>
                </a:lnTo>
                <a:lnTo>
                  <a:pt x="7057" y="3083"/>
                </a:lnTo>
                <a:lnTo>
                  <a:pt x="7055" y="3087"/>
                </a:lnTo>
                <a:lnTo>
                  <a:pt x="7052" y="3090"/>
                </a:lnTo>
                <a:lnTo>
                  <a:pt x="7050" y="3094"/>
                </a:lnTo>
                <a:lnTo>
                  <a:pt x="7049" y="3106"/>
                </a:lnTo>
                <a:lnTo>
                  <a:pt x="7049" y="3121"/>
                </a:lnTo>
                <a:lnTo>
                  <a:pt x="7050" y="3128"/>
                </a:lnTo>
                <a:lnTo>
                  <a:pt x="7051" y="3135"/>
                </a:lnTo>
                <a:lnTo>
                  <a:pt x="7052" y="3142"/>
                </a:lnTo>
                <a:lnTo>
                  <a:pt x="7056" y="3147"/>
                </a:lnTo>
                <a:lnTo>
                  <a:pt x="7068" y="3161"/>
                </a:lnTo>
                <a:lnTo>
                  <a:pt x="7078" y="3174"/>
                </a:lnTo>
                <a:lnTo>
                  <a:pt x="7082" y="3179"/>
                </a:lnTo>
                <a:lnTo>
                  <a:pt x="7083" y="3184"/>
                </a:lnTo>
                <a:lnTo>
                  <a:pt x="7084" y="3189"/>
                </a:lnTo>
                <a:lnTo>
                  <a:pt x="7084" y="3196"/>
                </a:lnTo>
                <a:lnTo>
                  <a:pt x="7085" y="3203"/>
                </a:lnTo>
                <a:lnTo>
                  <a:pt x="7087" y="3209"/>
                </a:lnTo>
                <a:lnTo>
                  <a:pt x="7089" y="3215"/>
                </a:lnTo>
                <a:lnTo>
                  <a:pt x="7094" y="3220"/>
                </a:lnTo>
                <a:lnTo>
                  <a:pt x="7098" y="3224"/>
                </a:lnTo>
                <a:lnTo>
                  <a:pt x="7102" y="3229"/>
                </a:lnTo>
                <a:lnTo>
                  <a:pt x="7104" y="3235"/>
                </a:lnTo>
                <a:lnTo>
                  <a:pt x="7106" y="3242"/>
                </a:lnTo>
                <a:lnTo>
                  <a:pt x="7104" y="3253"/>
                </a:lnTo>
                <a:lnTo>
                  <a:pt x="7103" y="3265"/>
                </a:lnTo>
                <a:lnTo>
                  <a:pt x="7103" y="3271"/>
                </a:lnTo>
                <a:lnTo>
                  <a:pt x="7103" y="3277"/>
                </a:lnTo>
                <a:lnTo>
                  <a:pt x="7104" y="3281"/>
                </a:lnTo>
                <a:lnTo>
                  <a:pt x="7107" y="3285"/>
                </a:lnTo>
                <a:lnTo>
                  <a:pt x="7120" y="3300"/>
                </a:lnTo>
                <a:lnTo>
                  <a:pt x="7138" y="3318"/>
                </a:lnTo>
                <a:lnTo>
                  <a:pt x="7144" y="3328"/>
                </a:lnTo>
                <a:lnTo>
                  <a:pt x="7147" y="3335"/>
                </a:lnTo>
                <a:lnTo>
                  <a:pt x="7148" y="3341"/>
                </a:lnTo>
                <a:lnTo>
                  <a:pt x="7148" y="3347"/>
                </a:lnTo>
                <a:lnTo>
                  <a:pt x="7148" y="3353"/>
                </a:lnTo>
                <a:lnTo>
                  <a:pt x="7146" y="3359"/>
                </a:lnTo>
                <a:lnTo>
                  <a:pt x="7141" y="3363"/>
                </a:lnTo>
                <a:lnTo>
                  <a:pt x="7138" y="3368"/>
                </a:lnTo>
                <a:lnTo>
                  <a:pt x="7135" y="3372"/>
                </a:lnTo>
                <a:lnTo>
                  <a:pt x="7135" y="3374"/>
                </a:lnTo>
                <a:lnTo>
                  <a:pt x="7135" y="3378"/>
                </a:lnTo>
                <a:lnTo>
                  <a:pt x="7137" y="3381"/>
                </a:lnTo>
                <a:lnTo>
                  <a:pt x="7140" y="3390"/>
                </a:lnTo>
                <a:lnTo>
                  <a:pt x="7142" y="3397"/>
                </a:lnTo>
                <a:lnTo>
                  <a:pt x="7144" y="3400"/>
                </a:lnTo>
                <a:lnTo>
                  <a:pt x="7142" y="3405"/>
                </a:lnTo>
                <a:lnTo>
                  <a:pt x="7141" y="3409"/>
                </a:lnTo>
                <a:lnTo>
                  <a:pt x="7140" y="3412"/>
                </a:lnTo>
                <a:lnTo>
                  <a:pt x="7138" y="3417"/>
                </a:lnTo>
                <a:lnTo>
                  <a:pt x="7137" y="3423"/>
                </a:lnTo>
                <a:lnTo>
                  <a:pt x="7135" y="3429"/>
                </a:lnTo>
                <a:lnTo>
                  <a:pt x="7135" y="3435"/>
                </a:lnTo>
                <a:lnTo>
                  <a:pt x="7137" y="3450"/>
                </a:lnTo>
                <a:lnTo>
                  <a:pt x="7138" y="3464"/>
                </a:lnTo>
                <a:lnTo>
                  <a:pt x="7139" y="3478"/>
                </a:lnTo>
                <a:lnTo>
                  <a:pt x="7140" y="3488"/>
                </a:lnTo>
                <a:lnTo>
                  <a:pt x="7139" y="3499"/>
                </a:lnTo>
                <a:lnTo>
                  <a:pt x="7138" y="3508"/>
                </a:lnTo>
                <a:lnTo>
                  <a:pt x="7138" y="3519"/>
                </a:lnTo>
                <a:lnTo>
                  <a:pt x="7137" y="3529"/>
                </a:lnTo>
                <a:lnTo>
                  <a:pt x="7135" y="3541"/>
                </a:lnTo>
                <a:lnTo>
                  <a:pt x="7134" y="3556"/>
                </a:lnTo>
                <a:lnTo>
                  <a:pt x="7133" y="3571"/>
                </a:lnTo>
                <a:lnTo>
                  <a:pt x="7132" y="3583"/>
                </a:lnTo>
                <a:lnTo>
                  <a:pt x="7132" y="3593"/>
                </a:lnTo>
                <a:lnTo>
                  <a:pt x="7133" y="3604"/>
                </a:lnTo>
                <a:lnTo>
                  <a:pt x="7134" y="3614"/>
                </a:lnTo>
                <a:lnTo>
                  <a:pt x="7137" y="3621"/>
                </a:lnTo>
                <a:lnTo>
                  <a:pt x="7139" y="3629"/>
                </a:lnTo>
                <a:lnTo>
                  <a:pt x="7141" y="3638"/>
                </a:lnTo>
                <a:lnTo>
                  <a:pt x="7144" y="3650"/>
                </a:lnTo>
                <a:lnTo>
                  <a:pt x="7146" y="3662"/>
                </a:lnTo>
                <a:lnTo>
                  <a:pt x="7148" y="3674"/>
                </a:lnTo>
                <a:lnTo>
                  <a:pt x="7150" y="3686"/>
                </a:lnTo>
                <a:lnTo>
                  <a:pt x="7150" y="3699"/>
                </a:lnTo>
                <a:lnTo>
                  <a:pt x="7150" y="3713"/>
                </a:lnTo>
                <a:lnTo>
                  <a:pt x="7147" y="3727"/>
                </a:lnTo>
                <a:lnTo>
                  <a:pt x="7145" y="3738"/>
                </a:lnTo>
                <a:lnTo>
                  <a:pt x="7141" y="3747"/>
                </a:lnTo>
                <a:lnTo>
                  <a:pt x="7137" y="3756"/>
                </a:lnTo>
                <a:lnTo>
                  <a:pt x="7131" y="3763"/>
                </a:lnTo>
                <a:lnTo>
                  <a:pt x="7127" y="3770"/>
                </a:lnTo>
                <a:lnTo>
                  <a:pt x="7122" y="3777"/>
                </a:lnTo>
                <a:lnTo>
                  <a:pt x="7120" y="3785"/>
                </a:lnTo>
                <a:lnTo>
                  <a:pt x="7116" y="3796"/>
                </a:lnTo>
                <a:lnTo>
                  <a:pt x="7114" y="3808"/>
                </a:lnTo>
                <a:lnTo>
                  <a:pt x="7112" y="3821"/>
                </a:lnTo>
                <a:lnTo>
                  <a:pt x="7113" y="3834"/>
                </a:lnTo>
                <a:lnTo>
                  <a:pt x="7115" y="3847"/>
                </a:lnTo>
                <a:lnTo>
                  <a:pt x="7120" y="3860"/>
                </a:lnTo>
                <a:lnTo>
                  <a:pt x="7123" y="3872"/>
                </a:lnTo>
                <a:lnTo>
                  <a:pt x="7125" y="3880"/>
                </a:lnTo>
                <a:lnTo>
                  <a:pt x="7126" y="3891"/>
                </a:lnTo>
                <a:lnTo>
                  <a:pt x="7125" y="3903"/>
                </a:lnTo>
                <a:lnTo>
                  <a:pt x="7123" y="3917"/>
                </a:lnTo>
                <a:lnTo>
                  <a:pt x="7122" y="3929"/>
                </a:lnTo>
                <a:lnTo>
                  <a:pt x="7122" y="3942"/>
                </a:lnTo>
                <a:lnTo>
                  <a:pt x="7122" y="3959"/>
                </a:lnTo>
                <a:lnTo>
                  <a:pt x="7123" y="3977"/>
                </a:lnTo>
                <a:lnTo>
                  <a:pt x="7126" y="3989"/>
                </a:lnTo>
                <a:lnTo>
                  <a:pt x="7129" y="3997"/>
                </a:lnTo>
                <a:lnTo>
                  <a:pt x="7132" y="4005"/>
                </a:lnTo>
                <a:lnTo>
                  <a:pt x="7134" y="4014"/>
                </a:lnTo>
                <a:lnTo>
                  <a:pt x="7135" y="4018"/>
                </a:lnTo>
                <a:lnTo>
                  <a:pt x="7135" y="4023"/>
                </a:lnTo>
                <a:lnTo>
                  <a:pt x="7134" y="4024"/>
                </a:lnTo>
                <a:lnTo>
                  <a:pt x="7127" y="4025"/>
                </a:lnTo>
                <a:lnTo>
                  <a:pt x="7116" y="4025"/>
                </a:lnTo>
                <a:lnTo>
                  <a:pt x="7100" y="4024"/>
                </a:lnTo>
                <a:lnTo>
                  <a:pt x="7087" y="4024"/>
                </a:lnTo>
                <a:lnTo>
                  <a:pt x="7082" y="4027"/>
                </a:lnTo>
                <a:lnTo>
                  <a:pt x="7079" y="4030"/>
                </a:lnTo>
                <a:lnTo>
                  <a:pt x="7078" y="4035"/>
                </a:lnTo>
                <a:lnTo>
                  <a:pt x="7077" y="4041"/>
                </a:lnTo>
                <a:lnTo>
                  <a:pt x="7078" y="4047"/>
                </a:lnTo>
                <a:lnTo>
                  <a:pt x="7079" y="4053"/>
                </a:lnTo>
                <a:lnTo>
                  <a:pt x="7083" y="4058"/>
                </a:lnTo>
                <a:lnTo>
                  <a:pt x="7085" y="4062"/>
                </a:lnTo>
                <a:lnTo>
                  <a:pt x="7089" y="4066"/>
                </a:lnTo>
                <a:lnTo>
                  <a:pt x="7091" y="4071"/>
                </a:lnTo>
                <a:lnTo>
                  <a:pt x="7093" y="4074"/>
                </a:lnTo>
                <a:lnTo>
                  <a:pt x="7093" y="4078"/>
                </a:lnTo>
                <a:lnTo>
                  <a:pt x="7093" y="4083"/>
                </a:lnTo>
                <a:lnTo>
                  <a:pt x="7091" y="4086"/>
                </a:lnTo>
                <a:lnTo>
                  <a:pt x="7089" y="4090"/>
                </a:lnTo>
                <a:lnTo>
                  <a:pt x="7085" y="4093"/>
                </a:lnTo>
                <a:lnTo>
                  <a:pt x="7076" y="4100"/>
                </a:lnTo>
                <a:lnTo>
                  <a:pt x="7066" y="4110"/>
                </a:lnTo>
                <a:lnTo>
                  <a:pt x="7063" y="4115"/>
                </a:lnTo>
                <a:lnTo>
                  <a:pt x="7058" y="4119"/>
                </a:lnTo>
                <a:lnTo>
                  <a:pt x="7055" y="4125"/>
                </a:lnTo>
                <a:lnTo>
                  <a:pt x="7052" y="4132"/>
                </a:lnTo>
                <a:lnTo>
                  <a:pt x="7051" y="4138"/>
                </a:lnTo>
                <a:lnTo>
                  <a:pt x="7050" y="4143"/>
                </a:lnTo>
                <a:lnTo>
                  <a:pt x="7051" y="4149"/>
                </a:lnTo>
                <a:lnTo>
                  <a:pt x="7052" y="4153"/>
                </a:lnTo>
                <a:lnTo>
                  <a:pt x="7056" y="4161"/>
                </a:lnTo>
                <a:lnTo>
                  <a:pt x="7059" y="4168"/>
                </a:lnTo>
                <a:lnTo>
                  <a:pt x="7060" y="4171"/>
                </a:lnTo>
                <a:lnTo>
                  <a:pt x="7060" y="4174"/>
                </a:lnTo>
                <a:lnTo>
                  <a:pt x="7060" y="4176"/>
                </a:lnTo>
                <a:lnTo>
                  <a:pt x="7058" y="4179"/>
                </a:lnTo>
                <a:lnTo>
                  <a:pt x="7053" y="4182"/>
                </a:lnTo>
                <a:lnTo>
                  <a:pt x="7044" y="4188"/>
                </a:lnTo>
                <a:lnTo>
                  <a:pt x="7039" y="4191"/>
                </a:lnTo>
                <a:lnTo>
                  <a:pt x="7034" y="4193"/>
                </a:lnTo>
                <a:lnTo>
                  <a:pt x="7030" y="4194"/>
                </a:lnTo>
                <a:lnTo>
                  <a:pt x="7026" y="4193"/>
                </a:lnTo>
                <a:lnTo>
                  <a:pt x="7022" y="4193"/>
                </a:lnTo>
                <a:lnTo>
                  <a:pt x="7020" y="4191"/>
                </a:lnTo>
                <a:lnTo>
                  <a:pt x="7018" y="4188"/>
                </a:lnTo>
                <a:lnTo>
                  <a:pt x="7015" y="4184"/>
                </a:lnTo>
                <a:lnTo>
                  <a:pt x="7014" y="4172"/>
                </a:lnTo>
                <a:lnTo>
                  <a:pt x="7013" y="4154"/>
                </a:lnTo>
                <a:lnTo>
                  <a:pt x="7012" y="4136"/>
                </a:lnTo>
                <a:lnTo>
                  <a:pt x="7012" y="4121"/>
                </a:lnTo>
                <a:lnTo>
                  <a:pt x="7011" y="4115"/>
                </a:lnTo>
                <a:lnTo>
                  <a:pt x="7009" y="4111"/>
                </a:lnTo>
                <a:lnTo>
                  <a:pt x="7007" y="4108"/>
                </a:lnTo>
                <a:lnTo>
                  <a:pt x="7005" y="4105"/>
                </a:lnTo>
                <a:lnTo>
                  <a:pt x="7001" y="4104"/>
                </a:lnTo>
                <a:lnTo>
                  <a:pt x="6997" y="4104"/>
                </a:lnTo>
                <a:lnTo>
                  <a:pt x="6993" y="4104"/>
                </a:lnTo>
                <a:lnTo>
                  <a:pt x="6988" y="4105"/>
                </a:lnTo>
                <a:lnTo>
                  <a:pt x="6975" y="4108"/>
                </a:lnTo>
                <a:lnTo>
                  <a:pt x="6962" y="4110"/>
                </a:lnTo>
                <a:lnTo>
                  <a:pt x="6956" y="4111"/>
                </a:lnTo>
                <a:lnTo>
                  <a:pt x="6952" y="4113"/>
                </a:lnTo>
                <a:lnTo>
                  <a:pt x="6950" y="4115"/>
                </a:lnTo>
                <a:lnTo>
                  <a:pt x="6949" y="4117"/>
                </a:lnTo>
                <a:lnTo>
                  <a:pt x="6950" y="4124"/>
                </a:lnTo>
                <a:lnTo>
                  <a:pt x="6952" y="4135"/>
                </a:lnTo>
                <a:lnTo>
                  <a:pt x="6953" y="4147"/>
                </a:lnTo>
                <a:lnTo>
                  <a:pt x="6953" y="4163"/>
                </a:lnTo>
                <a:lnTo>
                  <a:pt x="6952" y="4182"/>
                </a:lnTo>
                <a:lnTo>
                  <a:pt x="6950" y="4199"/>
                </a:lnTo>
                <a:lnTo>
                  <a:pt x="6951" y="4219"/>
                </a:lnTo>
                <a:lnTo>
                  <a:pt x="6950" y="4226"/>
                </a:lnTo>
                <a:lnTo>
                  <a:pt x="6940" y="4229"/>
                </a:lnTo>
                <a:lnTo>
                  <a:pt x="6930" y="4233"/>
                </a:lnTo>
                <a:lnTo>
                  <a:pt x="6927" y="4236"/>
                </a:lnTo>
                <a:lnTo>
                  <a:pt x="6925" y="4239"/>
                </a:lnTo>
                <a:lnTo>
                  <a:pt x="6923" y="4244"/>
                </a:lnTo>
                <a:lnTo>
                  <a:pt x="6921" y="4251"/>
                </a:lnTo>
                <a:lnTo>
                  <a:pt x="6920" y="4267"/>
                </a:lnTo>
                <a:lnTo>
                  <a:pt x="6920" y="4286"/>
                </a:lnTo>
                <a:lnTo>
                  <a:pt x="6920" y="4296"/>
                </a:lnTo>
                <a:lnTo>
                  <a:pt x="6923" y="4307"/>
                </a:lnTo>
                <a:lnTo>
                  <a:pt x="6925" y="4317"/>
                </a:lnTo>
                <a:lnTo>
                  <a:pt x="6927" y="4325"/>
                </a:lnTo>
                <a:lnTo>
                  <a:pt x="6936" y="4339"/>
                </a:lnTo>
                <a:lnTo>
                  <a:pt x="6943" y="4350"/>
                </a:lnTo>
                <a:lnTo>
                  <a:pt x="6946" y="4355"/>
                </a:lnTo>
                <a:lnTo>
                  <a:pt x="6949" y="4361"/>
                </a:lnTo>
                <a:lnTo>
                  <a:pt x="6951" y="4368"/>
                </a:lnTo>
                <a:lnTo>
                  <a:pt x="6953" y="4374"/>
                </a:lnTo>
                <a:lnTo>
                  <a:pt x="6953" y="4381"/>
                </a:lnTo>
                <a:lnTo>
                  <a:pt x="6953" y="4387"/>
                </a:lnTo>
                <a:lnTo>
                  <a:pt x="6951" y="4392"/>
                </a:lnTo>
                <a:lnTo>
                  <a:pt x="6948" y="4396"/>
                </a:lnTo>
                <a:lnTo>
                  <a:pt x="6945" y="4400"/>
                </a:lnTo>
                <a:lnTo>
                  <a:pt x="6943" y="4405"/>
                </a:lnTo>
                <a:lnTo>
                  <a:pt x="6942" y="4408"/>
                </a:lnTo>
                <a:lnTo>
                  <a:pt x="6940" y="4414"/>
                </a:lnTo>
                <a:lnTo>
                  <a:pt x="6939" y="4419"/>
                </a:lnTo>
                <a:lnTo>
                  <a:pt x="6938" y="4425"/>
                </a:lnTo>
                <a:lnTo>
                  <a:pt x="6937" y="4431"/>
                </a:lnTo>
                <a:lnTo>
                  <a:pt x="6933" y="4437"/>
                </a:lnTo>
                <a:lnTo>
                  <a:pt x="6930" y="4443"/>
                </a:lnTo>
                <a:lnTo>
                  <a:pt x="6924" y="4447"/>
                </a:lnTo>
                <a:lnTo>
                  <a:pt x="6919" y="4451"/>
                </a:lnTo>
                <a:lnTo>
                  <a:pt x="6913" y="4453"/>
                </a:lnTo>
                <a:lnTo>
                  <a:pt x="6907" y="4453"/>
                </a:lnTo>
                <a:lnTo>
                  <a:pt x="6901" y="4453"/>
                </a:lnTo>
                <a:lnTo>
                  <a:pt x="6896" y="4452"/>
                </a:lnTo>
                <a:lnTo>
                  <a:pt x="6892" y="4450"/>
                </a:lnTo>
                <a:lnTo>
                  <a:pt x="6888" y="4447"/>
                </a:lnTo>
                <a:lnTo>
                  <a:pt x="6883" y="4447"/>
                </a:lnTo>
                <a:lnTo>
                  <a:pt x="6879" y="4447"/>
                </a:lnTo>
                <a:lnTo>
                  <a:pt x="6874" y="4450"/>
                </a:lnTo>
                <a:lnTo>
                  <a:pt x="6864" y="4456"/>
                </a:lnTo>
                <a:lnTo>
                  <a:pt x="6856" y="4463"/>
                </a:lnTo>
                <a:lnTo>
                  <a:pt x="6852" y="4466"/>
                </a:lnTo>
                <a:lnTo>
                  <a:pt x="6848" y="4469"/>
                </a:lnTo>
                <a:lnTo>
                  <a:pt x="6843" y="4471"/>
                </a:lnTo>
                <a:lnTo>
                  <a:pt x="6839" y="4472"/>
                </a:lnTo>
                <a:lnTo>
                  <a:pt x="6835" y="4474"/>
                </a:lnTo>
                <a:lnTo>
                  <a:pt x="6830" y="4472"/>
                </a:lnTo>
                <a:lnTo>
                  <a:pt x="6826" y="4471"/>
                </a:lnTo>
                <a:lnTo>
                  <a:pt x="6824" y="4470"/>
                </a:lnTo>
                <a:lnTo>
                  <a:pt x="6819" y="4463"/>
                </a:lnTo>
                <a:lnTo>
                  <a:pt x="6817" y="4455"/>
                </a:lnTo>
                <a:lnTo>
                  <a:pt x="6816" y="4445"/>
                </a:lnTo>
                <a:lnTo>
                  <a:pt x="6814" y="4433"/>
                </a:lnTo>
                <a:lnTo>
                  <a:pt x="6816" y="4421"/>
                </a:lnTo>
                <a:lnTo>
                  <a:pt x="6816" y="4413"/>
                </a:lnTo>
                <a:lnTo>
                  <a:pt x="6814" y="4405"/>
                </a:lnTo>
                <a:lnTo>
                  <a:pt x="6812" y="4398"/>
                </a:lnTo>
                <a:lnTo>
                  <a:pt x="6804" y="4381"/>
                </a:lnTo>
                <a:lnTo>
                  <a:pt x="6797" y="4362"/>
                </a:lnTo>
                <a:lnTo>
                  <a:pt x="6795" y="4356"/>
                </a:lnTo>
                <a:lnTo>
                  <a:pt x="6793" y="4352"/>
                </a:lnTo>
                <a:lnTo>
                  <a:pt x="6789" y="4349"/>
                </a:lnTo>
                <a:lnTo>
                  <a:pt x="6787" y="4346"/>
                </a:lnTo>
                <a:lnTo>
                  <a:pt x="6783" y="4345"/>
                </a:lnTo>
                <a:lnTo>
                  <a:pt x="6780" y="4346"/>
                </a:lnTo>
                <a:lnTo>
                  <a:pt x="6776" y="4348"/>
                </a:lnTo>
                <a:lnTo>
                  <a:pt x="6772" y="4351"/>
                </a:lnTo>
                <a:lnTo>
                  <a:pt x="6768" y="4356"/>
                </a:lnTo>
                <a:lnTo>
                  <a:pt x="6766" y="4362"/>
                </a:lnTo>
                <a:lnTo>
                  <a:pt x="6764" y="4368"/>
                </a:lnTo>
                <a:lnTo>
                  <a:pt x="6764" y="4375"/>
                </a:lnTo>
                <a:lnTo>
                  <a:pt x="6767" y="4389"/>
                </a:lnTo>
                <a:lnTo>
                  <a:pt x="6770" y="4402"/>
                </a:lnTo>
                <a:lnTo>
                  <a:pt x="6773" y="4407"/>
                </a:lnTo>
                <a:lnTo>
                  <a:pt x="6772" y="4412"/>
                </a:lnTo>
                <a:lnTo>
                  <a:pt x="6769" y="4415"/>
                </a:lnTo>
                <a:lnTo>
                  <a:pt x="6767" y="4418"/>
                </a:lnTo>
                <a:lnTo>
                  <a:pt x="6757" y="4422"/>
                </a:lnTo>
                <a:lnTo>
                  <a:pt x="6747" y="4426"/>
                </a:lnTo>
                <a:lnTo>
                  <a:pt x="6732" y="4431"/>
                </a:lnTo>
                <a:lnTo>
                  <a:pt x="6723" y="4436"/>
                </a:lnTo>
                <a:lnTo>
                  <a:pt x="6718" y="4437"/>
                </a:lnTo>
                <a:lnTo>
                  <a:pt x="6712" y="4439"/>
                </a:lnTo>
                <a:lnTo>
                  <a:pt x="6705" y="4440"/>
                </a:lnTo>
                <a:lnTo>
                  <a:pt x="6696" y="4440"/>
                </a:lnTo>
                <a:lnTo>
                  <a:pt x="6688" y="4439"/>
                </a:lnTo>
                <a:lnTo>
                  <a:pt x="6682" y="4438"/>
                </a:lnTo>
                <a:lnTo>
                  <a:pt x="6676" y="4434"/>
                </a:lnTo>
                <a:lnTo>
                  <a:pt x="6673" y="4431"/>
                </a:lnTo>
                <a:lnTo>
                  <a:pt x="6666" y="4420"/>
                </a:lnTo>
                <a:lnTo>
                  <a:pt x="6660" y="4405"/>
                </a:lnTo>
                <a:lnTo>
                  <a:pt x="6653" y="4387"/>
                </a:lnTo>
                <a:lnTo>
                  <a:pt x="6647" y="4369"/>
                </a:lnTo>
                <a:lnTo>
                  <a:pt x="6643" y="4361"/>
                </a:lnTo>
                <a:lnTo>
                  <a:pt x="6640" y="4354"/>
                </a:lnTo>
                <a:lnTo>
                  <a:pt x="6636" y="4349"/>
                </a:lnTo>
                <a:lnTo>
                  <a:pt x="6633" y="4345"/>
                </a:lnTo>
                <a:lnTo>
                  <a:pt x="6629" y="4344"/>
                </a:lnTo>
                <a:lnTo>
                  <a:pt x="6627" y="4344"/>
                </a:lnTo>
                <a:lnTo>
                  <a:pt x="6623" y="4345"/>
                </a:lnTo>
                <a:lnTo>
                  <a:pt x="6621" y="4348"/>
                </a:lnTo>
                <a:lnTo>
                  <a:pt x="6615" y="4354"/>
                </a:lnTo>
                <a:lnTo>
                  <a:pt x="6609" y="4358"/>
                </a:lnTo>
                <a:lnTo>
                  <a:pt x="6605" y="4359"/>
                </a:lnTo>
                <a:lnTo>
                  <a:pt x="6600" y="4358"/>
                </a:lnTo>
                <a:lnTo>
                  <a:pt x="6596" y="4357"/>
                </a:lnTo>
                <a:lnTo>
                  <a:pt x="6592" y="4354"/>
                </a:lnTo>
                <a:lnTo>
                  <a:pt x="6587" y="4349"/>
                </a:lnTo>
                <a:lnTo>
                  <a:pt x="6584" y="4342"/>
                </a:lnTo>
                <a:lnTo>
                  <a:pt x="6580" y="4335"/>
                </a:lnTo>
                <a:lnTo>
                  <a:pt x="6578" y="4326"/>
                </a:lnTo>
                <a:lnTo>
                  <a:pt x="6577" y="4317"/>
                </a:lnTo>
                <a:lnTo>
                  <a:pt x="6574" y="4307"/>
                </a:lnTo>
                <a:lnTo>
                  <a:pt x="6572" y="4299"/>
                </a:lnTo>
                <a:lnTo>
                  <a:pt x="6568" y="4292"/>
                </a:lnTo>
                <a:lnTo>
                  <a:pt x="6564" y="4285"/>
                </a:lnTo>
                <a:lnTo>
                  <a:pt x="6559" y="4279"/>
                </a:lnTo>
                <a:lnTo>
                  <a:pt x="6553" y="4275"/>
                </a:lnTo>
                <a:lnTo>
                  <a:pt x="6546" y="4273"/>
                </a:lnTo>
                <a:lnTo>
                  <a:pt x="6537" y="4273"/>
                </a:lnTo>
                <a:lnTo>
                  <a:pt x="6529" y="4272"/>
                </a:lnTo>
                <a:lnTo>
                  <a:pt x="6521" y="4272"/>
                </a:lnTo>
                <a:lnTo>
                  <a:pt x="6514" y="4274"/>
                </a:lnTo>
                <a:lnTo>
                  <a:pt x="6510" y="4275"/>
                </a:lnTo>
                <a:lnTo>
                  <a:pt x="6507" y="4276"/>
                </a:lnTo>
                <a:lnTo>
                  <a:pt x="6503" y="4280"/>
                </a:lnTo>
                <a:lnTo>
                  <a:pt x="6499" y="4282"/>
                </a:lnTo>
                <a:lnTo>
                  <a:pt x="6497" y="4287"/>
                </a:lnTo>
                <a:lnTo>
                  <a:pt x="6495" y="4292"/>
                </a:lnTo>
                <a:lnTo>
                  <a:pt x="6492" y="4296"/>
                </a:lnTo>
                <a:lnTo>
                  <a:pt x="6490" y="4304"/>
                </a:lnTo>
                <a:lnTo>
                  <a:pt x="6487" y="4324"/>
                </a:lnTo>
                <a:lnTo>
                  <a:pt x="6486" y="4338"/>
                </a:lnTo>
                <a:lnTo>
                  <a:pt x="6485" y="4344"/>
                </a:lnTo>
                <a:lnTo>
                  <a:pt x="6483" y="4348"/>
                </a:lnTo>
                <a:lnTo>
                  <a:pt x="6478" y="4351"/>
                </a:lnTo>
                <a:lnTo>
                  <a:pt x="6472" y="4354"/>
                </a:lnTo>
                <a:lnTo>
                  <a:pt x="6464" y="4355"/>
                </a:lnTo>
                <a:lnTo>
                  <a:pt x="6455" y="4356"/>
                </a:lnTo>
                <a:lnTo>
                  <a:pt x="6451" y="4357"/>
                </a:lnTo>
                <a:lnTo>
                  <a:pt x="6447" y="4358"/>
                </a:lnTo>
                <a:lnTo>
                  <a:pt x="6445" y="4361"/>
                </a:lnTo>
                <a:lnTo>
                  <a:pt x="6441" y="4363"/>
                </a:lnTo>
                <a:lnTo>
                  <a:pt x="6435" y="4373"/>
                </a:lnTo>
                <a:lnTo>
                  <a:pt x="6430" y="4380"/>
                </a:lnTo>
                <a:lnTo>
                  <a:pt x="6427" y="4387"/>
                </a:lnTo>
                <a:lnTo>
                  <a:pt x="6426" y="4393"/>
                </a:lnTo>
                <a:lnTo>
                  <a:pt x="6424" y="4398"/>
                </a:lnTo>
                <a:lnTo>
                  <a:pt x="6423" y="4401"/>
                </a:lnTo>
                <a:lnTo>
                  <a:pt x="6422" y="4405"/>
                </a:lnTo>
                <a:lnTo>
                  <a:pt x="6420" y="4407"/>
                </a:lnTo>
                <a:lnTo>
                  <a:pt x="6414" y="4413"/>
                </a:lnTo>
                <a:lnTo>
                  <a:pt x="6408" y="4419"/>
                </a:lnTo>
                <a:lnTo>
                  <a:pt x="6407" y="4420"/>
                </a:lnTo>
                <a:lnTo>
                  <a:pt x="6405" y="4422"/>
                </a:lnTo>
                <a:lnTo>
                  <a:pt x="6405" y="4425"/>
                </a:lnTo>
                <a:lnTo>
                  <a:pt x="6407" y="4427"/>
                </a:lnTo>
                <a:lnTo>
                  <a:pt x="6409" y="4433"/>
                </a:lnTo>
                <a:lnTo>
                  <a:pt x="6413" y="4440"/>
                </a:lnTo>
                <a:lnTo>
                  <a:pt x="6417" y="4447"/>
                </a:lnTo>
                <a:lnTo>
                  <a:pt x="6421" y="4455"/>
                </a:lnTo>
                <a:lnTo>
                  <a:pt x="6423" y="4462"/>
                </a:lnTo>
                <a:lnTo>
                  <a:pt x="6423" y="4470"/>
                </a:lnTo>
                <a:lnTo>
                  <a:pt x="6422" y="4485"/>
                </a:lnTo>
                <a:lnTo>
                  <a:pt x="6423" y="4502"/>
                </a:lnTo>
                <a:lnTo>
                  <a:pt x="6423" y="4509"/>
                </a:lnTo>
                <a:lnTo>
                  <a:pt x="6422" y="4516"/>
                </a:lnTo>
                <a:lnTo>
                  <a:pt x="6421" y="4522"/>
                </a:lnTo>
                <a:lnTo>
                  <a:pt x="6419" y="4527"/>
                </a:lnTo>
                <a:lnTo>
                  <a:pt x="6417" y="4529"/>
                </a:lnTo>
                <a:lnTo>
                  <a:pt x="6415" y="4531"/>
                </a:lnTo>
                <a:lnTo>
                  <a:pt x="6413" y="4531"/>
                </a:lnTo>
                <a:lnTo>
                  <a:pt x="6410" y="4531"/>
                </a:lnTo>
                <a:lnTo>
                  <a:pt x="6404" y="4529"/>
                </a:lnTo>
                <a:lnTo>
                  <a:pt x="6398" y="4527"/>
                </a:lnTo>
                <a:lnTo>
                  <a:pt x="6394" y="4524"/>
                </a:lnTo>
                <a:lnTo>
                  <a:pt x="6388" y="4521"/>
                </a:lnTo>
                <a:lnTo>
                  <a:pt x="6385" y="4520"/>
                </a:lnTo>
                <a:lnTo>
                  <a:pt x="6382" y="4521"/>
                </a:lnTo>
                <a:lnTo>
                  <a:pt x="6378" y="4522"/>
                </a:lnTo>
                <a:lnTo>
                  <a:pt x="6375" y="4525"/>
                </a:lnTo>
                <a:lnTo>
                  <a:pt x="6356" y="4538"/>
                </a:lnTo>
                <a:lnTo>
                  <a:pt x="6332" y="4552"/>
                </a:lnTo>
                <a:lnTo>
                  <a:pt x="6309" y="4566"/>
                </a:lnTo>
                <a:lnTo>
                  <a:pt x="6294" y="4576"/>
                </a:lnTo>
                <a:lnTo>
                  <a:pt x="6290" y="4578"/>
                </a:lnTo>
                <a:lnTo>
                  <a:pt x="6288" y="4579"/>
                </a:lnTo>
                <a:lnTo>
                  <a:pt x="6285" y="4579"/>
                </a:lnTo>
                <a:lnTo>
                  <a:pt x="6284" y="4577"/>
                </a:lnTo>
                <a:lnTo>
                  <a:pt x="6284" y="4571"/>
                </a:lnTo>
                <a:lnTo>
                  <a:pt x="6285" y="4558"/>
                </a:lnTo>
                <a:lnTo>
                  <a:pt x="6287" y="4547"/>
                </a:lnTo>
                <a:lnTo>
                  <a:pt x="6288" y="4538"/>
                </a:lnTo>
                <a:lnTo>
                  <a:pt x="6288" y="4533"/>
                </a:lnTo>
                <a:lnTo>
                  <a:pt x="6287" y="4529"/>
                </a:lnTo>
                <a:lnTo>
                  <a:pt x="6285" y="4528"/>
                </a:lnTo>
                <a:lnTo>
                  <a:pt x="6281" y="4526"/>
                </a:lnTo>
                <a:lnTo>
                  <a:pt x="6274" y="4522"/>
                </a:lnTo>
                <a:lnTo>
                  <a:pt x="6265" y="4519"/>
                </a:lnTo>
                <a:lnTo>
                  <a:pt x="6258" y="4515"/>
                </a:lnTo>
                <a:lnTo>
                  <a:pt x="6254" y="4512"/>
                </a:lnTo>
                <a:lnTo>
                  <a:pt x="6250" y="4508"/>
                </a:lnTo>
                <a:lnTo>
                  <a:pt x="6246" y="4503"/>
                </a:lnTo>
                <a:lnTo>
                  <a:pt x="6243" y="4497"/>
                </a:lnTo>
                <a:lnTo>
                  <a:pt x="6240" y="4493"/>
                </a:lnTo>
                <a:lnTo>
                  <a:pt x="6235" y="4494"/>
                </a:lnTo>
                <a:lnTo>
                  <a:pt x="6231" y="4496"/>
                </a:lnTo>
                <a:lnTo>
                  <a:pt x="6225" y="4496"/>
                </a:lnTo>
                <a:lnTo>
                  <a:pt x="6218" y="4496"/>
                </a:lnTo>
                <a:lnTo>
                  <a:pt x="6214" y="4495"/>
                </a:lnTo>
                <a:lnTo>
                  <a:pt x="6209" y="4494"/>
                </a:lnTo>
                <a:lnTo>
                  <a:pt x="6206" y="4491"/>
                </a:lnTo>
                <a:lnTo>
                  <a:pt x="6202" y="4488"/>
                </a:lnTo>
                <a:lnTo>
                  <a:pt x="6189" y="4472"/>
                </a:lnTo>
                <a:lnTo>
                  <a:pt x="6177" y="4459"/>
                </a:lnTo>
                <a:lnTo>
                  <a:pt x="6162" y="4451"/>
                </a:lnTo>
                <a:lnTo>
                  <a:pt x="6146" y="4444"/>
                </a:lnTo>
                <a:lnTo>
                  <a:pt x="6133" y="4432"/>
                </a:lnTo>
                <a:lnTo>
                  <a:pt x="6117" y="4415"/>
                </a:lnTo>
                <a:lnTo>
                  <a:pt x="6096" y="4398"/>
                </a:lnTo>
                <a:lnTo>
                  <a:pt x="6082" y="4384"/>
                </a:lnTo>
                <a:lnTo>
                  <a:pt x="6075" y="4374"/>
                </a:lnTo>
                <a:lnTo>
                  <a:pt x="6068" y="4365"/>
                </a:lnTo>
                <a:lnTo>
                  <a:pt x="6062" y="4368"/>
                </a:lnTo>
                <a:lnTo>
                  <a:pt x="6054" y="4373"/>
                </a:lnTo>
                <a:lnTo>
                  <a:pt x="6046" y="4375"/>
                </a:lnTo>
                <a:lnTo>
                  <a:pt x="6038" y="4374"/>
                </a:lnTo>
                <a:lnTo>
                  <a:pt x="6030" y="4373"/>
                </a:lnTo>
                <a:lnTo>
                  <a:pt x="6024" y="4369"/>
                </a:lnTo>
                <a:lnTo>
                  <a:pt x="6018" y="4365"/>
                </a:lnTo>
                <a:lnTo>
                  <a:pt x="6013" y="4359"/>
                </a:lnTo>
                <a:lnTo>
                  <a:pt x="6010" y="4354"/>
                </a:lnTo>
                <a:lnTo>
                  <a:pt x="6008" y="4346"/>
                </a:lnTo>
                <a:lnTo>
                  <a:pt x="6007" y="4339"/>
                </a:lnTo>
                <a:lnTo>
                  <a:pt x="6007" y="4332"/>
                </a:lnTo>
                <a:lnTo>
                  <a:pt x="6007" y="4330"/>
                </a:lnTo>
                <a:lnTo>
                  <a:pt x="6006" y="4327"/>
                </a:lnTo>
                <a:lnTo>
                  <a:pt x="6004" y="4326"/>
                </a:lnTo>
                <a:lnTo>
                  <a:pt x="6001" y="4324"/>
                </a:lnTo>
                <a:lnTo>
                  <a:pt x="5993" y="4323"/>
                </a:lnTo>
                <a:lnTo>
                  <a:pt x="5983" y="4323"/>
                </a:lnTo>
                <a:lnTo>
                  <a:pt x="5963" y="4325"/>
                </a:lnTo>
                <a:lnTo>
                  <a:pt x="5943" y="4327"/>
                </a:lnTo>
                <a:lnTo>
                  <a:pt x="5930" y="4329"/>
                </a:lnTo>
                <a:lnTo>
                  <a:pt x="5918" y="4331"/>
                </a:lnTo>
                <a:lnTo>
                  <a:pt x="5912" y="4329"/>
                </a:lnTo>
                <a:lnTo>
                  <a:pt x="5904" y="4324"/>
                </a:lnTo>
                <a:lnTo>
                  <a:pt x="5894" y="4318"/>
                </a:lnTo>
                <a:lnTo>
                  <a:pt x="5886" y="4310"/>
                </a:lnTo>
                <a:lnTo>
                  <a:pt x="5873" y="4296"/>
                </a:lnTo>
                <a:lnTo>
                  <a:pt x="5861" y="4285"/>
                </a:lnTo>
                <a:lnTo>
                  <a:pt x="5854" y="4280"/>
                </a:lnTo>
                <a:lnTo>
                  <a:pt x="5846" y="4277"/>
                </a:lnTo>
                <a:lnTo>
                  <a:pt x="5836" y="4275"/>
                </a:lnTo>
                <a:lnTo>
                  <a:pt x="5824" y="4276"/>
                </a:lnTo>
                <a:lnTo>
                  <a:pt x="5799" y="4281"/>
                </a:lnTo>
                <a:lnTo>
                  <a:pt x="5774" y="4288"/>
                </a:lnTo>
                <a:lnTo>
                  <a:pt x="5749" y="4295"/>
                </a:lnTo>
                <a:lnTo>
                  <a:pt x="5722" y="4302"/>
                </a:lnTo>
                <a:lnTo>
                  <a:pt x="5708" y="4305"/>
                </a:lnTo>
                <a:lnTo>
                  <a:pt x="5696" y="4310"/>
                </a:lnTo>
                <a:lnTo>
                  <a:pt x="5686" y="4314"/>
                </a:lnTo>
                <a:lnTo>
                  <a:pt x="5678" y="4319"/>
                </a:lnTo>
                <a:lnTo>
                  <a:pt x="5666" y="4331"/>
                </a:lnTo>
                <a:lnTo>
                  <a:pt x="5655" y="4344"/>
                </a:lnTo>
                <a:lnTo>
                  <a:pt x="5647" y="4357"/>
                </a:lnTo>
                <a:lnTo>
                  <a:pt x="5641" y="4371"/>
                </a:lnTo>
                <a:lnTo>
                  <a:pt x="5638" y="4379"/>
                </a:lnTo>
                <a:lnTo>
                  <a:pt x="5634" y="4386"/>
                </a:lnTo>
                <a:lnTo>
                  <a:pt x="5629" y="4392"/>
                </a:lnTo>
                <a:lnTo>
                  <a:pt x="5623" y="4396"/>
                </a:lnTo>
                <a:lnTo>
                  <a:pt x="5616" y="4400"/>
                </a:lnTo>
                <a:lnTo>
                  <a:pt x="5607" y="4403"/>
                </a:lnTo>
                <a:lnTo>
                  <a:pt x="5596" y="4407"/>
                </a:lnTo>
                <a:lnTo>
                  <a:pt x="5585" y="4411"/>
                </a:lnTo>
                <a:lnTo>
                  <a:pt x="5560" y="4418"/>
                </a:lnTo>
                <a:lnTo>
                  <a:pt x="5538" y="4425"/>
                </a:lnTo>
                <a:lnTo>
                  <a:pt x="5514" y="4434"/>
                </a:lnTo>
                <a:lnTo>
                  <a:pt x="5487" y="4444"/>
                </a:lnTo>
                <a:lnTo>
                  <a:pt x="5456" y="4455"/>
                </a:lnTo>
                <a:lnTo>
                  <a:pt x="5425" y="4466"/>
                </a:lnTo>
                <a:lnTo>
                  <a:pt x="5393" y="4478"/>
                </a:lnTo>
                <a:lnTo>
                  <a:pt x="5361" y="4488"/>
                </a:lnTo>
                <a:lnTo>
                  <a:pt x="5345" y="4491"/>
                </a:lnTo>
                <a:lnTo>
                  <a:pt x="5331" y="4495"/>
                </a:lnTo>
                <a:lnTo>
                  <a:pt x="5318" y="4497"/>
                </a:lnTo>
                <a:lnTo>
                  <a:pt x="5305" y="4499"/>
                </a:lnTo>
                <a:lnTo>
                  <a:pt x="5283" y="4499"/>
                </a:lnTo>
                <a:lnTo>
                  <a:pt x="5267" y="4497"/>
                </a:lnTo>
                <a:lnTo>
                  <a:pt x="5250" y="4495"/>
                </a:lnTo>
                <a:lnTo>
                  <a:pt x="5231" y="4496"/>
                </a:lnTo>
                <a:lnTo>
                  <a:pt x="5219" y="4499"/>
                </a:lnTo>
                <a:lnTo>
                  <a:pt x="5210" y="4503"/>
                </a:lnTo>
                <a:lnTo>
                  <a:pt x="5201" y="4508"/>
                </a:lnTo>
                <a:lnTo>
                  <a:pt x="5193" y="4515"/>
                </a:lnTo>
                <a:lnTo>
                  <a:pt x="5177" y="4529"/>
                </a:lnTo>
                <a:lnTo>
                  <a:pt x="5166" y="4543"/>
                </a:lnTo>
                <a:lnTo>
                  <a:pt x="5148" y="4558"/>
                </a:lnTo>
                <a:lnTo>
                  <a:pt x="5123" y="4578"/>
                </a:lnTo>
                <a:lnTo>
                  <a:pt x="5095" y="4600"/>
                </a:lnTo>
                <a:lnTo>
                  <a:pt x="5073" y="4617"/>
                </a:lnTo>
                <a:lnTo>
                  <a:pt x="5063" y="4626"/>
                </a:lnTo>
                <a:lnTo>
                  <a:pt x="5055" y="4635"/>
                </a:lnTo>
                <a:lnTo>
                  <a:pt x="5048" y="4646"/>
                </a:lnTo>
                <a:lnTo>
                  <a:pt x="5042" y="4657"/>
                </a:lnTo>
                <a:lnTo>
                  <a:pt x="5036" y="4669"/>
                </a:lnTo>
                <a:lnTo>
                  <a:pt x="5032" y="4679"/>
                </a:lnTo>
                <a:lnTo>
                  <a:pt x="5029" y="4690"/>
                </a:lnTo>
                <a:lnTo>
                  <a:pt x="5027" y="4701"/>
                </a:lnTo>
                <a:lnTo>
                  <a:pt x="5025" y="4705"/>
                </a:lnTo>
                <a:lnTo>
                  <a:pt x="5023" y="4708"/>
                </a:lnTo>
                <a:lnTo>
                  <a:pt x="5021" y="4710"/>
                </a:lnTo>
                <a:lnTo>
                  <a:pt x="5018" y="4711"/>
                </a:lnTo>
                <a:lnTo>
                  <a:pt x="5011" y="4712"/>
                </a:lnTo>
                <a:lnTo>
                  <a:pt x="5003" y="4711"/>
                </a:lnTo>
                <a:lnTo>
                  <a:pt x="4993" y="4709"/>
                </a:lnTo>
                <a:lnTo>
                  <a:pt x="4983" y="4707"/>
                </a:lnTo>
                <a:lnTo>
                  <a:pt x="4972" y="4705"/>
                </a:lnTo>
                <a:lnTo>
                  <a:pt x="4961" y="4708"/>
                </a:lnTo>
                <a:lnTo>
                  <a:pt x="4958" y="4709"/>
                </a:lnTo>
                <a:lnTo>
                  <a:pt x="4954" y="4711"/>
                </a:lnTo>
                <a:lnTo>
                  <a:pt x="4950" y="4715"/>
                </a:lnTo>
                <a:lnTo>
                  <a:pt x="4947" y="4718"/>
                </a:lnTo>
                <a:lnTo>
                  <a:pt x="4943" y="4722"/>
                </a:lnTo>
                <a:lnTo>
                  <a:pt x="4940" y="4726"/>
                </a:lnTo>
                <a:lnTo>
                  <a:pt x="4934" y="4728"/>
                </a:lnTo>
                <a:lnTo>
                  <a:pt x="4928" y="4730"/>
                </a:lnTo>
                <a:lnTo>
                  <a:pt x="4916" y="4732"/>
                </a:lnTo>
                <a:lnTo>
                  <a:pt x="4902" y="4733"/>
                </a:lnTo>
                <a:lnTo>
                  <a:pt x="4886" y="4733"/>
                </a:lnTo>
                <a:lnTo>
                  <a:pt x="4871" y="4732"/>
                </a:lnTo>
                <a:lnTo>
                  <a:pt x="4839" y="4730"/>
                </a:lnTo>
                <a:lnTo>
                  <a:pt x="4811" y="4729"/>
                </a:lnTo>
                <a:lnTo>
                  <a:pt x="4791" y="4729"/>
                </a:lnTo>
                <a:lnTo>
                  <a:pt x="4774" y="4728"/>
                </a:lnTo>
                <a:lnTo>
                  <a:pt x="4759" y="4728"/>
                </a:lnTo>
                <a:lnTo>
                  <a:pt x="4745" y="4727"/>
                </a:lnTo>
                <a:lnTo>
                  <a:pt x="4740" y="4726"/>
                </a:lnTo>
                <a:lnTo>
                  <a:pt x="4734" y="4723"/>
                </a:lnTo>
                <a:lnTo>
                  <a:pt x="4729" y="4721"/>
                </a:lnTo>
                <a:lnTo>
                  <a:pt x="4725" y="4718"/>
                </a:lnTo>
                <a:lnTo>
                  <a:pt x="4716" y="4712"/>
                </a:lnTo>
                <a:lnTo>
                  <a:pt x="4707" y="4707"/>
                </a:lnTo>
                <a:lnTo>
                  <a:pt x="4694" y="4703"/>
                </a:lnTo>
                <a:lnTo>
                  <a:pt x="4676" y="4702"/>
                </a:lnTo>
                <a:lnTo>
                  <a:pt x="4656" y="4701"/>
                </a:lnTo>
                <a:lnTo>
                  <a:pt x="4638" y="4698"/>
                </a:lnTo>
                <a:lnTo>
                  <a:pt x="4620" y="4691"/>
                </a:lnTo>
                <a:lnTo>
                  <a:pt x="4606" y="4684"/>
                </a:lnTo>
                <a:lnTo>
                  <a:pt x="4595" y="4677"/>
                </a:lnTo>
                <a:lnTo>
                  <a:pt x="4587" y="4671"/>
                </a:lnTo>
                <a:lnTo>
                  <a:pt x="4581" y="4667"/>
                </a:lnTo>
                <a:lnTo>
                  <a:pt x="4574" y="4664"/>
                </a:lnTo>
                <a:lnTo>
                  <a:pt x="4568" y="4663"/>
                </a:lnTo>
                <a:lnTo>
                  <a:pt x="4559" y="4660"/>
                </a:lnTo>
                <a:lnTo>
                  <a:pt x="4550" y="4660"/>
                </a:lnTo>
                <a:lnTo>
                  <a:pt x="4538" y="4660"/>
                </a:lnTo>
                <a:lnTo>
                  <a:pt x="4524" y="4663"/>
                </a:lnTo>
                <a:lnTo>
                  <a:pt x="4506" y="4664"/>
                </a:lnTo>
                <a:lnTo>
                  <a:pt x="4490" y="4666"/>
                </a:lnTo>
                <a:lnTo>
                  <a:pt x="4477" y="4669"/>
                </a:lnTo>
                <a:lnTo>
                  <a:pt x="4464" y="4670"/>
                </a:lnTo>
                <a:lnTo>
                  <a:pt x="4452" y="4670"/>
                </a:lnTo>
                <a:lnTo>
                  <a:pt x="4435" y="4670"/>
                </a:lnTo>
                <a:lnTo>
                  <a:pt x="4418" y="4669"/>
                </a:lnTo>
                <a:lnTo>
                  <a:pt x="4404" y="4666"/>
                </a:lnTo>
                <a:lnTo>
                  <a:pt x="4391" y="4665"/>
                </a:lnTo>
                <a:lnTo>
                  <a:pt x="4370" y="4664"/>
                </a:lnTo>
                <a:lnTo>
                  <a:pt x="4356" y="4663"/>
                </a:lnTo>
                <a:lnTo>
                  <a:pt x="4354" y="4660"/>
                </a:lnTo>
                <a:lnTo>
                  <a:pt x="4352" y="4657"/>
                </a:lnTo>
                <a:lnTo>
                  <a:pt x="4352" y="4654"/>
                </a:lnTo>
                <a:lnTo>
                  <a:pt x="4352" y="4651"/>
                </a:lnTo>
                <a:lnTo>
                  <a:pt x="4355" y="4641"/>
                </a:lnTo>
                <a:lnTo>
                  <a:pt x="4358" y="4632"/>
                </a:lnTo>
                <a:lnTo>
                  <a:pt x="4360" y="4622"/>
                </a:lnTo>
                <a:lnTo>
                  <a:pt x="4360" y="4614"/>
                </a:lnTo>
                <a:lnTo>
                  <a:pt x="4360" y="4606"/>
                </a:lnTo>
                <a:lnTo>
                  <a:pt x="4357" y="4600"/>
                </a:lnTo>
                <a:lnTo>
                  <a:pt x="4351" y="4587"/>
                </a:lnTo>
                <a:lnTo>
                  <a:pt x="4344" y="4572"/>
                </a:lnTo>
                <a:lnTo>
                  <a:pt x="4342" y="4564"/>
                </a:lnTo>
                <a:lnTo>
                  <a:pt x="4342" y="4556"/>
                </a:lnTo>
                <a:lnTo>
                  <a:pt x="4342" y="4546"/>
                </a:lnTo>
                <a:lnTo>
                  <a:pt x="4345" y="4537"/>
                </a:lnTo>
                <a:lnTo>
                  <a:pt x="4349" y="4527"/>
                </a:lnTo>
                <a:lnTo>
                  <a:pt x="4354" y="4518"/>
                </a:lnTo>
                <a:lnTo>
                  <a:pt x="4360" y="4509"/>
                </a:lnTo>
                <a:lnTo>
                  <a:pt x="4367" y="4501"/>
                </a:lnTo>
                <a:lnTo>
                  <a:pt x="4379" y="4489"/>
                </a:lnTo>
                <a:lnTo>
                  <a:pt x="4388" y="4480"/>
                </a:lnTo>
                <a:lnTo>
                  <a:pt x="4391" y="4475"/>
                </a:lnTo>
                <a:lnTo>
                  <a:pt x="4391" y="4470"/>
                </a:lnTo>
                <a:lnTo>
                  <a:pt x="4389" y="4465"/>
                </a:lnTo>
                <a:lnTo>
                  <a:pt x="4386" y="4458"/>
                </a:lnTo>
                <a:lnTo>
                  <a:pt x="4377" y="4439"/>
                </a:lnTo>
                <a:lnTo>
                  <a:pt x="4372" y="4420"/>
                </a:lnTo>
                <a:lnTo>
                  <a:pt x="4368" y="4411"/>
                </a:lnTo>
                <a:lnTo>
                  <a:pt x="4363" y="4402"/>
                </a:lnTo>
                <a:lnTo>
                  <a:pt x="4361" y="4399"/>
                </a:lnTo>
                <a:lnTo>
                  <a:pt x="4356" y="4396"/>
                </a:lnTo>
                <a:lnTo>
                  <a:pt x="4352" y="4394"/>
                </a:lnTo>
                <a:lnTo>
                  <a:pt x="4348" y="4393"/>
                </a:lnTo>
                <a:lnTo>
                  <a:pt x="4323" y="4387"/>
                </a:lnTo>
                <a:lnTo>
                  <a:pt x="4293" y="4380"/>
                </a:lnTo>
                <a:lnTo>
                  <a:pt x="4266" y="4371"/>
                </a:lnTo>
                <a:lnTo>
                  <a:pt x="4243" y="4364"/>
                </a:lnTo>
                <a:lnTo>
                  <a:pt x="4240" y="4362"/>
                </a:lnTo>
                <a:lnTo>
                  <a:pt x="4237" y="4359"/>
                </a:lnTo>
                <a:lnTo>
                  <a:pt x="4234" y="4357"/>
                </a:lnTo>
                <a:lnTo>
                  <a:pt x="4231" y="4354"/>
                </a:lnTo>
                <a:lnTo>
                  <a:pt x="4229" y="4346"/>
                </a:lnTo>
                <a:lnTo>
                  <a:pt x="4226" y="4337"/>
                </a:lnTo>
                <a:lnTo>
                  <a:pt x="4226" y="4327"/>
                </a:lnTo>
                <a:lnTo>
                  <a:pt x="4228" y="4317"/>
                </a:lnTo>
                <a:lnTo>
                  <a:pt x="4230" y="4304"/>
                </a:lnTo>
                <a:lnTo>
                  <a:pt x="4234" y="4289"/>
                </a:lnTo>
                <a:lnTo>
                  <a:pt x="4237" y="4276"/>
                </a:lnTo>
                <a:lnTo>
                  <a:pt x="4242" y="4262"/>
                </a:lnTo>
                <a:lnTo>
                  <a:pt x="4244" y="4255"/>
                </a:lnTo>
                <a:lnTo>
                  <a:pt x="4245" y="4248"/>
                </a:lnTo>
                <a:lnTo>
                  <a:pt x="4245" y="4242"/>
                </a:lnTo>
                <a:lnTo>
                  <a:pt x="4244" y="4235"/>
                </a:lnTo>
                <a:lnTo>
                  <a:pt x="4234" y="4225"/>
                </a:lnTo>
                <a:lnTo>
                  <a:pt x="4225" y="4216"/>
                </a:lnTo>
                <a:lnTo>
                  <a:pt x="4226" y="4212"/>
                </a:lnTo>
                <a:lnTo>
                  <a:pt x="4229" y="4210"/>
                </a:lnTo>
                <a:lnTo>
                  <a:pt x="4232" y="4209"/>
                </a:lnTo>
                <a:lnTo>
                  <a:pt x="4237" y="4206"/>
                </a:lnTo>
                <a:lnTo>
                  <a:pt x="4241" y="4204"/>
                </a:lnTo>
                <a:lnTo>
                  <a:pt x="4244" y="4201"/>
                </a:lnTo>
                <a:lnTo>
                  <a:pt x="4245" y="4199"/>
                </a:lnTo>
                <a:lnTo>
                  <a:pt x="4244" y="4194"/>
                </a:lnTo>
                <a:lnTo>
                  <a:pt x="4242" y="4190"/>
                </a:lnTo>
                <a:lnTo>
                  <a:pt x="4238" y="4186"/>
                </a:lnTo>
                <a:lnTo>
                  <a:pt x="4234" y="4184"/>
                </a:lnTo>
                <a:lnTo>
                  <a:pt x="4229" y="4180"/>
                </a:lnTo>
                <a:lnTo>
                  <a:pt x="4219" y="4175"/>
                </a:lnTo>
                <a:lnTo>
                  <a:pt x="4211" y="4171"/>
                </a:lnTo>
                <a:lnTo>
                  <a:pt x="4202" y="4160"/>
                </a:lnTo>
                <a:lnTo>
                  <a:pt x="4194" y="4151"/>
                </a:lnTo>
                <a:lnTo>
                  <a:pt x="4188" y="4143"/>
                </a:lnTo>
                <a:lnTo>
                  <a:pt x="4185" y="4136"/>
                </a:lnTo>
                <a:lnTo>
                  <a:pt x="4179" y="4124"/>
                </a:lnTo>
                <a:lnTo>
                  <a:pt x="4172" y="4115"/>
                </a:lnTo>
                <a:lnTo>
                  <a:pt x="4167" y="4111"/>
                </a:lnTo>
                <a:lnTo>
                  <a:pt x="4163" y="4109"/>
                </a:lnTo>
                <a:lnTo>
                  <a:pt x="4159" y="4106"/>
                </a:lnTo>
                <a:lnTo>
                  <a:pt x="4155" y="4106"/>
                </a:lnTo>
                <a:lnTo>
                  <a:pt x="4152" y="4106"/>
                </a:lnTo>
                <a:lnTo>
                  <a:pt x="4147" y="4109"/>
                </a:lnTo>
                <a:lnTo>
                  <a:pt x="4143" y="4112"/>
                </a:lnTo>
                <a:lnTo>
                  <a:pt x="4139" y="4116"/>
                </a:lnTo>
                <a:lnTo>
                  <a:pt x="4135" y="4119"/>
                </a:lnTo>
                <a:lnTo>
                  <a:pt x="4130" y="4123"/>
                </a:lnTo>
                <a:lnTo>
                  <a:pt x="4127" y="4124"/>
                </a:lnTo>
                <a:lnTo>
                  <a:pt x="4121" y="4125"/>
                </a:lnTo>
                <a:lnTo>
                  <a:pt x="4116" y="4127"/>
                </a:lnTo>
                <a:lnTo>
                  <a:pt x="4110" y="4127"/>
                </a:lnTo>
                <a:lnTo>
                  <a:pt x="4104" y="4125"/>
                </a:lnTo>
                <a:lnTo>
                  <a:pt x="4098" y="4124"/>
                </a:lnTo>
                <a:lnTo>
                  <a:pt x="4091" y="4122"/>
                </a:lnTo>
                <a:lnTo>
                  <a:pt x="4087" y="4121"/>
                </a:lnTo>
                <a:lnTo>
                  <a:pt x="4086" y="4122"/>
                </a:lnTo>
                <a:lnTo>
                  <a:pt x="4085" y="4128"/>
                </a:lnTo>
                <a:lnTo>
                  <a:pt x="4083" y="4135"/>
                </a:lnTo>
                <a:lnTo>
                  <a:pt x="4079" y="4141"/>
                </a:lnTo>
                <a:lnTo>
                  <a:pt x="4077" y="4143"/>
                </a:lnTo>
                <a:lnTo>
                  <a:pt x="4073" y="4148"/>
                </a:lnTo>
                <a:lnTo>
                  <a:pt x="4071" y="4149"/>
                </a:lnTo>
                <a:lnTo>
                  <a:pt x="4068" y="4149"/>
                </a:lnTo>
                <a:lnTo>
                  <a:pt x="4066" y="4149"/>
                </a:lnTo>
                <a:lnTo>
                  <a:pt x="4062" y="4148"/>
                </a:lnTo>
                <a:lnTo>
                  <a:pt x="4055" y="4143"/>
                </a:lnTo>
                <a:lnTo>
                  <a:pt x="4047" y="4137"/>
                </a:lnTo>
                <a:lnTo>
                  <a:pt x="4037" y="4131"/>
                </a:lnTo>
                <a:lnTo>
                  <a:pt x="4027" y="4127"/>
                </a:lnTo>
                <a:lnTo>
                  <a:pt x="4010" y="4117"/>
                </a:lnTo>
                <a:lnTo>
                  <a:pt x="3992" y="4106"/>
                </a:lnTo>
                <a:lnTo>
                  <a:pt x="3984" y="4100"/>
                </a:lnTo>
                <a:lnTo>
                  <a:pt x="3976" y="4093"/>
                </a:lnTo>
                <a:lnTo>
                  <a:pt x="3969" y="4087"/>
                </a:lnTo>
                <a:lnTo>
                  <a:pt x="3963" y="4079"/>
                </a:lnTo>
                <a:lnTo>
                  <a:pt x="3952" y="4065"/>
                </a:lnTo>
                <a:lnTo>
                  <a:pt x="3941" y="4052"/>
                </a:lnTo>
                <a:lnTo>
                  <a:pt x="3936" y="4048"/>
                </a:lnTo>
                <a:lnTo>
                  <a:pt x="3929" y="4045"/>
                </a:lnTo>
                <a:lnTo>
                  <a:pt x="3923" y="4042"/>
                </a:lnTo>
                <a:lnTo>
                  <a:pt x="3915" y="4041"/>
                </a:lnTo>
                <a:lnTo>
                  <a:pt x="3900" y="4042"/>
                </a:lnTo>
                <a:lnTo>
                  <a:pt x="3886" y="4041"/>
                </a:lnTo>
                <a:lnTo>
                  <a:pt x="3879" y="4040"/>
                </a:lnTo>
                <a:lnTo>
                  <a:pt x="3871" y="4036"/>
                </a:lnTo>
                <a:lnTo>
                  <a:pt x="3862" y="4033"/>
                </a:lnTo>
                <a:lnTo>
                  <a:pt x="3851" y="4027"/>
                </a:lnTo>
                <a:lnTo>
                  <a:pt x="3829" y="4014"/>
                </a:lnTo>
                <a:lnTo>
                  <a:pt x="3813" y="4003"/>
                </a:lnTo>
                <a:lnTo>
                  <a:pt x="3797" y="3991"/>
                </a:lnTo>
                <a:lnTo>
                  <a:pt x="3782" y="3978"/>
                </a:lnTo>
                <a:lnTo>
                  <a:pt x="3778" y="3976"/>
                </a:lnTo>
                <a:lnTo>
                  <a:pt x="3774" y="3973"/>
                </a:lnTo>
                <a:lnTo>
                  <a:pt x="3770" y="3972"/>
                </a:lnTo>
                <a:lnTo>
                  <a:pt x="3765" y="3971"/>
                </a:lnTo>
                <a:lnTo>
                  <a:pt x="3757" y="3970"/>
                </a:lnTo>
                <a:lnTo>
                  <a:pt x="3751" y="3967"/>
                </a:lnTo>
                <a:lnTo>
                  <a:pt x="3744" y="3960"/>
                </a:lnTo>
                <a:lnTo>
                  <a:pt x="3739" y="3953"/>
                </a:lnTo>
                <a:lnTo>
                  <a:pt x="3734" y="3951"/>
                </a:lnTo>
                <a:lnTo>
                  <a:pt x="3730" y="3949"/>
                </a:lnTo>
                <a:lnTo>
                  <a:pt x="3727" y="3949"/>
                </a:lnTo>
                <a:lnTo>
                  <a:pt x="3725" y="3951"/>
                </a:lnTo>
                <a:lnTo>
                  <a:pt x="3724" y="3953"/>
                </a:lnTo>
                <a:lnTo>
                  <a:pt x="3722" y="3957"/>
                </a:lnTo>
                <a:lnTo>
                  <a:pt x="3721" y="3960"/>
                </a:lnTo>
                <a:lnTo>
                  <a:pt x="3719" y="3962"/>
                </a:lnTo>
                <a:lnTo>
                  <a:pt x="3717" y="3964"/>
                </a:lnTo>
                <a:lnTo>
                  <a:pt x="3713" y="3964"/>
                </a:lnTo>
                <a:lnTo>
                  <a:pt x="3705" y="3961"/>
                </a:lnTo>
                <a:lnTo>
                  <a:pt x="3694" y="3959"/>
                </a:lnTo>
                <a:lnTo>
                  <a:pt x="3688" y="3957"/>
                </a:lnTo>
                <a:lnTo>
                  <a:pt x="3682" y="3952"/>
                </a:lnTo>
                <a:lnTo>
                  <a:pt x="3676" y="3947"/>
                </a:lnTo>
                <a:lnTo>
                  <a:pt x="3670" y="3942"/>
                </a:lnTo>
                <a:lnTo>
                  <a:pt x="3659" y="3932"/>
                </a:lnTo>
                <a:lnTo>
                  <a:pt x="3650" y="3926"/>
                </a:lnTo>
                <a:lnTo>
                  <a:pt x="3643" y="3924"/>
                </a:lnTo>
                <a:lnTo>
                  <a:pt x="3637" y="3922"/>
                </a:lnTo>
                <a:lnTo>
                  <a:pt x="3634" y="3921"/>
                </a:lnTo>
                <a:lnTo>
                  <a:pt x="3632" y="3919"/>
                </a:lnTo>
                <a:lnTo>
                  <a:pt x="3631" y="3915"/>
                </a:lnTo>
                <a:lnTo>
                  <a:pt x="3629" y="3910"/>
                </a:lnTo>
                <a:lnTo>
                  <a:pt x="3626" y="3905"/>
                </a:lnTo>
                <a:lnTo>
                  <a:pt x="3623" y="3902"/>
                </a:lnTo>
                <a:lnTo>
                  <a:pt x="3618" y="3900"/>
                </a:lnTo>
                <a:lnTo>
                  <a:pt x="3612" y="3900"/>
                </a:lnTo>
                <a:lnTo>
                  <a:pt x="3606" y="3900"/>
                </a:lnTo>
                <a:lnTo>
                  <a:pt x="3601" y="3901"/>
                </a:lnTo>
                <a:lnTo>
                  <a:pt x="3595" y="3904"/>
                </a:lnTo>
                <a:lnTo>
                  <a:pt x="3592" y="3908"/>
                </a:lnTo>
                <a:lnTo>
                  <a:pt x="3587" y="3915"/>
                </a:lnTo>
                <a:lnTo>
                  <a:pt x="3582" y="3919"/>
                </a:lnTo>
                <a:lnTo>
                  <a:pt x="3576" y="3920"/>
                </a:lnTo>
                <a:lnTo>
                  <a:pt x="3564" y="3919"/>
                </a:lnTo>
                <a:lnTo>
                  <a:pt x="3551" y="3917"/>
                </a:lnTo>
                <a:lnTo>
                  <a:pt x="3538" y="3916"/>
                </a:lnTo>
                <a:lnTo>
                  <a:pt x="3527" y="3919"/>
                </a:lnTo>
                <a:lnTo>
                  <a:pt x="3517" y="3923"/>
                </a:lnTo>
                <a:lnTo>
                  <a:pt x="3507" y="3928"/>
                </a:lnTo>
                <a:lnTo>
                  <a:pt x="3498" y="3934"/>
                </a:lnTo>
                <a:lnTo>
                  <a:pt x="3484" y="3946"/>
                </a:lnTo>
                <a:lnTo>
                  <a:pt x="3468" y="3960"/>
                </a:lnTo>
                <a:lnTo>
                  <a:pt x="3455" y="3973"/>
                </a:lnTo>
                <a:lnTo>
                  <a:pt x="3444" y="3985"/>
                </a:lnTo>
                <a:lnTo>
                  <a:pt x="3434" y="3995"/>
                </a:lnTo>
                <a:lnTo>
                  <a:pt x="3417" y="4008"/>
                </a:lnTo>
                <a:lnTo>
                  <a:pt x="3398" y="4021"/>
                </a:lnTo>
                <a:lnTo>
                  <a:pt x="3379" y="4034"/>
                </a:lnTo>
                <a:lnTo>
                  <a:pt x="3365" y="4045"/>
                </a:lnTo>
                <a:lnTo>
                  <a:pt x="3350" y="4056"/>
                </a:lnTo>
                <a:lnTo>
                  <a:pt x="3334" y="4075"/>
                </a:lnTo>
                <a:lnTo>
                  <a:pt x="3323" y="4090"/>
                </a:lnTo>
                <a:lnTo>
                  <a:pt x="3317" y="4096"/>
                </a:lnTo>
                <a:lnTo>
                  <a:pt x="3315" y="4102"/>
                </a:lnTo>
                <a:lnTo>
                  <a:pt x="3315" y="4108"/>
                </a:lnTo>
                <a:lnTo>
                  <a:pt x="3316" y="4113"/>
                </a:lnTo>
                <a:lnTo>
                  <a:pt x="3316" y="4119"/>
                </a:lnTo>
                <a:lnTo>
                  <a:pt x="3315" y="4125"/>
                </a:lnTo>
                <a:lnTo>
                  <a:pt x="3311" y="4132"/>
                </a:lnTo>
                <a:lnTo>
                  <a:pt x="3302" y="4140"/>
                </a:lnTo>
                <a:lnTo>
                  <a:pt x="3297" y="4143"/>
                </a:lnTo>
                <a:lnTo>
                  <a:pt x="3292" y="4148"/>
                </a:lnTo>
                <a:lnTo>
                  <a:pt x="3290" y="4153"/>
                </a:lnTo>
                <a:lnTo>
                  <a:pt x="3287" y="4157"/>
                </a:lnTo>
                <a:lnTo>
                  <a:pt x="3286" y="4162"/>
                </a:lnTo>
                <a:lnTo>
                  <a:pt x="3285" y="4168"/>
                </a:lnTo>
                <a:lnTo>
                  <a:pt x="3286" y="4175"/>
                </a:lnTo>
                <a:lnTo>
                  <a:pt x="3287" y="4182"/>
                </a:lnTo>
                <a:lnTo>
                  <a:pt x="3292" y="4197"/>
                </a:lnTo>
                <a:lnTo>
                  <a:pt x="3296" y="4210"/>
                </a:lnTo>
                <a:lnTo>
                  <a:pt x="3296" y="4214"/>
                </a:lnTo>
                <a:lnTo>
                  <a:pt x="3296" y="4219"/>
                </a:lnTo>
                <a:lnTo>
                  <a:pt x="3294" y="4224"/>
                </a:lnTo>
                <a:lnTo>
                  <a:pt x="3292" y="4228"/>
                </a:lnTo>
                <a:lnTo>
                  <a:pt x="3289" y="4231"/>
                </a:lnTo>
                <a:lnTo>
                  <a:pt x="3285" y="4233"/>
                </a:lnTo>
                <a:lnTo>
                  <a:pt x="3279" y="4236"/>
                </a:lnTo>
                <a:lnTo>
                  <a:pt x="3274" y="4238"/>
                </a:lnTo>
                <a:lnTo>
                  <a:pt x="3261" y="4244"/>
                </a:lnTo>
                <a:lnTo>
                  <a:pt x="3248" y="4251"/>
                </a:lnTo>
                <a:lnTo>
                  <a:pt x="3241" y="4254"/>
                </a:lnTo>
                <a:lnTo>
                  <a:pt x="3234" y="4255"/>
                </a:lnTo>
                <a:lnTo>
                  <a:pt x="3227" y="4254"/>
                </a:lnTo>
                <a:lnTo>
                  <a:pt x="3221" y="4251"/>
                </a:lnTo>
                <a:lnTo>
                  <a:pt x="3214" y="4249"/>
                </a:lnTo>
                <a:lnTo>
                  <a:pt x="3209" y="4244"/>
                </a:lnTo>
                <a:lnTo>
                  <a:pt x="3204" y="4238"/>
                </a:lnTo>
                <a:lnTo>
                  <a:pt x="3201" y="4233"/>
                </a:lnTo>
                <a:lnTo>
                  <a:pt x="3195" y="4218"/>
                </a:lnTo>
                <a:lnTo>
                  <a:pt x="3185" y="4199"/>
                </a:lnTo>
                <a:lnTo>
                  <a:pt x="3177" y="4180"/>
                </a:lnTo>
                <a:lnTo>
                  <a:pt x="3170" y="4163"/>
                </a:lnTo>
                <a:lnTo>
                  <a:pt x="3166" y="4157"/>
                </a:lnTo>
                <a:lnTo>
                  <a:pt x="3164" y="4149"/>
                </a:lnTo>
                <a:lnTo>
                  <a:pt x="3163" y="4140"/>
                </a:lnTo>
                <a:lnTo>
                  <a:pt x="3161" y="4130"/>
                </a:lnTo>
                <a:lnTo>
                  <a:pt x="3163" y="4121"/>
                </a:lnTo>
                <a:lnTo>
                  <a:pt x="3166" y="4110"/>
                </a:lnTo>
                <a:lnTo>
                  <a:pt x="3168" y="4105"/>
                </a:lnTo>
                <a:lnTo>
                  <a:pt x="3172" y="4099"/>
                </a:lnTo>
                <a:lnTo>
                  <a:pt x="3176" y="4094"/>
                </a:lnTo>
                <a:lnTo>
                  <a:pt x="3180" y="4088"/>
                </a:lnTo>
                <a:lnTo>
                  <a:pt x="3190" y="4078"/>
                </a:lnTo>
                <a:lnTo>
                  <a:pt x="3198" y="4067"/>
                </a:lnTo>
                <a:lnTo>
                  <a:pt x="3207" y="4055"/>
                </a:lnTo>
                <a:lnTo>
                  <a:pt x="3212" y="4043"/>
                </a:lnTo>
                <a:lnTo>
                  <a:pt x="3217" y="4033"/>
                </a:lnTo>
                <a:lnTo>
                  <a:pt x="3222" y="4022"/>
                </a:lnTo>
                <a:lnTo>
                  <a:pt x="3224" y="4011"/>
                </a:lnTo>
                <a:lnTo>
                  <a:pt x="3227" y="4002"/>
                </a:lnTo>
                <a:lnTo>
                  <a:pt x="3228" y="3992"/>
                </a:lnTo>
                <a:lnTo>
                  <a:pt x="3228" y="3983"/>
                </a:lnTo>
                <a:lnTo>
                  <a:pt x="3227" y="3973"/>
                </a:lnTo>
                <a:lnTo>
                  <a:pt x="3226" y="3962"/>
                </a:lnTo>
                <a:lnTo>
                  <a:pt x="3223" y="3942"/>
                </a:lnTo>
                <a:lnTo>
                  <a:pt x="3220" y="3921"/>
                </a:lnTo>
                <a:lnTo>
                  <a:pt x="3222" y="3913"/>
                </a:lnTo>
                <a:lnTo>
                  <a:pt x="3221" y="3905"/>
                </a:lnTo>
                <a:lnTo>
                  <a:pt x="3207" y="3894"/>
                </a:lnTo>
                <a:lnTo>
                  <a:pt x="3195" y="3884"/>
                </a:lnTo>
                <a:lnTo>
                  <a:pt x="3185" y="3878"/>
                </a:lnTo>
                <a:lnTo>
                  <a:pt x="3177" y="3873"/>
                </a:lnTo>
                <a:lnTo>
                  <a:pt x="3172" y="3869"/>
                </a:lnTo>
                <a:lnTo>
                  <a:pt x="3167" y="3864"/>
                </a:lnTo>
                <a:lnTo>
                  <a:pt x="3159" y="3863"/>
                </a:lnTo>
                <a:lnTo>
                  <a:pt x="3152" y="3864"/>
                </a:lnTo>
                <a:lnTo>
                  <a:pt x="3145" y="3867"/>
                </a:lnTo>
                <a:lnTo>
                  <a:pt x="3140" y="3872"/>
                </a:lnTo>
                <a:lnTo>
                  <a:pt x="3134" y="3879"/>
                </a:lnTo>
                <a:lnTo>
                  <a:pt x="3130" y="3883"/>
                </a:lnTo>
                <a:lnTo>
                  <a:pt x="3126" y="3885"/>
                </a:lnTo>
                <a:lnTo>
                  <a:pt x="3116" y="3886"/>
                </a:lnTo>
                <a:lnTo>
                  <a:pt x="3109" y="3885"/>
                </a:lnTo>
                <a:lnTo>
                  <a:pt x="3103" y="3885"/>
                </a:lnTo>
                <a:lnTo>
                  <a:pt x="3085" y="3891"/>
                </a:lnTo>
                <a:lnTo>
                  <a:pt x="3071" y="3898"/>
                </a:lnTo>
                <a:lnTo>
                  <a:pt x="3065" y="3900"/>
                </a:lnTo>
                <a:lnTo>
                  <a:pt x="3057" y="3902"/>
                </a:lnTo>
                <a:lnTo>
                  <a:pt x="3047" y="3905"/>
                </a:lnTo>
                <a:lnTo>
                  <a:pt x="3035" y="3911"/>
                </a:lnTo>
                <a:lnTo>
                  <a:pt x="3029" y="3915"/>
                </a:lnTo>
                <a:lnTo>
                  <a:pt x="3022" y="3917"/>
                </a:lnTo>
                <a:lnTo>
                  <a:pt x="3015" y="3917"/>
                </a:lnTo>
                <a:lnTo>
                  <a:pt x="3008" y="3917"/>
                </a:lnTo>
                <a:lnTo>
                  <a:pt x="2995" y="3915"/>
                </a:lnTo>
                <a:lnTo>
                  <a:pt x="2984" y="3911"/>
                </a:lnTo>
                <a:lnTo>
                  <a:pt x="2981" y="3910"/>
                </a:lnTo>
                <a:lnTo>
                  <a:pt x="2977" y="3910"/>
                </a:lnTo>
                <a:lnTo>
                  <a:pt x="2975" y="3910"/>
                </a:lnTo>
                <a:lnTo>
                  <a:pt x="2972" y="3911"/>
                </a:lnTo>
                <a:lnTo>
                  <a:pt x="2968" y="3915"/>
                </a:lnTo>
                <a:lnTo>
                  <a:pt x="2963" y="3919"/>
                </a:lnTo>
                <a:lnTo>
                  <a:pt x="2960" y="3920"/>
                </a:lnTo>
                <a:lnTo>
                  <a:pt x="2957" y="3920"/>
                </a:lnTo>
                <a:lnTo>
                  <a:pt x="2955" y="3920"/>
                </a:lnTo>
                <a:lnTo>
                  <a:pt x="2951" y="3919"/>
                </a:lnTo>
                <a:lnTo>
                  <a:pt x="2944" y="3915"/>
                </a:lnTo>
                <a:lnTo>
                  <a:pt x="2938" y="3913"/>
                </a:lnTo>
                <a:lnTo>
                  <a:pt x="2922" y="3909"/>
                </a:lnTo>
                <a:lnTo>
                  <a:pt x="2907" y="3907"/>
                </a:lnTo>
                <a:lnTo>
                  <a:pt x="2897" y="3903"/>
                </a:lnTo>
                <a:lnTo>
                  <a:pt x="2884" y="3898"/>
                </a:lnTo>
                <a:lnTo>
                  <a:pt x="2877" y="3895"/>
                </a:lnTo>
                <a:lnTo>
                  <a:pt x="2872" y="3891"/>
                </a:lnTo>
                <a:lnTo>
                  <a:pt x="2868" y="3886"/>
                </a:lnTo>
                <a:lnTo>
                  <a:pt x="2867" y="3880"/>
                </a:lnTo>
                <a:lnTo>
                  <a:pt x="2864" y="3876"/>
                </a:lnTo>
                <a:lnTo>
                  <a:pt x="2862" y="3873"/>
                </a:lnTo>
                <a:lnTo>
                  <a:pt x="2858" y="3873"/>
                </a:lnTo>
                <a:lnTo>
                  <a:pt x="2855" y="3875"/>
                </a:lnTo>
                <a:lnTo>
                  <a:pt x="2845" y="3880"/>
                </a:lnTo>
                <a:lnTo>
                  <a:pt x="2838" y="3888"/>
                </a:lnTo>
                <a:lnTo>
                  <a:pt x="2823" y="3903"/>
                </a:lnTo>
                <a:lnTo>
                  <a:pt x="2808" y="3917"/>
                </a:lnTo>
                <a:lnTo>
                  <a:pt x="2806" y="3920"/>
                </a:lnTo>
                <a:lnTo>
                  <a:pt x="2802" y="3921"/>
                </a:lnTo>
                <a:lnTo>
                  <a:pt x="2799" y="3921"/>
                </a:lnTo>
                <a:lnTo>
                  <a:pt x="2794" y="3921"/>
                </a:lnTo>
                <a:lnTo>
                  <a:pt x="2786" y="3916"/>
                </a:lnTo>
                <a:lnTo>
                  <a:pt x="2776" y="3909"/>
                </a:lnTo>
                <a:lnTo>
                  <a:pt x="2758" y="3895"/>
                </a:lnTo>
                <a:lnTo>
                  <a:pt x="2742" y="3885"/>
                </a:lnTo>
                <a:lnTo>
                  <a:pt x="2738" y="3884"/>
                </a:lnTo>
                <a:lnTo>
                  <a:pt x="2735" y="3884"/>
                </a:lnTo>
                <a:lnTo>
                  <a:pt x="2732" y="3884"/>
                </a:lnTo>
                <a:lnTo>
                  <a:pt x="2729" y="3885"/>
                </a:lnTo>
                <a:lnTo>
                  <a:pt x="2722" y="3889"/>
                </a:lnTo>
                <a:lnTo>
                  <a:pt x="2714" y="3895"/>
                </a:lnTo>
                <a:lnTo>
                  <a:pt x="2711" y="3897"/>
                </a:lnTo>
                <a:lnTo>
                  <a:pt x="2707" y="3898"/>
                </a:lnTo>
                <a:lnTo>
                  <a:pt x="2704" y="3900"/>
                </a:lnTo>
                <a:lnTo>
                  <a:pt x="2700" y="3898"/>
                </a:lnTo>
                <a:lnTo>
                  <a:pt x="2694" y="3896"/>
                </a:lnTo>
                <a:lnTo>
                  <a:pt x="2692" y="3892"/>
                </a:lnTo>
                <a:lnTo>
                  <a:pt x="2692" y="3889"/>
                </a:lnTo>
                <a:lnTo>
                  <a:pt x="2689" y="3885"/>
                </a:lnTo>
                <a:lnTo>
                  <a:pt x="2687" y="3883"/>
                </a:lnTo>
                <a:lnTo>
                  <a:pt x="2683" y="3882"/>
                </a:lnTo>
                <a:lnTo>
                  <a:pt x="2676" y="3879"/>
                </a:lnTo>
                <a:lnTo>
                  <a:pt x="2668" y="3878"/>
                </a:lnTo>
                <a:lnTo>
                  <a:pt x="2649" y="3875"/>
                </a:lnTo>
                <a:lnTo>
                  <a:pt x="2636" y="3872"/>
                </a:lnTo>
                <a:lnTo>
                  <a:pt x="2623" y="3870"/>
                </a:lnTo>
                <a:lnTo>
                  <a:pt x="2611" y="3869"/>
                </a:lnTo>
                <a:lnTo>
                  <a:pt x="2605" y="3869"/>
                </a:lnTo>
                <a:lnTo>
                  <a:pt x="2600" y="3866"/>
                </a:lnTo>
                <a:lnTo>
                  <a:pt x="2594" y="3863"/>
                </a:lnTo>
                <a:lnTo>
                  <a:pt x="2591" y="3858"/>
                </a:lnTo>
                <a:lnTo>
                  <a:pt x="2582" y="3846"/>
                </a:lnTo>
                <a:lnTo>
                  <a:pt x="2574" y="3828"/>
                </a:lnTo>
                <a:lnTo>
                  <a:pt x="2569" y="3819"/>
                </a:lnTo>
                <a:lnTo>
                  <a:pt x="2563" y="3812"/>
                </a:lnTo>
                <a:lnTo>
                  <a:pt x="2557" y="3807"/>
                </a:lnTo>
                <a:lnTo>
                  <a:pt x="2552" y="3802"/>
                </a:lnTo>
                <a:lnTo>
                  <a:pt x="2540" y="3797"/>
                </a:lnTo>
                <a:lnTo>
                  <a:pt x="2529" y="3794"/>
                </a:lnTo>
                <a:lnTo>
                  <a:pt x="2524" y="3791"/>
                </a:lnTo>
                <a:lnTo>
                  <a:pt x="2522" y="3790"/>
                </a:lnTo>
                <a:lnTo>
                  <a:pt x="2521" y="3788"/>
                </a:lnTo>
                <a:lnTo>
                  <a:pt x="2519" y="3784"/>
                </a:lnTo>
                <a:lnTo>
                  <a:pt x="2519" y="3777"/>
                </a:lnTo>
                <a:lnTo>
                  <a:pt x="2516" y="3769"/>
                </a:lnTo>
                <a:lnTo>
                  <a:pt x="2512" y="3764"/>
                </a:lnTo>
                <a:lnTo>
                  <a:pt x="2509" y="3760"/>
                </a:lnTo>
                <a:lnTo>
                  <a:pt x="2505" y="3758"/>
                </a:lnTo>
                <a:lnTo>
                  <a:pt x="2500" y="3756"/>
                </a:lnTo>
                <a:lnTo>
                  <a:pt x="2491" y="3751"/>
                </a:lnTo>
                <a:lnTo>
                  <a:pt x="2484" y="3747"/>
                </a:lnTo>
                <a:lnTo>
                  <a:pt x="2480" y="3746"/>
                </a:lnTo>
                <a:lnTo>
                  <a:pt x="2478" y="3743"/>
                </a:lnTo>
                <a:lnTo>
                  <a:pt x="2475" y="3739"/>
                </a:lnTo>
                <a:lnTo>
                  <a:pt x="2473" y="3735"/>
                </a:lnTo>
                <a:lnTo>
                  <a:pt x="2470" y="3727"/>
                </a:lnTo>
                <a:lnTo>
                  <a:pt x="2467" y="3720"/>
                </a:lnTo>
                <a:lnTo>
                  <a:pt x="2465" y="3716"/>
                </a:lnTo>
                <a:lnTo>
                  <a:pt x="2462" y="3714"/>
                </a:lnTo>
                <a:lnTo>
                  <a:pt x="2460" y="3713"/>
                </a:lnTo>
                <a:lnTo>
                  <a:pt x="2456" y="3712"/>
                </a:lnTo>
                <a:lnTo>
                  <a:pt x="2449" y="3712"/>
                </a:lnTo>
                <a:lnTo>
                  <a:pt x="2441" y="3712"/>
                </a:lnTo>
                <a:lnTo>
                  <a:pt x="2431" y="3712"/>
                </a:lnTo>
                <a:lnTo>
                  <a:pt x="2424" y="3711"/>
                </a:lnTo>
                <a:lnTo>
                  <a:pt x="2418" y="3706"/>
                </a:lnTo>
                <a:lnTo>
                  <a:pt x="2414" y="3700"/>
                </a:lnTo>
                <a:lnTo>
                  <a:pt x="2411" y="3697"/>
                </a:lnTo>
                <a:lnTo>
                  <a:pt x="2409" y="3695"/>
                </a:lnTo>
                <a:lnTo>
                  <a:pt x="2407" y="3693"/>
                </a:lnTo>
                <a:lnTo>
                  <a:pt x="2404" y="3693"/>
                </a:lnTo>
                <a:lnTo>
                  <a:pt x="2402" y="3693"/>
                </a:lnTo>
                <a:lnTo>
                  <a:pt x="2401" y="3694"/>
                </a:lnTo>
                <a:lnTo>
                  <a:pt x="2398" y="3696"/>
                </a:lnTo>
                <a:lnTo>
                  <a:pt x="2397" y="3700"/>
                </a:lnTo>
                <a:lnTo>
                  <a:pt x="2392" y="3709"/>
                </a:lnTo>
                <a:lnTo>
                  <a:pt x="2385" y="3722"/>
                </a:lnTo>
                <a:lnTo>
                  <a:pt x="2378" y="3734"/>
                </a:lnTo>
                <a:lnTo>
                  <a:pt x="2372" y="3745"/>
                </a:lnTo>
                <a:lnTo>
                  <a:pt x="2365" y="3752"/>
                </a:lnTo>
                <a:lnTo>
                  <a:pt x="2358" y="3758"/>
                </a:lnTo>
                <a:lnTo>
                  <a:pt x="2351" y="3763"/>
                </a:lnTo>
                <a:lnTo>
                  <a:pt x="2345" y="3765"/>
                </a:lnTo>
                <a:lnTo>
                  <a:pt x="2341" y="3765"/>
                </a:lnTo>
                <a:lnTo>
                  <a:pt x="2338" y="3763"/>
                </a:lnTo>
                <a:lnTo>
                  <a:pt x="2333" y="3760"/>
                </a:lnTo>
                <a:lnTo>
                  <a:pt x="2327" y="3757"/>
                </a:lnTo>
                <a:lnTo>
                  <a:pt x="2316" y="3749"/>
                </a:lnTo>
                <a:lnTo>
                  <a:pt x="2304" y="3740"/>
                </a:lnTo>
                <a:lnTo>
                  <a:pt x="2294" y="3733"/>
                </a:lnTo>
                <a:lnTo>
                  <a:pt x="2282" y="3725"/>
                </a:lnTo>
                <a:lnTo>
                  <a:pt x="2271" y="3715"/>
                </a:lnTo>
                <a:lnTo>
                  <a:pt x="2264" y="3709"/>
                </a:lnTo>
                <a:lnTo>
                  <a:pt x="2261" y="3706"/>
                </a:lnTo>
                <a:lnTo>
                  <a:pt x="2261" y="3701"/>
                </a:lnTo>
                <a:lnTo>
                  <a:pt x="2260" y="3695"/>
                </a:lnTo>
                <a:lnTo>
                  <a:pt x="2261" y="3689"/>
                </a:lnTo>
                <a:lnTo>
                  <a:pt x="2263" y="3682"/>
                </a:lnTo>
                <a:lnTo>
                  <a:pt x="2265" y="3676"/>
                </a:lnTo>
                <a:lnTo>
                  <a:pt x="2269" y="3670"/>
                </a:lnTo>
                <a:lnTo>
                  <a:pt x="2271" y="3665"/>
                </a:lnTo>
                <a:lnTo>
                  <a:pt x="2277" y="3655"/>
                </a:lnTo>
                <a:lnTo>
                  <a:pt x="2280" y="3645"/>
                </a:lnTo>
                <a:lnTo>
                  <a:pt x="2282" y="3640"/>
                </a:lnTo>
                <a:lnTo>
                  <a:pt x="2282" y="3637"/>
                </a:lnTo>
                <a:lnTo>
                  <a:pt x="2280" y="3634"/>
                </a:lnTo>
                <a:lnTo>
                  <a:pt x="2278" y="3632"/>
                </a:lnTo>
                <a:lnTo>
                  <a:pt x="2272" y="3632"/>
                </a:lnTo>
                <a:lnTo>
                  <a:pt x="2265" y="3633"/>
                </a:lnTo>
                <a:lnTo>
                  <a:pt x="2257" y="3634"/>
                </a:lnTo>
                <a:lnTo>
                  <a:pt x="2250" y="3638"/>
                </a:lnTo>
                <a:lnTo>
                  <a:pt x="2241" y="3644"/>
                </a:lnTo>
                <a:lnTo>
                  <a:pt x="2232" y="3653"/>
                </a:lnTo>
                <a:lnTo>
                  <a:pt x="2228" y="3659"/>
                </a:lnTo>
                <a:lnTo>
                  <a:pt x="2225" y="3664"/>
                </a:lnTo>
                <a:lnTo>
                  <a:pt x="2222" y="3670"/>
                </a:lnTo>
                <a:lnTo>
                  <a:pt x="2221" y="3676"/>
                </a:lnTo>
                <a:lnTo>
                  <a:pt x="2220" y="3689"/>
                </a:lnTo>
                <a:lnTo>
                  <a:pt x="2217" y="3703"/>
                </a:lnTo>
                <a:lnTo>
                  <a:pt x="2216" y="3711"/>
                </a:lnTo>
                <a:lnTo>
                  <a:pt x="2214" y="3716"/>
                </a:lnTo>
                <a:lnTo>
                  <a:pt x="2212" y="3722"/>
                </a:lnTo>
                <a:lnTo>
                  <a:pt x="2209" y="3726"/>
                </a:lnTo>
                <a:lnTo>
                  <a:pt x="2206" y="3728"/>
                </a:lnTo>
                <a:lnTo>
                  <a:pt x="2200" y="3728"/>
                </a:lnTo>
                <a:lnTo>
                  <a:pt x="2194" y="3727"/>
                </a:lnTo>
                <a:lnTo>
                  <a:pt x="2185" y="3725"/>
                </a:lnTo>
                <a:lnTo>
                  <a:pt x="2178" y="3721"/>
                </a:lnTo>
                <a:lnTo>
                  <a:pt x="2171" y="3718"/>
                </a:lnTo>
                <a:lnTo>
                  <a:pt x="2166" y="3713"/>
                </a:lnTo>
                <a:lnTo>
                  <a:pt x="2162" y="3708"/>
                </a:lnTo>
                <a:lnTo>
                  <a:pt x="2160" y="3701"/>
                </a:lnTo>
                <a:lnTo>
                  <a:pt x="2160" y="3694"/>
                </a:lnTo>
                <a:lnTo>
                  <a:pt x="2160" y="3684"/>
                </a:lnTo>
                <a:lnTo>
                  <a:pt x="2160" y="3674"/>
                </a:lnTo>
                <a:lnTo>
                  <a:pt x="2158" y="3657"/>
                </a:lnTo>
                <a:lnTo>
                  <a:pt x="2153" y="3642"/>
                </a:lnTo>
                <a:lnTo>
                  <a:pt x="2150" y="3626"/>
                </a:lnTo>
                <a:lnTo>
                  <a:pt x="2145" y="3613"/>
                </a:lnTo>
                <a:lnTo>
                  <a:pt x="2139" y="3601"/>
                </a:lnTo>
                <a:lnTo>
                  <a:pt x="2132" y="3592"/>
                </a:lnTo>
                <a:lnTo>
                  <a:pt x="2128" y="3587"/>
                </a:lnTo>
                <a:lnTo>
                  <a:pt x="2125" y="3582"/>
                </a:lnTo>
                <a:lnTo>
                  <a:pt x="2121" y="3576"/>
                </a:lnTo>
                <a:lnTo>
                  <a:pt x="2119" y="3570"/>
                </a:lnTo>
                <a:lnTo>
                  <a:pt x="2118" y="3563"/>
                </a:lnTo>
                <a:lnTo>
                  <a:pt x="2115" y="3557"/>
                </a:lnTo>
                <a:lnTo>
                  <a:pt x="2115" y="3550"/>
                </a:lnTo>
                <a:lnTo>
                  <a:pt x="2115" y="3543"/>
                </a:lnTo>
                <a:lnTo>
                  <a:pt x="2116" y="3530"/>
                </a:lnTo>
                <a:lnTo>
                  <a:pt x="2118" y="3519"/>
                </a:lnTo>
                <a:lnTo>
                  <a:pt x="2118" y="3513"/>
                </a:lnTo>
                <a:lnTo>
                  <a:pt x="2118" y="3510"/>
                </a:lnTo>
                <a:lnTo>
                  <a:pt x="2116" y="3506"/>
                </a:lnTo>
                <a:lnTo>
                  <a:pt x="2114" y="3503"/>
                </a:lnTo>
                <a:lnTo>
                  <a:pt x="2112" y="3501"/>
                </a:lnTo>
                <a:lnTo>
                  <a:pt x="2108" y="3500"/>
                </a:lnTo>
                <a:lnTo>
                  <a:pt x="2106" y="3499"/>
                </a:lnTo>
                <a:lnTo>
                  <a:pt x="2103" y="3500"/>
                </a:lnTo>
                <a:lnTo>
                  <a:pt x="2100" y="3501"/>
                </a:lnTo>
                <a:lnTo>
                  <a:pt x="2096" y="3505"/>
                </a:lnTo>
                <a:lnTo>
                  <a:pt x="2094" y="3508"/>
                </a:lnTo>
                <a:lnTo>
                  <a:pt x="2090" y="3512"/>
                </a:lnTo>
                <a:lnTo>
                  <a:pt x="2086" y="3523"/>
                </a:lnTo>
                <a:lnTo>
                  <a:pt x="2081" y="3532"/>
                </a:lnTo>
                <a:lnTo>
                  <a:pt x="2078" y="3536"/>
                </a:lnTo>
                <a:lnTo>
                  <a:pt x="2076" y="3539"/>
                </a:lnTo>
                <a:lnTo>
                  <a:pt x="2074" y="3542"/>
                </a:lnTo>
                <a:lnTo>
                  <a:pt x="2071" y="3543"/>
                </a:lnTo>
                <a:lnTo>
                  <a:pt x="2069" y="3543"/>
                </a:lnTo>
                <a:lnTo>
                  <a:pt x="2067" y="3541"/>
                </a:lnTo>
                <a:lnTo>
                  <a:pt x="2064" y="3538"/>
                </a:lnTo>
                <a:lnTo>
                  <a:pt x="2062" y="3533"/>
                </a:lnTo>
                <a:lnTo>
                  <a:pt x="2058" y="3524"/>
                </a:lnTo>
                <a:lnTo>
                  <a:pt x="2053" y="3514"/>
                </a:lnTo>
                <a:lnTo>
                  <a:pt x="2046" y="3506"/>
                </a:lnTo>
                <a:lnTo>
                  <a:pt x="2038" y="3498"/>
                </a:lnTo>
                <a:lnTo>
                  <a:pt x="2033" y="3495"/>
                </a:lnTo>
                <a:lnTo>
                  <a:pt x="2027" y="3493"/>
                </a:lnTo>
                <a:lnTo>
                  <a:pt x="2020" y="3493"/>
                </a:lnTo>
                <a:lnTo>
                  <a:pt x="2012" y="3493"/>
                </a:lnTo>
                <a:lnTo>
                  <a:pt x="1995" y="3497"/>
                </a:lnTo>
                <a:lnTo>
                  <a:pt x="1983" y="3499"/>
                </a:lnTo>
                <a:lnTo>
                  <a:pt x="1979" y="3500"/>
                </a:lnTo>
                <a:lnTo>
                  <a:pt x="1974" y="3500"/>
                </a:lnTo>
                <a:lnTo>
                  <a:pt x="1969" y="3499"/>
                </a:lnTo>
                <a:lnTo>
                  <a:pt x="1964" y="3498"/>
                </a:lnTo>
                <a:lnTo>
                  <a:pt x="1958" y="3494"/>
                </a:lnTo>
                <a:lnTo>
                  <a:pt x="1954" y="3489"/>
                </a:lnTo>
                <a:lnTo>
                  <a:pt x="1948" y="3485"/>
                </a:lnTo>
                <a:lnTo>
                  <a:pt x="1943" y="3479"/>
                </a:lnTo>
                <a:lnTo>
                  <a:pt x="1937" y="3474"/>
                </a:lnTo>
                <a:lnTo>
                  <a:pt x="1932" y="3469"/>
                </a:lnTo>
                <a:lnTo>
                  <a:pt x="1926" y="3466"/>
                </a:lnTo>
                <a:lnTo>
                  <a:pt x="1921" y="3464"/>
                </a:lnTo>
                <a:lnTo>
                  <a:pt x="1916" y="3463"/>
                </a:lnTo>
                <a:lnTo>
                  <a:pt x="1911" y="3462"/>
                </a:lnTo>
                <a:lnTo>
                  <a:pt x="1906" y="3461"/>
                </a:lnTo>
                <a:lnTo>
                  <a:pt x="1902" y="3459"/>
                </a:lnTo>
                <a:lnTo>
                  <a:pt x="1899" y="3455"/>
                </a:lnTo>
                <a:lnTo>
                  <a:pt x="1897" y="3451"/>
                </a:lnTo>
                <a:lnTo>
                  <a:pt x="1895" y="3447"/>
                </a:lnTo>
                <a:lnTo>
                  <a:pt x="1895" y="3441"/>
                </a:lnTo>
                <a:lnTo>
                  <a:pt x="1895" y="3434"/>
                </a:lnTo>
                <a:lnTo>
                  <a:pt x="1897" y="3426"/>
                </a:lnTo>
                <a:lnTo>
                  <a:pt x="1899" y="3419"/>
                </a:lnTo>
                <a:lnTo>
                  <a:pt x="1902" y="3411"/>
                </a:lnTo>
                <a:lnTo>
                  <a:pt x="1906" y="3404"/>
                </a:lnTo>
                <a:lnTo>
                  <a:pt x="1911" y="3397"/>
                </a:lnTo>
                <a:lnTo>
                  <a:pt x="1916" y="3390"/>
                </a:lnTo>
                <a:lnTo>
                  <a:pt x="1921" y="3384"/>
                </a:lnTo>
                <a:lnTo>
                  <a:pt x="1931" y="3374"/>
                </a:lnTo>
                <a:lnTo>
                  <a:pt x="1937" y="3366"/>
                </a:lnTo>
                <a:lnTo>
                  <a:pt x="1942" y="3358"/>
                </a:lnTo>
                <a:lnTo>
                  <a:pt x="1945" y="3348"/>
                </a:lnTo>
                <a:lnTo>
                  <a:pt x="1945" y="3342"/>
                </a:lnTo>
                <a:lnTo>
                  <a:pt x="1944" y="3335"/>
                </a:lnTo>
                <a:lnTo>
                  <a:pt x="1941" y="3328"/>
                </a:lnTo>
                <a:lnTo>
                  <a:pt x="1936" y="3322"/>
                </a:lnTo>
                <a:lnTo>
                  <a:pt x="1930" y="3316"/>
                </a:lnTo>
                <a:lnTo>
                  <a:pt x="1924" y="3312"/>
                </a:lnTo>
                <a:lnTo>
                  <a:pt x="1920" y="3310"/>
                </a:lnTo>
                <a:lnTo>
                  <a:pt x="1917" y="3310"/>
                </a:lnTo>
                <a:lnTo>
                  <a:pt x="1914" y="3309"/>
                </a:lnTo>
                <a:lnTo>
                  <a:pt x="1911" y="3310"/>
                </a:lnTo>
                <a:lnTo>
                  <a:pt x="1900" y="3315"/>
                </a:lnTo>
                <a:lnTo>
                  <a:pt x="1888" y="3322"/>
                </a:lnTo>
                <a:lnTo>
                  <a:pt x="1882" y="3324"/>
                </a:lnTo>
                <a:lnTo>
                  <a:pt x="1876" y="3328"/>
                </a:lnTo>
                <a:lnTo>
                  <a:pt x="1870" y="3329"/>
                </a:lnTo>
                <a:lnTo>
                  <a:pt x="1863" y="3330"/>
                </a:lnTo>
                <a:lnTo>
                  <a:pt x="1850" y="3329"/>
                </a:lnTo>
                <a:lnTo>
                  <a:pt x="1836" y="3327"/>
                </a:lnTo>
                <a:lnTo>
                  <a:pt x="1822" y="3322"/>
                </a:lnTo>
                <a:lnTo>
                  <a:pt x="1807" y="3315"/>
                </a:lnTo>
                <a:lnTo>
                  <a:pt x="1794" y="3306"/>
                </a:lnTo>
                <a:lnTo>
                  <a:pt x="1785" y="3298"/>
                </a:lnTo>
                <a:lnTo>
                  <a:pt x="1780" y="3293"/>
                </a:lnTo>
                <a:lnTo>
                  <a:pt x="1778" y="3289"/>
                </a:lnTo>
                <a:lnTo>
                  <a:pt x="1776" y="3284"/>
                </a:lnTo>
                <a:lnTo>
                  <a:pt x="1775" y="3279"/>
                </a:lnTo>
                <a:lnTo>
                  <a:pt x="1775" y="3273"/>
                </a:lnTo>
                <a:lnTo>
                  <a:pt x="1774" y="3268"/>
                </a:lnTo>
                <a:lnTo>
                  <a:pt x="1772" y="3264"/>
                </a:lnTo>
                <a:lnTo>
                  <a:pt x="1769" y="3260"/>
                </a:lnTo>
                <a:lnTo>
                  <a:pt x="1762" y="3253"/>
                </a:lnTo>
                <a:lnTo>
                  <a:pt x="1755" y="3248"/>
                </a:lnTo>
                <a:lnTo>
                  <a:pt x="1746" y="3242"/>
                </a:lnTo>
                <a:lnTo>
                  <a:pt x="1732" y="3234"/>
                </a:lnTo>
                <a:lnTo>
                  <a:pt x="1721" y="3227"/>
                </a:lnTo>
                <a:lnTo>
                  <a:pt x="1710" y="3221"/>
                </a:lnTo>
                <a:lnTo>
                  <a:pt x="1706" y="3218"/>
                </a:lnTo>
                <a:lnTo>
                  <a:pt x="1703" y="3216"/>
                </a:lnTo>
                <a:lnTo>
                  <a:pt x="1700" y="3211"/>
                </a:lnTo>
                <a:lnTo>
                  <a:pt x="1697" y="3208"/>
                </a:lnTo>
                <a:lnTo>
                  <a:pt x="1694" y="3198"/>
                </a:lnTo>
                <a:lnTo>
                  <a:pt x="1693" y="3189"/>
                </a:lnTo>
                <a:lnTo>
                  <a:pt x="1692" y="3179"/>
                </a:lnTo>
                <a:lnTo>
                  <a:pt x="1690" y="3172"/>
                </a:lnTo>
                <a:lnTo>
                  <a:pt x="1687" y="3169"/>
                </a:lnTo>
                <a:lnTo>
                  <a:pt x="1684" y="3166"/>
                </a:lnTo>
                <a:lnTo>
                  <a:pt x="1680" y="3164"/>
                </a:lnTo>
                <a:lnTo>
                  <a:pt x="1675" y="3163"/>
                </a:lnTo>
                <a:lnTo>
                  <a:pt x="1669" y="3161"/>
                </a:lnTo>
                <a:lnTo>
                  <a:pt x="1662" y="3158"/>
                </a:lnTo>
                <a:lnTo>
                  <a:pt x="1655" y="3154"/>
                </a:lnTo>
                <a:lnTo>
                  <a:pt x="1649" y="3150"/>
                </a:lnTo>
                <a:lnTo>
                  <a:pt x="1643" y="3145"/>
                </a:lnTo>
                <a:lnTo>
                  <a:pt x="1639" y="3140"/>
                </a:lnTo>
                <a:lnTo>
                  <a:pt x="1636" y="3134"/>
                </a:lnTo>
                <a:lnTo>
                  <a:pt x="1635" y="3128"/>
                </a:lnTo>
                <a:lnTo>
                  <a:pt x="1636" y="3122"/>
                </a:lnTo>
                <a:lnTo>
                  <a:pt x="1639" y="3116"/>
                </a:lnTo>
                <a:lnTo>
                  <a:pt x="1641" y="3110"/>
                </a:lnTo>
                <a:lnTo>
                  <a:pt x="1643" y="3104"/>
                </a:lnTo>
                <a:lnTo>
                  <a:pt x="1649" y="3094"/>
                </a:lnTo>
                <a:lnTo>
                  <a:pt x="1652" y="3084"/>
                </a:lnTo>
                <a:lnTo>
                  <a:pt x="1648" y="3075"/>
                </a:lnTo>
                <a:lnTo>
                  <a:pt x="1645" y="3063"/>
                </a:lnTo>
                <a:lnTo>
                  <a:pt x="1642" y="3056"/>
                </a:lnTo>
                <a:lnTo>
                  <a:pt x="1640" y="3047"/>
                </a:lnTo>
                <a:lnTo>
                  <a:pt x="1640" y="3038"/>
                </a:lnTo>
                <a:lnTo>
                  <a:pt x="1641" y="3027"/>
                </a:lnTo>
                <a:lnTo>
                  <a:pt x="1645" y="3007"/>
                </a:lnTo>
                <a:lnTo>
                  <a:pt x="1648" y="2995"/>
                </a:lnTo>
                <a:lnTo>
                  <a:pt x="1648" y="2990"/>
                </a:lnTo>
                <a:lnTo>
                  <a:pt x="1647" y="2987"/>
                </a:lnTo>
                <a:lnTo>
                  <a:pt x="1645" y="2982"/>
                </a:lnTo>
                <a:lnTo>
                  <a:pt x="1641" y="2978"/>
                </a:lnTo>
                <a:lnTo>
                  <a:pt x="1629" y="2969"/>
                </a:lnTo>
                <a:lnTo>
                  <a:pt x="1614" y="2958"/>
                </a:lnTo>
                <a:lnTo>
                  <a:pt x="1606" y="2953"/>
                </a:lnTo>
                <a:lnTo>
                  <a:pt x="1601" y="2949"/>
                </a:lnTo>
                <a:lnTo>
                  <a:pt x="1596" y="2944"/>
                </a:lnTo>
                <a:lnTo>
                  <a:pt x="1592" y="2940"/>
                </a:lnTo>
                <a:lnTo>
                  <a:pt x="1591" y="2937"/>
                </a:lnTo>
                <a:lnTo>
                  <a:pt x="1587" y="2934"/>
                </a:lnTo>
                <a:lnTo>
                  <a:pt x="1585" y="2933"/>
                </a:lnTo>
                <a:lnTo>
                  <a:pt x="1582" y="2932"/>
                </a:lnTo>
                <a:lnTo>
                  <a:pt x="1573" y="2932"/>
                </a:lnTo>
                <a:lnTo>
                  <a:pt x="1562" y="2932"/>
                </a:lnTo>
                <a:lnTo>
                  <a:pt x="1553" y="2931"/>
                </a:lnTo>
                <a:lnTo>
                  <a:pt x="1546" y="2930"/>
                </a:lnTo>
                <a:lnTo>
                  <a:pt x="1542" y="2930"/>
                </a:lnTo>
                <a:lnTo>
                  <a:pt x="1539" y="2930"/>
                </a:lnTo>
                <a:lnTo>
                  <a:pt x="1536" y="2932"/>
                </a:lnTo>
                <a:lnTo>
                  <a:pt x="1534" y="2936"/>
                </a:lnTo>
                <a:lnTo>
                  <a:pt x="1528" y="2943"/>
                </a:lnTo>
                <a:lnTo>
                  <a:pt x="1522" y="2947"/>
                </a:lnTo>
                <a:lnTo>
                  <a:pt x="1516" y="2950"/>
                </a:lnTo>
                <a:lnTo>
                  <a:pt x="1509" y="2951"/>
                </a:lnTo>
                <a:lnTo>
                  <a:pt x="1499" y="2950"/>
                </a:lnTo>
                <a:lnTo>
                  <a:pt x="1490" y="2949"/>
                </a:lnTo>
                <a:lnTo>
                  <a:pt x="1485" y="2949"/>
                </a:lnTo>
                <a:lnTo>
                  <a:pt x="1480" y="2949"/>
                </a:lnTo>
                <a:lnTo>
                  <a:pt x="1476" y="2950"/>
                </a:lnTo>
                <a:lnTo>
                  <a:pt x="1471" y="2952"/>
                </a:lnTo>
                <a:lnTo>
                  <a:pt x="1464" y="2958"/>
                </a:lnTo>
                <a:lnTo>
                  <a:pt x="1458" y="2963"/>
                </a:lnTo>
                <a:lnTo>
                  <a:pt x="1452" y="2964"/>
                </a:lnTo>
                <a:lnTo>
                  <a:pt x="1444" y="2964"/>
                </a:lnTo>
                <a:lnTo>
                  <a:pt x="1439" y="2963"/>
                </a:lnTo>
                <a:lnTo>
                  <a:pt x="1435" y="2959"/>
                </a:lnTo>
                <a:lnTo>
                  <a:pt x="1432" y="2955"/>
                </a:lnTo>
                <a:lnTo>
                  <a:pt x="1429" y="2949"/>
                </a:lnTo>
                <a:lnTo>
                  <a:pt x="1425" y="2937"/>
                </a:lnTo>
                <a:lnTo>
                  <a:pt x="1420" y="2926"/>
                </a:lnTo>
                <a:lnTo>
                  <a:pt x="1414" y="2918"/>
                </a:lnTo>
                <a:lnTo>
                  <a:pt x="1407" y="2906"/>
                </a:lnTo>
                <a:lnTo>
                  <a:pt x="1402" y="2899"/>
                </a:lnTo>
                <a:lnTo>
                  <a:pt x="1400" y="2890"/>
                </a:lnTo>
                <a:lnTo>
                  <a:pt x="1396" y="2880"/>
                </a:lnTo>
                <a:lnTo>
                  <a:pt x="1394" y="2867"/>
                </a:lnTo>
                <a:lnTo>
                  <a:pt x="1392" y="2854"/>
                </a:lnTo>
                <a:lnTo>
                  <a:pt x="1390" y="2842"/>
                </a:lnTo>
                <a:lnTo>
                  <a:pt x="1388" y="2832"/>
                </a:lnTo>
                <a:lnTo>
                  <a:pt x="1385" y="2825"/>
                </a:lnTo>
                <a:lnTo>
                  <a:pt x="1378" y="2812"/>
                </a:lnTo>
                <a:lnTo>
                  <a:pt x="1372" y="2805"/>
                </a:lnTo>
                <a:lnTo>
                  <a:pt x="1368" y="2796"/>
                </a:lnTo>
                <a:lnTo>
                  <a:pt x="1364" y="2788"/>
                </a:lnTo>
                <a:lnTo>
                  <a:pt x="1363" y="2779"/>
                </a:lnTo>
                <a:lnTo>
                  <a:pt x="1364" y="2770"/>
                </a:lnTo>
                <a:lnTo>
                  <a:pt x="1364" y="2767"/>
                </a:lnTo>
                <a:lnTo>
                  <a:pt x="1363" y="2763"/>
                </a:lnTo>
                <a:lnTo>
                  <a:pt x="1362" y="2760"/>
                </a:lnTo>
                <a:lnTo>
                  <a:pt x="1358" y="2755"/>
                </a:lnTo>
                <a:lnTo>
                  <a:pt x="1354" y="2751"/>
                </a:lnTo>
                <a:lnTo>
                  <a:pt x="1350" y="2748"/>
                </a:lnTo>
                <a:lnTo>
                  <a:pt x="1344" y="2744"/>
                </a:lnTo>
                <a:lnTo>
                  <a:pt x="1337" y="2741"/>
                </a:lnTo>
                <a:lnTo>
                  <a:pt x="1324" y="2737"/>
                </a:lnTo>
                <a:lnTo>
                  <a:pt x="1312" y="2732"/>
                </a:lnTo>
                <a:lnTo>
                  <a:pt x="1306" y="2729"/>
                </a:lnTo>
                <a:lnTo>
                  <a:pt x="1301" y="2725"/>
                </a:lnTo>
                <a:lnTo>
                  <a:pt x="1297" y="2722"/>
                </a:lnTo>
                <a:lnTo>
                  <a:pt x="1294" y="2717"/>
                </a:lnTo>
                <a:lnTo>
                  <a:pt x="1287" y="2707"/>
                </a:lnTo>
                <a:lnTo>
                  <a:pt x="1278" y="2698"/>
                </a:lnTo>
                <a:lnTo>
                  <a:pt x="1268" y="2690"/>
                </a:lnTo>
                <a:lnTo>
                  <a:pt x="1255" y="2684"/>
                </a:lnTo>
                <a:lnTo>
                  <a:pt x="1243" y="2678"/>
                </a:lnTo>
                <a:lnTo>
                  <a:pt x="1233" y="2672"/>
                </a:lnTo>
                <a:lnTo>
                  <a:pt x="1224" y="2666"/>
                </a:lnTo>
                <a:lnTo>
                  <a:pt x="1217" y="2659"/>
                </a:lnTo>
                <a:lnTo>
                  <a:pt x="1201" y="2643"/>
                </a:lnTo>
                <a:lnTo>
                  <a:pt x="1188" y="2634"/>
                </a:lnTo>
                <a:lnTo>
                  <a:pt x="1184" y="2630"/>
                </a:lnTo>
                <a:lnTo>
                  <a:pt x="1182" y="2628"/>
                </a:lnTo>
                <a:lnTo>
                  <a:pt x="1184" y="2622"/>
                </a:lnTo>
                <a:lnTo>
                  <a:pt x="1190" y="2615"/>
                </a:lnTo>
                <a:lnTo>
                  <a:pt x="1196" y="2606"/>
                </a:lnTo>
                <a:lnTo>
                  <a:pt x="1199" y="2600"/>
                </a:lnTo>
                <a:lnTo>
                  <a:pt x="1199" y="2599"/>
                </a:lnTo>
                <a:lnTo>
                  <a:pt x="1199" y="2597"/>
                </a:lnTo>
                <a:lnTo>
                  <a:pt x="1196" y="2596"/>
                </a:lnTo>
                <a:lnTo>
                  <a:pt x="1194" y="2596"/>
                </a:lnTo>
                <a:lnTo>
                  <a:pt x="1186" y="2593"/>
                </a:lnTo>
                <a:lnTo>
                  <a:pt x="1175" y="2592"/>
                </a:lnTo>
                <a:lnTo>
                  <a:pt x="1170" y="2591"/>
                </a:lnTo>
                <a:lnTo>
                  <a:pt x="1167" y="2588"/>
                </a:lnTo>
                <a:lnTo>
                  <a:pt x="1165" y="2587"/>
                </a:lnTo>
                <a:lnTo>
                  <a:pt x="1165" y="2585"/>
                </a:lnTo>
                <a:lnTo>
                  <a:pt x="1165" y="2584"/>
                </a:lnTo>
                <a:lnTo>
                  <a:pt x="1167" y="2581"/>
                </a:lnTo>
                <a:lnTo>
                  <a:pt x="1168" y="2577"/>
                </a:lnTo>
                <a:lnTo>
                  <a:pt x="1169" y="2571"/>
                </a:lnTo>
                <a:lnTo>
                  <a:pt x="1168" y="2564"/>
                </a:lnTo>
                <a:lnTo>
                  <a:pt x="1167" y="2556"/>
                </a:lnTo>
                <a:lnTo>
                  <a:pt x="1164" y="2550"/>
                </a:lnTo>
                <a:lnTo>
                  <a:pt x="1162" y="2543"/>
                </a:lnTo>
                <a:lnTo>
                  <a:pt x="1158" y="2539"/>
                </a:lnTo>
                <a:lnTo>
                  <a:pt x="1154" y="2534"/>
                </a:lnTo>
                <a:lnTo>
                  <a:pt x="1145" y="2528"/>
                </a:lnTo>
                <a:lnTo>
                  <a:pt x="1137" y="2520"/>
                </a:lnTo>
                <a:lnTo>
                  <a:pt x="1127" y="2511"/>
                </a:lnTo>
                <a:lnTo>
                  <a:pt x="1118" y="2503"/>
                </a:lnTo>
                <a:lnTo>
                  <a:pt x="1106" y="2493"/>
                </a:lnTo>
                <a:lnTo>
                  <a:pt x="1094" y="2483"/>
                </a:lnTo>
                <a:lnTo>
                  <a:pt x="1082" y="2473"/>
                </a:lnTo>
                <a:lnTo>
                  <a:pt x="1074" y="2467"/>
                </a:lnTo>
                <a:lnTo>
                  <a:pt x="1058" y="2459"/>
                </a:lnTo>
                <a:lnTo>
                  <a:pt x="1045" y="2452"/>
                </a:lnTo>
                <a:lnTo>
                  <a:pt x="1042" y="2451"/>
                </a:lnTo>
                <a:lnTo>
                  <a:pt x="1039" y="2449"/>
                </a:lnTo>
                <a:lnTo>
                  <a:pt x="1038" y="2447"/>
                </a:lnTo>
                <a:lnTo>
                  <a:pt x="1038" y="2445"/>
                </a:lnTo>
                <a:lnTo>
                  <a:pt x="1038" y="2441"/>
                </a:lnTo>
                <a:lnTo>
                  <a:pt x="1039" y="2438"/>
                </a:lnTo>
                <a:lnTo>
                  <a:pt x="1041" y="2435"/>
                </a:lnTo>
                <a:lnTo>
                  <a:pt x="1044" y="2432"/>
                </a:lnTo>
                <a:lnTo>
                  <a:pt x="1047" y="2428"/>
                </a:lnTo>
                <a:lnTo>
                  <a:pt x="1048" y="2423"/>
                </a:lnTo>
                <a:lnTo>
                  <a:pt x="1048" y="2419"/>
                </a:lnTo>
                <a:lnTo>
                  <a:pt x="1047" y="2414"/>
                </a:lnTo>
                <a:lnTo>
                  <a:pt x="1042" y="2405"/>
                </a:lnTo>
                <a:lnTo>
                  <a:pt x="1036" y="2397"/>
                </a:lnTo>
                <a:lnTo>
                  <a:pt x="1032" y="2392"/>
                </a:lnTo>
                <a:lnTo>
                  <a:pt x="1030" y="2389"/>
                </a:lnTo>
                <a:lnTo>
                  <a:pt x="1029" y="2384"/>
                </a:lnTo>
                <a:lnTo>
                  <a:pt x="1028" y="2379"/>
                </a:lnTo>
                <a:lnTo>
                  <a:pt x="1026" y="2375"/>
                </a:lnTo>
                <a:lnTo>
                  <a:pt x="1028" y="2369"/>
                </a:lnTo>
                <a:lnTo>
                  <a:pt x="1030" y="2361"/>
                </a:lnTo>
                <a:lnTo>
                  <a:pt x="1032" y="2354"/>
                </a:lnTo>
                <a:lnTo>
                  <a:pt x="1036" y="2347"/>
                </a:lnTo>
                <a:lnTo>
                  <a:pt x="1037" y="2341"/>
                </a:lnTo>
                <a:lnTo>
                  <a:pt x="1037" y="2335"/>
                </a:lnTo>
                <a:lnTo>
                  <a:pt x="1036" y="2332"/>
                </a:lnTo>
                <a:lnTo>
                  <a:pt x="1032" y="2328"/>
                </a:lnTo>
                <a:lnTo>
                  <a:pt x="1029" y="2325"/>
                </a:lnTo>
                <a:lnTo>
                  <a:pt x="1024" y="2322"/>
                </a:lnTo>
                <a:lnTo>
                  <a:pt x="1018" y="2321"/>
                </a:lnTo>
                <a:lnTo>
                  <a:pt x="1006" y="2317"/>
                </a:lnTo>
                <a:lnTo>
                  <a:pt x="994" y="2315"/>
                </a:lnTo>
                <a:lnTo>
                  <a:pt x="990" y="2313"/>
                </a:lnTo>
                <a:lnTo>
                  <a:pt x="984" y="2310"/>
                </a:lnTo>
                <a:lnTo>
                  <a:pt x="978" y="2306"/>
                </a:lnTo>
                <a:lnTo>
                  <a:pt x="972" y="2301"/>
                </a:lnTo>
                <a:lnTo>
                  <a:pt x="957" y="2291"/>
                </a:lnTo>
                <a:lnTo>
                  <a:pt x="944" y="2283"/>
                </a:lnTo>
                <a:lnTo>
                  <a:pt x="932" y="2276"/>
                </a:lnTo>
                <a:lnTo>
                  <a:pt x="922" y="2269"/>
                </a:lnTo>
                <a:lnTo>
                  <a:pt x="911" y="2262"/>
                </a:lnTo>
                <a:lnTo>
                  <a:pt x="899" y="2253"/>
                </a:lnTo>
                <a:lnTo>
                  <a:pt x="887" y="2246"/>
                </a:lnTo>
                <a:lnTo>
                  <a:pt x="880" y="2241"/>
                </a:lnTo>
                <a:lnTo>
                  <a:pt x="874" y="2240"/>
                </a:lnTo>
                <a:lnTo>
                  <a:pt x="867" y="2240"/>
                </a:lnTo>
                <a:lnTo>
                  <a:pt x="864" y="2240"/>
                </a:lnTo>
                <a:lnTo>
                  <a:pt x="860" y="2241"/>
                </a:lnTo>
                <a:lnTo>
                  <a:pt x="858" y="2244"/>
                </a:lnTo>
                <a:lnTo>
                  <a:pt x="855" y="2246"/>
                </a:lnTo>
                <a:lnTo>
                  <a:pt x="853" y="2250"/>
                </a:lnTo>
                <a:lnTo>
                  <a:pt x="850" y="2252"/>
                </a:lnTo>
                <a:lnTo>
                  <a:pt x="848" y="2253"/>
                </a:lnTo>
                <a:lnTo>
                  <a:pt x="846" y="2253"/>
                </a:lnTo>
                <a:lnTo>
                  <a:pt x="840" y="2251"/>
                </a:lnTo>
                <a:lnTo>
                  <a:pt x="831" y="2245"/>
                </a:lnTo>
                <a:lnTo>
                  <a:pt x="817" y="2233"/>
                </a:lnTo>
                <a:lnTo>
                  <a:pt x="809" y="2227"/>
                </a:lnTo>
                <a:lnTo>
                  <a:pt x="805" y="2227"/>
                </a:lnTo>
                <a:lnTo>
                  <a:pt x="804" y="2228"/>
                </a:lnTo>
                <a:lnTo>
                  <a:pt x="803" y="2233"/>
                </a:lnTo>
                <a:lnTo>
                  <a:pt x="801" y="2241"/>
                </a:lnTo>
                <a:lnTo>
                  <a:pt x="797" y="2257"/>
                </a:lnTo>
                <a:lnTo>
                  <a:pt x="791" y="2270"/>
                </a:lnTo>
                <a:lnTo>
                  <a:pt x="787" y="2278"/>
                </a:lnTo>
                <a:lnTo>
                  <a:pt x="783" y="2289"/>
                </a:lnTo>
                <a:lnTo>
                  <a:pt x="776" y="2300"/>
                </a:lnTo>
                <a:lnTo>
                  <a:pt x="768" y="2310"/>
                </a:lnTo>
                <a:lnTo>
                  <a:pt x="765" y="2315"/>
                </a:lnTo>
                <a:lnTo>
                  <a:pt x="761" y="2317"/>
                </a:lnTo>
                <a:lnTo>
                  <a:pt x="758" y="2319"/>
                </a:lnTo>
                <a:lnTo>
                  <a:pt x="755" y="2320"/>
                </a:lnTo>
                <a:lnTo>
                  <a:pt x="749" y="2320"/>
                </a:lnTo>
                <a:lnTo>
                  <a:pt x="743" y="2319"/>
                </a:lnTo>
                <a:lnTo>
                  <a:pt x="730" y="2317"/>
                </a:lnTo>
                <a:lnTo>
                  <a:pt x="717" y="2317"/>
                </a:lnTo>
                <a:lnTo>
                  <a:pt x="715" y="2319"/>
                </a:lnTo>
                <a:lnTo>
                  <a:pt x="714" y="2320"/>
                </a:lnTo>
                <a:lnTo>
                  <a:pt x="714" y="2322"/>
                </a:lnTo>
                <a:lnTo>
                  <a:pt x="714" y="2325"/>
                </a:lnTo>
                <a:lnTo>
                  <a:pt x="716" y="2332"/>
                </a:lnTo>
                <a:lnTo>
                  <a:pt x="720" y="2340"/>
                </a:lnTo>
                <a:lnTo>
                  <a:pt x="721" y="2345"/>
                </a:lnTo>
                <a:lnTo>
                  <a:pt x="722" y="2350"/>
                </a:lnTo>
                <a:lnTo>
                  <a:pt x="722" y="2353"/>
                </a:lnTo>
                <a:lnTo>
                  <a:pt x="722" y="2357"/>
                </a:lnTo>
                <a:lnTo>
                  <a:pt x="720" y="2360"/>
                </a:lnTo>
                <a:lnTo>
                  <a:pt x="716" y="2363"/>
                </a:lnTo>
                <a:lnTo>
                  <a:pt x="710" y="2366"/>
                </a:lnTo>
                <a:lnTo>
                  <a:pt x="703" y="2367"/>
                </a:lnTo>
                <a:lnTo>
                  <a:pt x="695" y="2369"/>
                </a:lnTo>
                <a:lnTo>
                  <a:pt x="686" y="2369"/>
                </a:lnTo>
                <a:lnTo>
                  <a:pt x="678" y="2366"/>
                </a:lnTo>
                <a:lnTo>
                  <a:pt x="671" y="2364"/>
                </a:lnTo>
                <a:lnTo>
                  <a:pt x="664" y="2360"/>
                </a:lnTo>
                <a:lnTo>
                  <a:pt x="658" y="2356"/>
                </a:lnTo>
                <a:lnTo>
                  <a:pt x="653" y="2351"/>
                </a:lnTo>
                <a:lnTo>
                  <a:pt x="650" y="2345"/>
                </a:lnTo>
                <a:lnTo>
                  <a:pt x="647" y="2339"/>
                </a:lnTo>
                <a:lnTo>
                  <a:pt x="646" y="2331"/>
                </a:lnTo>
                <a:lnTo>
                  <a:pt x="646" y="2321"/>
                </a:lnTo>
                <a:lnTo>
                  <a:pt x="646" y="2312"/>
                </a:lnTo>
                <a:lnTo>
                  <a:pt x="647" y="2293"/>
                </a:lnTo>
                <a:lnTo>
                  <a:pt x="647" y="2275"/>
                </a:lnTo>
                <a:lnTo>
                  <a:pt x="647" y="2268"/>
                </a:lnTo>
                <a:lnTo>
                  <a:pt x="646" y="2260"/>
                </a:lnTo>
                <a:lnTo>
                  <a:pt x="644" y="2254"/>
                </a:lnTo>
                <a:lnTo>
                  <a:pt x="641" y="2249"/>
                </a:lnTo>
                <a:lnTo>
                  <a:pt x="638" y="2244"/>
                </a:lnTo>
                <a:lnTo>
                  <a:pt x="634" y="2239"/>
                </a:lnTo>
                <a:lnTo>
                  <a:pt x="629" y="2235"/>
                </a:lnTo>
                <a:lnTo>
                  <a:pt x="625" y="2233"/>
                </a:lnTo>
                <a:lnTo>
                  <a:pt x="615" y="2228"/>
                </a:lnTo>
                <a:lnTo>
                  <a:pt x="606" y="2222"/>
                </a:lnTo>
                <a:lnTo>
                  <a:pt x="597" y="2215"/>
                </a:lnTo>
                <a:lnTo>
                  <a:pt x="588" y="2206"/>
                </a:lnTo>
                <a:lnTo>
                  <a:pt x="578" y="2193"/>
                </a:lnTo>
                <a:lnTo>
                  <a:pt x="568" y="2178"/>
                </a:lnTo>
                <a:lnTo>
                  <a:pt x="557" y="2165"/>
                </a:lnTo>
                <a:lnTo>
                  <a:pt x="547" y="2155"/>
                </a:lnTo>
                <a:lnTo>
                  <a:pt x="544" y="2151"/>
                </a:lnTo>
                <a:lnTo>
                  <a:pt x="541" y="2146"/>
                </a:lnTo>
                <a:lnTo>
                  <a:pt x="539" y="2142"/>
                </a:lnTo>
                <a:lnTo>
                  <a:pt x="538" y="2137"/>
                </a:lnTo>
                <a:lnTo>
                  <a:pt x="537" y="2132"/>
                </a:lnTo>
                <a:lnTo>
                  <a:pt x="534" y="2127"/>
                </a:lnTo>
                <a:lnTo>
                  <a:pt x="532" y="2123"/>
                </a:lnTo>
                <a:lnTo>
                  <a:pt x="527" y="2119"/>
                </a:lnTo>
                <a:lnTo>
                  <a:pt x="518" y="2114"/>
                </a:lnTo>
                <a:lnTo>
                  <a:pt x="505" y="2107"/>
                </a:lnTo>
                <a:lnTo>
                  <a:pt x="496" y="2104"/>
                </a:lnTo>
                <a:lnTo>
                  <a:pt x="488" y="2099"/>
                </a:lnTo>
                <a:lnTo>
                  <a:pt x="481" y="2094"/>
                </a:lnTo>
                <a:lnTo>
                  <a:pt x="472" y="2087"/>
                </a:lnTo>
                <a:lnTo>
                  <a:pt x="457" y="2073"/>
                </a:lnTo>
                <a:lnTo>
                  <a:pt x="440" y="2057"/>
                </a:lnTo>
                <a:lnTo>
                  <a:pt x="425" y="2041"/>
                </a:lnTo>
                <a:lnTo>
                  <a:pt x="413" y="2026"/>
                </a:lnTo>
                <a:lnTo>
                  <a:pt x="407" y="2022"/>
                </a:lnTo>
                <a:lnTo>
                  <a:pt x="400" y="2017"/>
                </a:lnTo>
                <a:lnTo>
                  <a:pt x="392" y="2014"/>
                </a:lnTo>
                <a:lnTo>
                  <a:pt x="383" y="2012"/>
                </a:lnTo>
                <a:lnTo>
                  <a:pt x="376" y="2010"/>
                </a:lnTo>
                <a:lnTo>
                  <a:pt x="369" y="2007"/>
                </a:lnTo>
                <a:lnTo>
                  <a:pt x="362" y="2005"/>
                </a:lnTo>
                <a:lnTo>
                  <a:pt x="357" y="2003"/>
                </a:lnTo>
                <a:lnTo>
                  <a:pt x="352" y="1998"/>
                </a:lnTo>
                <a:lnTo>
                  <a:pt x="349" y="1993"/>
                </a:lnTo>
                <a:lnTo>
                  <a:pt x="345" y="1986"/>
                </a:lnTo>
                <a:lnTo>
                  <a:pt x="342" y="1980"/>
                </a:lnTo>
                <a:lnTo>
                  <a:pt x="338" y="1972"/>
                </a:lnTo>
                <a:lnTo>
                  <a:pt x="336" y="1964"/>
                </a:lnTo>
                <a:lnTo>
                  <a:pt x="335" y="1956"/>
                </a:lnTo>
                <a:lnTo>
                  <a:pt x="335" y="1949"/>
                </a:lnTo>
                <a:lnTo>
                  <a:pt x="335" y="1934"/>
                </a:lnTo>
                <a:lnTo>
                  <a:pt x="335" y="1917"/>
                </a:lnTo>
                <a:lnTo>
                  <a:pt x="335" y="1909"/>
                </a:lnTo>
                <a:lnTo>
                  <a:pt x="332" y="1899"/>
                </a:lnTo>
                <a:lnTo>
                  <a:pt x="330" y="1890"/>
                </a:lnTo>
                <a:lnTo>
                  <a:pt x="326" y="1880"/>
                </a:lnTo>
                <a:lnTo>
                  <a:pt x="317" y="1861"/>
                </a:lnTo>
                <a:lnTo>
                  <a:pt x="306" y="1844"/>
                </a:lnTo>
                <a:lnTo>
                  <a:pt x="296" y="1829"/>
                </a:lnTo>
                <a:lnTo>
                  <a:pt x="287" y="1814"/>
                </a:lnTo>
                <a:lnTo>
                  <a:pt x="282" y="1808"/>
                </a:lnTo>
                <a:lnTo>
                  <a:pt x="277" y="1803"/>
                </a:lnTo>
                <a:lnTo>
                  <a:pt x="273" y="1800"/>
                </a:lnTo>
                <a:lnTo>
                  <a:pt x="267" y="1799"/>
                </a:lnTo>
                <a:lnTo>
                  <a:pt x="256" y="1799"/>
                </a:lnTo>
                <a:lnTo>
                  <a:pt x="247" y="1800"/>
                </a:lnTo>
                <a:lnTo>
                  <a:pt x="242" y="1799"/>
                </a:lnTo>
                <a:lnTo>
                  <a:pt x="237" y="1798"/>
                </a:lnTo>
                <a:lnTo>
                  <a:pt x="232" y="1795"/>
                </a:lnTo>
                <a:lnTo>
                  <a:pt x="226" y="1790"/>
                </a:lnTo>
                <a:lnTo>
                  <a:pt x="222" y="1784"/>
                </a:lnTo>
                <a:lnTo>
                  <a:pt x="217" y="1779"/>
                </a:lnTo>
                <a:lnTo>
                  <a:pt x="213" y="1773"/>
                </a:lnTo>
                <a:lnTo>
                  <a:pt x="210" y="1767"/>
                </a:lnTo>
                <a:lnTo>
                  <a:pt x="200" y="1759"/>
                </a:lnTo>
                <a:lnTo>
                  <a:pt x="191" y="1752"/>
                </a:lnTo>
                <a:lnTo>
                  <a:pt x="189" y="1741"/>
                </a:lnTo>
                <a:lnTo>
                  <a:pt x="188" y="1735"/>
                </a:lnTo>
                <a:lnTo>
                  <a:pt x="185" y="1734"/>
                </a:lnTo>
                <a:lnTo>
                  <a:pt x="182" y="1733"/>
                </a:lnTo>
                <a:lnTo>
                  <a:pt x="179" y="1733"/>
                </a:lnTo>
                <a:lnTo>
                  <a:pt x="174" y="1733"/>
                </a:lnTo>
                <a:lnTo>
                  <a:pt x="166" y="1734"/>
                </a:lnTo>
                <a:lnTo>
                  <a:pt x="157" y="1735"/>
                </a:lnTo>
                <a:lnTo>
                  <a:pt x="151" y="1736"/>
                </a:lnTo>
                <a:lnTo>
                  <a:pt x="148" y="1739"/>
                </a:lnTo>
                <a:lnTo>
                  <a:pt x="147" y="1742"/>
                </a:lnTo>
                <a:lnTo>
                  <a:pt x="148" y="1749"/>
                </a:lnTo>
                <a:lnTo>
                  <a:pt x="148" y="1753"/>
                </a:lnTo>
                <a:lnTo>
                  <a:pt x="147" y="1756"/>
                </a:lnTo>
                <a:lnTo>
                  <a:pt x="145" y="1759"/>
                </a:lnTo>
                <a:lnTo>
                  <a:pt x="144" y="1760"/>
                </a:lnTo>
                <a:lnTo>
                  <a:pt x="140" y="1761"/>
                </a:lnTo>
                <a:lnTo>
                  <a:pt x="132" y="1760"/>
                </a:lnTo>
                <a:lnTo>
                  <a:pt x="125" y="1758"/>
                </a:lnTo>
                <a:lnTo>
                  <a:pt x="118" y="1755"/>
                </a:lnTo>
                <a:lnTo>
                  <a:pt x="115" y="1753"/>
                </a:lnTo>
                <a:lnTo>
                  <a:pt x="112" y="1751"/>
                </a:lnTo>
                <a:lnTo>
                  <a:pt x="110" y="1748"/>
                </a:lnTo>
                <a:lnTo>
                  <a:pt x="109" y="1743"/>
                </a:lnTo>
                <a:lnTo>
                  <a:pt x="107" y="1736"/>
                </a:lnTo>
                <a:lnTo>
                  <a:pt x="104" y="1730"/>
                </a:lnTo>
                <a:lnTo>
                  <a:pt x="100" y="1728"/>
                </a:lnTo>
                <a:lnTo>
                  <a:pt x="98" y="1726"/>
                </a:lnTo>
                <a:lnTo>
                  <a:pt x="93" y="1724"/>
                </a:lnTo>
                <a:lnTo>
                  <a:pt x="88" y="1723"/>
                </a:lnTo>
                <a:lnTo>
                  <a:pt x="82" y="1722"/>
                </a:lnTo>
                <a:lnTo>
                  <a:pt x="77" y="1721"/>
                </a:lnTo>
                <a:lnTo>
                  <a:pt x="71" y="1718"/>
                </a:lnTo>
                <a:lnTo>
                  <a:pt x="63" y="1716"/>
                </a:lnTo>
                <a:lnTo>
                  <a:pt x="59" y="1711"/>
                </a:lnTo>
                <a:lnTo>
                  <a:pt x="54" y="1705"/>
                </a:lnTo>
                <a:lnTo>
                  <a:pt x="49" y="1698"/>
                </a:lnTo>
                <a:lnTo>
                  <a:pt x="47" y="1689"/>
                </a:lnTo>
                <a:lnTo>
                  <a:pt x="44" y="1667"/>
                </a:lnTo>
                <a:lnTo>
                  <a:pt x="44" y="1646"/>
                </a:lnTo>
                <a:lnTo>
                  <a:pt x="46" y="1626"/>
                </a:lnTo>
                <a:lnTo>
                  <a:pt x="44" y="1608"/>
                </a:lnTo>
                <a:lnTo>
                  <a:pt x="41" y="1597"/>
                </a:lnTo>
                <a:lnTo>
                  <a:pt x="36" y="1587"/>
                </a:lnTo>
                <a:lnTo>
                  <a:pt x="34" y="1577"/>
                </a:lnTo>
                <a:lnTo>
                  <a:pt x="33" y="1570"/>
                </a:lnTo>
                <a:lnTo>
                  <a:pt x="30" y="1567"/>
                </a:lnTo>
                <a:lnTo>
                  <a:pt x="29" y="1565"/>
                </a:lnTo>
                <a:lnTo>
                  <a:pt x="28" y="1564"/>
                </a:lnTo>
                <a:lnTo>
                  <a:pt x="25" y="1563"/>
                </a:lnTo>
                <a:lnTo>
                  <a:pt x="21" y="1563"/>
                </a:lnTo>
                <a:lnTo>
                  <a:pt x="16" y="1562"/>
                </a:lnTo>
                <a:lnTo>
                  <a:pt x="11" y="1559"/>
                </a:lnTo>
                <a:lnTo>
                  <a:pt x="8" y="1556"/>
                </a:lnTo>
                <a:lnTo>
                  <a:pt x="5" y="1552"/>
                </a:lnTo>
                <a:lnTo>
                  <a:pt x="4" y="1546"/>
                </a:lnTo>
                <a:lnTo>
                  <a:pt x="4" y="1538"/>
                </a:lnTo>
                <a:lnTo>
                  <a:pt x="6" y="1528"/>
                </a:lnTo>
                <a:lnTo>
                  <a:pt x="10" y="1522"/>
                </a:lnTo>
                <a:lnTo>
                  <a:pt x="14" y="1516"/>
                </a:lnTo>
                <a:lnTo>
                  <a:pt x="16" y="1513"/>
                </a:lnTo>
                <a:lnTo>
                  <a:pt x="17" y="1509"/>
                </a:lnTo>
                <a:lnTo>
                  <a:pt x="17" y="1507"/>
                </a:lnTo>
                <a:lnTo>
                  <a:pt x="17" y="1503"/>
                </a:lnTo>
                <a:lnTo>
                  <a:pt x="15" y="1495"/>
                </a:lnTo>
                <a:lnTo>
                  <a:pt x="14" y="1487"/>
                </a:lnTo>
                <a:lnTo>
                  <a:pt x="14" y="1480"/>
                </a:lnTo>
                <a:lnTo>
                  <a:pt x="14" y="1472"/>
                </a:lnTo>
                <a:lnTo>
                  <a:pt x="16" y="1468"/>
                </a:lnTo>
                <a:lnTo>
                  <a:pt x="18" y="1463"/>
                </a:lnTo>
                <a:lnTo>
                  <a:pt x="23" y="1458"/>
                </a:lnTo>
                <a:lnTo>
                  <a:pt x="28" y="1456"/>
                </a:lnTo>
                <a:lnTo>
                  <a:pt x="42" y="1451"/>
                </a:lnTo>
                <a:lnTo>
                  <a:pt x="54" y="1446"/>
                </a:lnTo>
                <a:lnTo>
                  <a:pt x="58" y="1444"/>
                </a:lnTo>
                <a:lnTo>
                  <a:pt x="61" y="1440"/>
                </a:lnTo>
                <a:lnTo>
                  <a:pt x="62" y="1437"/>
                </a:lnTo>
                <a:lnTo>
                  <a:pt x="62" y="1430"/>
                </a:lnTo>
                <a:lnTo>
                  <a:pt x="58" y="1418"/>
                </a:lnTo>
                <a:lnTo>
                  <a:pt x="52" y="1406"/>
                </a:lnTo>
                <a:lnTo>
                  <a:pt x="48" y="1399"/>
                </a:lnTo>
                <a:lnTo>
                  <a:pt x="44" y="1390"/>
                </a:lnTo>
                <a:lnTo>
                  <a:pt x="42" y="1382"/>
                </a:lnTo>
                <a:lnTo>
                  <a:pt x="40" y="1371"/>
                </a:lnTo>
                <a:lnTo>
                  <a:pt x="37" y="1361"/>
                </a:lnTo>
                <a:lnTo>
                  <a:pt x="36" y="1350"/>
                </a:lnTo>
                <a:lnTo>
                  <a:pt x="35" y="1340"/>
                </a:lnTo>
                <a:lnTo>
                  <a:pt x="35" y="1332"/>
                </a:lnTo>
                <a:lnTo>
                  <a:pt x="36" y="1324"/>
                </a:lnTo>
                <a:lnTo>
                  <a:pt x="39" y="1318"/>
                </a:lnTo>
                <a:lnTo>
                  <a:pt x="41" y="1316"/>
                </a:lnTo>
                <a:lnTo>
                  <a:pt x="43" y="1314"/>
                </a:lnTo>
                <a:lnTo>
                  <a:pt x="47" y="1312"/>
                </a:lnTo>
                <a:lnTo>
                  <a:pt x="49" y="1312"/>
                </a:lnTo>
                <a:lnTo>
                  <a:pt x="63" y="1307"/>
                </a:lnTo>
                <a:lnTo>
                  <a:pt x="75" y="1302"/>
                </a:lnTo>
                <a:lnTo>
                  <a:pt x="79" y="1300"/>
                </a:lnTo>
                <a:lnTo>
                  <a:pt x="82" y="1298"/>
                </a:lnTo>
                <a:lnTo>
                  <a:pt x="84" y="1294"/>
                </a:lnTo>
                <a:lnTo>
                  <a:pt x="82" y="1292"/>
                </a:lnTo>
                <a:lnTo>
                  <a:pt x="75" y="1286"/>
                </a:lnTo>
                <a:lnTo>
                  <a:pt x="66" y="1279"/>
                </a:lnTo>
                <a:lnTo>
                  <a:pt x="60" y="1274"/>
                </a:lnTo>
                <a:lnTo>
                  <a:pt x="54" y="1268"/>
                </a:lnTo>
                <a:lnTo>
                  <a:pt x="48" y="1262"/>
                </a:lnTo>
                <a:lnTo>
                  <a:pt x="43" y="1254"/>
                </a:lnTo>
                <a:lnTo>
                  <a:pt x="34" y="1236"/>
                </a:lnTo>
                <a:lnTo>
                  <a:pt x="28" y="1220"/>
                </a:lnTo>
                <a:lnTo>
                  <a:pt x="25" y="1212"/>
                </a:lnTo>
                <a:lnTo>
                  <a:pt x="23" y="1206"/>
                </a:lnTo>
                <a:lnTo>
                  <a:pt x="19" y="1200"/>
                </a:lnTo>
                <a:lnTo>
                  <a:pt x="16" y="1195"/>
                </a:lnTo>
                <a:lnTo>
                  <a:pt x="9" y="1188"/>
                </a:lnTo>
                <a:lnTo>
                  <a:pt x="3" y="1179"/>
                </a:lnTo>
                <a:lnTo>
                  <a:pt x="0" y="1173"/>
                </a:lnTo>
                <a:lnTo>
                  <a:pt x="0" y="1167"/>
                </a:lnTo>
                <a:lnTo>
                  <a:pt x="3" y="1161"/>
                </a:lnTo>
                <a:lnTo>
                  <a:pt x="6" y="1153"/>
                </a:lnTo>
                <a:lnTo>
                  <a:pt x="10" y="1144"/>
                </a:lnTo>
                <a:lnTo>
                  <a:pt x="14" y="1137"/>
                </a:lnTo>
                <a:lnTo>
                  <a:pt x="19" y="1134"/>
                </a:lnTo>
                <a:lnTo>
                  <a:pt x="24" y="1131"/>
                </a:lnTo>
                <a:lnTo>
                  <a:pt x="27" y="1129"/>
                </a:lnTo>
                <a:lnTo>
                  <a:pt x="29" y="1127"/>
                </a:lnTo>
                <a:lnTo>
                  <a:pt x="31" y="1122"/>
                </a:lnTo>
                <a:lnTo>
                  <a:pt x="33" y="1117"/>
                </a:lnTo>
                <a:lnTo>
                  <a:pt x="36" y="1103"/>
                </a:lnTo>
                <a:lnTo>
                  <a:pt x="39" y="1090"/>
                </a:lnTo>
                <a:lnTo>
                  <a:pt x="40" y="1084"/>
                </a:lnTo>
                <a:lnTo>
                  <a:pt x="41" y="1078"/>
                </a:lnTo>
                <a:lnTo>
                  <a:pt x="41" y="1071"/>
                </a:lnTo>
                <a:lnTo>
                  <a:pt x="40" y="1064"/>
                </a:lnTo>
                <a:lnTo>
                  <a:pt x="36" y="1046"/>
                </a:lnTo>
                <a:lnTo>
                  <a:pt x="35" y="1028"/>
                </a:lnTo>
                <a:lnTo>
                  <a:pt x="35" y="1020"/>
                </a:lnTo>
                <a:lnTo>
                  <a:pt x="36" y="1011"/>
                </a:lnTo>
                <a:lnTo>
                  <a:pt x="40" y="1005"/>
                </a:lnTo>
                <a:lnTo>
                  <a:pt x="44" y="999"/>
                </a:lnTo>
                <a:lnTo>
                  <a:pt x="50" y="997"/>
                </a:lnTo>
                <a:lnTo>
                  <a:pt x="58" y="995"/>
                </a:lnTo>
                <a:lnTo>
                  <a:pt x="65" y="995"/>
                </a:lnTo>
                <a:lnTo>
                  <a:pt x="73" y="993"/>
                </a:lnTo>
                <a:lnTo>
                  <a:pt x="80" y="993"/>
                </a:lnTo>
                <a:lnTo>
                  <a:pt x="90" y="993"/>
                </a:lnTo>
                <a:lnTo>
                  <a:pt x="98" y="992"/>
                </a:lnTo>
                <a:lnTo>
                  <a:pt x="107" y="990"/>
                </a:lnTo>
                <a:lnTo>
                  <a:pt x="125" y="983"/>
                </a:lnTo>
                <a:lnTo>
                  <a:pt x="142" y="978"/>
                </a:lnTo>
                <a:lnTo>
                  <a:pt x="149" y="977"/>
                </a:lnTo>
                <a:lnTo>
                  <a:pt x="156" y="976"/>
                </a:lnTo>
                <a:lnTo>
                  <a:pt x="161" y="977"/>
                </a:lnTo>
                <a:lnTo>
                  <a:pt x="165" y="980"/>
                </a:lnTo>
                <a:lnTo>
                  <a:pt x="169" y="989"/>
                </a:lnTo>
                <a:lnTo>
                  <a:pt x="172" y="997"/>
                </a:lnTo>
                <a:lnTo>
                  <a:pt x="172" y="1001"/>
                </a:lnTo>
                <a:lnTo>
                  <a:pt x="172" y="1005"/>
                </a:lnTo>
                <a:lnTo>
                  <a:pt x="170" y="1009"/>
                </a:lnTo>
                <a:lnTo>
                  <a:pt x="168" y="1014"/>
                </a:lnTo>
                <a:lnTo>
                  <a:pt x="163" y="1024"/>
                </a:lnTo>
                <a:lnTo>
                  <a:pt x="160" y="1041"/>
                </a:lnTo>
                <a:lnTo>
                  <a:pt x="157" y="1059"/>
                </a:lnTo>
                <a:lnTo>
                  <a:pt x="156" y="1073"/>
                </a:lnTo>
                <a:lnTo>
                  <a:pt x="156" y="1079"/>
                </a:lnTo>
                <a:lnTo>
                  <a:pt x="156" y="1084"/>
                </a:lnTo>
                <a:lnTo>
                  <a:pt x="157" y="1088"/>
                </a:lnTo>
                <a:lnTo>
                  <a:pt x="160" y="1093"/>
                </a:lnTo>
                <a:lnTo>
                  <a:pt x="163" y="1100"/>
                </a:lnTo>
                <a:lnTo>
                  <a:pt x="169" y="1106"/>
                </a:lnTo>
                <a:lnTo>
                  <a:pt x="175" y="1116"/>
                </a:lnTo>
                <a:lnTo>
                  <a:pt x="182" y="1128"/>
                </a:lnTo>
                <a:lnTo>
                  <a:pt x="187" y="1134"/>
                </a:lnTo>
                <a:lnTo>
                  <a:pt x="193" y="1137"/>
                </a:lnTo>
                <a:lnTo>
                  <a:pt x="199" y="1141"/>
                </a:lnTo>
                <a:lnTo>
                  <a:pt x="207" y="1142"/>
                </a:lnTo>
                <a:lnTo>
                  <a:pt x="224" y="1144"/>
                </a:lnTo>
                <a:lnTo>
                  <a:pt x="239" y="1148"/>
                </a:lnTo>
                <a:lnTo>
                  <a:pt x="247" y="1149"/>
                </a:lnTo>
                <a:lnTo>
                  <a:pt x="252" y="1149"/>
                </a:lnTo>
                <a:lnTo>
                  <a:pt x="255" y="1149"/>
                </a:lnTo>
                <a:lnTo>
                  <a:pt x="256" y="1148"/>
                </a:lnTo>
                <a:lnTo>
                  <a:pt x="258" y="1147"/>
                </a:lnTo>
                <a:lnTo>
                  <a:pt x="258" y="1143"/>
                </a:lnTo>
                <a:lnTo>
                  <a:pt x="262" y="1134"/>
                </a:lnTo>
                <a:lnTo>
                  <a:pt x="264" y="1125"/>
                </a:lnTo>
                <a:lnTo>
                  <a:pt x="266" y="1122"/>
                </a:lnTo>
                <a:lnTo>
                  <a:pt x="269" y="1119"/>
                </a:lnTo>
                <a:lnTo>
                  <a:pt x="274" y="1117"/>
                </a:lnTo>
                <a:lnTo>
                  <a:pt x="280" y="1116"/>
                </a:lnTo>
                <a:lnTo>
                  <a:pt x="291" y="1112"/>
                </a:lnTo>
                <a:lnTo>
                  <a:pt x="302" y="1108"/>
                </a:lnTo>
                <a:lnTo>
                  <a:pt x="313" y="1105"/>
                </a:lnTo>
                <a:lnTo>
                  <a:pt x="323" y="1102"/>
                </a:lnTo>
                <a:lnTo>
                  <a:pt x="327" y="1099"/>
                </a:lnTo>
                <a:lnTo>
                  <a:pt x="332" y="1097"/>
                </a:lnTo>
                <a:lnTo>
                  <a:pt x="336" y="1094"/>
                </a:lnTo>
                <a:lnTo>
                  <a:pt x="339" y="1090"/>
                </a:lnTo>
                <a:lnTo>
                  <a:pt x="344" y="1083"/>
                </a:lnTo>
                <a:lnTo>
                  <a:pt x="346" y="1075"/>
                </a:lnTo>
                <a:lnTo>
                  <a:pt x="350" y="1067"/>
                </a:lnTo>
                <a:lnTo>
                  <a:pt x="351" y="1060"/>
                </a:lnTo>
                <a:lnTo>
                  <a:pt x="355" y="1046"/>
                </a:lnTo>
                <a:lnTo>
                  <a:pt x="358" y="1034"/>
                </a:lnTo>
                <a:lnTo>
                  <a:pt x="359" y="1028"/>
                </a:lnTo>
                <a:lnTo>
                  <a:pt x="361" y="1023"/>
                </a:lnTo>
                <a:lnTo>
                  <a:pt x="361" y="1017"/>
                </a:lnTo>
                <a:lnTo>
                  <a:pt x="359" y="1010"/>
                </a:lnTo>
                <a:lnTo>
                  <a:pt x="357" y="999"/>
                </a:lnTo>
                <a:lnTo>
                  <a:pt x="355" y="992"/>
                </a:lnTo>
                <a:lnTo>
                  <a:pt x="355" y="984"/>
                </a:lnTo>
                <a:lnTo>
                  <a:pt x="357" y="970"/>
                </a:lnTo>
                <a:lnTo>
                  <a:pt x="361" y="954"/>
                </a:lnTo>
                <a:lnTo>
                  <a:pt x="363" y="939"/>
                </a:lnTo>
                <a:lnTo>
                  <a:pt x="365" y="924"/>
                </a:lnTo>
                <a:lnTo>
                  <a:pt x="367" y="913"/>
                </a:lnTo>
                <a:lnTo>
                  <a:pt x="367" y="907"/>
                </a:lnTo>
                <a:lnTo>
                  <a:pt x="365" y="900"/>
                </a:lnTo>
                <a:lnTo>
                  <a:pt x="364" y="892"/>
                </a:lnTo>
                <a:lnTo>
                  <a:pt x="362" y="883"/>
                </a:lnTo>
                <a:lnTo>
                  <a:pt x="361" y="877"/>
                </a:lnTo>
                <a:lnTo>
                  <a:pt x="361" y="869"/>
                </a:lnTo>
                <a:lnTo>
                  <a:pt x="362" y="860"/>
                </a:lnTo>
                <a:lnTo>
                  <a:pt x="364" y="852"/>
                </a:lnTo>
                <a:lnTo>
                  <a:pt x="369" y="835"/>
                </a:lnTo>
                <a:lnTo>
                  <a:pt x="370" y="821"/>
                </a:lnTo>
                <a:lnTo>
                  <a:pt x="368" y="814"/>
                </a:lnTo>
                <a:lnTo>
                  <a:pt x="364" y="808"/>
                </a:lnTo>
                <a:lnTo>
                  <a:pt x="359" y="803"/>
                </a:lnTo>
                <a:lnTo>
                  <a:pt x="357" y="798"/>
                </a:lnTo>
                <a:lnTo>
                  <a:pt x="352" y="785"/>
                </a:lnTo>
                <a:lnTo>
                  <a:pt x="350" y="770"/>
                </a:lnTo>
                <a:lnTo>
                  <a:pt x="348" y="753"/>
                </a:lnTo>
                <a:lnTo>
                  <a:pt x="343" y="739"/>
                </a:lnTo>
                <a:lnTo>
                  <a:pt x="336" y="724"/>
                </a:lnTo>
                <a:lnTo>
                  <a:pt x="324" y="703"/>
                </a:lnTo>
                <a:lnTo>
                  <a:pt x="313" y="684"/>
                </a:lnTo>
                <a:lnTo>
                  <a:pt x="306" y="671"/>
                </a:lnTo>
                <a:lnTo>
                  <a:pt x="301" y="652"/>
                </a:lnTo>
                <a:lnTo>
                  <a:pt x="295" y="638"/>
                </a:lnTo>
                <a:lnTo>
                  <a:pt x="293" y="634"/>
                </a:lnTo>
                <a:lnTo>
                  <a:pt x="291" y="627"/>
                </a:lnTo>
                <a:lnTo>
                  <a:pt x="291" y="623"/>
                </a:lnTo>
                <a:lnTo>
                  <a:pt x="291" y="617"/>
                </a:lnTo>
                <a:lnTo>
                  <a:pt x="292" y="612"/>
                </a:lnTo>
                <a:lnTo>
                  <a:pt x="294" y="606"/>
                </a:lnTo>
                <a:lnTo>
                  <a:pt x="291" y="589"/>
                </a:lnTo>
                <a:lnTo>
                  <a:pt x="286" y="573"/>
                </a:lnTo>
                <a:lnTo>
                  <a:pt x="288" y="568"/>
                </a:lnTo>
                <a:lnTo>
                  <a:pt x="293" y="564"/>
                </a:lnTo>
                <a:lnTo>
                  <a:pt x="299" y="562"/>
                </a:lnTo>
                <a:lnTo>
                  <a:pt x="305" y="560"/>
                </a:lnTo>
                <a:lnTo>
                  <a:pt x="311" y="557"/>
                </a:lnTo>
                <a:lnTo>
                  <a:pt x="315" y="556"/>
                </a:lnTo>
                <a:lnTo>
                  <a:pt x="320" y="554"/>
                </a:lnTo>
                <a:lnTo>
                  <a:pt x="323" y="551"/>
                </a:lnTo>
                <a:lnTo>
                  <a:pt x="326" y="541"/>
                </a:lnTo>
                <a:lnTo>
                  <a:pt x="327" y="532"/>
                </a:lnTo>
                <a:lnTo>
                  <a:pt x="330" y="523"/>
                </a:lnTo>
                <a:lnTo>
                  <a:pt x="333" y="507"/>
                </a:lnTo>
                <a:lnTo>
                  <a:pt x="337" y="488"/>
                </a:lnTo>
                <a:lnTo>
                  <a:pt x="340" y="470"/>
                </a:lnTo>
                <a:lnTo>
                  <a:pt x="342" y="454"/>
                </a:lnTo>
                <a:lnTo>
                  <a:pt x="339" y="443"/>
                </a:lnTo>
                <a:lnTo>
                  <a:pt x="335" y="430"/>
                </a:lnTo>
                <a:lnTo>
                  <a:pt x="330" y="412"/>
                </a:lnTo>
                <a:lnTo>
                  <a:pt x="329" y="404"/>
                </a:lnTo>
                <a:lnTo>
                  <a:pt x="330" y="397"/>
                </a:lnTo>
                <a:lnTo>
                  <a:pt x="331" y="394"/>
                </a:lnTo>
                <a:lnTo>
                  <a:pt x="333" y="392"/>
                </a:lnTo>
                <a:lnTo>
                  <a:pt x="337" y="391"/>
                </a:lnTo>
                <a:lnTo>
                  <a:pt x="342" y="390"/>
                </a:lnTo>
                <a:lnTo>
                  <a:pt x="361" y="391"/>
                </a:lnTo>
                <a:lnTo>
                  <a:pt x="380" y="391"/>
                </a:lnTo>
                <a:lnTo>
                  <a:pt x="389" y="390"/>
                </a:lnTo>
                <a:lnTo>
                  <a:pt x="398" y="388"/>
                </a:lnTo>
                <a:lnTo>
                  <a:pt x="407" y="386"/>
                </a:lnTo>
                <a:lnTo>
                  <a:pt x="415" y="384"/>
                </a:lnTo>
                <a:lnTo>
                  <a:pt x="422" y="380"/>
                </a:lnTo>
                <a:lnTo>
                  <a:pt x="430" y="377"/>
                </a:lnTo>
                <a:lnTo>
                  <a:pt x="437" y="372"/>
                </a:lnTo>
                <a:lnTo>
                  <a:pt x="441" y="367"/>
                </a:lnTo>
                <a:lnTo>
                  <a:pt x="447" y="362"/>
                </a:lnTo>
                <a:lnTo>
                  <a:pt x="451" y="355"/>
                </a:lnTo>
                <a:lnTo>
                  <a:pt x="456" y="349"/>
                </a:lnTo>
                <a:lnTo>
                  <a:pt x="459" y="341"/>
                </a:lnTo>
                <a:lnTo>
                  <a:pt x="463" y="335"/>
                </a:lnTo>
                <a:lnTo>
                  <a:pt x="468" y="331"/>
                </a:lnTo>
                <a:lnTo>
                  <a:pt x="471" y="330"/>
                </a:lnTo>
                <a:lnTo>
                  <a:pt x="476" y="329"/>
                </a:lnTo>
                <a:lnTo>
                  <a:pt x="480" y="329"/>
                </a:lnTo>
                <a:lnTo>
                  <a:pt x="484" y="329"/>
                </a:lnTo>
                <a:lnTo>
                  <a:pt x="488" y="328"/>
                </a:lnTo>
                <a:lnTo>
                  <a:pt x="490" y="325"/>
                </a:lnTo>
                <a:lnTo>
                  <a:pt x="495" y="319"/>
                </a:lnTo>
                <a:lnTo>
                  <a:pt x="496" y="316"/>
                </a:lnTo>
                <a:lnTo>
                  <a:pt x="497" y="312"/>
                </a:lnTo>
                <a:lnTo>
                  <a:pt x="503" y="308"/>
                </a:lnTo>
                <a:lnTo>
                  <a:pt x="508" y="304"/>
                </a:lnTo>
                <a:lnTo>
                  <a:pt x="513" y="300"/>
                </a:lnTo>
                <a:lnTo>
                  <a:pt x="519" y="297"/>
                </a:lnTo>
                <a:lnTo>
                  <a:pt x="525" y="296"/>
                </a:lnTo>
                <a:lnTo>
                  <a:pt x="529" y="295"/>
                </a:lnTo>
                <a:lnTo>
                  <a:pt x="535" y="295"/>
                </a:lnTo>
                <a:lnTo>
                  <a:pt x="540" y="297"/>
                </a:lnTo>
                <a:lnTo>
                  <a:pt x="545" y="299"/>
                </a:lnTo>
                <a:lnTo>
                  <a:pt x="554" y="305"/>
                </a:lnTo>
                <a:lnTo>
                  <a:pt x="565" y="310"/>
                </a:lnTo>
                <a:lnTo>
                  <a:pt x="578" y="315"/>
                </a:lnTo>
                <a:lnTo>
                  <a:pt x="591" y="318"/>
                </a:lnTo>
                <a:lnTo>
                  <a:pt x="619" y="323"/>
                </a:lnTo>
                <a:lnTo>
                  <a:pt x="642" y="327"/>
                </a:lnTo>
                <a:lnTo>
                  <a:pt x="659" y="328"/>
                </a:lnTo>
                <a:lnTo>
                  <a:pt x="669" y="328"/>
                </a:lnTo>
                <a:lnTo>
                  <a:pt x="672" y="328"/>
                </a:lnTo>
                <a:lnTo>
                  <a:pt x="676" y="329"/>
                </a:lnTo>
                <a:lnTo>
                  <a:pt x="679" y="330"/>
                </a:lnTo>
                <a:lnTo>
                  <a:pt x="684" y="333"/>
                </a:lnTo>
                <a:lnTo>
                  <a:pt x="692" y="340"/>
                </a:lnTo>
                <a:lnTo>
                  <a:pt x="701" y="343"/>
                </a:lnTo>
                <a:lnTo>
                  <a:pt x="704" y="346"/>
                </a:lnTo>
                <a:lnTo>
                  <a:pt x="709" y="347"/>
                </a:lnTo>
                <a:lnTo>
                  <a:pt x="715" y="347"/>
                </a:lnTo>
                <a:lnTo>
                  <a:pt x="721" y="347"/>
                </a:lnTo>
                <a:lnTo>
                  <a:pt x="733" y="347"/>
                </a:lnTo>
                <a:lnTo>
                  <a:pt x="742" y="347"/>
                </a:lnTo>
                <a:lnTo>
                  <a:pt x="751" y="348"/>
                </a:lnTo>
                <a:lnTo>
                  <a:pt x="761" y="348"/>
                </a:lnTo>
                <a:lnTo>
                  <a:pt x="767" y="349"/>
                </a:lnTo>
                <a:lnTo>
                  <a:pt x="773" y="349"/>
                </a:lnTo>
                <a:lnTo>
                  <a:pt x="778" y="348"/>
                </a:lnTo>
                <a:lnTo>
                  <a:pt x="783" y="347"/>
                </a:lnTo>
                <a:lnTo>
                  <a:pt x="787" y="344"/>
                </a:lnTo>
                <a:lnTo>
                  <a:pt x="791" y="340"/>
                </a:lnTo>
                <a:lnTo>
                  <a:pt x="795" y="334"/>
                </a:lnTo>
                <a:lnTo>
                  <a:pt x="798" y="325"/>
                </a:lnTo>
                <a:lnTo>
                  <a:pt x="804" y="309"/>
                </a:lnTo>
                <a:lnTo>
                  <a:pt x="810" y="297"/>
                </a:lnTo>
                <a:lnTo>
                  <a:pt x="817" y="287"/>
                </a:lnTo>
                <a:lnTo>
                  <a:pt x="823" y="278"/>
                </a:lnTo>
                <a:lnTo>
                  <a:pt x="829" y="268"/>
                </a:lnTo>
                <a:lnTo>
                  <a:pt x="834" y="260"/>
                </a:lnTo>
                <a:lnTo>
                  <a:pt x="837" y="251"/>
                </a:lnTo>
                <a:lnTo>
                  <a:pt x="841" y="241"/>
                </a:lnTo>
                <a:lnTo>
                  <a:pt x="842" y="230"/>
                </a:lnTo>
                <a:lnTo>
                  <a:pt x="843" y="220"/>
                </a:lnTo>
                <a:lnTo>
                  <a:pt x="844" y="216"/>
                </a:lnTo>
                <a:lnTo>
                  <a:pt x="847" y="211"/>
                </a:lnTo>
                <a:lnTo>
                  <a:pt x="852" y="208"/>
                </a:lnTo>
                <a:lnTo>
                  <a:pt x="858" y="204"/>
                </a:lnTo>
                <a:lnTo>
                  <a:pt x="865" y="202"/>
                </a:lnTo>
                <a:lnTo>
                  <a:pt x="872" y="203"/>
                </a:lnTo>
                <a:lnTo>
                  <a:pt x="878" y="204"/>
                </a:lnTo>
                <a:lnTo>
                  <a:pt x="884" y="207"/>
                </a:lnTo>
                <a:lnTo>
                  <a:pt x="888" y="208"/>
                </a:lnTo>
                <a:lnTo>
                  <a:pt x="892" y="208"/>
                </a:lnTo>
                <a:lnTo>
                  <a:pt x="894" y="207"/>
                </a:lnTo>
                <a:lnTo>
                  <a:pt x="896" y="205"/>
                </a:lnTo>
                <a:lnTo>
                  <a:pt x="896" y="203"/>
                </a:lnTo>
                <a:lnTo>
                  <a:pt x="897" y="199"/>
                </a:lnTo>
                <a:lnTo>
                  <a:pt x="898" y="184"/>
                </a:lnTo>
                <a:lnTo>
                  <a:pt x="902" y="170"/>
                </a:lnTo>
                <a:lnTo>
                  <a:pt x="905" y="163"/>
                </a:lnTo>
                <a:lnTo>
                  <a:pt x="909" y="157"/>
                </a:lnTo>
                <a:lnTo>
                  <a:pt x="915" y="151"/>
                </a:lnTo>
                <a:lnTo>
                  <a:pt x="921" y="146"/>
                </a:lnTo>
                <a:lnTo>
                  <a:pt x="937" y="136"/>
                </a:lnTo>
                <a:lnTo>
                  <a:pt x="956" y="126"/>
                </a:lnTo>
                <a:lnTo>
                  <a:pt x="976" y="115"/>
                </a:lnTo>
                <a:lnTo>
                  <a:pt x="995" y="103"/>
                </a:lnTo>
                <a:lnTo>
                  <a:pt x="1013" y="94"/>
                </a:lnTo>
                <a:lnTo>
                  <a:pt x="1025" y="87"/>
                </a:lnTo>
                <a:lnTo>
                  <a:pt x="1029" y="82"/>
                </a:lnTo>
                <a:lnTo>
                  <a:pt x="1031" y="78"/>
                </a:lnTo>
                <a:lnTo>
                  <a:pt x="1031" y="73"/>
                </a:lnTo>
                <a:lnTo>
                  <a:pt x="1030" y="67"/>
                </a:lnTo>
                <a:lnTo>
                  <a:pt x="1028" y="60"/>
                </a:lnTo>
                <a:lnTo>
                  <a:pt x="1026" y="54"/>
                </a:lnTo>
                <a:lnTo>
                  <a:pt x="1026" y="50"/>
                </a:lnTo>
                <a:lnTo>
                  <a:pt x="1028" y="45"/>
                </a:lnTo>
                <a:lnTo>
                  <a:pt x="1029" y="40"/>
                </a:lnTo>
                <a:lnTo>
                  <a:pt x="1032" y="35"/>
                </a:lnTo>
                <a:lnTo>
                  <a:pt x="1037" y="32"/>
                </a:lnTo>
                <a:lnTo>
                  <a:pt x="1043" y="28"/>
                </a:lnTo>
                <a:lnTo>
                  <a:pt x="1055" y="24"/>
                </a:lnTo>
                <a:lnTo>
                  <a:pt x="1066" y="21"/>
                </a:lnTo>
                <a:lnTo>
                  <a:pt x="1076" y="16"/>
                </a:lnTo>
                <a:lnTo>
                  <a:pt x="1091" y="9"/>
                </a:lnTo>
                <a:lnTo>
                  <a:pt x="1099" y="4"/>
                </a:lnTo>
                <a:lnTo>
                  <a:pt x="1107" y="1"/>
                </a:lnTo>
                <a:lnTo>
                  <a:pt x="1113" y="0"/>
                </a:lnTo>
                <a:lnTo>
                  <a:pt x="1119" y="0"/>
                </a:lnTo>
                <a:lnTo>
                  <a:pt x="1124" y="2"/>
                </a:lnTo>
                <a:lnTo>
                  <a:pt x="1127" y="4"/>
                </a:lnTo>
                <a:lnTo>
                  <a:pt x="1130" y="9"/>
                </a:lnTo>
                <a:lnTo>
                  <a:pt x="1130" y="15"/>
                </a:lnTo>
                <a:lnTo>
                  <a:pt x="1130" y="26"/>
                </a:lnTo>
                <a:lnTo>
                  <a:pt x="1130" y="34"/>
                </a:lnTo>
                <a:lnTo>
                  <a:pt x="1130" y="38"/>
                </a:lnTo>
                <a:lnTo>
                  <a:pt x="1132" y="40"/>
                </a:lnTo>
                <a:lnTo>
                  <a:pt x="1135" y="41"/>
                </a:lnTo>
                <a:lnTo>
                  <a:pt x="1139" y="43"/>
                </a:lnTo>
                <a:lnTo>
                  <a:pt x="1148" y="46"/>
                </a:lnTo>
                <a:lnTo>
                  <a:pt x="1157" y="51"/>
                </a:lnTo>
                <a:lnTo>
                  <a:pt x="1165" y="58"/>
                </a:lnTo>
                <a:lnTo>
                  <a:pt x="1174" y="69"/>
                </a:lnTo>
                <a:lnTo>
                  <a:pt x="1177" y="75"/>
                </a:lnTo>
                <a:lnTo>
                  <a:pt x="1181" y="78"/>
                </a:lnTo>
                <a:lnTo>
                  <a:pt x="1184" y="82"/>
                </a:lnTo>
                <a:lnTo>
                  <a:pt x="1188" y="85"/>
                </a:lnTo>
                <a:lnTo>
                  <a:pt x="1193" y="87"/>
                </a:lnTo>
                <a:lnTo>
                  <a:pt x="1196" y="88"/>
                </a:lnTo>
                <a:lnTo>
                  <a:pt x="1201" y="89"/>
                </a:lnTo>
                <a:lnTo>
                  <a:pt x="1206" y="89"/>
                </a:lnTo>
                <a:lnTo>
                  <a:pt x="1217" y="90"/>
                </a:lnTo>
                <a:lnTo>
                  <a:pt x="1225" y="91"/>
                </a:lnTo>
                <a:lnTo>
                  <a:pt x="1234" y="96"/>
                </a:lnTo>
                <a:lnTo>
                  <a:pt x="1247" y="104"/>
                </a:lnTo>
                <a:lnTo>
                  <a:pt x="1261" y="115"/>
                </a:lnTo>
                <a:lnTo>
                  <a:pt x="1274" y="123"/>
                </a:lnTo>
                <a:lnTo>
                  <a:pt x="1280" y="125"/>
                </a:lnTo>
                <a:lnTo>
                  <a:pt x="1284" y="126"/>
                </a:lnTo>
                <a:lnTo>
                  <a:pt x="1287" y="125"/>
                </a:lnTo>
                <a:lnTo>
                  <a:pt x="1288" y="123"/>
                </a:lnTo>
                <a:lnTo>
                  <a:pt x="1290" y="122"/>
                </a:lnTo>
                <a:lnTo>
                  <a:pt x="1291" y="120"/>
                </a:lnTo>
                <a:lnTo>
                  <a:pt x="1293" y="114"/>
                </a:lnTo>
                <a:lnTo>
                  <a:pt x="1294" y="108"/>
                </a:lnTo>
                <a:lnTo>
                  <a:pt x="1294" y="103"/>
                </a:lnTo>
                <a:lnTo>
                  <a:pt x="1294" y="98"/>
                </a:lnTo>
                <a:lnTo>
                  <a:pt x="1294" y="94"/>
                </a:lnTo>
                <a:lnTo>
                  <a:pt x="1295" y="90"/>
                </a:lnTo>
                <a:lnTo>
                  <a:pt x="1296" y="89"/>
                </a:lnTo>
                <a:lnTo>
                  <a:pt x="1299" y="88"/>
                </a:lnTo>
                <a:lnTo>
                  <a:pt x="1302" y="88"/>
                </a:lnTo>
                <a:lnTo>
                  <a:pt x="1307" y="90"/>
                </a:lnTo>
                <a:lnTo>
                  <a:pt x="1310" y="95"/>
                </a:lnTo>
                <a:lnTo>
                  <a:pt x="1315" y="100"/>
                </a:lnTo>
                <a:lnTo>
                  <a:pt x="1325" y="111"/>
                </a:lnTo>
                <a:lnTo>
                  <a:pt x="1334" y="122"/>
                </a:lnTo>
                <a:lnTo>
                  <a:pt x="1340" y="127"/>
                </a:lnTo>
                <a:lnTo>
                  <a:pt x="1346" y="129"/>
                </a:lnTo>
                <a:lnTo>
                  <a:pt x="1352" y="132"/>
                </a:lnTo>
                <a:lnTo>
                  <a:pt x="1359" y="134"/>
                </a:lnTo>
                <a:lnTo>
                  <a:pt x="1372" y="135"/>
                </a:lnTo>
                <a:lnTo>
                  <a:pt x="1385" y="136"/>
                </a:lnTo>
                <a:lnTo>
                  <a:pt x="1398" y="136"/>
                </a:lnTo>
                <a:lnTo>
                  <a:pt x="1413" y="139"/>
                </a:lnTo>
                <a:lnTo>
                  <a:pt x="1419" y="141"/>
                </a:lnTo>
                <a:lnTo>
                  <a:pt x="1425" y="145"/>
                </a:lnTo>
                <a:lnTo>
                  <a:pt x="1428" y="148"/>
                </a:lnTo>
                <a:lnTo>
                  <a:pt x="1431" y="154"/>
                </a:lnTo>
                <a:lnTo>
                  <a:pt x="1434" y="167"/>
                </a:lnTo>
                <a:lnTo>
                  <a:pt x="1438" y="180"/>
                </a:lnTo>
                <a:lnTo>
                  <a:pt x="1440" y="186"/>
                </a:lnTo>
                <a:lnTo>
                  <a:pt x="1442" y="191"/>
                </a:lnTo>
                <a:lnTo>
                  <a:pt x="1446" y="196"/>
                </a:lnTo>
                <a:lnTo>
                  <a:pt x="1450" y="199"/>
                </a:lnTo>
                <a:lnTo>
                  <a:pt x="1456" y="203"/>
                </a:lnTo>
                <a:lnTo>
                  <a:pt x="1463" y="207"/>
                </a:lnTo>
                <a:lnTo>
                  <a:pt x="1470" y="209"/>
                </a:lnTo>
                <a:lnTo>
                  <a:pt x="1479" y="211"/>
                </a:lnTo>
                <a:lnTo>
                  <a:pt x="1498" y="215"/>
                </a:lnTo>
                <a:lnTo>
                  <a:pt x="1516" y="218"/>
                </a:lnTo>
                <a:lnTo>
                  <a:pt x="1533" y="221"/>
                </a:lnTo>
                <a:lnTo>
                  <a:pt x="1547" y="222"/>
                </a:lnTo>
                <a:lnTo>
                  <a:pt x="1553" y="221"/>
                </a:lnTo>
                <a:lnTo>
                  <a:pt x="1559" y="220"/>
                </a:lnTo>
                <a:lnTo>
                  <a:pt x="1565" y="217"/>
                </a:lnTo>
                <a:lnTo>
                  <a:pt x="1571" y="215"/>
                </a:lnTo>
                <a:lnTo>
                  <a:pt x="1580" y="208"/>
                </a:lnTo>
                <a:lnTo>
                  <a:pt x="1589" y="205"/>
                </a:lnTo>
                <a:lnTo>
                  <a:pt x="1596" y="204"/>
                </a:lnTo>
                <a:lnTo>
                  <a:pt x="1604" y="204"/>
                </a:lnTo>
                <a:lnTo>
                  <a:pt x="1612" y="205"/>
                </a:lnTo>
                <a:lnTo>
                  <a:pt x="1620" y="204"/>
                </a:lnTo>
                <a:lnTo>
                  <a:pt x="1622" y="203"/>
                </a:lnTo>
                <a:lnTo>
                  <a:pt x="1624" y="199"/>
                </a:lnTo>
                <a:lnTo>
                  <a:pt x="1627" y="196"/>
                </a:lnTo>
                <a:lnTo>
                  <a:pt x="1630" y="189"/>
                </a:lnTo>
                <a:lnTo>
                  <a:pt x="1635" y="176"/>
                </a:lnTo>
                <a:lnTo>
                  <a:pt x="1642" y="164"/>
                </a:lnTo>
                <a:lnTo>
                  <a:pt x="1647" y="160"/>
                </a:lnTo>
                <a:lnTo>
                  <a:pt x="1653" y="155"/>
                </a:lnTo>
                <a:lnTo>
                  <a:pt x="1659" y="153"/>
                </a:lnTo>
                <a:lnTo>
                  <a:pt x="1667" y="152"/>
                </a:lnTo>
                <a:lnTo>
                  <a:pt x="1687" y="151"/>
                </a:lnTo>
                <a:lnTo>
                  <a:pt x="1708" y="150"/>
                </a:lnTo>
                <a:lnTo>
                  <a:pt x="1717" y="148"/>
                </a:lnTo>
                <a:lnTo>
                  <a:pt x="1725" y="146"/>
                </a:lnTo>
                <a:lnTo>
                  <a:pt x="1729" y="145"/>
                </a:lnTo>
                <a:lnTo>
                  <a:pt x="1732" y="144"/>
                </a:lnTo>
                <a:lnTo>
                  <a:pt x="1735" y="141"/>
                </a:lnTo>
                <a:lnTo>
                  <a:pt x="1737" y="138"/>
                </a:lnTo>
                <a:lnTo>
                  <a:pt x="1744" y="127"/>
                </a:lnTo>
                <a:lnTo>
                  <a:pt x="1753" y="117"/>
                </a:lnTo>
                <a:lnTo>
                  <a:pt x="1759" y="113"/>
                </a:lnTo>
                <a:lnTo>
                  <a:pt x="1765" y="109"/>
                </a:lnTo>
                <a:lnTo>
                  <a:pt x="1772" y="106"/>
                </a:lnTo>
                <a:lnTo>
                  <a:pt x="1780" y="103"/>
                </a:lnTo>
                <a:lnTo>
                  <a:pt x="1790" y="101"/>
                </a:lnTo>
                <a:lnTo>
                  <a:pt x="1799" y="100"/>
                </a:lnTo>
                <a:lnTo>
                  <a:pt x="1807" y="100"/>
                </a:lnTo>
                <a:lnTo>
                  <a:pt x="1817" y="101"/>
                </a:lnTo>
                <a:lnTo>
                  <a:pt x="1825" y="103"/>
                </a:lnTo>
                <a:lnTo>
                  <a:pt x="1834" y="106"/>
                </a:lnTo>
                <a:lnTo>
                  <a:pt x="1842" y="110"/>
                </a:lnTo>
                <a:lnTo>
                  <a:pt x="1849" y="114"/>
                </a:lnTo>
                <a:lnTo>
                  <a:pt x="1861" y="125"/>
                </a:lnTo>
                <a:lnTo>
                  <a:pt x="1870" y="133"/>
                </a:lnTo>
                <a:lnTo>
                  <a:pt x="1874" y="138"/>
                </a:lnTo>
                <a:lnTo>
                  <a:pt x="1878" y="140"/>
                </a:lnTo>
                <a:lnTo>
                  <a:pt x="1882" y="144"/>
                </a:lnTo>
                <a:lnTo>
                  <a:pt x="1887" y="146"/>
                </a:lnTo>
                <a:lnTo>
                  <a:pt x="1889" y="146"/>
                </a:lnTo>
                <a:lnTo>
                  <a:pt x="1892" y="146"/>
                </a:lnTo>
                <a:lnTo>
                  <a:pt x="1894" y="146"/>
                </a:lnTo>
                <a:lnTo>
                  <a:pt x="1897" y="145"/>
                </a:lnTo>
                <a:lnTo>
                  <a:pt x="1901" y="141"/>
                </a:lnTo>
                <a:lnTo>
                  <a:pt x="1907" y="136"/>
                </a:lnTo>
                <a:lnTo>
                  <a:pt x="1912" y="132"/>
                </a:lnTo>
                <a:lnTo>
                  <a:pt x="1918" y="128"/>
                </a:lnTo>
                <a:lnTo>
                  <a:pt x="1924" y="126"/>
                </a:lnTo>
                <a:lnTo>
                  <a:pt x="1930" y="126"/>
                </a:lnTo>
                <a:lnTo>
                  <a:pt x="1937" y="128"/>
                </a:lnTo>
                <a:lnTo>
                  <a:pt x="1943" y="132"/>
                </a:lnTo>
                <a:lnTo>
                  <a:pt x="1950" y="136"/>
                </a:lnTo>
                <a:lnTo>
                  <a:pt x="1956" y="141"/>
                </a:lnTo>
                <a:lnTo>
                  <a:pt x="1961" y="147"/>
                </a:lnTo>
                <a:lnTo>
                  <a:pt x="1964" y="153"/>
                </a:lnTo>
                <a:lnTo>
                  <a:pt x="1968" y="159"/>
                </a:lnTo>
                <a:lnTo>
                  <a:pt x="1969" y="165"/>
                </a:lnTo>
                <a:lnTo>
                  <a:pt x="1968" y="171"/>
                </a:lnTo>
                <a:lnTo>
                  <a:pt x="1967" y="176"/>
                </a:lnTo>
                <a:lnTo>
                  <a:pt x="1965" y="182"/>
                </a:lnTo>
                <a:lnTo>
                  <a:pt x="1963" y="186"/>
                </a:lnTo>
                <a:lnTo>
                  <a:pt x="1957" y="197"/>
                </a:lnTo>
                <a:lnTo>
                  <a:pt x="1955" y="207"/>
                </a:lnTo>
                <a:lnTo>
                  <a:pt x="1954" y="216"/>
                </a:lnTo>
                <a:lnTo>
                  <a:pt x="1954" y="226"/>
                </a:lnTo>
                <a:lnTo>
                  <a:pt x="1955" y="233"/>
                </a:lnTo>
                <a:lnTo>
                  <a:pt x="1957" y="239"/>
                </a:lnTo>
                <a:lnTo>
                  <a:pt x="1961" y="246"/>
                </a:lnTo>
                <a:lnTo>
                  <a:pt x="1964" y="254"/>
                </a:lnTo>
                <a:lnTo>
                  <a:pt x="1969" y="262"/>
                </a:lnTo>
                <a:lnTo>
                  <a:pt x="1974" y="268"/>
                </a:lnTo>
                <a:lnTo>
                  <a:pt x="1979" y="274"/>
                </a:lnTo>
                <a:lnTo>
                  <a:pt x="1983" y="278"/>
                </a:lnTo>
                <a:lnTo>
                  <a:pt x="1988" y="280"/>
                </a:lnTo>
                <a:lnTo>
                  <a:pt x="1993" y="281"/>
                </a:lnTo>
                <a:lnTo>
                  <a:pt x="1999" y="279"/>
                </a:lnTo>
                <a:lnTo>
                  <a:pt x="2005" y="275"/>
                </a:lnTo>
                <a:lnTo>
                  <a:pt x="2008" y="274"/>
                </a:lnTo>
                <a:lnTo>
                  <a:pt x="2012" y="273"/>
                </a:lnTo>
                <a:lnTo>
                  <a:pt x="2014" y="273"/>
                </a:lnTo>
                <a:lnTo>
                  <a:pt x="2018" y="273"/>
                </a:lnTo>
                <a:lnTo>
                  <a:pt x="2025" y="277"/>
                </a:lnTo>
                <a:lnTo>
                  <a:pt x="2032" y="280"/>
                </a:lnTo>
                <a:lnTo>
                  <a:pt x="2045" y="293"/>
                </a:lnTo>
                <a:lnTo>
                  <a:pt x="2055" y="305"/>
                </a:lnTo>
                <a:lnTo>
                  <a:pt x="2059" y="310"/>
                </a:lnTo>
                <a:lnTo>
                  <a:pt x="2063" y="312"/>
                </a:lnTo>
                <a:lnTo>
                  <a:pt x="2067" y="315"/>
                </a:lnTo>
                <a:lnTo>
                  <a:pt x="2070" y="317"/>
                </a:lnTo>
                <a:lnTo>
                  <a:pt x="2077" y="317"/>
                </a:lnTo>
                <a:lnTo>
                  <a:pt x="2086" y="317"/>
                </a:lnTo>
                <a:lnTo>
                  <a:pt x="2094" y="318"/>
                </a:lnTo>
                <a:lnTo>
                  <a:pt x="2100" y="319"/>
                </a:lnTo>
                <a:lnTo>
                  <a:pt x="2105" y="322"/>
                </a:lnTo>
                <a:lnTo>
                  <a:pt x="2112" y="330"/>
                </a:lnTo>
                <a:lnTo>
                  <a:pt x="2115" y="334"/>
                </a:lnTo>
                <a:lnTo>
                  <a:pt x="2119" y="337"/>
                </a:lnTo>
                <a:lnTo>
                  <a:pt x="2124" y="341"/>
                </a:lnTo>
                <a:lnTo>
                  <a:pt x="2130" y="343"/>
                </a:lnTo>
                <a:lnTo>
                  <a:pt x="2141" y="347"/>
                </a:lnTo>
                <a:lnTo>
                  <a:pt x="2156" y="348"/>
                </a:lnTo>
                <a:lnTo>
                  <a:pt x="2170" y="348"/>
                </a:lnTo>
                <a:lnTo>
                  <a:pt x="2183" y="349"/>
                </a:lnTo>
                <a:lnTo>
                  <a:pt x="2194" y="352"/>
                </a:lnTo>
                <a:lnTo>
                  <a:pt x="2203" y="356"/>
                </a:lnTo>
                <a:lnTo>
                  <a:pt x="2212" y="361"/>
                </a:lnTo>
                <a:lnTo>
                  <a:pt x="2222" y="363"/>
                </a:lnTo>
                <a:lnTo>
                  <a:pt x="2227" y="363"/>
                </a:lnTo>
                <a:lnTo>
                  <a:pt x="2233" y="363"/>
                </a:lnTo>
                <a:lnTo>
                  <a:pt x="2238" y="361"/>
                </a:lnTo>
                <a:lnTo>
                  <a:pt x="2244" y="359"/>
                </a:lnTo>
                <a:lnTo>
                  <a:pt x="2253" y="355"/>
                </a:lnTo>
                <a:lnTo>
                  <a:pt x="2260" y="353"/>
                </a:lnTo>
                <a:lnTo>
                  <a:pt x="2269" y="353"/>
                </a:lnTo>
                <a:lnTo>
                  <a:pt x="2279" y="354"/>
                </a:lnTo>
                <a:lnTo>
                  <a:pt x="2290" y="358"/>
                </a:lnTo>
                <a:lnTo>
                  <a:pt x="2296" y="361"/>
                </a:lnTo>
                <a:lnTo>
                  <a:pt x="2298" y="363"/>
                </a:lnTo>
                <a:lnTo>
                  <a:pt x="2300" y="366"/>
                </a:lnTo>
                <a:lnTo>
                  <a:pt x="2300" y="369"/>
                </a:lnTo>
                <a:lnTo>
                  <a:pt x="2300" y="374"/>
                </a:lnTo>
                <a:lnTo>
                  <a:pt x="2300" y="378"/>
                </a:lnTo>
                <a:lnTo>
                  <a:pt x="2301" y="382"/>
                </a:lnTo>
                <a:lnTo>
                  <a:pt x="2302" y="385"/>
                </a:lnTo>
                <a:lnTo>
                  <a:pt x="2303" y="387"/>
                </a:lnTo>
                <a:lnTo>
                  <a:pt x="2307" y="390"/>
                </a:lnTo>
                <a:lnTo>
                  <a:pt x="2311" y="391"/>
                </a:lnTo>
                <a:lnTo>
                  <a:pt x="2317" y="391"/>
                </a:lnTo>
                <a:lnTo>
                  <a:pt x="2326" y="390"/>
                </a:lnTo>
                <a:lnTo>
                  <a:pt x="2345" y="388"/>
                </a:lnTo>
                <a:lnTo>
                  <a:pt x="2365" y="386"/>
                </a:lnTo>
                <a:lnTo>
                  <a:pt x="2384" y="384"/>
                </a:lnTo>
                <a:lnTo>
                  <a:pt x="2402" y="381"/>
                </a:lnTo>
                <a:lnTo>
                  <a:pt x="2408" y="379"/>
                </a:lnTo>
                <a:lnTo>
                  <a:pt x="2412" y="375"/>
                </a:lnTo>
                <a:lnTo>
                  <a:pt x="2416" y="372"/>
                </a:lnTo>
                <a:lnTo>
                  <a:pt x="2417" y="367"/>
                </a:lnTo>
                <a:lnTo>
                  <a:pt x="2420" y="358"/>
                </a:lnTo>
                <a:lnTo>
                  <a:pt x="2422" y="344"/>
                </a:lnTo>
                <a:lnTo>
                  <a:pt x="2424" y="338"/>
                </a:lnTo>
                <a:lnTo>
                  <a:pt x="2429" y="334"/>
                </a:lnTo>
                <a:lnTo>
                  <a:pt x="2434" y="330"/>
                </a:lnTo>
                <a:lnTo>
                  <a:pt x="2441" y="328"/>
                </a:lnTo>
                <a:lnTo>
                  <a:pt x="2455" y="327"/>
                </a:lnTo>
                <a:lnTo>
                  <a:pt x="2471" y="328"/>
                </a:lnTo>
                <a:lnTo>
                  <a:pt x="2486" y="329"/>
                </a:lnTo>
                <a:lnTo>
                  <a:pt x="2503" y="330"/>
                </a:lnTo>
                <a:lnTo>
                  <a:pt x="2523" y="331"/>
                </a:lnTo>
                <a:lnTo>
                  <a:pt x="2547" y="333"/>
                </a:lnTo>
                <a:lnTo>
                  <a:pt x="2569" y="334"/>
                </a:lnTo>
                <a:lnTo>
                  <a:pt x="2585" y="333"/>
                </a:lnTo>
                <a:lnTo>
                  <a:pt x="2592" y="331"/>
                </a:lnTo>
                <a:lnTo>
                  <a:pt x="2599" y="330"/>
                </a:lnTo>
                <a:lnTo>
                  <a:pt x="2606" y="327"/>
                </a:lnTo>
                <a:lnTo>
                  <a:pt x="2615" y="323"/>
                </a:lnTo>
                <a:lnTo>
                  <a:pt x="2624" y="319"/>
                </a:lnTo>
                <a:lnTo>
                  <a:pt x="2632" y="317"/>
                </a:lnTo>
                <a:lnTo>
                  <a:pt x="2642" y="315"/>
                </a:lnTo>
                <a:lnTo>
                  <a:pt x="2651" y="314"/>
                </a:lnTo>
                <a:lnTo>
                  <a:pt x="2668" y="312"/>
                </a:lnTo>
                <a:lnTo>
                  <a:pt x="2685" y="311"/>
                </a:lnTo>
                <a:lnTo>
                  <a:pt x="2704" y="311"/>
                </a:lnTo>
                <a:lnTo>
                  <a:pt x="2726" y="312"/>
                </a:lnTo>
                <a:lnTo>
                  <a:pt x="2737" y="314"/>
                </a:lnTo>
                <a:lnTo>
                  <a:pt x="2746" y="316"/>
                </a:lnTo>
                <a:lnTo>
                  <a:pt x="2755" y="319"/>
                </a:lnTo>
                <a:lnTo>
                  <a:pt x="2761" y="324"/>
                </a:lnTo>
                <a:lnTo>
                  <a:pt x="2771" y="335"/>
                </a:lnTo>
                <a:lnTo>
                  <a:pt x="2781" y="347"/>
                </a:lnTo>
                <a:lnTo>
                  <a:pt x="2787" y="352"/>
                </a:lnTo>
                <a:lnTo>
                  <a:pt x="2793" y="356"/>
                </a:lnTo>
                <a:lnTo>
                  <a:pt x="2799" y="360"/>
                </a:lnTo>
                <a:lnTo>
                  <a:pt x="2805" y="363"/>
                </a:lnTo>
                <a:lnTo>
                  <a:pt x="2809" y="365"/>
                </a:lnTo>
                <a:lnTo>
                  <a:pt x="2813" y="367"/>
                </a:lnTo>
                <a:lnTo>
                  <a:pt x="2817" y="371"/>
                </a:lnTo>
                <a:lnTo>
                  <a:pt x="2820" y="374"/>
                </a:lnTo>
                <a:lnTo>
                  <a:pt x="2827" y="384"/>
                </a:lnTo>
                <a:lnTo>
                  <a:pt x="2837" y="394"/>
                </a:lnTo>
                <a:lnTo>
                  <a:pt x="2840" y="398"/>
                </a:lnTo>
                <a:lnTo>
                  <a:pt x="2843" y="399"/>
                </a:lnTo>
                <a:lnTo>
                  <a:pt x="2845" y="400"/>
                </a:lnTo>
                <a:lnTo>
                  <a:pt x="2848" y="400"/>
                </a:lnTo>
                <a:lnTo>
                  <a:pt x="2851" y="398"/>
                </a:lnTo>
                <a:lnTo>
                  <a:pt x="2853" y="397"/>
                </a:lnTo>
                <a:lnTo>
                  <a:pt x="2856" y="393"/>
                </a:lnTo>
                <a:lnTo>
                  <a:pt x="2859" y="388"/>
                </a:lnTo>
                <a:lnTo>
                  <a:pt x="2863" y="384"/>
                </a:lnTo>
                <a:lnTo>
                  <a:pt x="2868" y="379"/>
                </a:lnTo>
                <a:lnTo>
                  <a:pt x="2874" y="375"/>
                </a:lnTo>
                <a:lnTo>
                  <a:pt x="2880" y="372"/>
                </a:lnTo>
                <a:lnTo>
                  <a:pt x="2888" y="368"/>
                </a:lnTo>
                <a:lnTo>
                  <a:pt x="2896" y="366"/>
                </a:lnTo>
                <a:lnTo>
                  <a:pt x="2905" y="365"/>
                </a:lnTo>
                <a:lnTo>
                  <a:pt x="2914" y="363"/>
                </a:lnTo>
                <a:lnTo>
                  <a:pt x="2938" y="363"/>
                </a:lnTo>
                <a:lnTo>
                  <a:pt x="2964" y="363"/>
                </a:lnTo>
                <a:lnTo>
                  <a:pt x="2977" y="362"/>
                </a:lnTo>
                <a:lnTo>
                  <a:pt x="2990" y="362"/>
                </a:lnTo>
                <a:lnTo>
                  <a:pt x="3002" y="360"/>
                </a:lnTo>
                <a:lnTo>
                  <a:pt x="3012" y="358"/>
                </a:lnTo>
                <a:lnTo>
                  <a:pt x="3021" y="353"/>
                </a:lnTo>
                <a:lnTo>
                  <a:pt x="3029" y="348"/>
                </a:lnTo>
                <a:lnTo>
                  <a:pt x="3038" y="340"/>
                </a:lnTo>
                <a:lnTo>
                  <a:pt x="3045" y="331"/>
                </a:lnTo>
                <a:lnTo>
                  <a:pt x="3052" y="322"/>
                </a:lnTo>
                <a:lnTo>
                  <a:pt x="3058" y="312"/>
                </a:lnTo>
                <a:lnTo>
                  <a:pt x="3064" y="300"/>
                </a:lnTo>
                <a:lnTo>
                  <a:pt x="3069" y="290"/>
                </a:lnTo>
                <a:lnTo>
                  <a:pt x="3077" y="267"/>
                </a:lnTo>
                <a:lnTo>
                  <a:pt x="3084" y="249"/>
                </a:lnTo>
                <a:lnTo>
                  <a:pt x="3088" y="242"/>
                </a:lnTo>
                <a:lnTo>
                  <a:pt x="3092" y="236"/>
                </a:lnTo>
                <a:lnTo>
                  <a:pt x="3098" y="233"/>
                </a:lnTo>
                <a:lnTo>
                  <a:pt x="3105" y="230"/>
                </a:lnTo>
                <a:lnTo>
                  <a:pt x="3113" y="229"/>
                </a:lnTo>
                <a:lnTo>
                  <a:pt x="3120" y="229"/>
                </a:lnTo>
                <a:lnTo>
                  <a:pt x="3126" y="230"/>
                </a:lnTo>
                <a:lnTo>
                  <a:pt x="3132" y="230"/>
                </a:lnTo>
                <a:lnTo>
                  <a:pt x="3136" y="232"/>
                </a:lnTo>
                <a:lnTo>
                  <a:pt x="3141" y="232"/>
                </a:lnTo>
                <a:lnTo>
                  <a:pt x="3146" y="232"/>
                </a:lnTo>
                <a:lnTo>
                  <a:pt x="3151" y="229"/>
                </a:lnTo>
                <a:lnTo>
                  <a:pt x="3159" y="226"/>
                </a:lnTo>
                <a:lnTo>
                  <a:pt x="3166" y="223"/>
                </a:lnTo>
                <a:lnTo>
                  <a:pt x="3168" y="223"/>
                </a:lnTo>
                <a:lnTo>
                  <a:pt x="3171" y="223"/>
                </a:lnTo>
                <a:lnTo>
                  <a:pt x="3174" y="226"/>
                </a:lnTo>
                <a:lnTo>
                  <a:pt x="3177" y="228"/>
                </a:lnTo>
                <a:lnTo>
                  <a:pt x="3180" y="230"/>
                </a:lnTo>
                <a:lnTo>
                  <a:pt x="3184" y="232"/>
                </a:lnTo>
                <a:lnTo>
                  <a:pt x="3186" y="233"/>
                </a:lnTo>
                <a:lnTo>
                  <a:pt x="3190" y="233"/>
                </a:lnTo>
                <a:lnTo>
                  <a:pt x="3196" y="232"/>
                </a:lnTo>
                <a:lnTo>
                  <a:pt x="3201" y="228"/>
                </a:lnTo>
                <a:lnTo>
                  <a:pt x="3204" y="226"/>
                </a:lnTo>
                <a:lnTo>
                  <a:pt x="3208" y="226"/>
                </a:lnTo>
                <a:lnTo>
                  <a:pt x="3214" y="227"/>
                </a:lnTo>
                <a:lnTo>
                  <a:pt x="3218" y="227"/>
                </a:lnTo>
                <a:lnTo>
                  <a:pt x="3230" y="230"/>
                </a:lnTo>
                <a:lnTo>
                  <a:pt x="3240" y="233"/>
                </a:lnTo>
                <a:lnTo>
                  <a:pt x="3248" y="234"/>
                </a:lnTo>
                <a:lnTo>
                  <a:pt x="3256" y="233"/>
                </a:lnTo>
                <a:lnTo>
                  <a:pt x="3261" y="230"/>
                </a:lnTo>
                <a:lnTo>
                  <a:pt x="3266" y="228"/>
                </a:lnTo>
                <a:lnTo>
                  <a:pt x="3271" y="226"/>
                </a:lnTo>
                <a:lnTo>
                  <a:pt x="3277" y="221"/>
                </a:lnTo>
                <a:lnTo>
                  <a:pt x="3283" y="216"/>
                </a:lnTo>
                <a:lnTo>
                  <a:pt x="3290" y="214"/>
                </a:lnTo>
                <a:lnTo>
                  <a:pt x="3297" y="212"/>
                </a:lnTo>
                <a:lnTo>
                  <a:pt x="3304" y="212"/>
                </a:lnTo>
                <a:lnTo>
                  <a:pt x="3311" y="214"/>
                </a:lnTo>
                <a:lnTo>
                  <a:pt x="3318" y="216"/>
                </a:lnTo>
                <a:lnTo>
                  <a:pt x="3324" y="218"/>
                </a:lnTo>
                <a:lnTo>
                  <a:pt x="3330" y="221"/>
                </a:lnTo>
                <a:lnTo>
                  <a:pt x="3338" y="228"/>
                </a:lnTo>
                <a:lnTo>
                  <a:pt x="3347" y="234"/>
                </a:lnTo>
                <a:lnTo>
                  <a:pt x="3352" y="235"/>
                </a:lnTo>
                <a:lnTo>
                  <a:pt x="3356" y="237"/>
                </a:lnTo>
                <a:lnTo>
                  <a:pt x="3363" y="239"/>
                </a:lnTo>
                <a:lnTo>
                  <a:pt x="3372" y="239"/>
                </a:lnTo>
                <a:lnTo>
                  <a:pt x="3390" y="240"/>
                </a:lnTo>
                <a:lnTo>
                  <a:pt x="3404" y="243"/>
                </a:lnTo>
                <a:lnTo>
                  <a:pt x="3410" y="245"/>
                </a:lnTo>
                <a:lnTo>
                  <a:pt x="3415" y="245"/>
                </a:lnTo>
                <a:lnTo>
                  <a:pt x="3418" y="243"/>
                </a:lnTo>
                <a:lnTo>
                  <a:pt x="3419" y="240"/>
                </a:lnTo>
                <a:lnTo>
                  <a:pt x="3422" y="236"/>
                </a:lnTo>
                <a:lnTo>
                  <a:pt x="3424" y="233"/>
                </a:lnTo>
                <a:lnTo>
                  <a:pt x="3428" y="230"/>
                </a:lnTo>
                <a:lnTo>
                  <a:pt x="3432" y="229"/>
                </a:lnTo>
                <a:lnTo>
                  <a:pt x="3442" y="227"/>
                </a:lnTo>
                <a:lnTo>
                  <a:pt x="3453" y="227"/>
                </a:lnTo>
                <a:lnTo>
                  <a:pt x="3464" y="224"/>
                </a:lnTo>
                <a:lnTo>
                  <a:pt x="3481" y="220"/>
                </a:lnTo>
                <a:lnTo>
                  <a:pt x="3497" y="216"/>
                </a:lnTo>
                <a:lnTo>
                  <a:pt x="3511" y="214"/>
                </a:lnTo>
                <a:lnTo>
                  <a:pt x="3517" y="214"/>
                </a:lnTo>
                <a:lnTo>
                  <a:pt x="3522" y="215"/>
                </a:lnTo>
                <a:lnTo>
                  <a:pt x="3526" y="215"/>
                </a:lnTo>
                <a:lnTo>
                  <a:pt x="3530" y="217"/>
                </a:lnTo>
                <a:lnTo>
                  <a:pt x="3532" y="220"/>
                </a:lnTo>
                <a:lnTo>
                  <a:pt x="3535" y="222"/>
                </a:lnTo>
                <a:lnTo>
                  <a:pt x="3536" y="227"/>
                </a:lnTo>
                <a:lnTo>
                  <a:pt x="3537" y="232"/>
                </a:lnTo>
                <a:lnTo>
                  <a:pt x="3538" y="237"/>
                </a:lnTo>
                <a:lnTo>
                  <a:pt x="3539" y="242"/>
                </a:lnTo>
                <a:lnTo>
                  <a:pt x="3541" y="247"/>
                </a:lnTo>
                <a:lnTo>
                  <a:pt x="3543" y="249"/>
                </a:lnTo>
                <a:lnTo>
                  <a:pt x="3545" y="252"/>
                </a:lnTo>
                <a:lnTo>
                  <a:pt x="3550" y="254"/>
                </a:lnTo>
                <a:lnTo>
                  <a:pt x="3555" y="255"/>
                </a:lnTo>
                <a:lnTo>
                  <a:pt x="3561" y="255"/>
                </a:lnTo>
                <a:lnTo>
                  <a:pt x="3575" y="256"/>
                </a:lnTo>
                <a:lnTo>
                  <a:pt x="3588" y="258"/>
                </a:lnTo>
                <a:lnTo>
                  <a:pt x="3601" y="259"/>
                </a:lnTo>
                <a:lnTo>
                  <a:pt x="3613" y="259"/>
                </a:lnTo>
                <a:lnTo>
                  <a:pt x="3623" y="258"/>
                </a:lnTo>
                <a:lnTo>
                  <a:pt x="3631" y="259"/>
                </a:lnTo>
                <a:lnTo>
                  <a:pt x="3636" y="260"/>
                </a:lnTo>
                <a:lnTo>
                  <a:pt x="3639" y="261"/>
                </a:lnTo>
                <a:lnTo>
                  <a:pt x="3643" y="265"/>
                </a:lnTo>
                <a:lnTo>
                  <a:pt x="3648" y="268"/>
                </a:lnTo>
                <a:lnTo>
                  <a:pt x="3651" y="271"/>
                </a:lnTo>
                <a:lnTo>
                  <a:pt x="3656" y="273"/>
                </a:lnTo>
                <a:lnTo>
                  <a:pt x="3661" y="273"/>
                </a:lnTo>
                <a:lnTo>
                  <a:pt x="3667" y="272"/>
                </a:lnTo>
                <a:lnTo>
                  <a:pt x="3676" y="268"/>
                </a:lnTo>
                <a:lnTo>
                  <a:pt x="3684" y="262"/>
                </a:lnTo>
                <a:lnTo>
                  <a:pt x="3692" y="256"/>
                </a:lnTo>
                <a:lnTo>
                  <a:pt x="3700" y="251"/>
                </a:lnTo>
                <a:lnTo>
                  <a:pt x="3705" y="248"/>
                </a:lnTo>
                <a:lnTo>
                  <a:pt x="3709" y="247"/>
                </a:lnTo>
                <a:lnTo>
                  <a:pt x="3715" y="247"/>
                </a:lnTo>
                <a:lnTo>
                  <a:pt x="3721" y="248"/>
                </a:lnTo>
                <a:lnTo>
                  <a:pt x="3734" y="252"/>
                </a:lnTo>
                <a:lnTo>
                  <a:pt x="3749" y="258"/>
                </a:lnTo>
                <a:lnTo>
                  <a:pt x="3756" y="260"/>
                </a:lnTo>
                <a:lnTo>
                  <a:pt x="3764" y="261"/>
                </a:lnTo>
                <a:lnTo>
                  <a:pt x="3772" y="262"/>
                </a:lnTo>
                <a:lnTo>
                  <a:pt x="3782" y="264"/>
                </a:lnTo>
                <a:lnTo>
                  <a:pt x="3801" y="262"/>
                </a:lnTo>
                <a:lnTo>
                  <a:pt x="3822" y="261"/>
                </a:lnTo>
                <a:lnTo>
                  <a:pt x="3843" y="261"/>
                </a:lnTo>
                <a:lnTo>
                  <a:pt x="3860" y="264"/>
                </a:lnTo>
                <a:lnTo>
                  <a:pt x="3869" y="266"/>
                </a:lnTo>
                <a:lnTo>
                  <a:pt x="3877" y="270"/>
                </a:lnTo>
                <a:lnTo>
                  <a:pt x="3886" y="273"/>
                </a:lnTo>
                <a:lnTo>
                  <a:pt x="3895" y="278"/>
                </a:lnTo>
                <a:lnTo>
                  <a:pt x="3902" y="283"/>
                </a:lnTo>
                <a:lnTo>
                  <a:pt x="3908" y="287"/>
                </a:lnTo>
                <a:lnTo>
                  <a:pt x="3913" y="292"/>
                </a:lnTo>
                <a:lnTo>
                  <a:pt x="3916" y="297"/>
                </a:lnTo>
                <a:lnTo>
                  <a:pt x="3919" y="304"/>
                </a:lnTo>
                <a:lnTo>
                  <a:pt x="3920" y="311"/>
                </a:lnTo>
                <a:lnTo>
                  <a:pt x="3921" y="315"/>
                </a:lnTo>
                <a:lnTo>
                  <a:pt x="3922" y="318"/>
                </a:lnTo>
                <a:lnTo>
                  <a:pt x="3926" y="323"/>
                </a:lnTo>
                <a:lnTo>
                  <a:pt x="3930" y="327"/>
                </a:lnTo>
                <a:lnTo>
                  <a:pt x="3940" y="334"/>
                </a:lnTo>
                <a:lnTo>
                  <a:pt x="3946" y="340"/>
                </a:lnTo>
                <a:lnTo>
                  <a:pt x="3949" y="346"/>
                </a:lnTo>
                <a:lnTo>
                  <a:pt x="3952" y="353"/>
                </a:lnTo>
                <a:lnTo>
                  <a:pt x="3953" y="358"/>
                </a:lnTo>
                <a:lnTo>
                  <a:pt x="3954" y="362"/>
                </a:lnTo>
                <a:lnTo>
                  <a:pt x="3958" y="366"/>
                </a:lnTo>
                <a:lnTo>
                  <a:pt x="3960" y="368"/>
                </a:lnTo>
                <a:lnTo>
                  <a:pt x="3964" y="371"/>
                </a:lnTo>
                <a:lnTo>
                  <a:pt x="3969" y="372"/>
                </a:lnTo>
                <a:lnTo>
                  <a:pt x="3973" y="371"/>
                </a:lnTo>
                <a:lnTo>
                  <a:pt x="3978" y="368"/>
                </a:lnTo>
                <a:lnTo>
                  <a:pt x="3985" y="365"/>
                </a:lnTo>
                <a:lnTo>
                  <a:pt x="3992" y="363"/>
                </a:lnTo>
                <a:lnTo>
                  <a:pt x="3998" y="363"/>
                </a:lnTo>
                <a:lnTo>
                  <a:pt x="4004" y="365"/>
                </a:lnTo>
                <a:lnTo>
                  <a:pt x="4016" y="371"/>
                </a:lnTo>
                <a:lnTo>
                  <a:pt x="4030" y="378"/>
                </a:lnTo>
                <a:lnTo>
                  <a:pt x="4041" y="382"/>
                </a:lnTo>
                <a:lnTo>
                  <a:pt x="4052" y="387"/>
                </a:lnTo>
                <a:lnTo>
                  <a:pt x="4056" y="390"/>
                </a:lnTo>
                <a:lnTo>
                  <a:pt x="4061" y="393"/>
                </a:lnTo>
                <a:lnTo>
                  <a:pt x="4065" y="397"/>
                </a:lnTo>
                <a:lnTo>
                  <a:pt x="4068" y="400"/>
                </a:lnTo>
                <a:lnTo>
                  <a:pt x="4072" y="404"/>
                </a:lnTo>
                <a:lnTo>
                  <a:pt x="4074" y="407"/>
                </a:lnTo>
                <a:lnTo>
                  <a:pt x="4078" y="411"/>
                </a:lnTo>
                <a:lnTo>
                  <a:pt x="4081" y="412"/>
                </a:lnTo>
                <a:lnTo>
                  <a:pt x="4085" y="413"/>
                </a:lnTo>
                <a:lnTo>
                  <a:pt x="4089" y="415"/>
                </a:lnTo>
                <a:lnTo>
                  <a:pt x="4092" y="413"/>
                </a:lnTo>
                <a:lnTo>
                  <a:pt x="4096" y="412"/>
                </a:lnTo>
                <a:lnTo>
                  <a:pt x="4099" y="410"/>
                </a:lnTo>
                <a:lnTo>
                  <a:pt x="4103" y="409"/>
                </a:lnTo>
                <a:lnTo>
                  <a:pt x="4108" y="409"/>
                </a:lnTo>
                <a:lnTo>
                  <a:pt x="4112" y="409"/>
                </a:lnTo>
                <a:lnTo>
                  <a:pt x="4117" y="409"/>
                </a:lnTo>
                <a:lnTo>
                  <a:pt x="4121" y="411"/>
                </a:lnTo>
                <a:lnTo>
                  <a:pt x="4125" y="413"/>
                </a:lnTo>
                <a:lnTo>
                  <a:pt x="4128" y="417"/>
                </a:lnTo>
                <a:lnTo>
                  <a:pt x="4131" y="422"/>
                </a:lnTo>
                <a:lnTo>
                  <a:pt x="4135" y="425"/>
                </a:lnTo>
                <a:lnTo>
                  <a:pt x="4141" y="430"/>
                </a:lnTo>
                <a:lnTo>
                  <a:pt x="4147" y="435"/>
                </a:lnTo>
                <a:lnTo>
                  <a:pt x="4161" y="444"/>
                </a:lnTo>
                <a:lnTo>
                  <a:pt x="4173" y="455"/>
                </a:lnTo>
                <a:lnTo>
                  <a:pt x="4186" y="468"/>
                </a:lnTo>
                <a:lnTo>
                  <a:pt x="4200" y="481"/>
                </a:lnTo>
                <a:lnTo>
                  <a:pt x="4217" y="493"/>
                </a:lnTo>
                <a:lnTo>
                  <a:pt x="4231" y="505"/>
                </a:lnTo>
                <a:lnTo>
                  <a:pt x="4236" y="508"/>
                </a:lnTo>
                <a:lnTo>
                  <a:pt x="4237" y="512"/>
                </a:lnTo>
                <a:lnTo>
                  <a:pt x="4235" y="514"/>
                </a:lnTo>
                <a:lnTo>
                  <a:pt x="4230" y="518"/>
                </a:lnTo>
                <a:lnTo>
                  <a:pt x="4224" y="522"/>
                </a:lnTo>
                <a:lnTo>
                  <a:pt x="4218" y="525"/>
                </a:lnTo>
                <a:lnTo>
                  <a:pt x="4212" y="527"/>
                </a:lnTo>
                <a:lnTo>
                  <a:pt x="4205" y="529"/>
                </a:lnTo>
                <a:lnTo>
                  <a:pt x="4194" y="530"/>
                </a:lnTo>
                <a:lnTo>
                  <a:pt x="4187" y="531"/>
                </a:lnTo>
                <a:lnTo>
                  <a:pt x="4185" y="531"/>
                </a:lnTo>
                <a:lnTo>
                  <a:pt x="4182" y="532"/>
                </a:lnTo>
                <a:lnTo>
                  <a:pt x="4181" y="535"/>
                </a:lnTo>
                <a:lnTo>
                  <a:pt x="4179" y="537"/>
                </a:lnTo>
                <a:lnTo>
                  <a:pt x="4177" y="541"/>
                </a:lnTo>
                <a:lnTo>
                  <a:pt x="4173" y="543"/>
                </a:lnTo>
                <a:lnTo>
                  <a:pt x="4168" y="545"/>
                </a:lnTo>
                <a:lnTo>
                  <a:pt x="4162" y="546"/>
                </a:lnTo>
                <a:lnTo>
                  <a:pt x="4159" y="546"/>
                </a:lnTo>
                <a:lnTo>
                  <a:pt x="4156" y="548"/>
                </a:lnTo>
                <a:lnTo>
                  <a:pt x="4155" y="550"/>
                </a:lnTo>
                <a:lnTo>
                  <a:pt x="4154" y="552"/>
                </a:lnTo>
                <a:lnTo>
                  <a:pt x="4153" y="558"/>
                </a:lnTo>
                <a:lnTo>
                  <a:pt x="4153" y="564"/>
                </a:lnTo>
                <a:lnTo>
                  <a:pt x="4154" y="571"/>
                </a:lnTo>
                <a:lnTo>
                  <a:pt x="4155" y="577"/>
                </a:lnTo>
                <a:lnTo>
                  <a:pt x="4160" y="585"/>
                </a:lnTo>
                <a:lnTo>
                  <a:pt x="4166" y="592"/>
                </a:lnTo>
                <a:lnTo>
                  <a:pt x="4174" y="600"/>
                </a:lnTo>
                <a:lnTo>
                  <a:pt x="4181" y="608"/>
                </a:lnTo>
                <a:lnTo>
                  <a:pt x="4188" y="615"/>
                </a:lnTo>
                <a:lnTo>
                  <a:pt x="4196" y="620"/>
                </a:lnTo>
                <a:lnTo>
                  <a:pt x="4203" y="624"/>
                </a:lnTo>
                <a:lnTo>
                  <a:pt x="4212" y="625"/>
                </a:lnTo>
                <a:lnTo>
                  <a:pt x="4224" y="626"/>
                </a:lnTo>
                <a:lnTo>
                  <a:pt x="4238" y="626"/>
                </a:lnTo>
                <a:lnTo>
                  <a:pt x="4245" y="627"/>
                </a:lnTo>
                <a:lnTo>
                  <a:pt x="4250" y="629"/>
                </a:lnTo>
                <a:lnTo>
                  <a:pt x="4255" y="630"/>
                </a:lnTo>
                <a:lnTo>
                  <a:pt x="4259" y="632"/>
                </a:lnTo>
                <a:lnTo>
                  <a:pt x="4261" y="634"/>
                </a:lnTo>
                <a:lnTo>
                  <a:pt x="4262" y="638"/>
                </a:lnTo>
                <a:lnTo>
                  <a:pt x="4263" y="642"/>
                </a:lnTo>
                <a:lnTo>
                  <a:pt x="4263" y="645"/>
                </a:lnTo>
                <a:lnTo>
                  <a:pt x="4262" y="649"/>
                </a:lnTo>
                <a:lnTo>
                  <a:pt x="4261" y="653"/>
                </a:lnTo>
                <a:lnTo>
                  <a:pt x="4259" y="658"/>
                </a:lnTo>
                <a:lnTo>
                  <a:pt x="4256" y="663"/>
                </a:lnTo>
                <a:lnTo>
                  <a:pt x="4249" y="672"/>
                </a:lnTo>
                <a:lnTo>
                  <a:pt x="4241" y="681"/>
                </a:lnTo>
                <a:lnTo>
                  <a:pt x="4237" y="687"/>
                </a:lnTo>
                <a:lnTo>
                  <a:pt x="4234" y="692"/>
                </a:lnTo>
                <a:lnTo>
                  <a:pt x="4231" y="699"/>
                </a:lnTo>
                <a:lnTo>
                  <a:pt x="4229" y="705"/>
                </a:lnTo>
                <a:lnTo>
                  <a:pt x="4228" y="711"/>
                </a:lnTo>
                <a:lnTo>
                  <a:pt x="4228" y="716"/>
                </a:lnTo>
                <a:lnTo>
                  <a:pt x="4228" y="722"/>
                </a:lnTo>
                <a:lnTo>
                  <a:pt x="4229" y="727"/>
                </a:lnTo>
                <a:lnTo>
                  <a:pt x="4232" y="734"/>
                </a:lnTo>
                <a:lnTo>
                  <a:pt x="4235" y="741"/>
                </a:lnTo>
                <a:lnTo>
                  <a:pt x="4235" y="744"/>
                </a:lnTo>
                <a:lnTo>
                  <a:pt x="4235" y="746"/>
                </a:lnTo>
                <a:lnTo>
                  <a:pt x="4232" y="747"/>
                </a:lnTo>
                <a:lnTo>
                  <a:pt x="4230" y="750"/>
                </a:lnTo>
                <a:lnTo>
                  <a:pt x="4225" y="752"/>
                </a:lnTo>
                <a:lnTo>
                  <a:pt x="4222" y="754"/>
                </a:lnTo>
                <a:lnTo>
                  <a:pt x="4219" y="757"/>
                </a:lnTo>
                <a:lnTo>
                  <a:pt x="4217" y="759"/>
                </a:lnTo>
                <a:lnTo>
                  <a:pt x="4216" y="763"/>
                </a:lnTo>
                <a:lnTo>
                  <a:pt x="4215" y="766"/>
                </a:lnTo>
                <a:lnTo>
                  <a:pt x="4216" y="770"/>
                </a:lnTo>
                <a:lnTo>
                  <a:pt x="4217" y="772"/>
                </a:lnTo>
                <a:lnTo>
                  <a:pt x="4218" y="777"/>
                </a:lnTo>
                <a:lnTo>
                  <a:pt x="4219" y="783"/>
                </a:lnTo>
                <a:lnTo>
                  <a:pt x="4218" y="787"/>
                </a:lnTo>
                <a:lnTo>
                  <a:pt x="4217" y="790"/>
                </a:lnTo>
                <a:lnTo>
                  <a:pt x="4215" y="794"/>
                </a:lnTo>
                <a:lnTo>
                  <a:pt x="4212" y="797"/>
                </a:lnTo>
                <a:lnTo>
                  <a:pt x="4205" y="802"/>
                </a:lnTo>
                <a:lnTo>
                  <a:pt x="4198" y="806"/>
                </a:lnTo>
                <a:lnTo>
                  <a:pt x="4188" y="808"/>
                </a:lnTo>
                <a:lnTo>
                  <a:pt x="4175" y="810"/>
                </a:lnTo>
                <a:lnTo>
                  <a:pt x="4160" y="812"/>
                </a:lnTo>
                <a:lnTo>
                  <a:pt x="4146" y="814"/>
                </a:lnTo>
                <a:lnTo>
                  <a:pt x="4139" y="816"/>
                </a:lnTo>
                <a:lnTo>
                  <a:pt x="4134" y="820"/>
                </a:lnTo>
                <a:lnTo>
                  <a:pt x="4129" y="823"/>
                </a:lnTo>
                <a:lnTo>
                  <a:pt x="4127" y="829"/>
                </a:lnTo>
                <a:lnTo>
                  <a:pt x="4124" y="840"/>
                </a:lnTo>
                <a:lnTo>
                  <a:pt x="4124" y="848"/>
                </a:lnTo>
                <a:lnTo>
                  <a:pt x="4123" y="852"/>
                </a:lnTo>
                <a:lnTo>
                  <a:pt x="4123" y="854"/>
                </a:lnTo>
                <a:lnTo>
                  <a:pt x="4122" y="857"/>
                </a:lnTo>
                <a:lnTo>
                  <a:pt x="4119" y="858"/>
                </a:lnTo>
                <a:lnTo>
                  <a:pt x="4114" y="861"/>
                </a:lnTo>
                <a:lnTo>
                  <a:pt x="4106" y="865"/>
                </a:lnTo>
                <a:lnTo>
                  <a:pt x="4104" y="866"/>
                </a:lnTo>
                <a:lnTo>
                  <a:pt x="4100" y="870"/>
                </a:lnTo>
                <a:lnTo>
                  <a:pt x="4098" y="872"/>
                </a:lnTo>
                <a:lnTo>
                  <a:pt x="4097" y="876"/>
                </a:lnTo>
                <a:lnTo>
                  <a:pt x="4096" y="884"/>
                </a:lnTo>
                <a:lnTo>
                  <a:pt x="4098" y="894"/>
                </a:lnTo>
                <a:lnTo>
                  <a:pt x="4099" y="898"/>
                </a:lnTo>
                <a:lnTo>
                  <a:pt x="4102" y="904"/>
                </a:lnTo>
                <a:lnTo>
                  <a:pt x="4104" y="908"/>
                </a:lnTo>
                <a:lnTo>
                  <a:pt x="4106" y="913"/>
                </a:lnTo>
                <a:lnTo>
                  <a:pt x="4114" y="920"/>
                </a:lnTo>
                <a:lnTo>
                  <a:pt x="4121" y="927"/>
                </a:lnTo>
                <a:lnTo>
                  <a:pt x="4124" y="930"/>
                </a:lnTo>
                <a:lnTo>
                  <a:pt x="4127" y="934"/>
                </a:lnTo>
                <a:lnTo>
                  <a:pt x="4129" y="939"/>
                </a:lnTo>
                <a:lnTo>
                  <a:pt x="4131" y="942"/>
                </a:lnTo>
                <a:lnTo>
                  <a:pt x="4131" y="947"/>
                </a:lnTo>
                <a:lnTo>
                  <a:pt x="4131" y="951"/>
                </a:lnTo>
                <a:lnTo>
                  <a:pt x="4129" y="955"/>
                </a:lnTo>
                <a:lnTo>
                  <a:pt x="4128" y="959"/>
                </a:lnTo>
                <a:lnTo>
                  <a:pt x="4122" y="967"/>
                </a:lnTo>
                <a:lnTo>
                  <a:pt x="4116" y="976"/>
                </a:lnTo>
                <a:lnTo>
                  <a:pt x="4111" y="985"/>
                </a:lnTo>
                <a:lnTo>
                  <a:pt x="4105" y="995"/>
                </a:lnTo>
                <a:lnTo>
                  <a:pt x="4102" y="1004"/>
                </a:lnTo>
                <a:lnTo>
                  <a:pt x="4100" y="1012"/>
                </a:lnTo>
                <a:lnTo>
                  <a:pt x="4100" y="1016"/>
                </a:lnTo>
                <a:lnTo>
                  <a:pt x="4102" y="1020"/>
                </a:lnTo>
                <a:lnTo>
                  <a:pt x="4103" y="1023"/>
                </a:lnTo>
                <a:lnTo>
                  <a:pt x="4105" y="1027"/>
                </a:lnTo>
                <a:lnTo>
                  <a:pt x="4110" y="1033"/>
                </a:lnTo>
                <a:lnTo>
                  <a:pt x="4117" y="1036"/>
                </a:lnTo>
                <a:lnTo>
                  <a:pt x="4125" y="1037"/>
                </a:lnTo>
                <a:lnTo>
                  <a:pt x="4135" y="1037"/>
                </a:lnTo>
                <a:lnTo>
                  <a:pt x="4144" y="1035"/>
                </a:lnTo>
                <a:lnTo>
                  <a:pt x="4153" y="1033"/>
                </a:lnTo>
                <a:lnTo>
                  <a:pt x="4158" y="1031"/>
                </a:lnTo>
                <a:lnTo>
                  <a:pt x="4162" y="1031"/>
                </a:lnTo>
                <a:lnTo>
                  <a:pt x="4168" y="1033"/>
                </a:lnTo>
                <a:lnTo>
                  <a:pt x="4173" y="1035"/>
                </a:lnTo>
                <a:lnTo>
                  <a:pt x="4179" y="1037"/>
                </a:lnTo>
                <a:lnTo>
                  <a:pt x="4184" y="1040"/>
                </a:lnTo>
                <a:lnTo>
                  <a:pt x="4188" y="1043"/>
                </a:lnTo>
                <a:lnTo>
                  <a:pt x="4191" y="1047"/>
                </a:lnTo>
                <a:lnTo>
                  <a:pt x="4194" y="1056"/>
                </a:lnTo>
                <a:lnTo>
                  <a:pt x="4196" y="1067"/>
                </a:lnTo>
                <a:lnTo>
                  <a:pt x="4196" y="1078"/>
                </a:lnTo>
                <a:lnTo>
                  <a:pt x="4194" y="1086"/>
                </a:lnTo>
                <a:lnTo>
                  <a:pt x="4192" y="1090"/>
                </a:lnTo>
                <a:lnTo>
                  <a:pt x="4190" y="1093"/>
                </a:lnTo>
                <a:lnTo>
                  <a:pt x="4185" y="1097"/>
                </a:lnTo>
                <a:lnTo>
                  <a:pt x="4180" y="1099"/>
                </a:lnTo>
                <a:lnTo>
                  <a:pt x="4171" y="1103"/>
                </a:lnTo>
                <a:lnTo>
                  <a:pt x="4162" y="1105"/>
                </a:lnTo>
                <a:lnTo>
                  <a:pt x="4154" y="1109"/>
                </a:lnTo>
                <a:lnTo>
                  <a:pt x="4146" y="1112"/>
                </a:lnTo>
                <a:lnTo>
                  <a:pt x="4142" y="1115"/>
                </a:lnTo>
                <a:lnTo>
                  <a:pt x="4139" y="1117"/>
                </a:lnTo>
                <a:lnTo>
                  <a:pt x="4136" y="1119"/>
                </a:lnTo>
                <a:lnTo>
                  <a:pt x="4135" y="1123"/>
                </a:lnTo>
                <a:lnTo>
                  <a:pt x="4135" y="1130"/>
                </a:lnTo>
                <a:lnTo>
                  <a:pt x="4137" y="1136"/>
                </a:lnTo>
                <a:lnTo>
                  <a:pt x="4141" y="1141"/>
                </a:lnTo>
                <a:lnTo>
                  <a:pt x="4146" y="1146"/>
                </a:lnTo>
                <a:lnTo>
                  <a:pt x="4152" y="1149"/>
                </a:lnTo>
                <a:lnTo>
                  <a:pt x="4155" y="1155"/>
                </a:lnTo>
                <a:lnTo>
                  <a:pt x="4156" y="1157"/>
                </a:lnTo>
                <a:lnTo>
                  <a:pt x="4158" y="1161"/>
                </a:lnTo>
                <a:lnTo>
                  <a:pt x="4158" y="1165"/>
                </a:lnTo>
                <a:lnTo>
                  <a:pt x="4156" y="1168"/>
                </a:lnTo>
                <a:lnTo>
                  <a:pt x="4155" y="1173"/>
                </a:lnTo>
                <a:lnTo>
                  <a:pt x="4154" y="1178"/>
                </a:lnTo>
                <a:lnTo>
                  <a:pt x="4154" y="1181"/>
                </a:lnTo>
                <a:lnTo>
                  <a:pt x="4155" y="1187"/>
                </a:lnTo>
                <a:lnTo>
                  <a:pt x="4156" y="1198"/>
                </a:lnTo>
                <a:lnTo>
                  <a:pt x="4156" y="1211"/>
                </a:lnTo>
                <a:lnTo>
                  <a:pt x="4154" y="1225"/>
                </a:lnTo>
                <a:lnTo>
                  <a:pt x="4152" y="1238"/>
                </a:lnTo>
                <a:lnTo>
                  <a:pt x="4149" y="1249"/>
                </a:lnTo>
                <a:lnTo>
                  <a:pt x="4147" y="1256"/>
                </a:lnTo>
                <a:lnTo>
                  <a:pt x="4147" y="1260"/>
                </a:lnTo>
                <a:lnTo>
                  <a:pt x="4148" y="1263"/>
                </a:lnTo>
                <a:lnTo>
                  <a:pt x="4148" y="1267"/>
                </a:lnTo>
                <a:lnTo>
                  <a:pt x="4150" y="1272"/>
                </a:lnTo>
                <a:lnTo>
                  <a:pt x="4154" y="1279"/>
                </a:lnTo>
                <a:lnTo>
                  <a:pt x="4159" y="1283"/>
                </a:lnTo>
                <a:lnTo>
                  <a:pt x="4160" y="1285"/>
                </a:lnTo>
                <a:lnTo>
                  <a:pt x="4160" y="1287"/>
                </a:lnTo>
                <a:lnTo>
                  <a:pt x="4160" y="1289"/>
                </a:lnTo>
                <a:lnTo>
                  <a:pt x="4159" y="1293"/>
                </a:lnTo>
                <a:lnTo>
                  <a:pt x="4147" y="1307"/>
                </a:lnTo>
                <a:lnTo>
                  <a:pt x="4135" y="1321"/>
                </a:lnTo>
                <a:lnTo>
                  <a:pt x="4131" y="1330"/>
                </a:lnTo>
                <a:lnTo>
                  <a:pt x="4129" y="1336"/>
                </a:lnTo>
                <a:lnTo>
                  <a:pt x="4128" y="1343"/>
                </a:lnTo>
                <a:lnTo>
                  <a:pt x="4127" y="1350"/>
                </a:lnTo>
                <a:lnTo>
                  <a:pt x="4124" y="1357"/>
                </a:lnTo>
                <a:lnTo>
                  <a:pt x="4121" y="1362"/>
                </a:lnTo>
                <a:lnTo>
                  <a:pt x="4118" y="1364"/>
                </a:lnTo>
                <a:lnTo>
                  <a:pt x="4116" y="1365"/>
                </a:lnTo>
                <a:lnTo>
                  <a:pt x="4111" y="1367"/>
                </a:lnTo>
                <a:lnTo>
                  <a:pt x="4108" y="1368"/>
                </a:lnTo>
                <a:lnTo>
                  <a:pt x="4096" y="1368"/>
                </a:lnTo>
                <a:lnTo>
                  <a:pt x="4085" y="1369"/>
                </a:lnTo>
                <a:lnTo>
                  <a:pt x="4074" y="1370"/>
                </a:lnTo>
                <a:lnTo>
                  <a:pt x="4067" y="1374"/>
                </a:lnTo>
                <a:lnTo>
                  <a:pt x="4061" y="1380"/>
                </a:lnTo>
                <a:lnTo>
                  <a:pt x="4055" y="1388"/>
                </a:lnTo>
                <a:lnTo>
                  <a:pt x="4054" y="1393"/>
                </a:lnTo>
                <a:lnTo>
                  <a:pt x="4053" y="1398"/>
                </a:lnTo>
                <a:lnTo>
                  <a:pt x="4052" y="1402"/>
                </a:lnTo>
                <a:lnTo>
                  <a:pt x="4053" y="1407"/>
                </a:lnTo>
                <a:lnTo>
                  <a:pt x="4056" y="1417"/>
                </a:lnTo>
                <a:lnTo>
                  <a:pt x="4061" y="1427"/>
                </a:lnTo>
                <a:lnTo>
                  <a:pt x="4067" y="1438"/>
                </a:lnTo>
                <a:lnTo>
                  <a:pt x="4072" y="1446"/>
                </a:lnTo>
                <a:lnTo>
                  <a:pt x="4077" y="1453"/>
                </a:lnTo>
                <a:lnTo>
                  <a:pt x="4080" y="1459"/>
                </a:lnTo>
                <a:lnTo>
                  <a:pt x="4083" y="1466"/>
                </a:lnTo>
                <a:lnTo>
                  <a:pt x="4085" y="1474"/>
                </a:lnTo>
                <a:lnTo>
                  <a:pt x="4087" y="1480"/>
                </a:lnTo>
                <a:lnTo>
                  <a:pt x="4092" y="1483"/>
                </a:lnTo>
                <a:lnTo>
                  <a:pt x="4096" y="1485"/>
                </a:lnTo>
                <a:lnTo>
                  <a:pt x="4100" y="1485"/>
                </a:lnTo>
                <a:lnTo>
                  <a:pt x="4105" y="1487"/>
                </a:lnTo>
                <a:lnTo>
                  <a:pt x="4110" y="1488"/>
                </a:lnTo>
                <a:lnTo>
                  <a:pt x="4115" y="1491"/>
                </a:lnTo>
                <a:lnTo>
                  <a:pt x="4121" y="1497"/>
                </a:lnTo>
                <a:lnTo>
                  <a:pt x="4124" y="1504"/>
                </a:lnTo>
                <a:lnTo>
                  <a:pt x="4128" y="1513"/>
                </a:lnTo>
                <a:lnTo>
                  <a:pt x="4129" y="1516"/>
                </a:lnTo>
                <a:lnTo>
                  <a:pt x="4130" y="1520"/>
                </a:lnTo>
                <a:lnTo>
                  <a:pt x="4130" y="1524"/>
                </a:lnTo>
                <a:lnTo>
                  <a:pt x="4129" y="1526"/>
                </a:lnTo>
                <a:lnTo>
                  <a:pt x="4125" y="1531"/>
                </a:lnTo>
                <a:lnTo>
                  <a:pt x="4122" y="1535"/>
                </a:lnTo>
                <a:lnTo>
                  <a:pt x="4121" y="1537"/>
                </a:lnTo>
                <a:lnTo>
                  <a:pt x="4121" y="1540"/>
                </a:lnTo>
                <a:lnTo>
                  <a:pt x="4121" y="1544"/>
                </a:lnTo>
                <a:lnTo>
                  <a:pt x="4123" y="1548"/>
                </a:lnTo>
                <a:lnTo>
                  <a:pt x="4130" y="1558"/>
                </a:lnTo>
                <a:lnTo>
                  <a:pt x="4135" y="1567"/>
                </a:lnTo>
                <a:lnTo>
                  <a:pt x="4137" y="1572"/>
                </a:lnTo>
                <a:lnTo>
                  <a:pt x="4139" y="1576"/>
                </a:lnTo>
                <a:lnTo>
                  <a:pt x="4140" y="1581"/>
                </a:lnTo>
                <a:lnTo>
                  <a:pt x="4140" y="1587"/>
                </a:lnTo>
                <a:lnTo>
                  <a:pt x="4139" y="1597"/>
                </a:lnTo>
                <a:lnTo>
                  <a:pt x="4136" y="1607"/>
                </a:lnTo>
                <a:lnTo>
                  <a:pt x="4136" y="1610"/>
                </a:lnTo>
                <a:lnTo>
                  <a:pt x="4137" y="1614"/>
                </a:lnTo>
                <a:lnTo>
                  <a:pt x="4140" y="1617"/>
                </a:lnTo>
                <a:lnTo>
                  <a:pt x="4143" y="1621"/>
                </a:lnTo>
                <a:lnTo>
                  <a:pt x="4156" y="1628"/>
                </a:lnTo>
                <a:lnTo>
                  <a:pt x="4174" y="1635"/>
                </a:lnTo>
                <a:lnTo>
                  <a:pt x="4182" y="1640"/>
                </a:lnTo>
                <a:lnTo>
                  <a:pt x="4191" y="1645"/>
                </a:lnTo>
                <a:lnTo>
                  <a:pt x="4197" y="1651"/>
                </a:lnTo>
                <a:lnTo>
                  <a:pt x="4200" y="1657"/>
                </a:lnTo>
                <a:lnTo>
                  <a:pt x="4203" y="1663"/>
                </a:lnTo>
                <a:lnTo>
                  <a:pt x="4205" y="1669"/>
                </a:lnTo>
                <a:lnTo>
                  <a:pt x="4205" y="1673"/>
                </a:lnTo>
                <a:lnTo>
                  <a:pt x="4206" y="1678"/>
                </a:lnTo>
                <a:lnTo>
                  <a:pt x="4205" y="1686"/>
                </a:lnTo>
                <a:lnTo>
                  <a:pt x="4205" y="1697"/>
                </a:lnTo>
                <a:lnTo>
                  <a:pt x="4205" y="1709"/>
                </a:lnTo>
                <a:lnTo>
                  <a:pt x="4209" y="1724"/>
                </a:lnTo>
                <a:lnTo>
                  <a:pt x="4211" y="1732"/>
                </a:lnTo>
                <a:lnTo>
                  <a:pt x="4213" y="1739"/>
                </a:lnTo>
                <a:lnTo>
                  <a:pt x="4217" y="1745"/>
                </a:lnTo>
                <a:lnTo>
                  <a:pt x="4221" y="1749"/>
                </a:lnTo>
                <a:lnTo>
                  <a:pt x="4228" y="1760"/>
                </a:lnTo>
                <a:lnTo>
                  <a:pt x="4235" y="1774"/>
                </a:lnTo>
                <a:lnTo>
                  <a:pt x="4240" y="1780"/>
                </a:lnTo>
                <a:lnTo>
                  <a:pt x="4243" y="1786"/>
                </a:lnTo>
                <a:lnTo>
                  <a:pt x="4248" y="1791"/>
                </a:lnTo>
                <a:lnTo>
                  <a:pt x="4251" y="1795"/>
                </a:lnTo>
                <a:lnTo>
                  <a:pt x="4256" y="1797"/>
                </a:lnTo>
                <a:lnTo>
                  <a:pt x="4261" y="1798"/>
                </a:lnTo>
                <a:lnTo>
                  <a:pt x="4267" y="1799"/>
                </a:lnTo>
                <a:lnTo>
                  <a:pt x="4273" y="1799"/>
                </a:lnTo>
                <a:lnTo>
                  <a:pt x="4279" y="1799"/>
                </a:lnTo>
                <a:lnTo>
                  <a:pt x="4285" y="1800"/>
                </a:lnTo>
                <a:lnTo>
                  <a:pt x="4289" y="1803"/>
                </a:lnTo>
                <a:lnTo>
                  <a:pt x="4293" y="1805"/>
                </a:lnTo>
                <a:lnTo>
                  <a:pt x="4300" y="1811"/>
                </a:lnTo>
                <a:lnTo>
                  <a:pt x="4307" y="1816"/>
                </a:lnTo>
                <a:lnTo>
                  <a:pt x="4317" y="1818"/>
                </a:lnTo>
                <a:lnTo>
                  <a:pt x="4326" y="1819"/>
                </a:lnTo>
                <a:lnTo>
                  <a:pt x="4331" y="1819"/>
                </a:lnTo>
                <a:lnTo>
                  <a:pt x="4333" y="1821"/>
                </a:lnTo>
                <a:lnTo>
                  <a:pt x="4336" y="1822"/>
                </a:lnTo>
                <a:lnTo>
                  <a:pt x="4336" y="1824"/>
                </a:lnTo>
                <a:lnTo>
                  <a:pt x="4335" y="1830"/>
                </a:lnTo>
                <a:lnTo>
                  <a:pt x="4331" y="1836"/>
                </a:lnTo>
                <a:lnTo>
                  <a:pt x="4330" y="1838"/>
                </a:lnTo>
                <a:lnTo>
                  <a:pt x="4330" y="1841"/>
                </a:lnTo>
                <a:lnTo>
                  <a:pt x="4330" y="1843"/>
                </a:lnTo>
                <a:lnTo>
                  <a:pt x="4332" y="1846"/>
                </a:lnTo>
                <a:lnTo>
                  <a:pt x="4337" y="1852"/>
                </a:lnTo>
                <a:lnTo>
                  <a:pt x="4343" y="1858"/>
                </a:lnTo>
                <a:lnTo>
                  <a:pt x="4352" y="1865"/>
                </a:lnTo>
                <a:lnTo>
                  <a:pt x="4366" y="1872"/>
                </a:lnTo>
                <a:lnTo>
                  <a:pt x="4374" y="1874"/>
                </a:lnTo>
                <a:lnTo>
                  <a:pt x="4381" y="1877"/>
                </a:lnTo>
                <a:lnTo>
                  <a:pt x="4388" y="1878"/>
                </a:lnTo>
                <a:lnTo>
                  <a:pt x="4395" y="1878"/>
                </a:lnTo>
                <a:lnTo>
                  <a:pt x="4401" y="1875"/>
                </a:lnTo>
                <a:lnTo>
                  <a:pt x="4407" y="1873"/>
                </a:lnTo>
                <a:lnTo>
                  <a:pt x="4412" y="1871"/>
                </a:lnTo>
                <a:lnTo>
                  <a:pt x="4415" y="1867"/>
                </a:lnTo>
                <a:lnTo>
                  <a:pt x="4424" y="1858"/>
                </a:lnTo>
                <a:lnTo>
                  <a:pt x="4431" y="1849"/>
                </a:lnTo>
                <a:lnTo>
                  <a:pt x="4435" y="1846"/>
                </a:lnTo>
                <a:lnTo>
                  <a:pt x="4439" y="1842"/>
                </a:lnTo>
                <a:lnTo>
                  <a:pt x="4443" y="1840"/>
                </a:lnTo>
                <a:lnTo>
                  <a:pt x="4448" y="1837"/>
                </a:lnTo>
                <a:lnTo>
                  <a:pt x="4451" y="1837"/>
                </a:lnTo>
                <a:lnTo>
                  <a:pt x="4455" y="1837"/>
                </a:lnTo>
                <a:lnTo>
                  <a:pt x="4458" y="1838"/>
                </a:lnTo>
                <a:lnTo>
                  <a:pt x="4462" y="1842"/>
                </a:lnTo>
                <a:lnTo>
                  <a:pt x="4464" y="1846"/>
                </a:lnTo>
                <a:lnTo>
                  <a:pt x="4468" y="1848"/>
                </a:lnTo>
                <a:lnTo>
                  <a:pt x="4470" y="1850"/>
                </a:lnTo>
                <a:lnTo>
                  <a:pt x="4475" y="1853"/>
                </a:lnTo>
                <a:lnTo>
                  <a:pt x="4484" y="1854"/>
                </a:lnTo>
                <a:lnTo>
                  <a:pt x="4495" y="1854"/>
                </a:lnTo>
                <a:lnTo>
                  <a:pt x="4507" y="1854"/>
                </a:lnTo>
                <a:lnTo>
                  <a:pt x="4517" y="1850"/>
                </a:lnTo>
                <a:lnTo>
                  <a:pt x="4520" y="1849"/>
                </a:lnTo>
                <a:lnTo>
                  <a:pt x="4522" y="1846"/>
                </a:lnTo>
                <a:lnTo>
                  <a:pt x="4525" y="1842"/>
                </a:lnTo>
                <a:lnTo>
                  <a:pt x="4527" y="1838"/>
                </a:lnTo>
                <a:lnTo>
                  <a:pt x="4531" y="1831"/>
                </a:lnTo>
                <a:lnTo>
                  <a:pt x="4536" y="1827"/>
                </a:lnTo>
                <a:lnTo>
                  <a:pt x="4539" y="1824"/>
                </a:lnTo>
                <a:lnTo>
                  <a:pt x="4543" y="1824"/>
                </a:lnTo>
                <a:lnTo>
                  <a:pt x="4546" y="1823"/>
                </a:lnTo>
                <a:lnTo>
                  <a:pt x="4552" y="1824"/>
                </a:lnTo>
                <a:lnTo>
                  <a:pt x="4563" y="1825"/>
                </a:lnTo>
                <a:lnTo>
                  <a:pt x="4574" y="1827"/>
                </a:lnTo>
                <a:lnTo>
                  <a:pt x="4582" y="1828"/>
                </a:lnTo>
                <a:lnTo>
                  <a:pt x="4591" y="1829"/>
                </a:lnTo>
                <a:lnTo>
                  <a:pt x="4595" y="1830"/>
                </a:lnTo>
                <a:lnTo>
                  <a:pt x="4597" y="1831"/>
                </a:lnTo>
                <a:lnTo>
                  <a:pt x="4600" y="1833"/>
                </a:lnTo>
                <a:lnTo>
                  <a:pt x="4601" y="1834"/>
                </a:lnTo>
                <a:lnTo>
                  <a:pt x="4601" y="1836"/>
                </a:lnTo>
                <a:lnTo>
                  <a:pt x="4601" y="1837"/>
                </a:lnTo>
                <a:lnTo>
                  <a:pt x="4599" y="1840"/>
                </a:lnTo>
                <a:lnTo>
                  <a:pt x="4596" y="1841"/>
                </a:lnTo>
                <a:lnTo>
                  <a:pt x="4590" y="1846"/>
                </a:lnTo>
                <a:lnTo>
                  <a:pt x="4587" y="1853"/>
                </a:lnTo>
                <a:lnTo>
                  <a:pt x="4585" y="1856"/>
                </a:lnTo>
                <a:lnTo>
                  <a:pt x="4585" y="1861"/>
                </a:lnTo>
                <a:lnTo>
                  <a:pt x="4587" y="1866"/>
                </a:lnTo>
                <a:lnTo>
                  <a:pt x="4589" y="1872"/>
                </a:lnTo>
                <a:lnTo>
                  <a:pt x="4596" y="1882"/>
                </a:lnTo>
                <a:lnTo>
                  <a:pt x="4605" y="1894"/>
                </a:lnTo>
                <a:lnTo>
                  <a:pt x="4613" y="1907"/>
                </a:lnTo>
                <a:lnTo>
                  <a:pt x="4621" y="1923"/>
                </a:lnTo>
                <a:lnTo>
                  <a:pt x="4627" y="1938"/>
                </a:lnTo>
                <a:lnTo>
                  <a:pt x="4634" y="1953"/>
                </a:lnTo>
                <a:lnTo>
                  <a:pt x="4638" y="1960"/>
                </a:lnTo>
                <a:lnTo>
                  <a:pt x="4641" y="1968"/>
                </a:lnTo>
                <a:lnTo>
                  <a:pt x="4647" y="1975"/>
                </a:lnTo>
                <a:lnTo>
                  <a:pt x="4653" y="1982"/>
                </a:lnTo>
                <a:lnTo>
                  <a:pt x="4660" y="1989"/>
                </a:lnTo>
                <a:lnTo>
                  <a:pt x="4668" y="1997"/>
                </a:lnTo>
                <a:lnTo>
                  <a:pt x="4675" y="2001"/>
                </a:lnTo>
                <a:lnTo>
                  <a:pt x="4681" y="2006"/>
                </a:lnTo>
                <a:lnTo>
                  <a:pt x="4694" y="2013"/>
                </a:lnTo>
                <a:lnTo>
                  <a:pt x="4704" y="2017"/>
                </a:lnTo>
                <a:lnTo>
                  <a:pt x="4715" y="2020"/>
                </a:lnTo>
                <a:lnTo>
                  <a:pt x="4726" y="2025"/>
                </a:lnTo>
                <a:lnTo>
                  <a:pt x="4731" y="2029"/>
                </a:lnTo>
                <a:lnTo>
                  <a:pt x="4734" y="2032"/>
                </a:lnTo>
                <a:lnTo>
                  <a:pt x="4739" y="2036"/>
                </a:lnTo>
                <a:lnTo>
                  <a:pt x="4741" y="2041"/>
                </a:lnTo>
                <a:lnTo>
                  <a:pt x="4748" y="2052"/>
                </a:lnTo>
                <a:lnTo>
                  <a:pt x="4757" y="2067"/>
                </a:lnTo>
                <a:lnTo>
                  <a:pt x="4765" y="2080"/>
                </a:lnTo>
                <a:lnTo>
                  <a:pt x="4772" y="2088"/>
                </a:lnTo>
                <a:lnTo>
                  <a:pt x="4776" y="2089"/>
                </a:lnTo>
                <a:lnTo>
                  <a:pt x="4779" y="2089"/>
                </a:lnTo>
                <a:lnTo>
                  <a:pt x="4784" y="2088"/>
                </a:lnTo>
                <a:lnTo>
                  <a:pt x="4789" y="2087"/>
                </a:lnTo>
                <a:lnTo>
                  <a:pt x="4797" y="2081"/>
                </a:lnTo>
                <a:lnTo>
                  <a:pt x="4805" y="2075"/>
                </a:lnTo>
                <a:lnTo>
                  <a:pt x="4809" y="2073"/>
                </a:lnTo>
                <a:lnTo>
                  <a:pt x="4817" y="2073"/>
                </a:lnTo>
                <a:lnTo>
                  <a:pt x="4826" y="2074"/>
                </a:lnTo>
                <a:lnTo>
                  <a:pt x="4836" y="2076"/>
                </a:lnTo>
                <a:lnTo>
                  <a:pt x="4845" y="2080"/>
                </a:lnTo>
                <a:lnTo>
                  <a:pt x="4852" y="2083"/>
                </a:lnTo>
                <a:lnTo>
                  <a:pt x="4854" y="2086"/>
                </a:lnTo>
                <a:lnTo>
                  <a:pt x="4857" y="2088"/>
                </a:lnTo>
                <a:lnTo>
                  <a:pt x="4857" y="2090"/>
                </a:lnTo>
                <a:lnTo>
                  <a:pt x="4857" y="2094"/>
                </a:lnTo>
                <a:lnTo>
                  <a:pt x="4852" y="2104"/>
                </a:lnTo>
                <a:lnTo>
                  <a:pt x="4848" y="2112"/>
                </a:lnTo>
                <a:lnTo>
                  <a:pt x="4847" y="2115"/>
                </a:lnTo>
                <a:lnTo>
                  <a:pt x="4846" y="2120"/>
                </a:lnTo>
                <a:lnTo>
                  <a:pt x="4846" y="2124"/>
                </a:lnTo>
                <a:lnTo>
                  <a:pt x="4847" y="2130"/>
                </a:lnTo>
                <a:lnTo>
                  <a:pt x="4849" y="2134"/>
                </a:lnTo>
                <a:lnTo>
                  <a:pt x="4853" y="2137"/>
                </a:lnTo>
                <a:lnTo>
                  <a:pt x="4857" y="2139"/>
                </a:lnTo>
                <a:lnTo>
                  <a:pt x="4861" y="2140"/>
                </a:lnTo>
                <a:lnTo>
                  <a:pt x="4870" y="2140"/>
                </a:lnTo>
                <a:lnTo>
                  <a:pt x="4876" y="2138"/>
                </a:lnTo>
                <a:lnTo>
                  <a:pt x="4879" y="2137"/>
                </a:lnTo>
                <a:lnTo>
                  <a:pt x="4883" y="2137"/>
                </a:lnTo>
                <a:lnTo>
                  <a:pt x="4887" y="2139"/>
                </a:lnTo>
                <a:lnTo>
                  <a:pt x="4891" y="2143"/>
                </a:lnTo>
                <a:lnTo>
                  <a:pt x="4902" y="2142"/>
                </a:lnTo>
                <a:lnTo>
                  <a:pt x="4922" y="2143"/>
                </a:lnTo>
                <a:lnTo>
                  <a:pt x="4941" y="2156"/>
                </a:lnTo>
                <a:lnTo>
                  <a:pt x="4955" y="2167"/>
                </a:lnTo>
                <a:lnTo>
                  <a:pt x="4967" y="2169"/>
                </a:lnTo>
                <a:lnTo>
                  <a:pt x="4980" y="2170"/>
                </a:lnTo>
                <a:lnTo>
                  <a:pt x="4994" y="2170"/>
                </a:lnTo>
                <a:lnTo>
                  <a:pt x="5006" y="2169"/>
                </a:lnTo>
                <a:lnTo>
                  <a:pt x="5013" y="2167"/>
                </a:lnTo>
                <a:lnTo>
                  <a:pt x="5019" y="2165"/>
                </a:lnTo>
                <a:lnTo>
                  <a:pt x="5022" y="2165"/>
                </a:lnTo>
                <a:lnTo>
                  <a:pt x="5024" y="2167"/>
                </a:lnTo>
                <a:lnTo>
                  <a:pt x="5028" y="2168"/>
                </a:lnTo>
                <a:lnTo>
                  <a:pt x="5032" y="2171"/>
                </a:lnTo>
                <a:lnTo>
                  <a:pt x="5042" y="2180"/>
                </a:lnTo>
                <a:lnTo>
                  <a:pt x="5053" y="2188"/>
                </a:lnTo>
                <a:lnTo>
                  <a:pt x="5062" y="2194"/>
                </a:lnTo>
                <a:lnTo>
                  <a:pt x="5069" y="2197"/>
                </a:lnTo>
                <a:lnTo>
                  <a:pt x="5076" y="2200"/>
                </a:lnTo>
                <a:lnTo>
                  <a:pt x="5084" y="2199"/>
                </a:lnTo>
                <a:lnTo>
                  <a:pt x="5091" y="2196"/>
                </a:lnTo>
                <a:lnTo>
                  <a:pt x="5097" y="2194"/>
                </a:lnTo>
                <a:lnTo>
                  <a:pt x="5099" y="2193"/>
                </a:lnTo>
                <a:lnTo>
                  <a:pt x="5104" y="2192"/>
                </a:lnTo>
                <a:lnTo>
                  <a:pt x="5107" y="2192"/>
                </a:lnTo>
                <a:lnTo>
                  <a:pt x="5112" y="2192"/>
                </a:lnTo>
                <a:lnTo>
                  <a:pt x="5117" y="2193"/>
                </a:lnTo>
                <a:lnTo>
                  <a:pt x="5120" y="2195"/>
                </a:lnTo>
                <a:lnTo>
                  <a:pt x="5124" y="2197"/>
                </a:lnTo>
                <a:lnTo>
                  <a:pt x="5126" y="2200"/>
                </a:lnTo>
                <a:lnTo>
                  <a:pt x="5130" y="2214"/>
                </a:lnTo>
                <a:lnTo>
                  <a:pt x="5133" y="2230"/>
                </a:lnTo>
                <a:lnTo>
                  <a:pt x="5135" y="2232"/>
                </a:lnTo>
                <a:lnTo>
                  <a:pt x="5137" y="2234"/>
                </a:lnTo>
                <a:lnTo>
                  <a:pt x="5139" y="2235"/>
                </a:lnTo>
                <a:lnTo>
                  <a:pt x="5143" y="2237"/>
                </a:lnTo>
                <a:lnTo>
                  <a:pt x="5150" y="2237"/>
                </a:lnTo>
                <a:lnTo>
                  <a:pt x="5160" y="2235"/>
                </a:lnTo>
                <a:lnTo>
                  <a:pt x="5170" y="2233"/>
                </a:lnTo>
                <a:lnTo>
                  <a:pt x="5182" y="2232"/>
                </a:lnTo>
                <a:lnTo>
                  <a:pt x="5188" y="2232"/>
                </a:lnTo>
                <a:lnTo>
                  <a:pt x="5194" y="2233"/>
                </a:lnTo>
                <a:lnTo>
                  <a:pt x="5199" y="2235"/>
                </a:lnTo>
                <a:lnTo>
                  <a:pt x="5202" y="2239"/>
                </a:lnTo>
                <a:lnTo>
                  <a:pt x="5207" y="2247"/>
                </a:lnTo>
                <a:lnTo>
                  <a:pt x="5212" y="2257"/>
                </a:lnTo>
                <a:lnTo>
                  <a:pt x="5218" y="2265"/>
                </a:lnTo>
                <a:lnTo>
                  <a:pt x="5225" y="2276"/>
                </a:lnTo>
                <a:lnTo>
                  <a:pt x="5233" y="2284"/>
                </a:lnTo>
                <a:lnTo>
                  <a:pt x="5239" y="2290"/>
                </a:lnTo>
                <a:lnTo>
                  <a:pt x="5243" y="2293"/>
                </a:lnTo>
                <a:lnTo>
                  <a:pt x="5246" y="2294"/>
                </a:lnTo>
                <a:lnTo>
                  <a:pt x="5250" y="2295"/>
                </a:lnTo>
                <a:lnTo>
                  <a:pt x="5255" y="2294"/>
                </a:lnTo>
                <a:lnTo>
                  <a:pt x="5262" y="2294"/>
                </a:lnTo>
                <a:lnTo>
                  <a:pt x="5268" y="2294"/>
                </a:lnTo>
                <a:lnTo>
                  <a:pt x="5270" y="2295"/>
                </a:lnTo>
                <a:lnTo>
                  <a:pt x="5273" y="2297"/>
                </a:lnTo>
                <a:lnTo>
                  <a:pt x="5274" y="2300"/>
                </a:lnTo>
                <a:lnTo>
                  <a:pt x="5275" y="2302"/>
                </a:lnTo>
                <a:lnTo>
                  <a:pt x="5277" y="2310"/>
                </a:lnTo>
                <a:lnTo>
                  <a:pt x="5281" y="2317"/>
                </a:lnTo>
                <a:lnTo>
                  <a:pt x="5283" y="2320"/>
                </a:lnTo>
                <a:lnTo>
                  <a:pt x="5287" y="2323"/>
                </a:lnTo>
                <a:lnTo>
                  <a:pt x="5290" y="2325"/>
                </a:lnTo>
                <a:lnTo>
                  <a:pt x="5296" y="2326"/>
                </a:lnTo>
                <a:lnTo>
                  <a:pt x="5306" y="2325"/>
                </a:lnTo>
                <a:lnTo>
                  <a:pt x="5313" y="2322"/>
                </a:lnTo>
                <a:lnTo>
                  <a:pt x="5320" y="2319"/>
                </a:lnTo>
                <a:lnTo>
                  <a:pt x="5328" y="2312"/>
                </a:lnTo>
                <a:lnTo>
                  <a:pt x="5333" y="2308"/>
                </a:lnTo>
                <a:lnTo>
                  <a:pt x="5339" y="2306"/>
                </a:lnTo>
                <a:lnTo>
                  <a:pt x="5345" y="2303"/>
                </a:lnTo>
                <a:lnTo>
                  <a:pt x="5352" y="2302"/>
                </a:lnTo>
                <a:lnTo>
                  <a:pt x="5366" y="2302"/>
                </a:lnTo>
                <a:lnTo>
                  <a:pt x="5377" y="2302"/>
                </a:lnTo>
                <a:lnTo>
                  <a:pt x="5382" y="2303"/>
                </a:lnTo>
                <a:lnTo>
                  <a:pt x="5387" y="2306"/>
                </a:lnTo>
                <a:lnTo>
                  <a:pt x="5390" y="2307"/>
                </a:lnTo>
                <a:lnTo>
                  <a:pt x="5395" y="2310"/>
                </a:lnTo>
                <a:lnTo>
                  <a:pt x="5402" y="2317"/>
                </a:lnTo>
                <a:lnTo>
                  <a:pt x="5408" y="2327"/>
                </a:lnTo>
                <a:lnTo>
                  <a:pt x="5414" y="2338"/>
                </a:lnTo>
                <a:lnTo>
                  <a:pt x="5420" y="2347"/>
                </a:lnTo>
                <a:lnTo>
                  <a:pt x="5424" y="2351"/>
                </a:lnTo>
                <a:lnTo>
                  <a:pt x="5427" y="2353"/>
                </a:lnTo>
                <a:lnTo>
                  <a:pt x="5431" y="2354"/>
                </a:lnTo>
                <a:lnTo>
                  <a:pt x="5435" y="2354"/>
                </a:lnTo>
                <a:lnTo>
                  <a:pt x="5444" y="2353"/>
                </a:lnTo>
                <a:lnTo>
                  <a:pt x="5451" y="2353"/>
                </a:lnTo>
                <a:lnTo>
                  <a:pt x="5454" y="2354"/>
                </a:lnTo>
                <a:lnTo>
                  <a:pt x="5457" y="2356"/>
                </a:lnTo>
                <a:lnTo>
                  <a:pt x="5459" y="2357"/>
                </a:lnTo>
                <a:lnTo>
                  <a:pt x="5462" y="2359"/>
                </a:lnTo>
                <a:lnTo>
                  <a:pt x="5468" y="2365"/>
                </a:lnTo>
                <a:lnTo>
                  <a:pt x="5478" y="2370"/>
                </a:lnTo>
                <a:lnTo>
                  <a:pt x="5489" y="2373"/>
                </a:lnTo>
                <a:lnTo>
                  <a:pt x="5498" y="2376"/>
                </a:lnTo>
                <a:lnTo>
                  <a:pt x="5507" y="2375"/>
                </a:lnTo>
                <a:lnTo>
                  <a:pt x="5514" y="2372"/>
                </a:lnTo>
                <a:lnTo>
                  <a:pt x="5520" y="2367"/>
                </a:lnTo>
                <a:lnTo>
                  <a:pt x="5526" y="2361"/>
                </a:lnTo>
                <a:lnTo>
                  <a:pt x="5529" y="2358"/>
                </a:lnTo>
                <a:lnTo>
                  <a:pt x="5533" y="2356"/>
                </a:lnTo>
                <a:lnTo>
                  <a:pt x="5536" y="2354"/>
                </a:lnTo>
                <a:lnTo>
                  <a:pt x="5541" y="2354"/>
                </a:lnTo>
                <a:lnTo>
                  <a:pt x="5550" y="2354"/>
                </a:lnTo>
                <a:lnTo>
                  <a:pt x="5558" y="2356"/>
                </a:lnTo>
                <a:lnTo>
                  <a:pt x="5569" y="2357"/>
                </a:lnTo>
                <a:lnTo>
                  <a:pt x="5578" y="2357"/>
                </a:lnTo>
                <a:lnTo>
                  <a:pt x="5584" y="2357"/>
                </a:lnTo>
                <a:lnTo>
                  <a:pt x="5588" y="2354"/>
                </a:lnTo>
                <a:lnTo>
                  <a:pt x="5592" y="2352"/>
                </a:lnTo>
                <a:lnTo>
                  <a:pt x="5595" y="2348"/>
                </a:lnTo>
                <a:lnTo>
                  <a:pt x="5599" y="2342"/>
                </a:lnTo>
                <a:lnTo>
                  <a:pt x="5605" y="2339"/>
                </a:lnTo>
                <a:lnTo>
                  <a:pt x="5614" y="2337"/>
                </a:lnTo>
                <a:lnTo>
                  <a:pt x="5627" y="2335"/>
                </a:lnTo>
                <a:lnTo>
                  <a:pt x="5641" y="2335"/>
                </a:lnTo>
                <a:lnTo>
                  <a:pt x="5655" y="2333"/>
                </a:lnTo>
                <a:lnTo>
                  <a:pt x="5661" y="2332"/>
                </a:lnTo>
                <a:lnTo>
                  <a:pt x="5666" y="2331"/>
                </a:lnTo>
                <a:lnTo>
                  <a:pt x="5671" y="2328"/>
                </a:lnTo>
                <a:lnTo>
                  <a:pt x="5673" y="2325"/>
                </a:lnTo>
                <a:lnTo>
                  <a:pt x="5679" y="2319"/>
                </a:lnTo>
                <a:lnTo>
                  <a:pt x="5684" y="2314"/>
                </a:lnTo>
                <a:lnTo>
                  <a:pt x="5685" y="2313"/>
                </a:lnTo>
                <a:lnTo>
                  <a:pt x="5689" y="2313"/>
                </a:lnTo>
                <a:lnTo>
                  <a:pt x="5691" y="2314"/>
                </a:lnTo>
                <a:lnTo>
                  <a:pt x="5695" y="2317"/>
                </a:lnTo>
                <a:lnTo>
                  <a:pt x="5703" y="2327"/>
                </a:lnTo>
                <a:lnTo>
                  <a:pt x="5715" y="2337"/>
                </a:lnTo>
                <a:lnTo>
                  <a:pt x="5724" y="2346"/>
                </a:lnTo>
                <a:lnTo>
                  <a:pt x="5731" y="2353"/>
                </a:lnTo>
                <a:lnTo>
                  <a:pt x="5735" y="2359"/>
                </a:lnTo>
                <a:lnTo>
                  <a:pt x="5737" y="2365"/>
                </a:lnTo>
                <a:lnTo>
                  <a:pt x="5740" y="2372"/>
                </a:lnTo>
                <a:lnTo>
                  <a:pt x="5741" y="2380"/>
                </a:lnTo>
                <a:lnTo>
                  <a:pt x="5745" y="2390"/>
                </a:lnTo>
                <a:lnTo>
                  <a:pt x="5748" y="2397"/>
                </a:lnTo>
                <a:lnTo>
                  <a:pt x="5750" y="2401"/>
                </a:lnTo>
                <a:lnTo>
                  <a:pt x="5754" y="2403"/>
                </a:lnTo>
                <a:lnTo>
                  <a:pt x="5758" y="2404"/>
                </a:lnTo>
                <a:lnTo>
                  <a:pt x="5761" y="2405"/>
                </a:lnTo>
                <a:lnTo>
                  <a:pt x="5768" y="2407"/>
                </a:lnTo>
                <a:lnTo>
                  <a:pt x="5773" y="2409"/>
                </a:lnTo>
                <a:lnTo>
                  <a:pt x="5775" y="2411"/>
                </a:lnTo>
                <a:lnTo>
                  <a:pt x="5777" y="2414"/>
                </a:lnTo>
                <a:lnTo>
                  <a:pt x="5778" y="2416"/>
                </a:lnTo>
                <a:lnTo>
                  <a:pt x="5779" y="2420"/>
                </a:lnTo>
                <a:lnTo>
                  <a:pt x="5780" y="2421"/>
                </a:lnTo>
                <a:lnTo>
                  <a:pt x="5783" y="2422"/>
                </a:lnTo>
                <a:lnTo>
                  <a:pt x="5786" y="2422"/>
                </a:lnTo>
                <a:lnTo>
                  <a:pt x="5792" y="2420"/>
                </a:lnTo>
                <a:lnTo>
                  <a:pt x="5796" y="2417"/>
                </a:lnTo>
                <a:lnTo>
                  <a:pt x="5800" y="2417"/>
                </a:lnTo>
                <a:lnTo>
                  <a:pt x="5805" y="2417"/>
                </a:lnTo>
                <a:lnTo>
                  <a:pt x="5809" y="2419"/>
                </a:lnTo>
                <a:lnTo>
                  <a:pt x="5816" y="2422"/>
                </a:lnTo>
                <a:lnTo>
                  <a:pt x="5822" y="2428"/>
                </a:lnTo>
                <a:lnTo>
                  <a:pt x="5827" y="2433"/>
                </a:lnTo>
                <a:lnTo>
                  <a:pt x="5832" y="2435"/>
                </a:lnTo>
                <a:lnTo>
                  <a:pt x="5838" y="2438"/>
                </a:lnTo>
                <a:lnTo>
                  <a:pt x="5846" y="2440"/>
                </a:lnTo>
                <a:lnTo>
                  <a:pt x="5859" y="2442"/>
                </a:lnTo>
                <a:lnTo>
                  <a:pt x="5872" y="2445"/>
                </a:lnTo>
                <a:lnTo>
                  <a:pt x="5876" y="2447"/>
                </a:lnTo>
                <a:lnTo>
                  <a:pt x="5881" y="2449"/>
                </a:lnTo>
                <a:lnTo>
                  <a:pt x="5884" y="2452"/>
                </a:lnTo>
                <a:lnTo>
                  <a:pt x="5885" y="2455"/>
                </a:lnTo>
                <a:lnTo>
                  <a:pt x="5886" y="2460"/>
                </a:lnTo>
                <a:lnTo>
                  <a:pt x="5888" y="2465"/>
                </a:lnTo>
                <a:lnTo>
                  <a:pt x="5890" y="2467"/>
                </a:lnTo>
                <a:lnTo>
                  <a:pt x="5890" y="2468"/>
                </a:lnTo>
                <a:lnTo>
                  <a:pt x="5888" y="2470"/>
                </a:lnTo>
                <a:lnTo>
                  <a:pt x="5886" y="2471"/>
                </a:lnTo>
                <a:lnTo>
                  <a:pt x="5880" y="2472"/>
                </a:lnTo>
                <a:lnTo>
                  <a:pt x="5872" y="2472"/>
                </a:lnTo>
                <a:lnTo>
                  <a:pt x="5851" y="2473"/>
                </a:lnTo>
                <a:lnTo>
                  <a:pt x="5837" y="2476"/>
                </a:lnTo>
                <a:lnTo>
                  <a:pt x="5836" y="2476"/>
                </a:lnTo>
                <a:lnTo>
                  <a:pt x="5836" y="2478"/>
                </a:lnTo>
                <a:lnTo>
                  <a:pt x="5837" y="2480"/>
                </a:lnTo>
                <a:lnTo>
                  <a:pt x="5840" y="2482"/>
                </a:lnTo>
                <a:lnTo>
                  <a:pt x="5846" y="2486"/>
                </a:lnTo>
                <a:lnTo>
                  <a:pt x="5850" y="2490"/>
                </a:lnTo>
                <a:lnTo>
                  <a:pt x="5857" y="2495"/>
                </a:lnTo>
                <a:lnTo>
                  <a:pt x="5865" y="2498"/>
                </a:lnTo>
                <a:lnTo>
                  <a:pt x="5873" y="2499"/>
                </a:lnTo>
                <a:lnTo>
                  <a:pt x="5881" y="2501"/>
                </a:lnTo>
                <a:lnTo>
                  <a:pt x="5884" y="2502"/>
                </a:lnTo>
                <a:lnTo>
                  <a:pt x="5886" y="2503"/>
                </a:lnTo>
                <a:lnTo>
                  <a:pt x="5887" y="2506"/>
                </a:lnTo>
                <a:lnTo>
                  <a:pt x="5890" y="2509"/>
                </a:lnTo>
                <a:lnTo>
                  <a:pt x="5892" y="2518"/>
                </a:lnTo>
                <a:lnTo>
                  <a:pt x="5894" y="2528"/>
                </a:lnTo>
                <a:lnTo>
                  <a:pt x="5897" y="2549"/>
                </a:lnTo>
                <a:lnTo>
                  <a:pt x="5899" y="2564"/>
                </a:lnTo>
                <a:lnTo>
                  <a:pt x="5900" y="2566"/>
                </a:lnTo>
                <a:lnTo>
                  <a:pt x="5903" y="2568"/>
                </a:lnTo>
                <a:lnTo>
                  <a:pt x="5906" y="2568"/>
                </a:lnTo>
                <a:lnTo>
                  <a:pt x="5910" y="2568"/>
                </a:lnTo>
                <a:lnTo>
                  <a:pt x="5919" y="2566"/>
                </a:lnTo>
                <a:lnTo>
                  <a:pt x="5929" y="2566"/>
                </a:lnTo>
                <a:lnTo>
                  <a:pt x="5936" y="2567"/>
                </a:lnTo>
                <a:lnTo>
                  <a:pt x="5941" y="2568"/>
                </a:lnTo>
                <a:lnTo>
                  <a:pt x="5943" y="2569"/>
                </a:lnTo>
                <a:lnTo>
                  <a:pt x="5944" y="2571"/>
                </a:lnTo>
                <a:lnTo>
                  <a:pt x="5944" y="2574"/>
                </a:lnTo>
                <a:lnTo>
                  <a:pt x="5945" y="2578"/>
                </a:lnTo>
                <a:lnTo>
                  <a:pt x="5945" y="2586"/>
                </a:lnTo>
                <a:lnTo>
                  <a:pt x="5944" y="2594"/>
                </a:lnTo>
                <a:lnTo>
                  <a:pt x="5941" y="2603"/>
                </a:lnTo>
                <a:lnTo>
                  <a:pt x="5938" y="2610"/>
                </a:lnTo>
                <a:lnTo>
                  <a:pt x="5935" y="2615"/>
                </a:lnTo>
                <a:lnTo>
                  <a:pt x="5934" y="2618"/>
                </a:lnTo>
                <a:lnTo>
                  <a:pt x="5932" y="2622"/>
                </a:lnTo>
                <a:lnTo>
                  <a:pt x="5932" y="2625"/>
                </a:lnTo>
                <a:lnTo>
                  <a:pt x="5932" y="2630"/>
                </a:lnTo>
                <a:lnTo>
                  <a:pt x="5931" y="2635"/>
                </a:lnTo>
                <a:lnTo>
                  <a:pt x="5928" y="2640"/>
                </a:lnTo>
                <a:lnTo>
                  <a:pt x="5922" y="2642"/>
                </a:lnTo>
                <a:lnTo>
                  <a:pt x="5919" y="2643"/>
                </a:lnTo>
                <a:lnTo>
                  <a:pt x="5917" y="2644"/>
                </a:lnTo>
                <a:lnTo>
                  <a:pt x="5915" y="2647"/>
                </a:lnTo>
                <a:lnTo>
                  <a:pt x="5912" y="2649"/>
                </a:lnTo>
                <a:lnTo>
                  <a:pt x="5910" y="2653"/>
                </a:lnTo>
                <a:lnTo>
                  <a:pt x="5910" y="2657"/>
                </a:lnTo>
                <a:lnTo>
                  <a:pt x="5909" y="2662"/>
                </a:lnTo>
                <a:lnTo>
                  <a:pt x="5910" y="2668"/>
                </a:lnTo>
                <a:lnTo>
                  <a:pt x="5912" y="2682"/>
                </a:lnTo>
                <a:lnTo>
                  <a:pt x="5918" y="2699"/>
                </a:lnTo>
                <a:lnTo>
                  <a:pt x="5925" y="2717"/>
                </a:lnTo>
                <a:lnTo>
                  <a:pt x="5934" y="2733"/>
                </a:lnTo>
                <a:lnTo>
                  <a:pt x="5942" y="2747"/>
                </a:lnTo>
                <a:lnTo>
                  <a:pt x="5950" y="2757"/>
                </a:lnTo>
                <a:lnTo>
                  <a:pt x="5957" y="2763"/>
                </a:lnTo>
                <a:lnTo>
                  <a:pt x="5963" y="2767"/>
                </a:lnTo>
                <a:lnTo>
                  <a:pt x="5966" y="2767"/>
                </a:lnTo>
                <a:lnTo>
                  <a:pt x="5968" y="2767"/>
                </a:lnTo>
                <a:lnTo>
                  <a:pt x="5972" y="2766"/>
                </a:lnTo>
                <a:lnTo>
                  <a:pt x="5975" y="2764"/>
                </a:lnTo>
                <a:lnTo>
                  <a:pt x="5981" y="2761"/>
                </a:lnTo>
                <a:lnTo>
                  <a:pt x="5988" y="2757"/>
                </a:lnTo>
                <a:lnTo>
                  <a:pt x="5994" y="2754"/>
                </a:lnTo>
                <a:lnTo>
                  <a:pt x="6001" y="2754"/>
                </a:lnTo>
                <a:lnTo>
                  <a:pt x="6010" y="2755"/>
                </a:lnTo>
                <a:lnTo>
                  <a:pt x="6018" y="2757"/>
                </a:lnTo>
                <a:lnTo>
                  <a:pt x="6026" y="2761"/>
                </a:lnTo>
                <a:lnTo>
                  <a:pt x="6035" y="2766"/>
                </a:lnTo>
                <a:lnTo>
                  <a:pt x="6038" y="2768"/>
                </a:lnTo>
                <a:lnTo>
                  <a:pt x="6042" y="2772"/>
                </a:lnTo>
                <a:lnTo>
                  <a:pt x="6044" y="2775"/>
                </a:lnTo>
                <a:lnTo>
                  <a:pt x="6046" y="2780"/>
                </a:lnTo>
                <a:lnTo>
                  <a:pt x="6049" y="2783"/>
                </a:lnTo>
                <a:lnTo>
                  <a:pt x="6051" y="2785"/>
                </a:lnTo>
                <a:lnTo>
                  <a:pt x="6054" y="2785"/>
                </a:lnTo>
                <a:lnTo>
                  <a:pt x="6056" y="2783"/>
                </a:lnTo>
                <a:lnTo>
                  <a:pt x="6062" y="2777"/>
                </a:lnTo>
                <a:lnTo>
                  <a:pt x="6070" y="2772"/>
                </a:lnTo>
                <a:lnTo>
                  <a:pt x="6074" y="2768"/>
                </a:lnTo>
                <a:lnTo>
                  <a:pt x="6077" y="2762"/>
                </a:lnTo>
                <a:lnTo>
                  <a:pt x="6082" y="2756"/>
                </a:lnTo>
                <a:lnTo>
                  <a:pt x="6087" y="2749"/>
                </a:lnTo>
                <a:lnTo>
                  <a:pt x="6090" y="2743"/>
                </a:lnTo>
                <a:lnTo>
                  <a:pt x="6094" y="2738"/>
                </a:lnTo>
                <a:lnTo>
                  <a:pt x="6096" y="2737"/>
                </a:lnTo>
                <a:lnTo>
                  <a:pt x="6098" y="2736"/>
                </a:lnTo>
                <a:lnTo>
                  <a:pt x="6100" y="2736"/>
                </a:lnTo>
                <a:lnTo>
                  <a:pt x="6101" y="2737"/>
                </a:lnTo>
                <a:lnTo>
                  <a:pt x="6108" y="2745"/>
                </a:lnTo>
                <a:lnTo>
                  <a:pt x="6115" y="2757"/>
                </a:lnTo>
                <a:lnTo>
                  <a:pt x="6119" y="2763"/>
                </a:lnTo>
                <a:lnTo>
                  <a:pt x="6124" y="2768"/>
                </a:lnTo>
                <a:lnTo>
                  <a:pt x="6127" y="2772"/>
                </a:lnTo>
                <a:lnTo>
                  <a:pt x="6131" y="2774"/>
                </a:lnTo>
                <a:lnTo>
                  <a:pt x="6136" y="2775"/>
                </a:lnTo>
                <a:lnTo>
                  <a:pt x="6140" y="2779"/>
                </a:lnTo>
                <a:lnTo>
                  <a:pt x="6146" y="2785"/>
                </a:lnTo>
                <a:lnTo>
                  <a:pt x="6152" y="2792"/>
                </a:lnTo>
                <a:lnTo>
                  <a:pt x="6158" y="2799"/>
                </a:lnTo>
                <a:lnTo>
                  <a:pt x="6163" y="2806"/>
                </a:lnTo>
                <a:lnTo>
                  <a:pt x="6165" y="2812"/>
                </a:lnTo>
                <a:lnTo>
                  <a:pt x="6168" y="2817"/>
                </a:lnTo>
                <a:lnTo>
                  <a:pt x="6168" y="2833"/>
                </a:lnTo>
                <a:lnTo>
                  <a:pt x="6168" y="2850"/>
                </a:lnTo>
                <a:lnTo>
                  <a:pt x="6170" y="2854"/>
                </a:lnTo>
                <a:lnTo>
                  <a:pt x="6172" y="2858"/>
                </a:lnTo>
                <a:lnTo>
                  <a:pt x="6176" y="2862"/>
                </a:lnTo>
                <a:lnTo>
                  <a:pt x="6181" y="2865"/>
                </a:lnTo>
                <a:lnTo>
                  <a:pt x="6187" y="2868"/>
                </a:lnTo>
                <a:lnTo>
                  <a:pt x="6191" y="2870"/>
                </a:lnTo>
                <a:lnTo>
                  <a:pt x="6196" y="2869"/>
                </a:lnTo>
                <a:lnTo>
                  <a:pt x="6201" y="2868"/>
                </a:lnTo>
                <a:lnTo>
                  <a:pt x="6205" y="2865"/>
                </a:lnTo>
                <a:lnTo>
                  <a:pt x="6206" y="2862"/>
                </a:lnTo>
                <a:lnTo>
                  <a:pt x="6207" y="2859"/>
                </a:lnTo>
                <a:lnTo>
                  <a:pt x="6207" y="2858"/>
                </a:lnTo>
                <a:lnTo>
                  <a:pt x="6206" y="2856"/>
                </a:lnTo>
                <a:lnTo>
                  <a:pt x="6205" y="2855"/>
                </a:lnTo>
                <a:lnTo>
                  <a:pt x="6202" y="2855"/>
                </a:lnTo>
                <a:lnTo>
                  <a:pt x="6199" y="2855"/>
                </a:lnTo>
                <a:lnTo>
                  <a:pt x="6196" y="2855"/>
                </a:lnTo>
                <a:lnTo>
                  <a:pt x="6194" y="2855"/>
                </a:lnTo>
                <a:lnTo>
                  <a:pt x="6193" y="2852"/>
                </a:lnTo>
                <a:lnTo>
                  <a:pt x="6193" y="2850"/>
                </a:lnTo>
                <a:lnTo>
                  <a:pt x="6193" y="2848"/>
                </a:lnTo>
                <a:lnTo>
                  <a:pt x="6194" y="2844"/>
                </a:lnTo>
                <a:lnTo>
                  <a:pt x="6195" y="2840"/>
                </a:lnTo>
                <a:lnTo>
                  <a:pt x="6199" y="2837"/>
                </a:lnTo>
                <a:lnTo>
                  <a:pt x="6205" y="2829"/>
                </a:lnTo>
                <a:lnTo>
                  <a:pt x="6211" y="2819"/>
                </a:lnTo>
                <a:lnTo>
                  <a:pt x="6212" y="2814"/>
                </a:lnTo>
                <a:lnTo>
                  <a:pt x="6212" y="2810"/>
                </a:lnTo>
                <a:lnTo>
                  <a:pt x="6212" y="2804"/>
                </a:lnTo>
                <a:lnTo>
                  <a:pt x="6208" y="2799"/>
                </a:lnTo>
                <a:lnTo>
                  <a:pt x="6203" y="2791"/>
                </a:lnTo>
                <a:lnTo>
                  <a:pt x="6202" y="2785"/>
                </a:lnTo>
                <a:lnTo>
                  <a:pt x="6202" y="2779"/>
                </a:lnTo>
                <a:lnTo>
                  <a:pt x="6202" y="2769"/>
                </a:lnTo>
                <a:lnTo>
                  <a:pt x="6201" y="2763"/>
                </a:lnTo>
                <a:lnTo>
                  <a:pt x="6199" y="2758"/>
                </a:lnTo>
                <a:lnTo>
                  <a:pt x="6196" y="2754"/>
                </a:lnTo>
                <a:lnTo>
                  <a:pt x="6194" y="2749"/>
                </a:lnTo>
                <a:lnTo>
                  <a:pt x="6191" y="2745"/>
                </a:lnTo>
                <a:lnTo>
                  <a:pt x="6191" y="2742"/>
                </a:lnTo>
                <a:lnTo>
                  <a:pt x="6191" y="2741"/>
                </a:lnTo>
                <a:lnTo>
                  <a:pt x="6195" y="2739"/>
                </a:lnTo>
                <a:lnTo>
                  <a:pt x="6199" y="2739"/>
                </a:lnTo>
                <a:lnTo>
                  <a:pt x="6201" y="2738"/>
                </a:lnTo>
                <a:lnTo>
                  <a:pt x="6203" y="2738"/>
                </a:lnTo>
                <a:lnTo>
                  <a:pt x="6205" y="2737"/>
                </a:lnTo>
                <a:lnTo>
                  <a:pt x="6206" y="2732"/>
                </a:lnTo>
                <a:lnTo>
                  <a:pt x="6206" y="2725"/>
                </a:lnTo>
                <a:lnTo>
                  <a:pt x="6206" y="2720"/>
                </a:lnTo>
                <a:lnTo>
                  <a:pt x="6207" y="2717"/>
                </a:lnTo>
                <a:lnTo>
                  <a:pt x="6209" y="2714"/>
                </a:lnTo>
                <a:lnTo>
                  <a:pt x="6212" y="2712"/>
                </a:lnTo>
                <a:lnTo>
                  <a:pt x="6215" y="2711"/>
                </a:lnTo>
                <a:lnTo>
                  <a:pt x="6220" y="2709"/>
                </a:lnTo>
                <a:lnTo>
                  <a:pt x="6226" y="2709"/>
                </a:lnTo>
                <a:lnTo>
                  <a:pt x="6233" y="2707"/>
                </a:lnTo>
                <a:lnTo>
                  <a:pt x="6239" y="2709"/>
                </a:lnTo>
                <a:lnTo>
                  <a:pt x="6245" y="2709"/>
                </a:lnTo>
                <a:lnTo>
                  <a:pt x="6249" y="2711"/>
                </a:lnTo>
                <a:lnTo>
                  <a:pt x="6252" y="2712"/>
                </a:lnTo>
                <a:lnTo>
                  <a:pt x="6254" y="2716"/>
                </a:lnTo>
                <a:lnTo>
                  <a:pt x="6256" y="2718"/>
                </a:lnTo>
                <a:lnTo>
                  <a:pt x="6257" y="2722"/>
                </a:lnTo>
                <a:lnTo>
                  <a:pt x="6257" y="2726"/>
                </a:lnTo>
                <a:lnTo>
                  <a:pt x="6257" y="2735"/>
                </a:lnTo>
                <a:lnTo>
                  <a:pt x="6258" y="2741"/>
                </a:lnTo>
                <a:lnTo>
                  <a:pt x="6260" y="2744"/>
                </a:lnTo>
                <a:lnTo>
                  <a:pt x="6262" y="2748"/>
                </a:lnTo>
                <a:lnTo>
                  <a:pt x="6265" y="2750"/>
                </a:lnTo>
                <a:lnTo>
                  <a:pt x="6269" y="2754"/>
                </a:lnTo>
                <a:lnTo>
                  <a:pt x="6272" y="2756"/>
                </a:lnTo>
                <a:lnTo>
                  <a:pt x="6275" y="2760"/>
                </a:lnTo>
                <a:lnTo>
                  <a:pt x="6276" y="2763"/>
                </a:lnTo>
                <a:lnTo>
                  <a:pt x="6277" y="2767"/>
                </a:lnTo>
                <a:lnTo>
                  <a:pt x="6278" y="2774"/>
                </a:lnTo>
                <a:lnTo>
                  <a:pt x="6278" y="2781"/>
                </a:lnTo>
                <a:lnTo>
                  <a:pt x="6279" y="2785"/>
                </a:lnTo>
                <a:lnTo>
                  <a:pt x="6281" y="2789"/>
                </a:lnTo>
                <a:lnTo>
                  <a:pt x="6284" y="2792"/>
                </a:lnTo>
                <a:lnTo>
                  <a:pt x="6288" y="2795"/>
                </a:lnTo>
                <a:lnTo>
                  <a:pt x="6297" y="2800"/>
                </a:lnTo>
                <a:lnTo>
                  <a:pt x="6308" y="2805"/>
                </a:lnTo>
                <a:lnTo>
                  <a:pt x="6325" y="2810"/>
                </a:lnTo>
                <a:lnTo>
                  <a:pt x="6347" y="2818"/>
                </a:lnTo>
                <a:lnTo>
                  <a:pt x="6369" y="2826"/>
                </a:lnTo>
                <a:lnTo>
                  <a:pt x="6384" y="2833"/>
                </a:lnTo>
                <a:lnTo>
                  <a:pt x="6394" y="2839"/>
                </a:lnTo>
                <a:lnTo>
                  <a:pt x="6403" y="2844"/>
                </a:lnTo>
                <a:lnTo>
                  <a:pt x="6407" y="2845"/>
                </a:lnTo>
                <a:lnTo>
                  <a:pt x="6411" y="2846"/>
                </a:lnTo>
                <a:lnTo>
                  <a:pt x="6415" y="2845"/>
                </a:lnTo>
                <a:lnTo>
                  <a:pt x="6417" y="2845"/>
                </a:lnTo>
                <a:lnTo>
                  <a:pt x="6421" y="2843"/>
                </a:lnTo>
                <a:lnTo>
                  <a:pt x="6422" y="2838"/>
                </a:lnTo>
                <a:lnTo>
                  <a:pt x="6423" y="2835"/>
                </a:lnTo>
                <a:lnTo>
                  <a:pt x="6422" y="2829"/>
                </a:lnTo>
                <a:lnTo>
                  <a:pt x="6421" y="2823"/>
                </a:lnTo>
                <a:lnTo>
                  <a:pt x="6419" y="2817"/>
                </a:lnTo>
                <a:lnTo>
                  <a:pt x="6416" y="2811"/>
                </a:lnTo>
                <a:lnTo>
                  <a:pt x="6413" y="2806"/>
                </a:lnTo>
                <a:lnTo>
                  <a:pt x="6407" y="2796"/>
                </a:lnTo>
                <a:lnTo>
                  <a:pt x="6402" y="2787"/>
                </a:lnTo>
                <a:lnTo>
                  <a:pt x="6402" y="2782"/>
                </a:lnTo>
                <a:lnTo>
                  <a:pt x="6402" y="2777"/>
                </a:lnTo>
                <a:lnTo>
                  <a:pt x="6402" y="2772"/>
                </a:lnTo>
                <a:lnTo>
                  <a:pt x="6404" y="2766"/>
                </a:lnTo>
                <a:lnTo>
                  <a:pt x="6408" y="2755"/>
                </a:lnTo>
                <a:lnTo>
                  <a:pt x="6409" y="2745"/>
                </a:lnTo>
                <a:lnTo>
                  <a:pt x="6409" y="2741"/>
                </a:lnTo>
                <a:lnTo>
                  <a:pt x="6408" y="2736"/>
                </a:lnTo>
                <a:lnTo>
                  <a:pt x="6407" y="2731"/>
                </a:lnTo>
                <a:lnTo>
                  <a:pt x="6404" y="2725"/>
                </a:lnTo>
                <a:lnTo>
                  <a:pt x="6401" y="2714"/>
                </a:lnTo>
                <a:lnTo>
                  <a:pt x="6398" y="2705"/>
                </a:lnTo>
                <a:lnTo>
                  <a:pt x="6400" y="2701"/>
                </a:lnTo>
                <a:lnTo>
                  <a:pt x="6401" y="2699"/>
                </a:lnTo>
                <a:lnTo>
                  <a:pt x="6402" y="2697"/>
                </a:lnTo>
                <a:lnTo>
                  <a:pt x="6404" y="2697"/>
                </a:lnTo>
                <a:lnTo>
                  <a:pt x="6416" y="2700"/>
                </a:lnTo>
                <a:lnTo>
                  <a:pt x="6432" y="2709"/>
                </a:lnTo>
                <a:lnTo>
                  <a:pt x="6442" y="2712"/>
                </a:lnTo>
                <a:lnTo>
                  <a:pt x="6453" y="2716"/>
                </a:lnTo>
                <a:lnTo>
                  <a:pt x="6463" y="2718"/>
                </a:lnTo>
                <a:lnTo>
                  <a:pt x="6471" y="2718"/>
                </a:lnTo>
                <a:lnTo>
                  <a:pt x="6478" y="2718"/>
                </a:lnTo>
                <a:lnTo>
                  <a:pt x="6480" y="2716"/>
                </a:lnTo>
                <a:lnTo>
                  <a:pt x="6483" y="2711"/>
                </a:lnTo>
                <a:lnTo>
                  <a:pt x="6483" y="2705"/>
                </a:lnTo>
                <a:lnTo>
                  <a:pt x="6483" y="2701"/>
                </a:lnTo>
                <a:lnTo>
                  <a:pt x="6485" y="2699"/>
                </a:lnTo>
                <a:lnTo>
                  <a:pt x="6489" y="2698"/>
                </a:lnTo>
                <a:lnTo>
                  <a:pt x="6493" y="2697"/>
                </a:lnTo>
                <a:lnTo>
                  <a:pt x="6504" y="2695"/>
                </a:lnTo>
                <a:lnTo>
                  <a:pt x="6518" y="2697"/>
                </a:lnTo>
                <a:lnTo>
                  <a:pt x="6531" y="2699"/>
                </a:lnTo>
                <a:lnTo>
                  <a:pt x="6542" y="2703"/>
                </a:lnTo>
                <a:lnTo>
                  <a:pt x="6549" y="2706"/>
                </a:lnTo>
                <a:lnTo>
                  <a:pt x="6556" y="2709"/>
                </a:lnTo>
                <a:lnTo>
                  <a:pt x="6560" y="2710"/>
                </a:lnTo>
                <a:lnTo>
                  <a:pt x="6562" y="2710"/>
                </a:lnTo>
                <a:lnTo>
                  <a:pt x="6566" y="2710"/>
                </a:lnTo>
                <a:lnTo>
                  <a:pt x="6568" y="2709"/>
                </a:lnTo>
                <a:lnTo>
                  <a:pt x="6572" y="2704"/>
                </a:lnTo>
                <a:lnTo>
                  <a:pt x="6574" y="2699"/>
                </a:lnTo>
                <a:lnTo>
                  <a:pt x="6575" y="2691"/>
                </a:lnTo>
                <a:lnTo>
                  <a:pt x="6579" y="2684"/>
                </a:lnTo>
                <a:lnTo>
                  <a:pt x="6581" y="2681"/>
                </a:lnTo>
                <a:lnTo>
                  <a:pt x="6584" y="2680"/>
                </a:lnTo>
                <a:lnTo>
                  <a:pt x="6587" y="2680"/>
                </a:lnTo>
                <a:lnTo>
                  <a:pt x="6591" y="2681"/>
                </a:lnTo>
                <a:lnTo>
                  <a:pt x="6600" y="2686"/>
                </a:lnTo>
                <a:lnTo>
                  <a:pt x="6610" y="2687"/>
                </a:lnTo>
                <a:lnTo>
                  <a:pt x="6613" y="2687"/>
                </a:lnTo>
                <a:lnTo>
                  <a:pt x="6616" y="2686"/>
                </a:lnTo>
                <a:lnTo>
                  <a:pt x="6618" y="2684"/>
                </a:lnTo>
                <a:lnTo>
                  <a:pt x="6618" y="2680"/>
                </a:lnTo>
                <a:lnTo>
                  <a:pt x="6616" y="2671"/>
                </a:lnTo>
                <a:lnTo>
                  <a:pt x="6613" y="2659"/>
                </a:lnTo>
                <a:lnTo>
                  <a:pt x="6612" y="2651"/>
                </a:lnTo>
                <a:lnTo>
                  <a:pt x="6611" y="2644"/>
                </a:lnTo>
                <a:lnTo>
                  <a:pt x="6611" y="2636"/>
                </a:lnTo>
                <a:lnTo>
                  <a:pt x="6612" y="2627"/>
                </a:lnTo>
                <a:lnTo>
                  <a:pt x="6615" y="2618"/>
                </a:lnTo>
                <a:lnTo>
                  <a:pt x="6617" y="2612"/>
                </a:lnTo>
                <a:lnTo>
                  <a:pt x="6621" y="2608"/>
                </a:lnTo>
                <a:lnTo>
                  <a:pt x="6623" y="2605"/>
                </a:lnTo>
                <a:lnTo>
                  <a:pt x="6627" y="2604"/>
                </a:lnTo>
                <a:lnTo>
                  <a:pt x="6630" y="2604"/>
                </a:lnTo>
                <a:lnTo>
                  <a:pt x="6634" y="2605"/>
                </a:lnTo>
                <a:lnTo>
                  <a:pt x="6637" y="2606"/>
                </a:lnTo>
                <a:lnTo>
                  <a:pt x="6646" y="2610"/>
                </a:lnTo>
                <a:lnTo>
                  <a:pt x="6654" y="2611"/>
                </a:lnTo>
                <a:lnTo>
                  <a:pt x="6657" y="2611"/>
                </a:lnTo>
                <a:lnTo>
                  <a:pt x="6660" y="2610"/>
                </a:lnTo>
                <a:lnTo>
                  <a:pt x="6661" y="2608"/>
                </a:lnTo>
                <a:lnTo>
                  <a:pt x="6661" y="2604"/>
                </a:lnTo>
                <a:lnTo>
                  <a:pt x="6657" y="2594"/>
                </a:lnTo>
                <a:lnTo>
                  <a:pt x="6656" y="2587"/>
                </a:lnTo>
                <a:lnTo>
                  <a:pt x="6656" y="2584"/>
                </a:lnTo>
                <a:lnTo>
                  <a:pt x="6657" y="2580"/>
                </a:lnTo>
                <a:lnTo>
                  <a:pt x="6659" y="2578"/>
                </a:lnTo>
                <a:lnTo>
                  <a:pt x="6661" y="2575"/>
                </a:lnTo>
                <a:lnTo>
                  <a:pt x="6665" y="2574"/>
                </a:lnTo>
                <a:lnTo>
                  <a:pt x="6667" y="2571"/>
                </a:lnTo>
                <a:lnTo>
                  <a:pt x="6669" y="2568"/>
                </a:lnTo>
                <a:lnTo>
                  <a:pt x="6671" y="2565"/>
                </a:lnTo>
                <a:lnTo>
                  <a:pt x="6672" y="2562"/>
                </a:lnTo>
                <a:lnTo>
                  <a:pt x="6671" y="2559"/>
                </a:lnTo>
                <a:lnTo>
                  <a:pt x="6669" y="2556"/>
                </a:lnTo>
                <a:lnTo>
                  <a:pt x="6666" y="2555"/>
                </a:lnTo>
                <a:lnTo>
                  <a:pt x="6657" y="2550"/>
                </a:lnTo>
                <a:lnTo>
                  <a:pt x="6650" y="2547"/>
                </a:lnTo>
                <a:lnTo>
                  <a:pt x="6648" y="2543"/>
                </a:lnTo>
                <a:lnTo>
                  <a:pt x="6647" y="2541"/>
                </a:lnTo>
                <a:lnTo>
                  <a:pt x="6647" y="2537"/>
                </a:lnTo>
                <a:lnTo>
                  <a:pt x="6649" y="2533"/>
                </a:lnTo>
                <a:lnTo>
                  <a:pt x="6654" y="2524"/>
                </a:lnTo>
                <a:lnTo>
                  <a:pt x="6660" y="2517"/>
                </a:lnTo>
                <a:lnTo>
                  <a:pt x="6663" y="2514"/>
                </a:lnTo>
                <a:lnTo>
                  <a:pt x="6667" y="2511"/>
                </a:lnTo>
                <a:lnTo>
                  <a:pt x="6672" y="2509"/>
                </a:lnTo>
                <a:lnTo>
                  <a:pt x="6678" y="2508"/>
                </a:lnTo>
                <a:lnTo>
                  <a:pt x="6685" y="2509"/>
                </a:lnTo>
                <a:lnTo>
                  <a:pt x="6694" y="2512"/>
                </a:lnTo>
                <a:lnTo>
                  <a:pt x="6705" y="2517"/>
                </a:lnTo>
                <a:lnTo>
                  <a:pt x="6716" y="2523"/>
                </a:lnTo>
                <a:lnTo>
                  <a:pt x="6737" y="2534"/>
                </a:lnTo>
                <a:lnTo>
                  <a:pt x="6754" y="2541"/>
                </a:lnTo>
                <a:lnTo>
                  <a:pt x="6759" y="2541"/>
                </a:lnTo>
                <a:lnTo>
                  <a:pt x="6762" y="2540"/>
                </a:lnTo>
                <a:lnTo>
                  <a:pt x="6764" y="2539"/>
                </a:lnTo>
                <a:lnTo>
                  <a:pt x="6767" y="2536"/>
                </a:lnTo>
                <a:lnTo>
                  <a:pt x="6772" y="2529"/>
                </a:lnTo>
                <a:lnTo>
                  <a:pt x="6776" y="2521"/>
                </a:lnTo>
                <a:lnTo>
                  <a:pt x="6781" y="2517"/>
                </a:lnTo>
                <a:lnTo>
                  <a:pt x="6785" y="2515"/>
                </a:lnTo>
                <a:lnTo>
                  <a:pt x="6787" y="2514"/>
                </a:lnTo>
                <a:lnTo>
                  <a:pt x="6791" y="2515"/>
                </a:lnTo>
                <a:lnTo>
                  <a:pt x="6797" y="2518"/>
                </a:lnTo>
                <a:lnTo>
                  <a:pt x="6802" y="2524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6" name="新疆"/>
          <p:cNvSpPr/>
          <p:nvPr/>
        </p:nvSpPr>
        <p:spPr bwMode="auto">
          <a:xfrm>
            <a:off x="1365250" y="780415"/>
            <a:ext cx="3120390" cy="2421890"/>
          </a:xfrm>
          <a:custGeom>
            <a:avLst/>
            <a:gdLst>
              <a:gd name="T0" fmla="*/ 7312 w 7557"/>
              <a:gd name="T1" fmla="*/ 2647 h 5874"/>
              <a:gd name="T2" fmla="*/ 7035 w 7557"/>
              <a:gd name="T3" fmla="*/ 2362 h 5874"/>
              <a:gd name="T4" fmla="*/ 6457 w 7557"/>
              <a:gd name="T5" fmla="*/ 2072 h 5874"/>
              <a:gd name="T6" fmla="*/ 6089 w 7557"/>
              <a:gd name="T7" fmla="*/ 1917 h 5874"/>
              <a:gd name="T8" fmla="*/ 6152 w 7557"/>
              <a:gd name="T9" fmla="*/ 1496 h 5874"/>
              <a:gd name="T10" fmla="*/ 6157 w 7557"/>
              <a:gd name="T11" fmla="*/ 1125 h 5874"/>
              <a:gd name="T12" fmla="*/ 5989 w 7557"/>
              <a:gd name="T13" fmla="*/ 736 h 5874"/>
              <a:gd name="T14" fmla="*/ 5713 w 7557"/>
              <a:gd name="T15" fmla="*/ 562 h 5874"/>
              <a:gd name="T16" fmla="*/ 5468 w 7557"/>
              <a:gd name="T17" fmla="*/ 159 h 5874"/>
              <a:gd name="T18" fmla="*/ 5285 w 7557"/>
              <a:gd name="T19" fmla="*/ 0 h 5874"/>
              <a:gd name="T20" fmla="*/ 5011 w 7557"/>
              <a:gd name="T21" fmla="*/ 246 h 5874"/>
              <a:gd name="T22" fmla="*/ 4728 w 7557"/>
              <a:gd name="T23" fmla="*/ 610 h 5874"/>
              <a:gd name="T24" fmla="*/ 4421 w 7557"/>
              <a:gd name="T25" fmla="*/ 791 h 5874"/>
              <a:gd name="T26" fmla="*/ 4019 w 7557"/>
              <a:gd name="T27" fmla="*/ 567 h 5874"/>
              <a:gd name="T28" fmla="*/ 3604 w 7557"/>
              <a:gd name="T29" fmla="*/ 1072 h 5874"/>
              <a:gd name="T30" fmla="*/ 3381 w 7557"/>
              <a:gd name="T31" fmla="*/ 1195 h 5874"/>
              <a:gd name="T32" fmla="*/ 2975 w 7557"/>
              <a:gd name="T33" fmla="*/ 1191 h 5874"/>
              <a:gd name="T34" fmla="*/ 2786 w 7557"/>
              <a:gd name="T35" fmla="*/ 1257 h 5874"/>
              <a:gd name="T36" fmla="*/ 2830 w 7557"/>
              <a:gd name="T37" fmla="*/ 1655 h 5874"/>
              <a:gd name="T38" fmla="*/ 2723 w 7557"/>
              <a:gd name="T39" fmla="*/ 2043 h 5874"/>
              <a:gd name="T40" fmla="*/ 2565 w 7557"/>
              <a:gd name="T41" fmla="*/ 2244 h 5874"/>
              <a:gd name="T42" fmla="*/ 2433 w 7557"/>
              <a:gd name="T43" fmla="*/ 2428 h 5874"/>
              <a:gd name="T44" fmla="*/ 2035 w 7557"/>
              <a:gd name="T45" fmla="*/ 2509 h 5874"/>
              <a:gd name="T46" fmla="*/ 1570 w 7557"/>
              <a:gd name="T47" fmla="*/ 2614 h 5874"/>
              <a:gd name="T48" fmla="*/ 1235 w 7557"/>
              <a:gd name="T49" fmla="*/ 2643 h 5874"/>
              <a:gd name="T50" fmla="*/ 919 w 7557"/>
              <a:gd name="T51" fmla="*/ 2730 h 5874"/>
              <a:gd name="T52" fmla="*/ 693 w 7557"/>
              <a:gd name="T53" fmla="*/ 2584 h 5874"/>
              <a:gd name="T54" fmla="*/ 497 w 7557"/>
              <a:gd name="T55" fmla="*/ 2641 h 5874"/>
              <a:gd name="T56" fmla="*/ 152 w 7557"/>
              <a:gd name="T57" fmla="*/ 2851 h 5874"/>
              <a:gd name="T58" fmla="*/ 59 w 7557"/>
              <a:gd name="T59" fmla="*/ 3076 h 5874"/>
              <a:gd name="T60" fmla="*/ 282 w 7557"/>
              <a:gd name="T61" fmla="*/ 3290 h 5874"/>
              <a:gd name="T62" fmla="*/ 289 w 7557"/>
              <a:gd name="T63" fmla="*/ 3698 h 5874"/>
              <a:gd name="T64" fmla="*/ 153 w 7557"/>
              <a:gd name="T65" fmla="*/ 3884 h 5874"/>
              <a:gd name="T66" fmla="*/ 138 w 7557"/>
              <a:gd name="T67" fmla="*/ 4019 h 5874"/>
              <a:gd name="T68" fmla="*/ 355 w 7557"/>
              <a:gd name="T69" fmla="*/ 4188 h 5874"/>
              <a:gd name="T70" fmla="*/ 345 w 7557"/>
              <a:gd name="T71" fmla="*/ 4525 h 5874"/>
              <a:gd name="T72" fmla="*/ 502 w 7557"/>
              <a:gd name="T73" fmla="*/ 4681 h 5874"/>
              <a:gd name="T74" fmla="*/ 774 w 7557"/>
              <a:gd name="T75" fmla="*/ 4931 h 5874"/>
              <a:gd name="T76" fmla="*/ 908 w 7557"/>
              <a:gd name="T77" fmla="*/ 5140 h 5874"/>
              <a:gd name="T78" fmla="*/ 982 w 7557"/>
              <a:gd name="T79" fmla="*/ 5434 h 5874"/>
              <a:gd name="T80" fmla="*/ 1204 w 7557"/>
              <a:gd name="T81" fmla="*/ 5566 h 5874"/>
              <a:gd name="T82" fmla="*/ 1504 w 7557"/>
              <a:gd name="T83" fmla="*/ 5456 h 5874"/>
              <a:gd name="T84" fmla="*/ 1761 w 7557"/>
              <a:gd name="T85" fmla="*/ 5292 h 5874"/>
              <a:gd name="T86" fmla="*/ 2054 w 7557"/>
              <a:gd name="T87" fmla="*/ 5399 h 5874"/>
              <a:gd name="T88" fmla="*/ 2399 w 7557"/>
              <a:gd name="T89" fmla="*/ 5361 h 5874"/>
              <a:gd name="T90" fmla="*/ 2613 w 7557"/>
              <a:gd name="T91" fmla="*/ 5537 h 5874"/>
              <a:gd name="T92" fmla="*/ 2924 w 7557"/>
              <a:gd name="T93" fmla="*/ 5614 h 5874"/>
              <a:gd name="T94" fmla="*/ 3323 w 7557"/>
              <a:gd name="T95" fmla="*/ 5575 h 5874"/>
              <a:gd name="T96" fmla="*/ 3703 w 7557"/>
              <a:gd name="T97" fmla="*/ 5518 h 5874"/>
              <a:gd name="T98" fmla="*/ 3978 w 7557"/>
              <a:gd name="T99" fmla="*/ 5486 h 5874"/>
              <a:gd name="T100" fmla="*/ 4287 w 7557"/>
              <a:gd name="T101" fmla="*/ 5524 h 5874"/>
              <a:gd name="T102" fmla="*/ 4622 w 7557"/>
              <a:gd name="T103" fmla="*/ 5618 h 5874"/>
              <a:gd name="T104" fmla="*/ 4994 w 7557"/>
              <a:gd name="T105" fmla="*/ 5762 h 5874"/>
              <a:gd name="T106" fmla="*/ 5330 w 7557"/>
              <a:gd name="T107" fmla="*/ 5856 h 5874"/>
              <a:gd name="T108" fmla="*/ 5342 w 7557"/>
              <a:gd name="T109" fmla="*/ 5658 h 5874"/>
              <a:gd name="T110" fmla="*/ 5448 w 7557"/>
              <a:gd name="T111" fmla="*/ 5468 h 5874"/>
              <a:gd name="T112" fmla="*/ 5286 w 7557"/>
              <a:gd name="T113" fmla="*/ 5100 h 5874"/>
              <a:gd name="T114" fmla="*/ 5452 w 7557"/>
              <a:gd name="T115" fmla="*/ 4736 h 5874"/>
              <a:gd name="T116" fmla="*/ 6021 w 7557"/>
              <a:gd name="T117" fmla="*/ 4678 h 5874"/>
              <a:gd name="T118" fmla="*/ 6254 w 7557"/>
              <a:gd name="T119" fmla="*/ 4258 h 5874"/>
              <a:gd name="T120" fmla="*/ 6592 w 7557"/>
              <a:gd name="T121" fmla="*/ 3994 h 5874"/>
              <a:gd name="T122" fmla="*/ 7097 w 7557"/>
              <a:gd name="T123" fmla="*/ 3631 h 5874"/>
              <a:gd name="T124" fmla="*/ 7508 w 7557"/>
              <a:gd name="T125" fmla="*/ 3279 h 58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557" h="5874">
                <a:moveTo>
                  <a:pt x="7557" y="3250"/>
                </a:moveTo>
                <a:lnTo>
                  <a:pt x="7557" y="3237"/>
                </a:lnTo>
                <a:lnTo>
                  <a:pt x="7556" y="3223"/>
                </a:lnTo>
                <a:lnTo>
                  <a:pt x="7555" y="3209"/>
                </a:lnTo>
                <a:lnTo>
                  <a:pt x="7553" y="3194"/>
                </a:lnTo>
                <a:lnTo>
                  <a:pt x="7550" y="3179"/>
                </a:lnTo>
                <a:lnTo>
                  <a:pt x="7546" y="3168"/>
                </a:lnTo>
                <a:lnTo>
                  <a:pt x="7538" y="3155"/>
                </a:lnTo>
                <a:lnTo>
                  <a:pt x="7526" y="3140"/>
                </a:lnTo>
                <a:lnTo>
                  <a:pt x="7513" y="3123"/>
                </a:lnTo>
                <a:lnTo>
                  <a:pt x="7502" y="3110"/>
                </a:lnTo>
                <a:lnTo>
                  <a:pt x="7493" y="3098"/>
                </a:lnTo>
                <a:lnTo>
                  <a:pt x="7483" y="3086"/>
                </a:lnTo>
                <a:lnTo>
                  <a:pt x="7475" y="3074"/>
                </a:lnTo>
                <a:lnTo>
                  <a:pt x="7468" y="3063"/>
                </a:lnTo>
                <a:lnTo>
                  <a:pt x="7458" y="3049"/>
                </a:lnTo>
                <a:lnTo>
                  <a:pt x="7446" y="3035"/>
                </a:lnTo>
                <a:lnTo>
                  <a:pt x="7434" y="3021"/>
                </a:lnTo>
                <a:lnTo>
                  <a:pt x="7426" y="3009"/>
                </a:lnTo>
                <a:lnTo>
                  <a:pt x="7425" y="3003"/>
                </a:lnTo>
                <a:lnTo>
                  <a:pt x="7424" y="2996"/>
                </a:lnTo>
                <a:lnTo>
                  <a:pt x="7424" y="2989"/>
                </a:lnTo>
                <a:lnTo>
                  <a:pt x="7424" y="2981"/>
                </a:lnTo>
                <a:lnTo>
                  <a:pt x="7423" y="2962"/>
                </a:lnTo>
                <a:lnTo>
                  <a:pt x="7421" y="2943"/>
                </a:lnTo>
                <a:lnTo>
                  <a:pt x="7418" y="2920"/>
                </a:lnTo>
                <a:lnTo>
                  <a:pt x="7412" y="2896"/>
                </a:lnTo>
                <a:lnTo>
                  <a:pt x="7407" y="2871"/>
                </a:lnTo>
                <a:lnTo>
                  <a:pt x="7401" y="2850"/>
                </a:lnTo>
                <a:lnTo>
                  <a:pt x="7396" y="2830"/>
                </a:lnTo>
                <a:lnTo>
                  <a:pt x="7390" y="2809"/>
                </a:lnTo>
                <a:lnTo>
                  <a:pt x="7386" y="2788"/>
                </a:lnTo>
                <a:lnTo>
                  <a:pt x="7382" y="2769"/>
                </a:lnTo>
                <a:lnTo>
                  <a:pt x="7381" y="2750"/>
                </a:lnTo>
                <a:lnTo>
                  <a:pt x="7379" y="2731"/>
                </a:lnTo>
                <a:lnTo>
                  <a:pt x="7375" y="2711"/>
                </a:lnTo>
                <a:lnTo>
                  <a:pt x="7370" y="2692"/>
                </a:lnTo>
                <a:lnTo>
                  <a:pt x="7368" y="2683"/>
                </a:lnTo>
                <a:lnTo>
                  <a:pt x="7364" y="2676"/>
                </a:lnTo>
                <a:lnTo>
                  <a:pt x="7361" y="2670"/>
                </a:lnTo>
                <a:lnTo>
                  <a:pt x="7355" y="2666"/>
                </a:lnTo>
                <a:lnTo>
                  <a:pt x="7350" y="2662"/>
                </a:lnTo>
                <a:lnTo>
                  <a:pt x="7343" y="2660"/>
                </a:lnTo>
                <a:lnTo>
                  <a:pt x="7336" y="2657"/>
                </a:lnTo>
                <a:lnTo>
                  <a:pt x="7327" y="2655"/>
                </a:lnTo>
                <a:lnTo>
                  <a:pt x="7319" y="2652"/>
                </a:lnTo>
                <a:lnTo>
                  <a:pt x="7314" y="2649"/>
                </a:lnTo>
                <a:lnTo>
                  <a:pt x="7312" y="2647"/>
                </a:lnTo>
                <a:lnTo>
                  <a:pt x="7312" y="2643"/>
                </a:lnTo>
                <a:lnTo>
                  <a:pt x="7313" y="2632"/>
                </a:lnTo>
                <a:lnTo>
                  <a:pt x="7316" y="2617"/>
                </a:lnTo>
                <a:lnTo>
                  <a:pt x="7317" y="2607"/>
                </a:lnTo>
                <a:lnTo>
                  <a:pt x="7318" y="2599"/>
                </a:lnTo>
                <a:lnTo>
                  <a:pt x="7320" y="2591"/>
                </a:lnTo>
                <a:lnTo>
                  <a:pt x="7324" y="2584"/>
                </a:lnTo>
                <a:lnTo>
                  <a:pt x="7332" y="2570"/>
                </a:lnTo>
                <a:lnTo>
                  <a:pt x="7342" y="2559"/>
                </a:lnTo>
                <a:lnTo>
                  <a:pt x="7345" y="2554"/>
                </a:lnTo>
                <a:lnTo>
                  <a:pt x="7349" y="2549"/>
                </a:lnTo>
                <a:lnTo>
                  <a:pt x="7350" y="2546"/>
                </a:lnTo>
                <a:lnTo>
                  <a:pt x="7350" y="2542"/>
                </a:lnTo>
                <a:lnTo>
                  <a:pt x="7350" y="2540"/>
                </a:lnTo>
                <a:lnTo>
                  <a:pt x="7348" y="2538"/>
                </a:lnTo>
                <a:lnTo>
                  <a:pt x="7345" y="2536"/>
                </a:lnTo>
                <a:lnTo>
                  <a:pt x="7343" y="2536"/>
                </a:lnTo>
                <a:lnTo>
                  <a:pt x="7332" y="2535"/>
                </a:lnTo>
                <a:lnTo>
                  <a:pt x="7317" y="2535"/>
                </a:lnTo>
                <a:lnTo>
                  <a:pt x="7294" y="2536"/>
                </a:lnTo>
                <a:lnTo>
                  <a:pt x="7264" y="2535"/>
                </a:lnTo>
                <a:lnTo>
                  <a:pt x="7250" y="2534"/>
                </a:lnTo>
                <a:lnTo>
                  <a:pt x="7238" y="2532"/>
                </a:lnTo>
                <a:lnTo>
                  <a:pt x="7230" y="2530"/>
                </a:lnTo>
                <a:lnTo>
                  <a:pt x="7223" y="2528"/>
                </a:lnTo>
                <a:lnTo>
                  <a:pt x="7212" y="2521"/>
                </a:lnTo>
                <a:lnTo>
                  <a:pt x="7201" y="2512"/>
                </a:lnTo>
                <a:lnTo>
                  <a:pt x="7188" y="2504"/>
                </a:lnTo>
                <a:lnTo>
                  <a:pt x="7172" y="2497"/>
                </a:lnTo>
                <a:lnTo>
                  <a:pt x="7165" y="2493"/>
                </a:lnTo>
                <a:lnTo>
                  <a:pt x="7157" y="2490"/>
                </a:lnTo>
                <a:lnTo>
                  <a:pt x="7150" y="2486"/>
                </a:lnTo>
                <a:lnTo>
                  <a:pt x="7146" y="2481"/>
                </a:lnTo>
                <a:lnTo>
                  <a:pt x="7137" y="2471"/>
                </a:lnTo>
                <a:lnTo>
                  <a:pt x="7128" y="2456"/>
                </a:lnTo>
                <a:lnTo>
                  <a:pt x="7117" y="2439"/>
                </a:lnTo>
                <a:lnTo>
                  <a:pt x="7103" y="2420"/>
                </a:lnTo>
                <a:lnTo>
                  <a:pt x="7096" y="2411"/>
                </a:lnTo>
                <a:lnTo>
                  <a:pt x="7087" y="2404"/>
                </a:lnTo>
                <a:lnTo>
                  <a:pt x="7080" y="2399"/>
                </a:lnTo>
                <a:lnTo>
                  <a:pt x="7073" y="2395"/>
                </a:lnTo>
                <a:lnTo>
                  <a:pt x="7059" y="2389"/>
                </a:lnTo>
                <a:lnTo>
                  <a:pt x="7046" y="2384"/>
                </a:lnTo>
                <a:lnTo>
                  <a:pt x="7042" y="2381"/>
                </a:lnTo>
                <a:lnTo>
                  <a:pt x="7040" y="2379"/>
                </a:lnTo>
                <a:lnTo>
                  <a:pt x="7039" y="2376"/>
                </a:lnTo>
                <a:lnTo>
                  <a:pt x="7037" y="2372"/>
                </a:lnTo>
                <a:lnTo>
                  <a:pt x="7035" y="2362"/>
                </a:lnTo>
                <a:lnTo>
                  <a:pt x="7030" y="2353"/>
                </a:lnTo>
                <a:lnTo>
                  <a:pt x="7024" y="2342"/>
                </a:lnTo>
                <a:lnTo>
                  <a:pt x="7016" y="2332"/>
                </a:lnTo>
                <a:lnTo>
                  <a:pt x="7009" y="2322"/>
                </a:lnTo>
                <a:lnTo>
                  <a:pt x="7001" y="2311"/>
                </a:lnTo>
                <a:lnTo>
                  <a:pt x="6992" y="2302"/>
                </a:lnTo>
                <a:lnTo>
                  <a:pt x="6984" y="2292"/>
                </a:lnTo>
                <a:lnTo>
                  <a:pt x="6974" y="2284"/>
                </a:lnTo>
                <a:lnTo>
                  <a:pt x="6964" y="2275"/>
                </a:lnTo>
                <a:lnTo>
                  <a:pt x="6945" y="2258"/>
                </a:lnTo>
                <a:lnTo>
                  <a:pt x="6930" y="2246"/>
                </a:lnTo>
                <a:lnTo>
                  <a:pt x="6916" y="2238"/>
                </a:lnTo>
                <a:lnTo>
                  <a:pt x="6902" y="2228"/>
                </a:lnTo>
                <a:lnTo>
                  <a:pt x="6894" y="2222"/>
                </a:lnTo>
                <a:lnTo>
                  <a:pt x="6886" y="2217"/>
                </a:lnTo>
                <a:lnTo>
                  <a:pt x="6879" y="2212"/>
                </a:lnTo>
                <a:lnTo>
                  <a:pt x="6873" y="2204"/>
                </a:lnTo>
                <a:lnTo>
                  <a:pt x="6864" y="2190"/>
                </a:lnTo>
                <a:lnTo>
                  <a:pt x="6851" y="2176"/>
                </a:lnTo>
                <a:lnTo>
                  <a:pt x="6844" y="2169"/>
                </a:lnTo>
                <a:lnTo>
                  <a:pt x="6834" y="2163"/>
                </a:lnTo>
                <a:lnTo>
                  <a:pt x="6822" y="2157"/>
                </a:lnTo>
                <a:lnTo>
                  <a:pt x="6810" y="2152"/>
                </a:lnTo>
                <a:lnTo>
                  <a:pt x="6797" y="2149"/>
                </a:lnTo>
                <a:lnTo>
                  <a:pt x="6787" y="2145"/>
                </a:lnTo>
                <a:lnTo>
                  <a:pt x="6777" y="2141"/>
                </a:lnTo>
                <a:lnTo>
                  <a:pt x="6768" y="2137"/>
                </a:lnTo>
                <a:lnTo>
                  <a:pt x="6750" y="2128"/>
                </a:lnTo>
                <a:lnTo>
                  <a:pt x="6728" y="2120"/>
                </a:lnTo>
                <a:lnTo>
                  <a:pt x="6706" y="2115"/>
                </a:lnTo>
                <a:lnTo>
                  <a:pt x="6686" y="2112"/>
                </a:lnTo>
                <a:lnTo>
                  <a:pt x="6677" y="2109"/>
                </a:lnTo>
                <a:lnTo>
                  <a:pt x="6669" y="2107"/>
                </a:lnTo>
                <a:lnTo>
                  <a:pt x="6661" y="2105"/>
                </a:lnTo>
                <a:lnTo>
                  <a:pt x="6651" y="2100"/>
                </a:lnTo>
                <a:lnTo>
                  <a:pt x="6643" y="2096"/>
                </a:lnTo>
                <a:lnTo>
                  <a:pt x="6633" y="2093"/>
                </a:lnTo>
                <a:lnTo>
                  <a:pt x="6624" y="2090"/>
                </a:lnTo>
                <a:lnTo>
                  <a:pt x="6614" y="2089"/>
                </a:lnTo>
                <a:lnTo>
                  <a:pt x="6590" y="2088"/>
                </a:lnTo>
                <a:lnTo>
                  <a:pt x="6562" y="2088"/>
                </a:lnTo>
                <a:lnTo>
                  <a:pt x="6550" y="2088"/>
                </a:lnTo>
                <a:lnTo>
                  <a:pt x="6539" y="2088"/>
                </a:lnTo>
                <a:lnTo>
                  <a:pt x="6527" y="2088"/>
                </a:lnTo>
                <a:lnTo>
                  <a:pt x="6516" y="2087"/>
                </a:lnTo>
                <a:lnTo>
                  <a:pt x="6494" y="2083"/>
                </a:lnTo>
                <a:lnTo>
                  <a:pt x="6474" y="2078"/>
                </a:lnTo>
                <a:lnTo>
                  <a:pt x="6457" y="2072"/>
                </a:lnTo>
                <a:lnTo>
                  <a:pt x="6443" y="2068"/>
                </a:lnTo>
                <a:lnTo>
                  <a:pt x="6434" y="2064"/>
                </a:lnTo>
                <a:lnTo>
                  <a:pt x="6424" y="2061"/>
                </a:lnTo>
                <a:lnTo>
                  <a:pt x="6416" y="2055"/>
                </a:lnTo>
                <a:lnTo>
                  <a:pt x="6407" y="2050"/>
                </a:lnTo>
                <a:lnTo>
                  <a:pt x="6391" y="2038"/>
                </a:lnTo>
                <a:lnTo>
                  <a:pt x="6373" y="2028"/>
                </a:lnTo>
                <a:lnTo>
                  <a:pt x="6362" y="2025"/>
                </a:lnTo>
                <a:lnTo>
                  <a:pt x="6351" y="2024"/>
                </a:lnTo>
                <a:lnTo>
                  <a:pt x="6340" y="2023"/>
                </a:lnTo>
                <a:lnTo>
                  <a:pt x="6329" y="2021"/>
                </a:lnTo>
                <a:lnTo>
                  <a:pt x="6308" y="2021"/>
                </a:lnTo>
                <a:lnTo>
                  <a:pt x="6287" y="2020"/>
                </a:lnTo>
                <a:lnTo>
                  <a:pt x="6278" y="2018"/>
                </a:lnTo>
                <a:lnTo>
                  <a:pt x="6268" y="2015"/>
                </a:lnTo>
                <a:lnTo>
                  <a:pt x="6259" y="2012"/>
                </a:lnTo>
                <a:lnTo>
                  <a:pt x="6249" y="2008"/>
                </a:lnTo>
                <a:lnTo>
                  <a:pt x="6241" y="2004"/>
                </a:lnTo>
                <a:lnTo>
                  <a:pt x="6234" y="1999"/>
                </a:lnTo>
                <a:lnTo>
                  <a:pt x="6228" y="1994"/>
                </a:lnTo>
                <a:lnTo>
                  <a:pt x="6224" y="1989"/>
                </a:lnTo>
                <a:lnTo>
                  <a:pt x="6221" y="1982"/>
                </a:lnTo>
                <a:lnTo>
                  <a:pt x="6218" y="1975"/>
                </a:lnTo>
                <a:lnTo>
                  <a:pt x="6217" y="1973"/>
                </a:lnTo>
                <a:lnTo>
                  <a:pt x="6216" y="1970"/>
                </a:lnTo>
                <a:lnTo>
                  <a:pt x="6214" y="1969"/>
                </a:lnTo>
                <a:lnTo>
                  <a:pt x="6211" y="1969"/>
                </a:lnTo>
                <a:lnTo>
                  <a:pt x="6206" y="1970"/>
                </a:lnTo>
                <a:lnTo>
                  <a:pt x="6201" y="1973"/>
                </a:lnTo>
                <a:lnTo>
                  <a:pt x="6198" y="1974"/>
                </a:lnTo>
                <a:lnTo>
                  <a:pt x="6195" y="1974"/>
                </a:lnTo>
                <a:lnTo>
                  <a:pt x="6192" y="1974"/>
                </a:lnTo>
                <a:lnTo>
                  <a:pt x="6189" y="1973"/>
                </a:lnTo>
                <a:lnTo>
                  <a:pt x="6182" y="1970"/>
                </a:lnTo>
                <a:lnTo>
                  <a:pt x="6171" y="1967"/>
                </a:lnTo>
                <a:lnTo>
                  <a:pt x="6159" y="1962"/>
                </a:lnTo>
                <a:lnTo>
                  <a:pt x="6147" y="1958"/>
                </a:lnTo>
                <a:lnTo>
                  <a:pt x="6142" y="1956"/>
                </a:lnTo>
                <a:lnTo>
                  <a:pt x="6139" y="1952"/>
                </a:lnTo>
                <a:lnTo>
                  <a:pt x="6135" y="1949"/>
                </a:lnTo>
                <a:lnTo>
                  <a:pt x="6132" y="1944"/>
                </a:lnTo>
                <a:lnTo>
                  <a:pt x="6126" y="1933"/>
                </a:lnTo>
                <a:lnTo>
                  <a:pt x="6117" y="1923"/>
                </a:lnTo>
                <a:lnTo>
                  <a:pt x="6114" y="1920"/>
                </a:lnTo>
                <a:lnTo>
                  <a:pt x="6110" y="1918"/>
                </a:lnTo>
                <a:lnTo>
                  <a:pt x="6105" y="1917"/>
                </a:lnTo>
                <a:lnTo>
                  <a:pt x="6101" y="1917"/>
                </a:lnTo>
                <a:lnTo>
                  <a:pt x="6089" y="1917"/>
                </a:lnTo>
                <a:lnTo>
                  <a:pt x="6077" y="1917"/>
                </a:lnTo>
                <a:lnTo>
                  <a:pt x="6064" y="1918"/>
                </a:lnTo>
                <a:lnTo>
                  <a:pt x="6053" y="1918"/>
                </a:lnTo>
                <a:lnTo>
                  <a:pt x="6048" y="1918"/>
                </a:lnTo>
                <a:lnTo>
                  <a:pt x="6045" y="1918"/>
                </a:lnTo>
                <a:lnTo>
                  <a:pt x="6041" y="1917"/>
                </a:lnTo>
                <a:lnTo>
                  <a:pt x="6040" y="1916"/>
                </a:lnTo>
                <a:lnTo>
                  <a:pt x="6045" y="1904"/>
                </a:lnTo>
                <a:lnTo>
                  <a:pt x="6053" y="1893"/>
                </a:lnTo>
                <a:lnTo>
                  <a:pt x="6051" y="1886"/>
                </a:lnTo>
                <a:lnTo>
                  <a:pt x="6045" y="1878"/>
                </a:lnTo>
                <a:lnTo>
                  <a:pt x="6042" y="1873"/>
                </a:lnTo>
                <a:lnTo>
                  <a:pt x="6041" y="1869"/>
                </a:lnTo>
                <a:lnTo>
                  <a:pt x="6040" y="1864"/>
                </a:lnTo>
                <a:lnTo>
                  <a:pt x="6039" y="1859"/>
                </a:lnTo>
                <a:lnTo>
                  <a:pt x="6039" y="1848"/>
                </a:lnTo>
                <a:lnTo>
                  <a:pt x="6038" y="1832"/>
                </a:lnTo>
                <a:lnTo>
                  <a:pt x="6036" y="1824"/>
                </a:lnTo>
                <a:lnTo>
                  <a:pt x="6034" y="1817"/>
                </a:lnTo>
                <a:lnTo>
                  <a:pt x="6032" y="1811"/>
                </a:lnTo>
                <a:lnTo>
                  <a:pt x="6029" y="1805"/>
                </a:lnTo>
                <a:lnTo>
                  <a:pt x="6023" y="1793"/>
                </a:lnTo>
                <a:lnTo>
                  <a:pt x="6017" y="1780"/>
                </a:lnTo>
                <a:lnTo>
                  <a:pt x="6014" y="1768"/>
                </a:lnTo>
                <a:lnTo>
                  <a:pt x="6013" y="1759"/>
                </a:lnTo>
                <a:lnTo>
                  <a:pt x="6014" y="1749"/>
                </a:lnTo>
                <a:lnTo>
                  <a:pt x="6016" y="1736"/>
                </a:lnTo>
                <a:lnTo>
                  <a:pt x="6021" y="1719"/>
                </a:lnTo>
                <a:lnTo>
                  <a:pt x="6028" y="1702"/>
                </a:lnTo>
                <a:lnTo>
                  <a:pt x="6039" y="1684"/>
                </a:lnTo>
                <a:lnTo>
                  <a:pt x="6051" y="1667"/>
                </a:lnTo>
                <a:lnTo>
                  <a:pt x="6060" y="1653"/>
                </a:lnTo>
                <a:lnTo>
                  <a:pt x="6071" y="1639"/>
                </a:lnTo>
                <a:lnTo>
                  <a:pt x="6088" y="1626"/>
                </a:lnTo>
                <a:lnTo>
                  <a:pt x="6104" y="1615"/>
                </a:lnTo>
                <a:lnTo>
                  <a:pt x="6117" y="1605"/>
                </a:lnTo>
                <a:lnTo>
                  <a:pt x="6129" y="1596"/>
                </a:lnTo>
                <a:lnTo>
                  <a:pt x="6140" y="1586"/>
                </a:lnTo>
                <a:lnTo>
                  <a:pt x="6149" y="1577"/>
                </a:lnTo>
                <a:lnTo>
                  <a:pt x="6153" y="1572"/>
                </a:lnTo>
                <a:lnTo>
                  <a:pt x="6155" y="1566"/>
                </a:lnTo>
                <a:lnTo>
                  <a:pt x="6158" y="1561"/>
                </a:lnTo>
                <a:lnTo>
                  <a:pt x="6158" y="1555"/>
                </a:lnTo>
                <a:lnTo>
                  <a:pt x="6158" y="1546"/>
                </a:lnTo>
                <a:lnTo>
                  <a:pt x="6158" y="1535"/>
                </a:lnTo>
                <a:lnTo>
                  <a:pt x="6157" y="1523"/>
                </a:lnTo>
                <a:lnTo>
                  <a:pt x="6155" y="1510"/>
                </a:lnTo>
                <a:lnTo>
                  <a:pt x="6152" y="1496"/>
                </a:lnTo>
                <a:lnTo>
                  <a:pt x="6149" y="1485"/>
                </a:lnTo>
                <a:lnTo>
                  <a:pt x="6148" y="1477"/>
                </a:lnTo>
                <a:lnTo>
                  <a:pt x="6147" y="1470"/>
                </a:lnTo>
                <a:lnTo>
                  <a:pt x="6147" y="1463"/>
                </a:lnTo>
                <a:lnTo>
                  <a:pt x="6147" y="1453"/>
                </a:lnTo>
                <a:lnTo>
                  <a:pt x="6148" y="1446"/>
                </a:lnTo>
                <a:lnTo>
                  <a:pt x="6151" y="1440"/>
                </a:lnTo>
                <a:lnTo>
                  <a:pt x="6154" y="1434"/>
                </a:lnTo>
                <a:lnTo>
                  <a:pt x="6158" y="1427"/>
                </a:lnTo>
                <a:lnTo>
                  <a:pt x="6166" y="1415"/>
                </a:lnTo>
                <a:lnTo>
                  <a:pt x="6177" y="1403"/>
                </a:lnTo>
                <a:lnTo>
                  <a:pt x="6186" y="1393"/>
                </a:lnTo>
                <a:lnTo>
                  <a:pt x="6195" y="1380"/>
                </a:lnTo>
                <a:lnTo>
                  <a:pt x="6203" y="1366"/>
                </a:lnTo>
                <a:lnTo>
                  <a:pt x="6210" y="1356"/>
                </a:lnTo>
                <a:lnTo>
                  <a:pt x="6214" y="1352"/>
                </a:lnTo>
                <a:lnTo>
                  <a:pt x="6215" y="1349"/>
                </a:lnTo>
                <a:lnTo>
                  <a:pt x="6214" y="1344"/>
                </a:lnTo>
                <a:lnTo>
                  <a:pt x="6212" y="1340"/>
                </a:lnTo>
                <a:lnTo>
                  <a:pt x="6209" y="1334"/>
                </a:lnTo>
                <a:lnTo>
                  <a:pt x="6203" y="1330"/>
                </a:lnTo>
                <a:lnTo>
                  <a:pt x="6202" y="1327"/>
                </a:lnTo>
                <a:lnTo>
                  <a:pt x="6203" y="1322"/>
                </a:lnTo>
                <a:lnTo>
                  <a:pt x="6205" y="1315"/>
                </a:lnTo>
                <a:lnTo>
                  <a:pt x="6209" y="1308"/>
                </a:lnTo>
                <a:lnTo>
                  <a:pt x="6216" y="1292"/>
                </a:lnTo>
                <a:lnTo>
                  <a:pt x="6222" y="1277"/>
                </a:lnTo>
                <a:lnTo>
                  <a:pt x="6223" y="1271"/>
                </a:lnTo>
                <a:lnTo>
                  <a:pt x="6222" y="1267"/>
                </a:lnTo>
                <a:lnTo>
                  <a:pt x="6221" y="1262"/>
                </a:lnTo>
                <a:lnTo>
                  <a:pt x="6218" y="1257"/>
                </a:lnTo>
                <a:lnTo>
                  <a:pt x="6214" y="1250"/>
                </a:lnTo>
                <a:lnTo>
                  <a:pt x="6208" y="1242"/>
                </a:lnTo>
                <a:lnTo>
                  <a:pt x="6204" y="1237"/>
                </a:lnTo>
                <a:lnTo>
                  <a:pt x="6203" y="1230"/>
                </a:lnTo>
                <a:lnTo>
                  <a:pt x="6202" y="1224"/>
                </a:lnTo>
                <a:lnTo>
                  <a:pt x="6202" y="1217"/>
                </a:lnTo>
                <a:lnTo>
                  <a:pt x="6201" y="1202"/>
                </a:lnTo>
                <a:lnTo>
                  <a:pt x="6201" y="1189"/>
                </a:lnTo>
                <a:lnTo>
                  <a:pt x="6199" y="1185"/>
                </a:lnTo>
                <a:lnTo>
                  <a:pt x="6198" y="1179"/>
                </a:lnTo>
                <a:lnTo>
                  <a:pt x="6195" y="1174"/>
                </a:lnTo>
                <a:lnTo>
                  <a:pt x="6192" y="1169"/>
                </a:lnTo>
                <a:lnTo>
                  <a:pt x="6185" y="1160"/>
                </a:lnTo>
                <a:lnTo>
                  <a:pt x="6178" y="1151"/>
                </a:lnTo>
                <a:lnTo>
                  <a:pt x="6171" y="1144"/>
                </a:lnTo>
                <a:lnTo>
                  <a:pt x="6162" y="1135"/>
                </a:lnTo>
                <a:lnTo>
                  <a:pt x="6157" y="1125"/>
                </a:lnTo>
                <a:lnTo>
                  <a:pt x="6152" y="1117"/>
                </a:lnTo>
                <a:lnTo>
                  <a:pt x="6145" y="1103"/>
                </a:lnTo>
                <a:lnTo>
                  <a:pt x="6135" y="1081"/>
                </a:lnTo>
                <a:lnTo>
                  <a:pt x="6126" y="1059"/>
                </a:lnTo>
                <a:lnTo>
                  <a:pt x="6120" y="1043"/>
                </a:lnTo>
                <a:lnTo>
                  <a:pt x="6117" y="1030"/>
                </a:lnTo>
                <a:lnTo>
                  <a:pt x="6116" y="1013"/>
                </a:lnTo>
                <a:lnTo>
                  <a:pt x="6116" y="997"/>
                </a:lnTo>
                <a:lnTo>
                  <a:pt x="6118" y="983"/>
                </a:lnTo>
                <a:lnTo>
                  <a:pt x="6120" y="972"/>
                </a:lnTo>
                <a:lnTo>
                  <a:pt x="6120" y="964"/>
                </a:lnTo>
                <a:lnTo>
                  <a:pt x="6118" y="955"/>
                </a:lnTo>
                <a:lnTo>
                  <a:pt x="6115" y="949"/>
                </a:lnTo>
                <a:lnTo>
                  <a:pt x="6114" y="942"/>
                </a:lnTo>
                <a:lnTo>
                  <a:pt x="6114" y="933"/>
                </a:lnTo>
                <a:lnTo>
                  <a:pt x="6115" y="922"/>
                </a:lnTo>
                <a:lnTo>
                  <a:pt x="6115" y="909"/>
                </a:lnTo>
                <a:lnTo>
                  <a:pt x="6113" y="896"/>
                </a:lnTo>
                <a:lnTo>
                  <a:pt x="6110" y="886"/>
                </a:lnTo>
                <a:lnTo>
                  <a:pt x="6107" y="877"/>
                </a:lnTo>
                <a:lnTo>
                  <a:pt x="6103" y="867"/>
                </a:lnTo>
                <a:lnTo>
                  <a:pt x="6101" y="854"/>
                </a:lnTo>
                <a:lnTo>
                  <a:pt x="6099" y="842"/>
                </a:lnTo>
                <a:lnTo>
                  <a:pt x="6099" y="838"/>
                </a:lnTo>
                <a:lnTo>
                  <a:pt x="6098" y="832"/>
                </a:lnTo>
                <a:lnTo>
                  <a:pt x="6096" y="827"/>
                </a:lnTo>
                <a:lnTo>
                  <a:pt x="6092" y="823"/>
                </a:lnTo>
                <a:lnTo>
                  <a:pt x="6080" y="815"/>
                </a:lnTo>
                <a:lnTo>
                  <a:pt x="6066" y="808"/>
                </a:lnTo>
                <a:lnTo>
                  <a:pt x="6053" y="801"/>
                </a:lnTo>
                <a:lnTo>
                  <a:pt x="6042" y="791"/>
                </a:lnTo>
                <a:lnTo>
                  <a:pt x="6038" y="786"/>
                </a:lnTo>
                <a:lnTo>
                  <a:pt x="6035" y="780"/>
                </a:lnTo>
                <a:lnTo>
                  <a:pt x="6034" y="773"/>
                </a:lnTo>
                <a:lnTo>
                  <a:pt x="6034" y="766"/>
                </a:lnTo>
                <a:lnTo>
                  <a:pt x="6034" y="752"/>
                </a:lnTo>
                <a:lnTo>
                  <a:pt x="6034" y="738"/>
                </a:lnTo>
                <a:lnTo>
                  <a:pt x="6033" y="734"/>
                </a:lnTo>
                <a:lnTo>
                  <a:pt x="6032" y="731"/>
                </a:lnTo>
                <a:lnTo>
                  <a:pt x="6029" y="728"/>
                </a:lnTo>
                <a:lnTo>
                  <a:pt x="6027" y="726"/>
                </a:lnTo>
                <a:lnTo>
                  <a:pt x="6023" y="725"/>
                </a:lnTo>
                <a:lnTo>
                  <a:pt x="6021" y="725"/>
                </a:lnTo>
                <a:lnTo>
                  <a:pt x="6017" y="725"/>
                </a:lnTo>
                <a:lnTo>
                  <a:pt x="6013" y="725"/>
                </a:lnTo>
                <a:lnTo>
                  <a:pt x="6006" y="729"/>
                </a:lnTo>
                <a:lnTo>
                  <a:pt x="5997" y="734"/>
                </a:lnTo>
                <a:lnTo>
                  <a:pt x="5989" y="736"/>
                </a:lnTo>
                <a:lnTo>
                  <a:pt x="5982" y="736"/>
                </a:lnTo>
                <a:lnTo>
                  <a:pt x="5975" y="735"/>
                </a:lnTo>
                <a:lnTo>
                  <a:pt x="5968" y="732"/>
                </a:lnTo>
                <a:lnTo>
                  <a:pt x="5960" y="728"/>
                </a:lnTo>
                <a:lnTo>
                  <a:pt x="5954" y="723"/>
                </a:lnTo>
                <a:lnTo>
                  <a:pt x="5950" y="717"/>
                </a:lnTo>
                <a:lnTo>
                  <a:pt x="5945" y="713"/>
                </a:lnTo>
                <a:lnTo>
                  <a:pt x="5937" y="701"/>
                </a:lnTo>
                <a:lnTo>
                  <a:pt x="5928" y="688"/>
                </a:lnTo>
                <a:lnTo>
                  <a:pt x="5925" y="681"/>
                </a:lnTo>
                <a:lnTo>
                  <a:pt x="5922" y="672"/>
                </a:lnTo>
                <a:lnTo>
                  <a:pt x="5921" y="665"/>
                </a:lnTo>
                <a:lnTo>
                  <a:pt x="5920" y="658"/>
                </a:lnTo>
                <a:lnTo>
                  <a:pt x="5919" y="652"/>
                </a:lnTo>
                <a:lnTo>
                  <a:pt x="5918" y="647"/>
                </a:lnTo>
                <a:lnTo>
                  <a:pt x="5915" y="643"/>
                </a:lnTo>
                <a:lnTo>
                  <a:pt x="5912" y="638"/>
                </a:lnTo>
                <a:lnTo>
                  <a:pt x="5908" y="635"/>
                </a:lnTo>
                <a:lnTo>
                  <a:pt x="5903" y="633"/>
                </a:lnTo>
                <a:lnTo>
                  <a:pt x="5899" y="632"/>
                </a:lnTo>
                <a:lnTo>
                  <a:pt x="5894" y="632"/>
                </a:lnTo>
                <a:lnTo>
                  <a:pt x="5883" y="632"/>
                </a:lnTo>
                <a:lnTo>
                  <a:pt x="5875" y="631"/>
                </a:lnTo>
                <a:lnTo>
                  <a:pt x="5871" y="630"/>
                </a:lnTo>
                <a:lnTo>
                  <a:pt x="5869" y="628"/>
                </a:lnTo>
                <a:lnTo>
                  <a:pt x="5865" y="626"/>
                </a:lnTo>
                <a:lnTo>
                  <a:pt x="5862" y="622"/>
                </a:lnTo>
                <a:lnTo>
                  <a:pt x="5858" y="620"/>
                </a:lnTo>
                <a:lnTo>
                  <a:pt x="5855" y="620"/>
                </a:lnTo>
                <a:lnTo>
                  <a:pt x="5851" y="621"/>
                </a:lnTo>
                <a:lnTo>
                  <a:pt x="5847" y="624"/>
                </a:lnTo>
                <a:lnTo>
                  <a:pt x="5839" y="630"/>
                </a:lnTo>
                <a:lnTo>
                  <a:pt x="5828" y="634"/>
                </a:lnTo>
                <a:lnTo>
                  <a:pt x="5822" y="635"/>
                </a:lnTo>
                <a:lnTo>
                  <a:pt x="5815" y="634"/>
                </a:lnTo>
                <a:lnTo>
                  <a:pt x="5808" y="633"/>
                </a:lnTo>
                <a:lnTo>
                  <a:pt x="5801" y="630"/>
                </a:lnTo>
                <a:lnTo>
                  <a:pt x="5787" y="624"/>
                </a:lnTo>
                <a:lnTo>
                  <a:pt x="5771" y="616"/>
                </a:lnTo>
                <a:lnTo>
                  <a:pt x="5767" y="614"/>
                </a:lnTo>
                <a:lnTo>
                  <a:pt x="5763" y="612"/>
                </a:lnTo>
                <a:lnTo>
                  <a:pt x="5761" y="608"/>
                </a:lnTo>
                <a:lnTo>
                  <a:pt x="5758" y="605"/>
                </a:lnTo>
                <a:lnTo>
                  <a:pt x="5752" y="595"/>
                </a:lnTo>
                <a:lnTo>
                  <a:pt x="5744" y="586"/>
                </a:lnTo>
                <a:lnTo>
                  <a:pt x="5733" y="577"/>
                </a:lnTo>
                <a:lnTo>
                  <a:pt x="5720" y="568"/>
                </a:lnTo>
                <a:lnTo>
                  <a:pt x="5713" y="562"/>
                </a:lnTo>
                <a:lnTo>
                  <a:pt x="5706" y="555"/>
                </a:lnTo>
                <a:lnTo>
                  <a:pt x="5699" y="546"/>
                </a:lnTo>
                <a:lnTo>
                  <a:pt x="5692" y="539"/>
                </a:lnTo>
                <a:lnTo>
                  <a:pt x="5685" y="531"/>
                </a:lnTo>
                <a:lnTo>
                  <a:pt x="5679" y="524"/>
                </a:lnTo>
                <a:lnTo>
                  <a:pt x="5672" y="518"/>
                </a:lnTo>
                <a:lnTo>
                  <a:pt x="5666" y="514"/>
                </a:lnTo>
                <a:lnTo>
                  <a:pt x="5661" y="511"/>
                </a:lnTo>
                <a:lnTo>
                  <a:pt x="5657" y="506"/>
                </a:lnTo>
                <a:lnTo>
                  <a:pt x="5656" y="500"/>
                </a:lnTo>
                <a:lnTo>
                  <a:pt x="5655" y="494"/>
                </a:lnTo>
                <a:lnTo>
                  <a:pt x="5655" y="480"/>
                </a:lnTo>
                <a:lnTo>
                  <a:pt x="5656" y="463"/>
                </a:lnTo>
                <a:lnTo>
                  <a:pt x="5656" y="450"/>
                </a:lnTo>
                <a:lnTo>
                  <a:pt x="5655" y="442"/>
                </a:lnTo>
                <a:lnTo>
                  <a:pt x="5651" y="435"/>
                </a:lnTo>
                <a:lnTo>
                  <a:pt x="5644" y="423"/>
                </a:lnTo>
                <a:lnTo>
                  <a:pt x="5630" y="411"/>
                </a:lnTo>
                <a:lnTo>
                  <a:pt x="5612" y="399"/>
                </a:lnTo>
                <a:lnTo>
                  <a:pt x="5599" y="383"/>
                </a:lnTo>
                <a:lnTo>
                  <a:pt x="5587" y="369"/>
                </a:lnTo>
                <a:lnTo>
                  <a:pt x="5575" y="354"/>
                </a:lnTo>
                <a:lnTo>
                  <a:pt x="5557" y="337"/>
                </a:lnTo>
                <a:lnTo>
                  <a:pt x="5541" y="323"/>
                </a:lnTo>
                <a:lnTo>
                  <a:pt x="5528" y="313"/>
                </a:lnTo>
                <a:lnTo>
                  <a:pt x="5518" y="309"/>
                </a:lnTo>
                <a:lnTo>
                  <a:pt x="5512" y="306"/>
                </a:lnTo>
                <a:lnTo>
                  <a:pt x="5507" y="305"/>
                </a:lnTo>
                <a:lnTo>
                  <a:pt x="5506" y="301"/>
                </a:lnTo>
                <a:lnTo>
                  <a:pt x="5513" y="293"/>
                </a:lnTo>
                <a:lnTo>
                  <a:pt x="5530" y="279"/>
                </a:lnTo>
                <a:lnTo>
                  <a:pt x="5534" y="274"/>
                </a:lnTo>
                <a:lnTo>
                  <a:pt x="5536" y="268"/>
                </a:lnTo>
                <a:lnTo>
                  <a:pt x="5537" y="262"/>
                </a:lnTo>
                <a:lnTo>
                  <a:pt x="5537" y="255"/>
                </a:lnTo>
                <a:lnTo>
                  <a:pt x="5537" y="249"/>
                </a:lnTo>
                <a:lnTo>
                  <a:pt x="5535" y="242"/>
                </a:lnTo>
                <a:lnTo>
                  <a:pt x="5530" y="236"/>
                </a:lnTo>
                <a:lnTo>
                  <a:pt x="5524" y="231"/>
                </a:lnTo>
                <a:lnTo>
                  <a:pt x="5517" y="227"/>
                </a:lnTo>
                <a:lnTo>
                  <a:pt x="5510" y="219"/>
                </a:lnTo>
                <a:lnTo>
                  <a:pt x="5503" y="211"/>
                </a:lnTo>
                <a:lnTo>
                  <a:pt x="5494" y="202"/>
                </a:lnTo>
                <a:lnTo>
                  <a:pt x="5481" y="185"/>
                </a:lnTo>
                <a:lnTo>
                  <a:pt x="5472" y="172"/>
                </a:lnTo>
                <a:lnTo>
                  <a:pt x="5469" y="167"/>
                </a:lnTo>
                <a:lnTo>
                  <a:pt x="5468" y="162"/>
                </a:lnTo>
                <a:lnTo>
                  <a:pt x="5468" y="159"/>
                </a:lnTo>
                <a:lnTo>
                  <a:pt x="5469" y="154"/>
                </a:lnTo>
                <a:lnTo>
                  <a:pt x="5472" y="151"/>
                </a:lnTo>
                <a:lnTo>
                  <a:pt x="5475" y="147"/>
                </a:lnTo>
                <a:lnTo>
                  <a:pt x="5479" y="143"/>
                </a:lnTo>
                <a:lnTo>
                  <a:pt x="5484" y="141"/>
                </a:lnTo>
                <a:lnTo>
                  <a:pt x="5493" y="136"/>
                </a:lnTo>
                <a:lnTo>
                  <a:pt x="5505" y="130"/>
                </a:lnTo>
                <a:lnTo>
                  <a:pt x="5510" y="128"/>
                </a:lnTo>
                <a:lnTo>
                  <a:pt x="5515" y="124"/>
                </a:lnTo>
                <a:lnTo>
                  <a:pt x="5517" y="122"/>
                </a:lnTo>
                <a:lnTo>
                  <a:pt x="5518" y="118"/>
                </a:lnTo>
                <a:lnTo>
                  <a:pt x="5517" y="96"/>
                </a:lnTo>
                <a:lnTo>
                  <a:pt x="5516" y="79"/>
                </a:lnTo>
                <a:lnTo>
                  <a:pt x="5515" y="67"/>
                </a:lnTo>
                <a:lnTo>
                  <a:pt x="5515" y="57"/>
                </a:lnTo>
                <a:lnTo>
                  <a:pt x="5515" y="46"/>
                </a:lnTo>
                <a:lnTo>
                  <a:pt x="5515" y="39"/>
                </a:lnTo>
                <a:lnTo>
                  <a:pt x="5513" y="35"/>
                </a:lnTo>
                <a:lnTo>
                  <a:pt x="5511" y="33"/>
                </a:lnTo>
                <a:lnTo>
                  <a:pt x="5507" y="32"/>
                </a:lnTo>
                <a:lnTo>
                  <a:pt x="5504" y="30"/>
                </a:lnTo>
                <a:lnTo>
                  <a:pt x="5490" y="32"/>
                </a:lnTo>
                <a:lnTo>
                  <a:pt x="5479" y="32"/>
                </a:lnTo>
                <a:lnTo>
                  <a:pt x="5468" y="32"/>
                </a:lnTo>
                <a:lnTo>
                  <a:pt x="5455" y="30"/>
                </a:lnTo>
                <a:lnTo>
                  <a:pt x="5449" y="30"/>
                </a:lnTo>
                <a:lnTo>
                  <a:pt x="5443" y="30"/>
                </a:lnTo>
                <a:lnTo>
                  <a:pt x="5440" y="30"/>
                </a:lnTo>
                <a:lnTo>
                  <a:pt x="5436" y="32"/>
                </a:lnTo>
                <a:lnTo>
                  <a:pt x="5430" y="36"/>
                </a:lnTo>
                <a:lnTo>
                  <a:pt x="5425" y="44"/>
                </a:lnTo>
                <a:lnTo>
                  <a:pt x="5422" y="51"/>
                </a:lnTo>
                <a:lnTo>
                  <a:pt x="5416" y="55"/>
                </a:lnTo>
                <a:lnTo>
                  <a:pt x="5412" y="57"/>
                </a:lnTo>
                <a:lnTo>
                  <a:pt x="5408" y="58"/>
                </a:lnTo>
                <a:lnTo>
                  <a:pt x="5403" y="58"/>
                </a:lnTo>
                <a:lnTo>
                  <a:pt x="5397" y="57"/>
                </a:lnTo>
                <a:lnTo>
                  <a:pt x="5391" y="55"/>
                </a:lnTo>
                <a:lnTo>
                  <a:pt x="5384" y="52"/>
                </a:lnTo>
                <a:lnTo>
                  <a:pt x="5378" y="47"/>
                </a:lnTo>
                <a:lnTo>
                  <a:pt x="5372" y="41"/>
                </a:lnTo>
                <a:lnTo>
                  <a:pt x="5358" y="28"/>
                </a:lnTo>
                <a:lnTo>
                  <a:pt x="5342" y="15"/>
                </a:lnTo>
                <a:lnTo>
                  <a:pt x="5332" y="10"/>
                </a:lnTo>
                <a:lnTo>
                  <a:pt x="5321" y="5"/>
                </a:lnTo>
                <a:lnTo>
                  <a:pt x="5309" y="3"/>
                </a:lnTo>
                <a:lnTo>
                  <a:pt x="5297" y="1"/>
                </a:lnTo>
                <a:lnTo>
                  <a:pt x="5285" y="0"/>
                </a:lnTo>
                <a:lnTo>
                  <a:pt x="5273" y="0"/>
                </a:lnTo>
                <a:lnTo>
                  <a:pt x="5264" y="0"/>
                </a:lnTo>
                <a:lnTo>
                  <a:pt x="5254" y="1"/>
                </a:lnTo>
                <a:lnTo>
                  <a:pt x="5251" y="2"/>
                </a:lnTo>
                <a:lnTo>
                  <a:pt x="5248" y="3"/>
                </a:lnTo>
                <a:lnTo>
                  <a:pt x="5245" y="5"/>
                </a:lnTo>
                <a:lnTo>
                  <a:pt x="5242" y="8"/>
                </a:lnTo>
                <a:lnTo>
                  <a:pt x="5238" y="14"/>
                </a:lnTo>
                <a:lnTo>
                  <a:pt x="5232" y="20"/>
                </a:lnTo>
                <a:lnTo>
                  <a:pt x="5216" y="32"/>
                </a:lnTo>
                <a:lnTo>
                  <a:pt x="5201" y="41"/>
                </a:lnTo>
                <a:lnTo>
                  <a:pt x="5195" y="47"/>
                </a:lnTo>
                <a:lnTo>
                  <a:pt x="5190" y="54"/>
                </a:lnTo>
                <a:lnTo>
                  <a:pt x="5187" y="63"/>
                </a:lnTo>
                <a:lnTo>
                  <a:pt x="5184" y="70"/>
                </a:lnTo>
                <a:lnTo>
                  <a:pt x="5183" y="78"/>
                </a:lnTo>
                <a:lnTo>
                  <a:pt x="5184" y="84"/>
                </a:lnTo>
                <a:lnTo>
                  <a:pt x="5185" y="88"/>
                </a:lnTo>
                <a:lnTo>
                  <a:pt x="5187" y="90"/>
                </a:lnTo>
                <a:lnTo>
                  <a:pt x="5189" y="92"/>
                </a:lnTo>
                <a:lnTo>
                  <a:pt x="5191" y="93"/>
                </a:lnTo>
                <a:lnTo>
                  <a:pt x="5196" y="97"/>
                </a:lnTo>
                <a:lnTo>
                  <a:pt x="5198" y="101"/>
                </a:lnTo>
                <a:lnTo>
                  <a:pt x="5200" y="104"/>
                </a:lnTo>
                <a:lnTo>
                  <a:pt x="5200" y="109"/>
                </a:lnTo>
                <a:lnTo>
                  <a:pt x="5198" y="114"/>
                </a:lnTo>
                <a:lnTo>
                  <a:pt x="5195" y="118"/>
                </a:lnTo>
                <a:lnTo>
                  <a:pt x="5192" y="123"/>
                </a:lnTo>
                <a:lnTo>
                  <a:pt x="5188" y="127"/>
                </a:lnTo>
                <a:lnTo>
                  <a:pt x="5181" y="139"/>
                </a:lnTo>
                <a:lnTo>
                  <a:pt x="5173" y="153"/>
                </a:lnTo>
                <a:lnTo>
                  <a:pt x="5169" y="161"/>
                </a:lnTo>
                <a:lnTo>
                  <a:pt x="5164" y="168"/>
                </a:lnTo>
                <a:lnTo>
                  <a:pt x="5159" y="174"/>
                </a:lnTo>
                <a:lnTo>
                  <a:pt x="5152" y="180"/>
                </a:lnTo>
                <a:lnTo>
                  <a:pt x="5144" y="185"/>
                </a:lnTo>
                <a:lnTo>
                  <a:pt x="5137" y="190"/>
                </a:lnTo>
                <a:lnTo>
                  <a:pt x="5129" y="194"/>
                </a:lnTo>
                <a:lnTo>
                  <a:pt x="5125" y="200"/>
                </a:lnTo>
                <a:lnTo>
                  <a:pt x="5114" y="215"/>
                </a:lnTo>
                <a:lnTo>
                  <a:pt x="5103" y="227"/>
                </a:lnTo>
                <a:lnTo>
                  <a:pt x="5099" y="230"/>
                </a:lnTo>
                <a:lnTo>
                  <a:pt x="5094" y="233"/>
                </a:lnTo>
                <a:lnTo>
                  <a:pt x="5087" y="235"/>
                </a:lnTo>
                <a:lnTo>
                  <a:pt x="5080" y="237"/>
                </a:lnTo>
                <a:lnTo>
                  <a:pt x="5061" y="241"/>
                </a:lnTo>
                <a:lnTo>
                  <a:pt x="5036" y="243"/>
                </a:lnTo>
                <a:lnTo>
                  <a:pt x="5011" y="246"/>
                </a:lnTo>
                <a:lnTo>
                  <a:pt x="4989" y="244"/>
                </a:lnTo>
                <a:lnTo>
                  <a:pt x="4973" y="242"/>
                </a:lnTo>
                <a:lnTo>
                  <a:pt x="4958" y="238"/>
                </a:lnTo>
                <a:lnTo>
                  <a:pt x="4943" y="234"/>
                </a:lnTo>
                <a:lnTo>
                  <a:pt x="4924" y="228"/>
                </a:lnTo>
                <a:lnTo>
                  <a:pt x="4914" y="225"/>
                </a:lnTo>
                <a:lnTo>
                  <a:pt x="4905" y="223"/>
                </a:lnTo>
                <a:lnTo>
                  <a:pt x="4896" y="223"/>
                </a:lnTo>
                <a:lnTo>
                  <a:pt x="4888" y="223"/>
                </a:lnTo>
                <a:lnTo>
                  <a:pt x="4879" y="225"/>
                </a:lnTo>
                <a:lnTo>
                  <a:pt x="4869" y="227"/>
                </a:lnTo>
                <a:lnTo>
                  <a:pt x="4864" y="229"/>
                </a:lnTo>
                <a:lnTo>
                  <a:pt x="4860" y="230"/>
                </a:lnTo>
                <a:lnTo>
                  <a:pt x="4855" y="233"/>
                </a:lnTo>
                <a:lnTo>
                  <a:pt x="4850" y="236"/>
                </a:lnTo>
                <a:lnTo>
                  <a:pt x="4843" y="242"/>
                </a:lnTo>
                <a:lnTo>
                  <a:pt x="4837" y="250"/>
                </a:lnTo>
                <a:lnTo>
                  <a:pt x="4832" y="260"/>
                </a:lnTo>
                <a:lnTo>
                  <a:pt x="4828" y="268"/>
                </a:lnTo>
                <a:lnTo>
                  <a:pt x="4824" y="276"/>
                </a:lnTo>
                <a:lnTo>
                  <a:pt x="4819" y="281"/>
                </a:lnTo>
                <a:lnTo>
                  <a:pt x="4814" y="286"/>
                </a:lnTo>
                <a:lnTo>
                  <a:pt x="4810" y="290"/>
                </a:lnTo>
                <a:lnTo>
                  <a:pt x="4805" y="293"/>
                </a:lnTo>
                <a:lnTo>
                  <a:pt x="4800" y="297"/>
                </a:lnTo>
                <a:lnTo>
                  <a:pt x="4794" y="301"/>
                </a:lnTo>
                <a:lnTo>
                  <a:pt x="4789" y="309"/>
                </a:lnTo>
                <a:lnTo>
                  <a:pt x="4781" y="322"/>
                </a:lnTo>
                <a:lnTo>
                  <a:pt x="4774" y="338"/>
                </a:lnTo>
                <a:lnTo>
                  <a:pt x="4765" y="356"/>
                </a:lnTo>
                <a:lnTo>
                  <a:pt x="4754" y="373"/>
                </a:lnTo>
                <a:lnTo>
                  <a:pt x="4753" y="374"/>
                </a:lnTo>
                <a:lnTo>
                  <a:pt x="4753" y="376"/>
                </a:lnTo>
                <a:lnTo>
                  <a:pt x="4754" y="378"/>
                </a:lnTo>
                <a:lnTo>
                  <a:pt x="4755" y="380"/>
                </a:lnTo>
                <a:lnTo>
                  <a:pt x="4757" y="382"/>
                </a:lnTo>
                <a:lnTo>
                  <a:pt x="4759" y="386"/>
                </a:lnTo>
                <a:lnTo>
                  <a:pt x="4757" y="402"/>
                </a:lnTo>
                <a:lnTo>
                  <a:pt x="4755" y="424"/>
                </a:lnTo>
                <a:lnTo>
                  <a:pt x="4751" y="448"/>
                </a:lnTo>
                <a:lnTo>
                  <a:pt x="4749" y="465"/>
                </a:lnTo>
                <a:lnTo>
                  <a:pt x="4745" y="485"/>
                </a:lnTo>
                <a:lnTo>
                  <a:pt x="4740" y="512"/>
                </a:lnTo>
                <a:lnTo>
                  <a:pt x="4737" y="527"/>
                </a:lnTo>
                <a:lnTo>
                  <a:pt x="4734" y="545"/>
                </a:lnTo>
                <a:lnTo>
                  <a:pt x="4731" y="563"/>
                </a:lnTo>
                <a:lnTo>
                  <a:pt x="4729" y="581"/>
                </a:lnTo>
                <a:lnTo>
                  <a:pt x="4728" y="610"/>
                </a:lnTo>
                <a:lnTo>
                  <a:pt x="4729" y="627"/>
                </a:lnTo>
                <a:lnTo>
                  <a:pt x="4731" y="635"/>
                </a:lnTo>
                <a:lnTo>
                  <a:pt x="4732" y="643"/>
                </a:lnTo>
                <a:lnTo>
                  <a:pt x="4731" y="654"/>
                </a:lnTo>
                <a:lnTo>
                  <a:pt x="4729" y="670"/>
                </a:lnTo>
                <a:lnTo>
                  <a:pt x="4724" y="688"/>
                </a:lnTo>
                <a:lnTo>
                  <a:pt x="4719" y="703"/>
                </a:lnTo>
                <a:lnTo>
                  <a:pt x="4716" y="710"/>
                </a:lnTo>
                <a:lnTo>
                  <a:pt x="4711" y="719"/>
                </a:lnTo>
                <a:lnTo>
                  <a:pt x="4705" y="726"/>
                </a:lnTo>
                <a:lnTo>
                  <a:pt x="4698" y="734"/>
                </a:lnTo>
                <a:lnTo>
                  <a:pt x="4682" y="750"/>
                </a:lnTo>
                <a:lnTo>
                  <a:pt x="4669" y="761"/>
                </a:lnTo>
                <a:lnTo>
                  <a:pt x="4663" y="766"/>
                </a:lnTo>
                <a:lnTo>
                  <a:pt x="4658" y="770"/>
                </a:lnTo>
                <a:lnTo>
                  <a:pt x="4652" y="773"/>
                </a:lnTo>
                <a:lnTo>
                  <a:pt x="4646" y="775"/>
                </a:lnTo>
                <a:lnTo>
                  <a:pt x="4640" y="776"/>
                </a:lnTo>
                <a:lnTo>
                  <a:pt x="4633" y="777"/>
                </a:lnTo>
                <a:lnTo>
                  <a:pt x="4627" y="777"/>
                </a:lnTo>
                <a:lnTo>
                  <a:pt x="4619" y="776"/>
                </a:lnTo>
                <a:lnTo>
                  <a:pt x="4614" y="776"/>
                </a:lnTo>
                <a:lnTo>
                  <a:pt x="4608" y="776"/>
                </a:lnTo>
                <a:lnTo>
                  <a:pt x="4602" y="777"/>
                </a:lnTo>
                <a:lnTo>
                  <a:pt x="4597" y="778"/>
                </a:lnTo>
                <a:lnTo>
                  <a:pt x="4589" y="782"/>
                </a:lnTo>
                <a:lnTo>
                  <a:pt x="4580" y="786"/>
                </a:lnTo>
                <a:lnTo>
                  <a:pt x="4573" y="792"/>
                </a:lnTo>
                <a:lnTo>
                  <a:pt x="4565" y="796"/>
                </a:lnTo>
                <a:lnTo>
                  <a:pt x="4560" y="798"/>
                </a:lnTo>
                <a:lnTo>
                  <a:pt x="4555" y="799"/>
                </a:lnTo>
                <a:lnTo>
                  <a:pt x="4551" y="801"/>
                </a:lnTo>
                <a:lnTo>
                  <a:pt x="4546" y="801"/>
                </a:lnTo>
                <a:lnTo>
                  <a:pt x="4537" y="802"/>
                </a:lnTo>
                <a:lnTo>
                  <a:pt x="4527" y="805"/>
                </a:lnTo>
                <a:lnTo>
                  <a:pt x="4515" y="811"/>
                </a:lnTo>
                <a:lnTo>
                  <a:pt x="4502" y="817"/>
                </a:lnTo>
                <a:lnTo>
                  <a:pt x="4489" y="823"/>
                </a:lnTo>
                <a:lnTo>
                  <a:pt x="4476" y="827"/>
                </a:lnTo>
                <a:lnTo>
                  <a:pt x="4470" y="828"/>
                </a:lnTo>
                <a:lnTo>
                  <a:pt x="4464" y="829"/>
                </a:lnTo>
                <a:lnTo>
                  <a:pt x="4458" y="828"/>
                </a:lnTo>
                <a:lnTo>
                  <a:pt x="4453" y="827"/>
                </a:lnTo>
                <a:lnTo>
                  <a:pt x="4449" y="824"/>
                </a:lnTo>
                <a:lnTo>
                  <a:pt x="4444" y="820"/>
                </a:lnTo>
                <a:lnTo>
                  <a:pt x="4438" y="814"/>
                </a:lnTo>
                <a:lnTo>
                  <a:pt x="4432" y="807"/>
                </a:lnTo>
                <a:lnTo>
                  <a:pt x="4421" y="791"/>
                </a:lnTo>
                <a:lnTo>
                  <a:pt x="4415" y="779"/>
                </a:lnTo>
                <a:lnTo>
                  <a:pt x="4411" y="766"/>
                </a:lnTo>
                <a:lnTo>
                  <a:pt x="4408" y="755"/>
                </a:lnTo>
                <a:lnTo>
                  <a:pt x="4407" y="751"/>
                </a:lnTo>
                <a:lnTo>
                  <a:pt x="4403" y="747"/>
                </a:lnTo>
                <a:lnTo>
                  <a:pt x="4397" y="745"/>
                </a:lnTo>
                <a:lnTo>
                  <a:pt x="4390" y="745"/>
                </a:lnTo>
                <a:lnTo>
                  <a:pt x="4378" y="744"/>
                </a:lnTo>
                <a:lnTo>
                  <a:pt x="4369" y="742"/>
                </a:lnTo>
                <a:lnTo>
                  <a:pt x="4359" y="740"/>
                </a:lnTo>
                <a:lnTo>
                  <a:pt x="4352" y="736"/>
                </a:lnTo>
                <a:lnTo>
                  <a:pt x="4339" y="731"/>
                </a:lnTo>
                <a:lnTo>
                  <a:pt x="4323" y="723"/>
                </a:lnTo>
                <a:lnTo>
                  <a:pt x="4304" y="716"/>
                </a:lnTo>
                <a:lnTo>
                  <a:pt x="4285" y="713"/>
                </a:lnTo>
                <a:lnTo>
                  <a:pt x="4277" y="712"/>
                </a:lnTo>
                <a:lnTo>
                  <a:pt x="4269" y="710"/>
                </a:lnTo>
                <a:lnTo>
                  <a:pt x="4260" y="710"/>
                </a:lnTo>
                <a:lnTo>
                  <a:pt x="4253" y="713"/>
                </a:lnTo>
                <a:lnTo>
                  <a:pt x="4247" y="714"/>
                </a:lnTo>
                <a:lnTo>
                  <a:pt x="4243" y="714"/>
                </a:lnTo>
                <a:lnTo>
                  <a:pt x="4237" y="714"/>
                </a:lnTo>
                <a:lnTo>
                  <a:pt x="4232" y="713"/>
                </a:lnTo>
                <a:lnTo>
                  <a:pt x="4224" y="709"/>
                </a:lnTo>
                <a:lnTo>
                  <a:pt x="4218" y="703"/>
                </a:lnTo>
                <a:lnTo>
                  <a:pt x="4213" y="698"/>
                </a:lnTo>
                <a:lnTo>
                  <a:pt x="4206" y="696"/>
                </a:lnTo>
                <a:lnTo>
                  <a:pt x="4197" y="695"/>
                </a:lnTo>
                <a:lnTo>
                  <a:pt x="4187" y="694"/>
                </a:lnTo>
                <a:lnTo>
                  <a:pt x="4176" y="693"/>
                </a:lnTo>
                <a:lnTo>
                  <a:pt x="4168" y="690"/>
                </a:lnTo>
                <a:lnTo>
                  <a:pt x="4162" y="687"/>
                </a:lnTo>
                <a:lnTo>
                  <a:pt x="4153" y="679"/>
                </a:lnTo>
                <a:lnTo>
                  <a:pt x="4144" y="671"/>
                </a:lnTo>
                <a:lnTo>
                  <a:pt x="4132" y="664"/>
                </a:lnTo>
                <a:lnTo>
                  <a:pt x="4121" y="657"/>
                </a:lnTo>
                <a:lnTo>
                  <a:pt x="4110" y="651"/>
                </a:lnTo>
                <a:lnTo>
                  <a:pt x="4101" y="641"/>
                </a:lnTo>
                <a:lnTo>
                  <a:pt x="4093" y="631"/>
                </a:lnTo>
                <a:lnTo>
                  <a:pt x="4081" y="619"/>
                </a:lnTo>
                <a:lnTo>
                  <a:pt x="4069" y="607"/>
                </a:lnTo>
                <a:lnTo>
                  <a:pt x="4061" y="596"/>
                </a:lnTo>
                <a:lnTo>
                  <a:pt x="4050" y="584"/>
                </a:lnTo>
                <a:lnTo>
                  <a:pt x="4044" y="580"/>
                </a:lnTo>
                <a:lnTo>
                  <a:pt x="4039" y="576"/>
                </a:lnTo>
                <a:lnTo>
                  <a:pt x="4033" y="572"/>
                </a:lnTo>
                <a:lnTo>
                  <a:pt x="4029" y="570"/>
                </a:lnTo>
                <a:lnTo>
                  <a:pt x="4019" y="567"/>
                </a:lnTo>
                <a:lnTo>
                  <a:pt x="4013" y="562"/>
                </a:lnTo>
                <a:lnTo>
                  <a:pt x="4010" y="557"/>
                </a:lnTo>
                <a:lnTo>
                  <a:pt x="4006" y="552"/>
                </a:lnTo>
                <a:lnTo>
                  <a:pt x="4003" y="546"/>
                </a:lnTo>
                <a:lnTo>
                  <a:pt x="3997" y="540"/>
                </a:lnTo>
                <a:lnTo>
                  <a:pt x="3993" y="537"/>
                </a:lnTo>
                <a:lnTo>
                  <a:pt x="3988" y="534"/>
                </a:lnTo>
                <a:lnTo>
                  <a:pt x="3982" y="533"/>
                </a:lnTo>
                <a:lnTo>
                  <a:pt x="3975" y="532"/>
                </a:lnTo>
                <a:lnTo>
                  <a:pt x="3968" y="532"/>
                </a:lnTo>
                <a:lnTo>
                  <a:pt x="3963" y="534"/>
                </a:lnTo>
                <a:lnTo>
                  <a:pt x="3959" y="538"/>
                </a:lnTo>
                <a:lnTo>
                  <a:pt x="3955" y="543"/>
                </a:lnTo>
                <a:lnTo>
                  <a:pt x="3948" y="557"/>
                </a:lnTo>
                <a:lnTo>
                  <a:pt x="3938" y="574"/>
                </a:lnTo>
                <a:lnTo>
                  <a:pt x="3929" y="586"/>
                </a:lnTo>
                <a:lnTo>
                  <a:pt x="3918" y="601"/>
                </a:lnTo>
                <a:lnTo>
                  <a:pt x="3905" y="619"/>
                </a:lnTo>
                <a:lnTo>
                  <a:pt x="3892" y="637"/>
                </a:lnTo>
                <a:lnTo>
                  <a:pt x="3884" y="646"/>
                </a:lnTo>
                <a:lnTo>
                  <a:pt x="3874" y="656"/>
                </a:lnTo>
                <a:lnTo>
                  <a:pt x="3866" y="665"/>
                </a:lnTo>
                <a:lnTo>
                  <a:pt x="3859" y="673"/>
                </a:lnTo>
                <a:lnTo>
                  <a:pt x="3842" y="701"/>
                </a:lnTo>
                <a:lnTo>
                  <a:pt x="3824" y="732"/>
                </a:lnTo>
                <a:lnTo>
                  <a:pt x="3810" y="759"/>
                </a:lnTo>
                <a:lnTo>
                  <a:pt x="3802" y="776"/>
                </a:lnTo>
                <a:lnTo>
                  <a:pt x="3791" y="794"/>
                </a:lnTo>
                <a:lnTo>
                  <a:pt x="3770" y="822"/>
                </a:lnTo>
                <a:lnTo>
                  <a:pt x="3748" y="854"/>
                </a:lnTo>
                <a:lnTo>
                  <a:pt x="3730" y="878"/>
                </a:lnTo>
                <a:lnTo>
                  <a:pt x="3717" y="897"/>
                </a:lnTo>
                <a:lnTo>
                  <a:pt x="3701" y="918"/>
                </a:lnTo>
                <a:lnTo>
                  <a:pt x="3684" y="940"/>
                </a:lnTo>
                <a:lnTo>
                  <a:pt x="3670" y="959"/>
                </a:lnTo>
                <a:lnTo>
                  <a:pt x="3661" y="975"/>
                </a:lnTo>
                <a:lnTo>
                  <a:pt x="3654" y="990"/>
                </a:lnTo>
                <a:lnTo>
                  <a:pt x="3651" y="997"/>
                </a:lnTo>
                <a:lnTo>
                  <a:pt x="3645" y="1003"/>
                </a:lnTo>
                <a:lnTo>
                  <a:pt x="3639" y="1007"/>
                </a:lnTo>
                <a:lnTo>
                  <a:pt x="3630" y="1012"/>
                </a:lnTo>
                <a:lnTo>
                  <a:pt x="3623" y="1016"/>
                </a:lnTo>
                <a:lnTo>
                  <a:pt x="3617" y="1021"/>
                </a:lnTo>
                <a:lnTo>
                  <a:pt x="3615" y="1025"/>
                </a:lnTo>
                <a:lnTo>
                  <a:pt x="3613" y="1030"/>
                </a:lnTo>
                <a:lnTo>
                  <a:pt x="3611" y="1044"/>
                </a:lnTo>
                <a:lnTo>
                  <a:pt x="3608" y="1061"/>
                </a:lnTo>
                <a:lnTo>
                  <a:pt x="3604" y="1072"/>
                </a:lnTo>
                <a:lnTo>
                  <a:pt x="3600" y="1082"/>
                </a:lnTo>
                <a:lnTo>
                  <a:pt x="3594" y="1093"/>
                </a:lnTo>
                <a:lnTo>
                  <a:pt x="3586" y="1104"/>
                </a:lnTo>
                <a:lnTo>
                  <a:pt x="3581" y="1116"/>
                </a:lnTo>
                <a:lnTo>
                  <a:pt x="3575" y="1128"/>
                </a:lnTo>
                <a:lnTo>
                  <a:pt x="3569" y="1141"/>
                </a:lnTo>
                <a:lnTo>
                  <a:pt x="3564" y="1154"/>
                </a:lnTo>
                <a:lnTo>
                  <a:pt x="3560" y="1164"/>
                </a:lnTo>
                <a:lnTo>
                  <a:pt x="3560" y="1174"/>
                </a:lnTo>
                <a:lnTo>
                  <a:pt x="3561" y="1181"/>
                </a:lnTo>
                <a:lnTo>
                  <a:pt x="3564" y="1187"/>
                </a:lnTo>
                <a:lnTo>
                  <a:pt x="3572" y="1194"/>
                </a:lnTo>
                <a:lnTo>
                  <a:pt x="3582" y="1201"/>
                </a:lnTo>
                <a:lnTo>
                  <a:pt x="3586" y="1207"/>
                </a:lnTo>
                <a:lnTo>
                  <a:pt x="3591" y="1214"/>
                </a:lnTo>
                <a:lnTo>
                  <a:pt x="3595" y="1224"/>
                </a:lnTo>
                <a:lnTo>
                  <a:pt x="3598" y="1235"/>
                </a:lnTo>
                <a:lnTo>
                  <a:pt x="3605" y="1259"/>
                </a:lnTo>
                <a:lnTo>
                  <a:pt x="3610" y="1286"/>
                </a:lnTo>
                <a:lnTo>
                  <a:pt x="3611" y="1297"/>
                </a:lnTo>
                <a:lnTo>
                  <a:pt x="3610" y="1306"/>
                </a:lnTo>
                <a:lnTo>
                  <a:pt x="3608" y="1313"/>
                </a:lnTo>
                <a:lnTo>
                  <a:pt x="3603" y="1317"/>
                </a:lnTo>
                <a:lnTo>
                  <a:pt x="3598" y="1320"/>
                </a:lnTo>
                <a:lnTo>
                  <a:pt x="3594" y="1321"/>
                </a:lnTo>
                <a:lnTo>
                  <a:pt x="3588" y="1320"/>
                </a:lnTo>
                <a:lnTo>
                  <a:pt x="3582" y="1320"/>
                </a:lnTo>
                <a:lnTo>
                  <a:pt x="3573" y="1317"/>
                </a:lnTo>
                <a:lnTo>
                  <a:pt x="3565" y="1311"/>
                </a:lnTo>
                <a:lnTo>
                  <a:pt x="3553" y="1303"/>
                </a:lnTo>
                <a:lnTo>
                  <a:pt x="3534" y="1294"/>
                </a:lnTo>
                <a:lnTo>
                  <a:pt x="3523" y="1290"/>
                </a:lnTo>
                <a:lnTo>
                  <a:pt x="3514" y="1287"/>
                </a:lnTo>
                <a:lnTo>
                  <a:pt x="3507" y="1286"/>
                </a:lnTo>
                <a:lnTo>
                  <a:pt x="3501" y="1284"/>
                </a:lnTo>
                <a:lnTo>
                  <a:pt x="3489" y="1284"/>
                </a:lnTo>
                <a:lnTo>
                  <a:pt x="3476" y="1282"/>
                </a:lnTo>
                <a:lnTo>
                  <a:pt x="3468" y="1280"/>
                </a:lnTo>
                <a:lnTo>
                  <a:pt x="3460" y="1275"/>
                </a:lnTo>
                <a:lnTo>
                  <a:pt x="3452" y="1268"/>
                </a:lnTo>
                <a:lnTo>
                  <a:pt x="3445" y="1261"/>
                </a:lnTo>
                <a:lnTo>
                  <a:pt x="3430" y="1243"/>
                </a:lnTo>
                <a:lnTo>
                  <a:pt x="3416" y="1225"/>
                </a:lnTo>
                <a:lnTo>
                  <a:pt x="3409" y="1217"/>
                </a:lnTo>
                <a:lnTo>
                  <a:pt x="3402" y="1210"/>
                </a:lnTo>
                <a:lnTo>
                  <a:pt x="3395" y="1204"/>
                </a:lnTo>
                <a:lnTo>
                  <a:pt x="3388" y="1199"/>
                </a:lnTo>
                <a:lnTo>
                  <a:pt x="3381" y="1195"/>
                </a:lnTo>
                <a:lnTo>
                  <a:pt x="3374" y="1193"/>
                </a:lnTo>
                <a:lnTo>
                  <a:pt x="3367" y="1192"/>
                </a:lnTo>
                <a:lnTo>
                  <a:pt x="3358" y="1192"/>
                </a:lnTo>
                <a:lnTo>
                  <a:pt x="3344" y="1194"/>
                </a:lnTo>
                <a:lnTo>
                  <a:pt x="3332" y="1198"/>
                </a:lnTo>
                <a:lnTo>
                  <a:pt x="3320" y="1204"/>
                </a:lnTo>
                <a:lnTo>
                  <a:pt x="3307" y="1210"/>
                </a:lnTo>
                <a:lnTo>
                  <a:pt x="3299" y="1212"/>
                </a:lnTo>
                <a:lnTo>
                  <a:pt x="3290" y="1214"/>
                </a:lnTo>
                <a:lnTo>
                  <a:pt x="3282" y="1214"/>
                </a:lnTo>
                <a:lnTo>
                  <a:pt x="3273" y="1215"/>
                </a:lnTo>
                <a:lnTo>
                  <a:pt x="3254" y="1213"/>
                </a:lnTo>
                <a:lnTo>
                  <a:pt x="3233" y="1211"/>
                </a:lnTo>
                <a:lnTo>
                  <a:pt x="3219" y="1207"/>
                </a:lnTo>
                <a:lnTo>
                  <a:pt x="3210" y="1206"/>
                </a:lnTo>
                <a:lnTo>
                  <a:pt x="3202" y="1206"/>
                </a:lnTo>
                <a:lnTo>
                  <a:pt x="3193" y="1210"/>
                </a:lnTo>
                <a:lnTo>
                  <a:pt x="3180" y="1213"/>
                </a:lnTo>
                <a:lnTo>
                  <a:pt x="3166" y="1214"/>
                </a:lnTo>
                <a:lnTo>
                  <a:pt x="3149" y="1215"/>
                </a:lnTo>
                <a:lnTo>
                  <a:pt x="3132" y="1215"/>
                </a:lnTo>
                <a:lnTo>
                  <a:pt x="3117" y="1217"/>
                </a:lnTo>
                <a:lnTo>
                  <a:pt x="3106" y="1217"/>
                </a:lnTo>
                <a:lnTo>
                  <a:pt x="3101" y="1217"/>
                </a:lnTo>
                <a:lnTo>
                  <a:pt x="3097" y="1215"/>
                </a:lnTo>
                <a:lnTo>
                  <a:pt x="3092" y="1213"/>
                </a:lnTo>
                <a:lnTo>
                  <a:pt x="3086" y="1210"/>
                </a:lnTo>
                <a:lnTo>
                  <a:pt x="3075" y="1201"/>
                </a:lnTo>
                <a:lnTo>
                  <a:pt x="3067" y="1194"/>
                </a:lnTo>
                <a:lnTo>
                  <a:pt x="3063" y="1193"/>
                </a:lnTo>
                <a:lnTo>
                  <a:pt x="3060" y="1192"/>
                </a:lnTo>
                <a:lnTo>
                  <a:pt x="3057" y="1192"/>
                </a:lnTo>
                <a:lnTo>
                  <a:pt x="3055" y="1192"/>
                </a:lnTo>
                <a:lnTo>
                  <a:pt x="3054" y="1198"/>
                </a:lnTo>
                <a:lnTo>
                  <a:pt x="3053" y="1204"/>
                </a:lnTo>
                <a:lnTo>
                  <a:pt x="3052" y="1206"/>
                </a:lnTo>
                <a:lnTo>
                  <a:pt x="3050" y="1208"/>
                </a:lnTo>
                <a:lnTo>
                  <a:pt x="3048" y="1210"/>
                </a:lnTo>
                <a:lnTo>
                  <a:pt x="3043" y="1210"/>
                </a:lnTo>
                <a:lnTo>
                  <a:pt x="3033" y="1208"/>
                </a:lnTo>
                <a:lnTo>
                  <a:pt x="3022" y="1205"/>
                </a:lnTo>
                <a:lnTo>
                  <a:pt x="3010" y="1201"/>
                </a:lnTo>
                <a:lnTo>
                  <a:pt x="2998" y="1196"/>
                </a:lnTo>
                <a:lnTo>
                  <a:pt x="2992" y="1193"/>
                </a:lnTo>
                <a:lnTo>
                  <a:pt x="2987" y="1192"/>
                </a:lnTo>
                <a:lnTo>
                  <a:pt x="2983" y="1191"/>
                </a:lnTo>
                <a:lnTo>
                  <a:pt x="2979" y="1191"/>
                </a:lnTo>
                <a:lnTo>
                  <a:pt x="2975" y="1191"/>
                </a:lnTo>
                <a:lnTo>
                  <a:pt x="2972" y="1193"/>
                </a:lnTo>
                <a:lnTo>
                  <a:pt x="2969" y="1196"/>
                </a:lnTo>
                <a:lnTo>
                  <a:pt x="2966" y="1201"/>
                </a:lnTo>
                <a:lnTo>
                  <a:pt x="2964" y="1205"/>
                </a:lnTo>
                <a:lnTo>
                  <a:pt x="2960" y="1208"/>
                </a:lnTo>
                <a:lnTo>
                  <a:pt x="2955" y="1210"/>
                </a:lnTo>
                <a:lnTo>
                  <a:pt x="2952" y="1210"/>
                </a:lnTo>
                <a:lnTo>
                  <a:pt x="2947" y="1210"/>
                </a:lnTo>
                <a:lnTo>
                  <a:pt x="2942" y="1208"/>
                </a:lnTo>
                <a:lnTo>
                  <a:pt x="2939" y="1206"/>
                </a:lnTo>
                <a:lnTo>
                  <a:pt x="2935" y="1204"/>
                </a:lnTo>
                <a:lnTo>
                  <a:pt x="2931" y="1201"/>
                </a:lnTo>
                <a:lnTo>
                  <a:pt x="2928" y="1200"/>
                </a:lnTo>
                <a:lnTo>
                  <a:pt x="2923" y="1200"/>
                </a:lnTo>
                <a:lnTo>
                  <a:pt x="2918" y="1200"/>
                </a:lnTo>
                <a:lnTo>
                  <a:pt x="2908" y="1202"/>
                </a:lnTo>
                <a:lnTo>
                  <a:pt x="2897" y="1207"/>
                </a:lnTo>
                <a:lnTo>
                  <a:pt x="2892" y="1208"/>
                </a:lnTo>
                <a:lnTo>
                  <a:pt x="2889" y="1208"/>
                </a:lnTo>
                <a:lnTo>
                  <a:pt x="2885" y="1206"/>
                </a:lnTo>
                <a:lnTo>
                  <a:pt x="2883" y="1204"/>
                </a:lnTo>
                <a:lnTo>
                  <a:pt x="2876" y="1196"/>
                </a:lnTo>
                <a:lnTo>
                  <a:pt x="2867" y="1189"/>
                </a:lnTo>
                <a:lnTo>
                  <a:pt x="2864" y="1188"/>
                </a:lnTo>
                <a:lnTo>
                  <a:pt x="2860" y="1188"/>
                </a:lnTo>
                <a:lnTo>
                  <a:pt x="2858" y="1189"/>
                </a:lnTo>
                <a:lnTo>
                  <a:pt x="2854" y="1192"/>
                </a:lnTo>
                <a:lnTo>
                  <a:pt x="2846" y="1198"/>
                </a:lnTo>
                <a:lnTo>
                  <a:pt x="2838" y="1202"/>
                </a:lnTo>
                <a:lnTo>
                  <a:pt x="2828" y="1205"/>
                </a:lnTo>
                <a:lnTo>
                  <a:pt x="2819" y="1206"/>
                </a:lnTo>
                <a:lnTo>
                  <a:pt x="2809" y="1208"/>
                </a:lnTo>
                <a:lnTo>
                  <a:pt x="2801" y="1212"/>
                </a:lnTo>
                <a:lnTo>
                  <a:pt x="2788" y="1220"/>
                </a:lnTo>
                <a:lnTo>
                  <a:pt x="2779" y="1227"/>
                </a:lnTo>
                <a:lnTo>
                  <a:pt x="2778" y="1231"/>
                </a:lnTo>
                <a:lnTo>
                  <a:pt x="2778" y="1233"/>
                </a:lnTo>
                <a:lnTo>
                  <a:pt x="2780" y="1235"/>
                </a:lnTo>
                <a:lnTo>
                  <a:pt x="2785" y="1236"/>
                </a:lnTo>
                <a:lnTo>
                  <a:pt x="2789" y="1237"/>
                </a:lnTo>
                <a:lnTo>
                  <a:pt x="2792" y="1238"/>
                </a:lnTo>
                <a:lnTo>
                  <a:pt x="2795" y="1239"/>
                </a:lnTo>
                <a:lnTo>
                  <a:pt x="2795" y="1242"/>
                </a:lnTo>
                <a:lnTo>
                  <a:pt x="2795" y="1245"/>
                </a:lnTo>
                <a:lnTo>
                  <a:pt x="2791" y="1249"/>
                </a:lnTo>
                <a:lnTo>
                  <a:pt x="2789" y="1251"/>
                </a:lnTo>
                <a:lnTo>
                  <a:pt x="2788" y="1254"/>
                </a:lnTo>
                <a:lnTo>
                  <a:pt x="2786" y="1257"/>
                </a:lnTo>
                <a:lnTo>
                  <a:pt x="2786" y="1261"/>
                </a:lnTo>
                <a:lnTo>
                  <a:pt x="2788" y="1264"/>
                </a:lnTo>
                <a:lnTo>
                  <a:pt x="2789" y="1268"/>
                </a:lnTo>
                <a:lnTo>
                  <a:pt x="2790" y="1271"/>
                </a:lnTo>
                <a:lnTo>
                  <a:pt x="2794" y="1274"/>
                </a:lnTo>
                <a:lnTo>
                  <a:pt x="2800" y="1280"/>
                </a:lnTo>
                <a:lnTo>
                  <a:pt x="2808" y="1283"/>
                </a:lnTo>
                <a:lnTo>
                  <a:pt x="2813" y="1284"/>
                </a:lnTo>
                <a:lnTo>
                  <a:pt x="2817" y="1286"/>
                </a:lnTo>
                <a:lnTo>
                  <a:pt x="2824" y="1286"/>
                </a:lnTo>
                <a:lnTo>
                  <a:pt x="2830" y="1286"/>
                </a:lnTo>
                <a:lnTo>
                  <a:pt x="2842" y="1283"/>
                </a:lnTo>
                <a:lnTo>
                  <a:pt x="2848" y="1284"/>
                </a:lnTo>
                <a:lnTo>
                  <a:pt x="2849" y="1286"/>
                </a:lnTo>
                <a:lnTo>
                  <a:pt x="2851" y="1289"/>
                </a:lnTo>
                <a:lnTo>
                  <a:pt x="2851" y="1294"/>
                </a:lnTo>
                <a:lnTo>
                  <a:pt x="2851" y="1301"/>
                </a:lnTo>
                <a:lnTo>
                  <a:pt x="2852" y="1307"/>
                </a:lnTo>
                <a:lnTo>
                  <a:pt x="2852" y="1312"/>
                </a:lnTo>
                <a:lnTo>
                  <a:pt x="2854" y="1317"/>
                </a:lnTo>
                <a:lnTo>
                  <a:pt x="2857" y="1320"/>
                </a:lnTo>
                <a:lnTo>
                  <a:pt x="2867" y="1331"/>
                </a:lnTo>
                <a:lnTo>
                  <a:pt x="2878" y="1340"/>
                </a:lnTo>
                <a:lnTo>
                  <a:pt x="2882" y="1344"/>
                </a:lnTo>
                <a:lnTo>
                  <a:pt x="2884" y="1350"/>
                </a:lnTo>
                <a:lnTo>
                  <a:pt x="2886" y="1356"/>
                </a:lnTo>
                <a:lnTo>
                  <a:pt x="2887" y="1362"/>
                </a:lnTo>
                <a:lnTo>
                  <a:pt x="2889" y="1369"/>
                </a:lnTo>
                <a:lnTo>
                  <a:pt x="2887" y="1377"/>
                </a:lnTo>
                <a:lnTo>
                  <a:pt x="2886" y="1385"/>
                </a:lnTo>
                <a:lnTo>
                  <a:pt x="2884" y="1395"/>
                </a:lnTo>
                <a:lnTo>
                  <a:pt x="2877" y="1409"/>
                </a:lnTo>
                <a:lnTo>
                  <a:pt x="2868" y="1427"/>
                </a:lnTo>
                <a:lnTo>
                  <a:pt x="2863" y="1451"/>
                </a:lnTo>
                <a:lnTo>
                  <a:pt x="2858" y="1476"/>
                </a:lnTo>
                <a:lnTo>
                  <a:pt x="2854" y="1498"/>
                </a:lnTo>
                <a:lnTo>
                  <a:pt x="2852" y="1516"/>
                </a:lnTo>
                <a:lnTo>
                  <a:pt x="2848" y="1528"/>
                </a:lnTo>
                <a:lnTo>
                  <a:pt x="2842" y="1542"/>
                </a:lnTo>
                <a:lnTo>
                  <a:pt x="2839" y="1559"/>
                </a:lnTo>
                <a:lnTo>
                  <a:pt x="2836" y="1576"/>
                </a:lnTo>
                <a:lnTo>
                  <a:pt x="2834" y="1589"/>
                </a:lnTo>
                <a:lnTo>
                  <a:pt x="2832" y="1601"/>
                </a:lnTo>
                <a:lnTo>
                  <a:pt x="2832" y="1612"/>
                </a:lnTo>
                <a:lnTo>
                  <a:pt x="2832" y="1627"/>
                </a:lnTo>
                <a:lnTo>
                  <a:pt x="2832" y="1635"/>
                </a:lnTo>
                <a:lnTo>
                  <a:pt x="2832" y="1645"/>
                </a:lnTo>
                <a:lnTo>
                  <a:pt x="2830" y="1655"/>
                </a:lnTo>
                <a:lnTo>
                  <a:pt x="2829" y="1666"/>
                </a:lnTo>
                <a:lnTo>
                  <a:pt x="2829" y="1677"/>
                </a:lnTo>
                <a:lnTo>
                  <a:pt x="2829" y="1686"/>
                </a:lnTo>
                <a:lnTo>
                  <a:pt x="2830" y="1697"/>
                </a:lnTo>
                <a:lnTo>
                  <a:pt x="2830" y="1708"/>
                </a:lnTo>
                <a:lnTo>
                  <a:pt x="2830" y="1725"/>
                </a:lnTo>
                <a:lnTo>
                  <a:pt x="2830" y="1743"/>
                </a:lnTo>
                <a:lnTo>
                  <a:pt x="2830" y="1759"/>
                </a:lnTo>
                <a:lnTo>
                  <a:pt x="2832" y="1773"/>
                </a:lnTo>
                <a:lnTo>
                  <a:pt x="2836" y="1803"/>
                </a:lnTo>
                <a:lnTo>
                  <a:pt x="2842" y="1834"/>
                </a:lnTo>
                <a:lnTo>
                  <a:pt x="2847" y="1862"/>
                </a:lnTo>
                <a:lnTo>
                  <a:pt x="2849" y="1885"/>
                </a:lnTo>
                <a:lnTo>
                  <a:pt x="2849" y="1892"/>
                </a:lnTo>
                <a:lnTo>
                  <a:pt x="2849" y="1899"/>
                </a:lnTo>
                <a:lnTo>
                  <a:pt x="2848" y="1905"/>
                </a:lnTo>
                <a:lnTo>
                  <a:pt x="2846" y="1911"/>
                </a:lnTo>
                <a:lnTo>
                  <a:pt x="2843" y="1916"/>
                </a:lnTo>
                <a:lnTo>
                  <a:pt x="2840" y="1922"/>
                </a:lnTo>
                <a:lnTo>
                  <a:pt x="2835" y="1926"/>
                </a:lnTo>
                <a:lnTo>
                  <a:pt x="2829" y="1931"/>
                </a:lnTo>
                <a:lnTo>
                  <a:pt x="2824" y="1937"/>
                </a:lnTo>
                <a:lnTo>
                  <a:pt x="2820" y="1942"/>
                </a:lnTo>
                <a:lnTo>
                  <a:pt x="2816" y="1946"/>
                </a:lnTo>
                <a:lnTo>
                  <a:pt x="2815" y="1951"/>
                </a:lnTo>
                <a:lnTo>
                  <a:pt x="2819" y="1960"/>
                </a:lnTo>
                <a:lnTo>
                  <a:pt x="2824" y="1967"/>
                </a:lnTo>
                <a:lnTo>
                  <a:pt x="2827" y="1973"/>
                </a:lnTo>
                <a:lnTo>
                  <a:pt x="2828" y="1979"/>
                </a:lnTo>
                <a:lnTo>
                  <a:pt x="2829" y="1987"/>
                </a:lnTo>
                <a:lnTo>
                  <a:pt x="2829" y="1995"/>
                </a:lnTo>
                <a:lnTo>
                  <a:pt x="2828" y="2012"/>
                </a:lnTo>
                <a:lnTo>
                  <a:pt x="2824" y="2027"/>
                </a:lnTo>
                <a:lnTo>
                  <a:pt x="2822" y="2032"/>
                </a:lnTo>
                <a:lnTo>
                  <a:pt x="2819" y="2036"/>
                </a:lnTo>
                <a:lnTo>
                  <a:pt x="2814" y="2037"/>
                </a:lnTo>
                <a:lnTo>
                  <a:pt x="2809" y="2037"/>
                </a:lnTo>
                <a:lnTo>
                  <a:pt x="2798" y="2034"/>
                </a:lnTo>
                <a:lnTo>
                  <a:pt x="2788" y="2030"/>
                </a:lnTo>
                <a:lnTo>
                  <a:pt x="2783" y="2028"/>
                </a:lnTo>
                <a:lnTo>
                  <a:pt x="2777" y="2027"/>
                </a:lnTo>
                <a:lnTo>
                  <a:pt x="2772" y="2027"/>
                </a:lnTo>
                <a:lnTo>
                  <a:pt x="2766" y="2030"/>
                </a:lnTo>
                <a:lnTo>
                  <a:pt x="2756" y="2033"/>
                </a:lnTo>
                <a:lnTo>
                  <a:pt x="2745" y="2039"/>
                </a:lnTo>
                <a:lnTo>
                  <a:pt x="2739" y="2042"/>
                </a:lnTo>
                <a:lnTo>
                  <a:pt x="2732" y="2043"/>
                </a:lnTo>
                <a:lnTo>
                  <a:pt x="2723" y="2043"/>
                </a:lnTo>
                <a:lnTo>
                  <a:pt x="2716" y="2044"/>
                </a:lnTo>
                <a:lnTo>
                  <a:pt x="2708" y="2044"/>
                </a:lnTo>
                <a:lnTo>
                  <a:pt x="2701" y="2045"/>
                </a:lnTo>
                <a:lnTo>
                  <a:pt x="2695" y="2046"/>
                </a:lnTo>
                <a:lnTo>
                  <a:pt x="2689" y="2050"/>
                </a:lnTo>
                <a:lnTo>
                  <a:pt x="2684" y="2055"/>
                </a:lnTo>
                <a:lnTo>
                  <a:pt x="2682" y="2061"/>
                </a:lnTo>
                <a:lnTo>
                  <a:pt x="2682" y="2065"/>
                </a:lnTo>
                <a:lnTo>
                  <a:pt x="2682" y="2071"/>
                </a:lnTo>
                <a:lnTo>
                  <a:pt x="2684" y="2077"/>
                </a:lnTo>
                <a:lnTo>
                  <a:pt x="2687" y="2082"/>
                </a:lnTo>
                <a:lnTo>
                  <a:pt x="2690" y="2088"/>
                </a:lnTo>
                <a:lnTo>
                  <a:pt x="2695" y="2093"/>
                </a:lnTo>
                <a:lnTo>
                  <a:pt x="2702" y="2100"/>
                </a:lnTo>
                <a:lnTo>
                  <a:pt x="2712" y="2109"/>
                </a:lnTo>
                <a:lnTo>
                  <a:pt x="2722" y="2120"/>
                </a:lnTo>
                <a:lnTo>
                  <a:pt x="2732" y="2130"/>
                </a:lnTo>
                <a:lnTo>
                  <a:pt x="2737" y="2134"/>
                </a:lnTo>
                <a:lnTo>
                  <a:pt x="2738" y="2137"/>
                </a:lnTo>
                <a:lnTo>
                  <a:pt x="2734" y="2137"/>
                </a:lnTo>
                <a:lnTo>
                  <a:pt x="2726" y="2135"/>
                </a:lnTo>
                <a:lnTo>
                  <a:pt x="2714" y="2135"/>
                </a:lnTo>
                <a:lnTo>
                  <a:pt x="2698" y="2134"/>
                </a:lnTo>
                <a:lnTo>
                  <a:pt x="2683" y="2135"/>
                </a:lnTo>
                <a:lnTo>
                  <a:pt x="2672" y="2137"/>
                </a:lnTo>
                <a:lnTo>
                  <a:pt x="2658" y="2138"/>
                </a:lnTo>
                <a:lnTo>
                  <a:pt x="2645" y="2138"/>
                </a:lnTo>
                <a:lnTo>
                  <a:pt x="2635" y="2135"/>
                </a:lnTo>
                <a:lnTo>
                  <a:pt x="2628" y="2132"/>
                </a:lnTo>
                <a:lnTo>
                  <a:pt x="2625" y="2130"/>
                </a:lnTo>
                <a:lnTo>
                  <a:pt x="2620" y="2128"/>
                </a:lnTo>
                <a:lnTo>
                  <a:pt x="2618" y="2128"/>
                </a:lnTo>
                <a:lnTo>
                  <a:pt x="2616" y="2130"/>
                </a:lnTo>
                <a:lnTo>
                  <a:pt x="2615" y="2132"/>
                </a:lnTo>
                <a:lnTo>
                  <a:pt x="2613" y="2134"/>
                </a:lnTo>
                <a:lnTo>
                  <a:pt x="2608" y="2145"/>
                </a:lnTo>
                <a:lnTo>
                  <a:pt x="2600" y="2156"/>
                </a:lnTo>
                <a:lnTo>
                  <a:pt x="2587" y="2173"/>
                </a:lnTo>
                <a:lnTo>
                  <a:pt x="2574" y="2190"/>
                </a:lnTo>
                <a:lnTo>
                  <a:pt x="2569" y="2197"/>
                </a:lnTo>
                <a:lnTo>
                  <a:pt x="2565" y="2203"/>
                </a:lnTo>
                <a:lnTo>
                  <a:pt x="2563" y="2210"/>
                </a:lnTo>
                <a:lnTo>
                  <a:pt x="2561" y="2216"/>
                </a:lnTo>
                <a:lnTo>
                  <a:pt x="2559" y="2222"/>
                </a:lnTo>
                <a:lnTo>
                  <a:pt x="2559" y="2228"/>
                </a:lnTo>
                <a:lnTo>
                  <a:pt x="2561" y="2233"/>
                </a:lnTo>
                <a:lnTo>
                  <a:pt x="2563" y="2239"/>
                </a:lnTo>
                <a:lnTo>
                  <a:pt x="2565" y="2244"/>
                </a:lnTo>
                <a:lnTo>
                  <a:pt x="2565" y="2247"/>
                </a:lnTo>
                <a:lnTo>
                  <a:pt x="2565" y="2252"/>
                </a:lnTo>
                <a:lnTo>
                  <a:pt x="2564" y="2257"/>
                </a:lnTo>
                <a:lnTo>
                  <a:pt x="2561" y="2265"/>
                </a:lnTo>
                <a:lnTo>
                  <a:pt x="2556" y="2275"/>
                </a:lnTo>
                <a:lnTo>
                  <a:pt x="2556" y="2278"/>
                </a:lnTo>
                <a:lnTo>
                  <a:pt x="2558" y="2283"/>
                </a:lnTo>
                <a:lnTo>
                  <a:pt x="2561" y="2290"/>
                </a:lnTo>
                <a:lnTo>
                  <a:pt x="2565" y="2297"/>
                </a:lnTo>
                <a:lnTo>
                  <a:pt x="2569" y="2305"/>
                </a:lnTo>
                <a:lnTo>
                  <a:pt x="2574" y="2316"/>
                </a:lnTo>
                <a:lnTo>
                  <a:pt x="2577" y="2327"/>
                </a:lnTo>
                <a:lnTo>
                  <a:pt x="2581" y="2338"/>
                </a:lnTo>
                <a:lnTo>
                  <a:pt x="2582" y="2346"/>
                </a:lnTo>
                <a:lnTo>
                  <a:pt x="2582" y="2354"/>
                </a:lnTo>
                <a:lnTo>
                  <a:pt x="2581" y="2364"/>
                </a:lnTo>
                <a:lnTo>
                  <a:pt x="2580" y="2372"/>
                </a:lnTo>
                <a:lnTo>
                  <a:pt x="2577" y="2386"/>
                </a:lnTo>
                <a:lnTo>
                  <a:pt x="2576" y="2396"/>
                </a:lnTo>
                <a:lnTo>
                  <a:pt x="2576" y="2399"/>
                </a:lnTo>
                <a:lnTo>
                  <a:pt x="2575" y="2402"/>
                </a:lnTo>
                <a:lnTo>
                  <a:pt x="2572" y="2404"/>
                </a:lnTo>
                <a:lnTo>
                  <a:pt x="2570" y="2405"/>
                </a:lnTo>
                <a:lnTo>
                  <a:pt x="2564" y="2406"/>
                </a:lnTo>
                <a:lnTo>
                  <a:pt x="2557" y="2406"/>
                </a:lnTo>
                <a:lnTo>
                  <a:pt x="2542" y="2403"/>
                </a:lnTo>
                <a:lnTo>
                  <a:pt x="2528" y="2403"/>
                </a:lnTo>
                <a:lnTo>
                  <a:pt x="2519" y="2403"/>
                </a:lnTo>
                <a:lnTo>
                  <a:pt x="2513" y="2402"/>
                </a:lnTo>
                <a:lnTo>
                  <a:pt x="2509" y="2402"/>
                </a:lnTo>
                <a:lnTo>
                  <a:pt x="2507" y="2402"/>
                </a:lnTo>
                <a:lnTo>
                  <a:pt x="2505" y="2403"/>
                </a:lnTo>
                <a:lnTo>
                  <a:pt x="2502" y="2405"/>
                </a:lnTo>
                <a:lnTo>
                  <a:pt x="2500" y="2410"/>
                </a:lnTo>
                <a:lnTo>
                  <a:pt x="2499" y="2415"/>
                </a:lnTo>
                <a:lnTo>
                  <a:pt x="2498" y="2421"/>
                </a:lnTo>
                <a:lnTo>
                  <a:pt x="2498" y="2428"/>
                </a:lnTo>
                <a:lnTo>
                  <a:pt x="2496" y="2433"/>
                </a:lnTo>
                <a:lnTo>
                  <a:pt x="2494" y="2437"/>
                </a:lnTo>
                <a:lnTo>
                  <a:pt x="2492" y="2439"/>
                </a:lnTo>
                <a:lnTo>
                  <a:pt x="2489" y="2439"/>
                </a:lnTo>
                <a:lnTo>
                  <a:pt x="2487" y="2439"/>
                </a:lnTo>
                <a:lnTo>
                  <a:pt x="2483" y="2439"/>
                </a:lnTo>
                <a:lnTo>
                  <a:pt x="2471" y="2435"/>
                </a:lnTo>
                <a:lnTo>
                  <a:pt x="2462" y="2433"/>
                </a:lnTo>
                <a:lnTo>
                  <a:pt x="2452" y="2431"/>
                </a:lnTo>
                <a:lnTo>
                  <a:pt x="2443" y="2429"/>
                </a:lnTo>
                <a:lnTo>
                  <a:pt x="2433" y="2428"/>
                </a:lnTo>
                <a:lnTo>
                  <a:pt x="2424" y="2427"/>
                </a:lnTo>
                <a:lnTo>
                  <a:pt x="2413" y="2427"/>
                </a:lnTo>
                <a:lnTo>
                  <a:pt x="2401" y="2424"/>
                </a:lnTo>
                <a:lnTo>
                  <a:pt x="2395" y="2424"/>
                </a:lnTo>
                <a:lnTo>
                  <a:pt x="2391" y="2424"/>
                </a:lnTo>
                <a:lnTo>
                  <a:pt x="2388" y="2425"/>
                </a:lnTo>
                <a:lnTo>
                  <a:pt x="2386" y="2428"/>
                </a:lnTo>
                <a:lnTo>
                  <a:pt x="2383" y="2434"/>
                </a:lnTo>
                <a:lnTo>
                  <a:pt x="2382" y="2440"/>
                </a:lnTo>
                <a:lnTo>
                  <a:pt x="2376" y="2443"/>
                </a:lnTo>
                <a:lnTo>
                  <a:pt x="2368" y="2448"/>
                </a:lnTo>
                <a:lnTo>
                  <a:pt x="2363" y="2456"/>
                </a:lnTo>
                <a:lnTo>
                  <a:pt x="2358" y="2464"/>
                </a:lnTo>
                <a:lnTo>
                  <a:pt x="2349" y="2464"/>
                </a:lnTo>
                <a:lnTo>
                  <a:pt x="2338" y="2461"/>
                </a:lnTo>
                <a:lnTo>
                  <a:pt x="2330" y="2461"/>
                </a:lnTo>
                <a:lnTo>
                  <a:pt x="2322" y="2462"/>
                </a:lnTo>
                <a:lnTo>
                  <a:pt x="2313" y="2462"/>
                </a:lnTo>
                <a:lnTo>
                  <a:pt x="2306" y="2465"/>
                </a:lnTo>
                <a:lnTo>
                  <a:pt x="2292" y="2468"/>
                </a:lnTo>
                <a:lnTo>
                  <a:pt x="2278" y="2473"/>
                </a:lnTo>
                <a:lnTo>
                  <a:pt x="2274" y="2474"/>
                </a:lnTo>
                <a:lnTo>
                  <a:pt x="2272" y="2473"/>
                </a:lnTo>
                <a:lnTo>
                  <a:pt x="2269" y="2472"/>
                </a:lnTo>
                <a:lnTo>
                  <a:pt x="2267" y="2469"/>
                </a:lnTo>
                <a:lnTo>
                  <a:pt x="2263" y="2465"/>
                </a:lnTo>
                <a:lnTo>
                  <a:pt x="2257" y="2458"/>
                </a:lnTo>
                <a:lnTo>
                  <a:pt x="2253" y="2456"/>
                </a:lnTo>
                <a:lnTo>
                  <a:pt x="2248" y="2456"/>
                </a:lnTo>
                <a:lnTo>
                  <a:pt x="2243" y="2458"/>
                </a:lnTo>
                <a:lnTo>
                  <a:pt x="2237" y="2460"/>
                </a:lnTo>
                <a:lnTo>
                  <a:pt x="2225" y="2466"/>
                </a:lnTo>
                <a:lnTo>
                  <a:pt x="2216" y="2468"/>
                </a:lnTo>
                <a:lnTo>
                  <a:pt x="2206" y="2471"/>
                </a:lnTo>
                <a:lnTo>
                  <a:pt x="2197" y="2473"/>
                </a:lnTo>
                <a:lnTo>
                  <a:pt x="2188" y="2475"/>
                </a:lnTo>
                <a:lnTo>
                  <a:pt x="2180" y="2479"/>
                </a:lnTo>
                <a:lnTo>
                  <a:pt x="2171" y="2483"/>
                </a:lnTo>
                <a:lnTo>
                  <a:pt x="2161" y="2485"/>
                </a:lnTo>
                <a:lnTo>
                  <a:pt x="2150" y="2487"/>
                </a:lnTo>
                <a:lnTo>
                  <a:pt x="2139" y="2488"/>
                </a:lnTo>
                <a:lnTo>
                  <a:pt x="2129" y="2490"/>
                </a:lnTo>
                <a:lnTo>
                  <a:pt x="2120" y="2491"/>
                </a:lnTo>
                <a:lnTo>
                  <a:pt x="2109" y="2493"/>
                </a:lnTo>
                <a:lnTo>
                  <a:pt x="2097" y="2496"/>
                </a:lnTo>
                <a:lnTo>
                  <a:pt x="2077" y="2502"/>
                </a:lnTo>
                <a:lnTo>
                  <a:pt x="2055" y="2505"/>
                </a:lnTo>
                <a:lnTo>
                  <a:pt x="2035" y="2509"/>
                </a:lnTo>
                <a:lnTo>
                  <a:pt x="2018" y="2512"/>
                </a:lnTo>
                <a:lnTo>
                  <a:pt x="2009" y="2513"/>
                </a:lnTo>
                <a:lnTo>
                  <a:pt x="1999" y="2516"/>
                </a:lnTo>
                <a:lnTo>
                  <a:pt x="1990" y="2518"/>
                </a:lnTo>
                <a:lnTo>
                  <a:pt x="1984" y="2522"/>
                </a:lnTo>
                <a:lnTo>
                  <a:pt x="1976" y="2529"/>
                </a:lnTo>
                <a:lnTo>
                  <a:pt x="1969" y="2531"/>
                </a:lnTo>
                <a:lnTo>
                  <a:pt x="1961" y="2534"/>
                </a:lnTo>
                <a:lnTo>
                  <a:pt x="1953" y="2535"/>
                </a:lnTo>
                <a:lnTo>
                  <a:pt x="1944" y="2537"/>
                </a:lnTo>
                <a:lnTo>
                  <a:pt x="1932" y="2540"/>
                </a:lnTo>
                <a:lnTo>
                  <a:pt x="1919" y="2541"/>
                </a:lnTo>
                <a:lnTo>
                  <a:pt x="1906" y="2542"/>
                </a:lnTo>
                <a:lnTo>
                  <a:pt x="1892" y="2542"/>
                </a:lnTo>
                <a:lnTo>
                  <a:pt x="1879" y="2541"/>
                </a:lnTo>
                <a:lnTo>
                  <a:pt x="1869" y="2540"/>
                </a:lnTo>
                <a:lnTo>
                  <a:pt x="1859" y="2538"/>
                </a:lnTo>
                <a:lnTo>
                  <a:pt x="1850" y="2535"/>
                </a:lnTo>
                <a:lnTo>
                  <a:pt x="1843" y="2534"/>
                </a:lnTo>
                <a:lnTo>
                  <a:pt x="1838" y="2535"/>
                </a:lnTo>
                <a:lnTo>
                  <a:pt x="1834" y="2536"/>
                </a:lnTo>
                <a:lnTo>
                  <a:pt x="1832" y="2543"/>
                </a:lnTo>
                <a:lnTo>
                  <a:pt x="1831" y="2554"/>
                </a:lnTo>
                <a:lnTo>
                  <a:pt x="1829" y="2559"/>
                </a:lnTo>
                <a:lnTo>
                  <a:pt x="1828" y="2565"/>
                </a:lnTo>
                <a:lnTo>
                  <a:pt x="1825" y="2570"/>
                </a:lnTo>
                <a:lnTo>
                  <a:pt x="1820" y="2575"/>
                </a:lnTo>
                <a:lnTo>
                  <a:pt x="1813" y="2580"/>
                </a:lnTo>
                <a:lnTo>
                  <a:pt x="1802" y="2585"/>
                </a:lnTo>
                <a:lnTo>
                  <a:pt x="1789" y="2588"/>
                </a:lnTo>
                <a:lnTo>
                  <a:pt x="1771" y="2589"/>
                </a:lnTo>
                <a:lnTo>
                  <a:pt x="1756" y="2593"/>
                </a:lnTo>
                <a:lnTo>
                  <a:pt x="1737" y="2598"/>
                </a:lnTo>
                <a:lnTo>
                  <a:pt x="1718" y="2606"/>
                </a:lnTo>
                <a:lnTo>
                  <a:pt x="1701" y="2614"/>
                </a:lnTo>
                <a:lnTo>
                  <a:pt x="1690" y="2620"/>
                </a:lnTo>
                <a:lnTo>
                  <a:pt x="1673" y="2628"/>
                </a:lnTo>
                <a:lnTo>
                  <a:pt x="1662" y="2632"/>
                </a:lnTo>
                <a:lnTo>
                  <a:pt x="1652" y="2635"/>
                </a:lnTo>
                <a:lnTo>
                  <a:pt x="1642" y="2636"/>
                </a:lnTo>
                <a:lnTo>
                  <a:pt x="1631" y="2636"/>
                </a:lnTo>
                <a:lnTo>
                  <a:pt x="1614" y="2635"/>
                </a:lnTo>
                <a:lnTo>
                  <a:pt x="1599" y="2633"/>
                </a:lnTo>
                <a:lnTo>
                  <a:pt x="1593" y="2632"/>
                </a:lnTo>
                <a:lnTo>
                  <a:pt x="1587" y="2630"/>
                </a:lnTo>
                <a:lnTo>
                  <a:pt x="1581" y="2626"/>
                </a:lnTo>
                <a:lnTo>
                  <a:pt x="1576" y="2620"/>
                </a:lnTo>
                <a:lnTo>
                  <a:pt x="1570" y="2614"/>
                </a:lnTo>
                <a:lnTo>
                  <a:pt x="1564" y="2610"/>
                </a:lnTo>
                <a:lnTo>
                  <a:pt x="1557" y="2604"/>
                </a:lnTo>
                <a:lnTo>
                  <a:pt x="1550" y="2600"/>
                </a:lnTo>
                <a:lnTo>
                  <a:pt x="1535" y="2593"/>
                </a:lnTo>
                <a:lnTo>
                  <a:pt x="1520" y="2589"/>
                </a:lnTo>
                <a:lnTo>
                  <a:pt x="1514" y="2588"/>
                </a:lnTo>
                <a:lnTo>
                  <a:pt x="1507" y="2589"/>
                </a:lnTo>
                <a:lnTo>
                  <a:pt x="1500" y="2591"/>
                </a:lnTo>
                <a:lnTo>
                  <a:pt x="1492" y="2592"/>
                </a:lnTo>
                <a:lnTo>
                  <a:pt x="1485" y="2594"/>
                </a:lnTo>
                <a:lnTo>
                  <a:pt x="1476" y="2595"/>
                </a:lnTo>
                <a:lnTo>
                  <a:pt x="1467" y="2595"/>
                </a:lnTo>
                <a:lnTo>
                  <a:pt x="1457" y="2593"/>
                </a:lnTo>
                <a:lnTo>
                  <a:pt x="1449" y="2591"/>
                </a:lnTo>
                <a:lnTo>
                  <a:pt x="1443" y="2588"/>
                </a:lnTo>
                <a:lnTo>
                  <a:pt x="1437" y="2585"/>
                </a:lnTo>
                <a:lnTo>
                  <a:pt x="1432" y="2581"/>
                </a:lnTo>
                <a:lnTo>
                  <a:pt x="1425" y="2573"/>
                </a:lnTo>
                <a:lnTo>
                  <a:pt x="1419" y="2562"/>
                </a:lnTo>
                <a:lnTo>
                  <a:pt x="1418" y="2559"/>
                </a:lnTo>
                <a:lnTo>
                  <a:pt x="1415" y="2557"/>
                </a:lnTo>
                <a:lnTo>
                  <a:pt x="1412" y="2555"/>
                </a:lnTo>
                <a:lnTo>
                  <a:pt x="1409" y="2554"/>
                </a:lnTo>
                <a:lnTo>
                  <a:pt x="1402" y="2553"/>
                </a:lnTo>
                <a:lnTo>
                  <a:pt x="1392" y="2551"/>
                </a:lnTo>
                <a:lnTo>
                  <a:pt x="1375" y="2553"/>
                </a:lnTo>
                <a:lnTo>
                  <a:pt x="1360" y="2553"/>
                </a:lnTo>
                <a:lnTo>
                  <a:pt x="1355" y="2554"/>
                </a:lnTo>
                <a:lnTo>
                  <a:pt x="1350" y="2555"/>
                </a:lnTo>
                <a:lnTo>
                  <a:pt x="1346" y="2556"/>
                </a:lnTo>
                <a:lnTo>
                  <a:pt x="1341" y="2559"/>
                </a:lnTo>
                <a:lnTo>
                  <a:pt x="1331" y="2562"/>
                </a:lnTo>
                <a:lnTo>
                  <a:pt x="1320" y="2566"/>
                </a:lnTo>
                <a:lnTo>
                  <a:pt x="1314" y="2567"/>
                </a:lnTo>
                <a:lnTo>
                  <a:pt x="1309" y="2569"/>
                </a:lnTo>
                <a:lnTo>
                  <a:pt x="1305" y="2573"/>
                </a:lnTo>
                <a:lnTo>
                  <a:pt x="1302" y="2578"/>
                </a:lnTo>
                <a:lnTo>
                  <a:pt x="1296" y="2587"/>
                </a:lnTo>
                <a:lnTo>
                  <a:pt x="1292" y="2599"/>
                </a:lnTo>
                <a:lnTo>
                  <a:pt x="1286" y="2610"/>
                </a:lnTo>
                <a:lnTo>
                  <a:pt x="1279" y="2620"/>
                </a:lnTo>
                <a:lnTo>
                  <a:pt x="1274" y="2625"/>
                </a:lnTo>
                <a:lnTo>
                  <a:pt x="1268" y="2630"/>
                </a:lnTo>
                <a:lnTo>
                  <a:pt x="1261" y="2633"/>
                </a:lnTo>
                <a:lnTo>
                  <a:pt x="1254" y="2636"/>
                </a:lnTo>
                <a:lnTo>
                  <a:pt x="1245" y="2637"/>
                </a:lnTo>
                <a:lnTo>
                  <a:pt x="1237" y="2639"/>
                </a:lnTo>
                <a:lnTo>
                  <a:pt x="1235" y="2643"/>
                </a:lnTo>
                <a:lnTo>
                  <a:pt x="1234" y="2647"/>
                </a:lnTo>
                <a:lnTo>
                  <a:pt x="1234" y="2651"/>
                </a:lnTo>
                <a:lnTo>
                  <a:pt x="1234" y="2657"/>
                </a:lnTo>
                <a:lnTo>
                  <a:pt x="1235" y="2668"/>
                </a:lnTo>
                <a:lnTo>
                  <a:pt x="1234" y="2679"/>
                </a:lnTo>
                <a:lnTo>
                  <a:pt x="1230" y="2685"/>
                </a:lnTo>
                <a:lnTo>
                  <a:pt x="1227" y="2689"/>
                </a:lnTo>
                <a:lnTo>
                  <a:pt x="1221" y="2694"/>
                </a:lnTo>
                <a:lnTo>
                  <a:pt x="1215" y="2699"/>
                </a:lnTo>
                <a:lnTo>
                  <a:pt x="1202" y="2711"/>
                </a:lnTo>
                <a:lnTo>
                  <a:pt x="1186" y="2725"/>
                </a:lnTo>
                <a:lnTo>
                  <a:pt x="1170" y="2742"/>
                </a:lnTo>
                <a:lnTo>
                  <a:pt x="1154" y="2756"/>
                </a:lnTo>
                <a:lnTo>
                  <a:pt x="1146" y="2762"/>
                </a:lnTo>
                <a:lnTo>
                  <a:pt x="1136" y="2767"/>
                </a:lnTo>
                <a:lnTo>
                  <a:pt x="1127" y="2770"/>
                </a:lnTo>
                <a:lnTo>
                  <a:pt x="1117" y="2773"/>
                </a:lnTo>
                <a:lnTo>
                  <a:pt x="1108" y="2774"/>
                </a:lnTo>
                <a:lnTo>
                  <a:pt x="1101" y="2774"/>
                </a:lnTo>
                <a:lnTo>
                  <a:pt x="1096" y="2774"/>
                </a:lnTo>
                <a:lnTo>
                  <a:pt x="1094" y="2773"/>
                </a:lnTo>
                <a:lnTo>
                  <a:pt x="1091" y="2769"/>
                </a:lnTo>
                <a:lnTo>
                  <a:pt x="1091" y="2765"/>
                </a:lnTo>
                <a:lnTo>
                  <a:pt x="1091" y="2762"/>
                </a:lnTo>
                <a:lnTo>
                  <a:pt x="1091" y="2757"/>
                </a:lnTo>
                <a:lnTo>
                  <a:pt x="1091" y="2751"/>
                </a:lnTo>
                <a:lnTo>
                  <a:pt x="1089" y="2746"/>
                </a:lnTo>
                <a:lnTo>
                  <a:pt x="1087" y="2743"/>
                </a:lnTo>
                <a:lnTo>
                  <a:pt x="1084" y="2739"/>
                </a:lnTo>
                <a:lnTo>
                  <a:pt x="1081" y="2738"/>
                </a:lnTo>
                <a:lnTo>
                  <a:pt x="1077" y="2737"/>
                </a:lnTo>
                <a:lnTo>
                  <a:pt x="1072" y="2737"/>
                </a:lnTo>
                <a:lnTo>
                  <a:pt x="1069" y="2739"/>
                </a:lnTo>
                <a:lnTo>
                  <a:pt x="1065" y="2742"/>
                </a:lnTo>
                <a:lnTo>
                  <a:pt x="1062" y="2743"/>
                </a:lnTo>
                <a:lnTo>
                  <a:pt x="1058" y="2743"/>
                </a:lnTo>
                <a:lnTo>
                  <a:pt x="1054" y="2743"/>
                </a:lnTo>
                <a:lnTo>
                  <a:pt x="1046" y="2740"/>
                </a:lnTo>
                <a:lnTo>
                  <a:pt x="1035" y="2738"/>
                </a:lnTo>
                <a:lnTo>
                  <a:pt x="1024" y="2733"/>
                </a:lnTo>
                <a:lnTo>
                  <a:pt x="1010" y="2730"/>
                </a:lnTo>
                <a:lnTo>
                  <a:pt x="1003" y="2727"/>
                </a:lnTo>
                <a:lnTo>
                  <a:pt x="996" y="2726"/>
                </a:lnTo>
                <a:lnTo>
                  <a:pt x="988" y="2725"/>
                </a:lnTo>
                <a:lnTo>
                  <a:pt x="980" y="2725"/>
                </a:lnTo>
                <a:lnTo>
                  <a:pt x="959" y="2726"/>
                </a:lnTo>
                <a:lnTo>
                  <a:pt x="939" y="2729"/>
                </a:lnTo>
                <a:lnTo>
                  <a:pt x="919" y="2730"/>
                </a:lnTo>
                <a:lnTo>
                  <a:pt x="902" y="2731"/>
                </a:lnTo>
                <a:lnTo>
                  <a:pt x="896" y="2730"/>
                </a:lnTo>
                <a:lnTo>
                  <a:pt x="892" y="2727"/>
                </a:lnTo>
                <a:lnTo>
                  <a:pt x="889" y="2724"/>
                </a:lnTo>
                <a:lnTo>
                  <a:pt x="888" y="2720"/>
                </a:lnTo>
                <a:lnTo>
                  <a:pt x="888" y="2712"/>
                </a:lnTo>
                <a:lnTo>
                  <a:pt x="888" y="2702"/>
                </a:lnTo>
                <a:lnTo>
                  <a:pt x="889" y="2695"/>
                </a:lnTo>
                <a:lnTo>
                  <a:pt x="890" y="2688"/>
                </a:lnTo>
                <a:lnTo>
                  <a:pt x="893" y="2686"/>
                </a:lnTo>
                <a:lnTo>
                  <a:pt x="895" y="2683"/>
                </a:lnTo>
                <a:lnTo>
                  <a:pt x="899" y="2681"/>
                </a:lnTo>
                <a:lnTo>
                  <a:pt x="902" y="2680"/>
                </a:lnTo>
                <a:lnTo>
                  <a:pt x="907" y="2677"/>
                </a:lnTo>
                <a:lnTo>
                  <a:pt x="911" y="2675"/>
                </a:lnTo>
                <a:lnTo>
                  <a:pt x="914" y="2672"/>
                </a:lnTo>
                <a:lnTo>
                  <a:pt x="917" y="2668"/>
                </a:lnTo>
                <a:lnTo>
                  <a:pt x="919" y="2663"/>
                </a:lnTo>
                <a:lnTo>
                  <a:pt x="919" y="2658"/>
                </a:lnTo>
                <a:lnTo>
                  <a:pt x="918" y="2651"/>
                </a:lnTo>
                <a:lnTo>
                  <a:pt x="914" y="2645"/>
                </a:lnTo>
                <a:lnTo>
                  <a:pt x="911" y="2638"/>
                </a:lnTo>
                <a:lnTo>
                  <a:pt x="909" y="2631"/>
                </a:lnTo>
                <a:lnTo>
                  <a:pt x="907" y="2625"/>
                </a:lnTo>
                <a:lnTo>
                  <a:pt x="907" y="2619"/>
                </a:lnTo>
                <a:lnTo>
                  <a:pt x="907" y="2607"/>
                </a:lnTo>
                <a:lnTo>
                  <a:pt x="908" y="2594"/>
                </a:lnTo>
                <a:lnTo>
                  <a:pt x="908" y="2584"/>
                </a:lnTo>
                <a:lnTo>
                  <a:pt x="907" y="2576"/>
                </a:lnTo>
                <a:lnTo>
                  <a:pt x="905" y="2574"/>
                </a:lnTo>
                <a:lnTo>
                  <a:pt x="902" y="2572"/>
                </a:lnTo>
                <a:lnTo>
                  <a:pt x="896" y="2572"/>
                </a:lnTo>
                <a:lnTo>
                  <a:pt x="890" y="2572"/>
                </a:lnTo>
                <a:lnTo>
                  <a:pt x="875" y="2573"/>
                </a:lnTo>
                <a:lnTo>
                  <a:pt x="862" y="2575"/>
                </a:lnTo>
                <a:lnTo>
                  <a:pt x="848" y="2580"/>
                </a:lnTo>
                <a:lnTo>
                  <a:pt x="829" y="2587"/>
                </a:lnTo>
                <a:lnTo>
                  <a:pt x="810" y="2595"/>
                </a:lnTo>
                <a:lnTo>
                  <a:pt x="794" y="2601"/>
                </a:lnTo>
                <a:lnTo>
                  <a:pt x="786" y="2604"/>
                </a:lnTo>
                <a:lnTo>
                  <a:pt x="776" y="2605"/>
                </a:lnTo>
                <a:lnTo>
                  <a:pt x="766" y="2606"/>
                </a:lnTo>
                <a:lnTo>
                  <a:pt x="752" y="2605"/>
                </a:lnTo>
                <a:lnTo>
                  <a:pt x="739" y="2603"/>
                </a:lnTo>
                <a:lnTo>
                  <a:pt x="726" y="2599"/>
                </a:lnTo>
                <a:lnTo>
                  <a:pt x="713" y="2594"/>
                </a:lnTo>
                <a:lnTo>
                  <a:pt x="703" y="2589"/>
                </a:lnTo>
                <a:lnTo>
                  <a:pt x="693" y="2584"/>
                </a:lnTo>
                <a:lnTo>
                  <a:pt x="686" y="2578"/>
                </a:lnTo>
                <a:lnTo>
                  <a:pt x="680" y="2573"/>
                </a:lnTo>
                <a:lnTo>
                  <a:pt x="678" y="2568"/>
                </a:lnTo>
                <a:lnTo>
                  <a:pt x="674" y="2560"/>
                </a:lnTo>
                <a:lnTo>
                  <a:pt x="668" y="2551"/>
                </a:lnTo>
                <a:lnTo>
                  <a:pt x="665" y="2548"/>
                </a:lnTo>
                <a:lnTo>
                  <a:pt x="661" y="2547"/>
                </a:lnTo>
                <a:lnTo>
                  <a:pt x="657" y="2547"/>
                </a:lnTo>
                <a:lnTo>
                  <a:pt x="653" y="2549"/>
                </a:lnTo>
                <a:lnTo>
                  <a:pt x="649" y="2553"/>
                </a:lnTo>
                <a:lnTo>
                  <a:pt x="645" y="2559"/>
                </a:lnTo>
                <a:lnTo>
                  <a:pt x="643" y="2565"/>
                </a:lnTo>
                <a:lnTo>
                  <a:pt x="642" y="2572"/>
                </a:lnTo>
                <a:lnTo>
                  <a:pt x="642" y="2579"/>
                </a:lnTo>
                <a:lnTo>
                  <a:pt x="643" y="2586"/>
                </a:lnTo>
                <a:lnTo>
                  <a:pt x="647" y="2593"/>
                </a:lnTo>
                <a:lnTo>
                  <a:pt x="651" y="2600"/>
                </a:lnTo>
                <a:lnTo>
                  <a:pt x="656" y="2606"/>
                </a:lnTo>
                <a:lnTo>
                  <a:pt x="660" y="2612"/>
                </a:lnTo>
                <a:lnTo>
                  <a:pt x="661" y="2617"/>
                </a:lnTo>
                <a:lnTo>
                  <a:pt x="660" y="2620"/>
                </a:lnTo>
                <a:lnTo>
                  <a:pt x="659" y="2622"/>
                </a:lnTo>
                <a:lnTo>
                  <a:pt x="656" y="2623"/>
                </a:lnTo>
                <a:lnTo>
                  <a:pt x="653" y="2623"/>
                </a:lnTo>
                <a:lnTo>
                  <a:pt x="649" y="2622"/>
                </a:lnTo>
                <a:lnTo>
                  <a:pt x="642" y="2619"/>
                </a:lnTo>
                <a:lnTo>
                  <a:pt x="635" y="2614"/>
                </a:lnTo>
                <a:lnTo>
                  <a:pt x="626" y="2609"/>
                </a:lnTo>
                <a:lnTo>
                  <a:pt x="618" y="2603"/>
                </a:lnTo>
                <a:lnTo>
                  <a:pt x="615" y="2600"/>
                </a:lnTo>
                <a:lnTo>
                  <a:pt x="610" y="2599"/>
                </a:lnTo>
                <a:lnTo>
                  <a:pt x="604" y="2599"/>
                </a:lnTo>
                <a:lnTo>
                  <a:pt x="598" y="2599"/>
                </a:lnTo>
                <a:lnTo>
                  <a:pt x="592" y="2600"/>
                </a:lnTo>
                <a:lnTo>
                  <a:pt x="587" y="2604"/>
                </a:lnTo>
                <a:lnTo>
                  <a:pt x="582" y="2607"/>
                </a:lnTo>
                <a:lnTo>
                  <a:pt x="578" y="2611"/>
                </a:lnTo>
                <a:lnTo>
                  <a:pt x="573" y="2614"/>
                </a:lnTo>
                <a:lnTo>
                  <a:pt x="567" y="2617"/>
                </a:lnTo>
                <a:lnTo>
                  <a:pt x="559" y="2618"/>
                </a:lnTo>
                <a:lnTo>
                  <a:pt x="550" y="2616"/>
                </a:lnTo>
                <a:lnTo>
                  <a:pt x="544" y="2616"/>
                </a:lnTo>
                <a:lnTo>
                  <a:pt x="540" y="2618"/>
                </a:lnTo>
                <a:lnTo>
                  <a:pt x="535" y="2620"/>
                </a:lnTo>
                <a:lnTo>
                  <a:pt x="530" y="2623"/>
                </a:lnTo>
                <a:lnTo>
                  <a:pt x="519" y="2629"/>
                </a:lnTo>
                <a:lnTo>
                  <a:pt x="508" y="2635"/>
                </a:lnTo>
                <a:lnTo>
                  <a:pt x="497" y="2641"/>
                </a:lnTo>
                <a:lnTo>
                  <a:pt x="484" y="2647"/>
                </a:lnTo>
                <a:lnTo>
                  <a:pt x="476" y="2650"/>
                </a:lnTo>
                <a:lnTo>
                  <a:pt x="466" y="2652"/>
                </a:lnTo>
                <a:lnTo>
                  <a:pt x="458" y="2654"/>
                </a:lnTo>
                <a:lnTo>
                  <a:pt x="449" y="2654"/>
                </a:lnTo>
                <a:lnTo>
                  <a:pt x="441" y="2654"/>
                </a:lnTo>
                <a:lnTo>
                  <a:pt x="434" y="2650"/>
                </a:lnTo>
                <a:lnTo>
                  <a:pt x="432" y="2649"/>
                </a:lnTo>
                <a:lnTo>
                  <a:pt x="429" y="2647"/>
                </a:lnTo>
                <a:lnTo>
                  <a:pt x="427" y="2643"/>
                </a:lnTo>
                <a:lnTo>
                  <a:pt x="426" y="2639"/>
                </a:lnTo>
                <a:lnTo>
                  <a:pt x="421" y="2633"/>
                </a:lnTo>
                <a:lnTo>
                  <a:pt x="416" y="2630"/>
                </a:lnTo>
                <a:lnTo>
                  <a:pt x="410" y="2629"/>
                </a:lnTo>
                <a:lnTo>
                  <a:pt x="403" y="2628"/>
                </a:lnTo>
                <a:lnTo>
                  <a:pt x="388" y="2628"/>
                </a:lnTo>
                <a:lnTo>
                  <a:pt x="370" y="2626"/>
                </a:lnTo>
                <a:lnTo>
                  <a:pt x="360" y="2624"/>
                </a:lnTo>
                <a:lnTo>
                  <a:pt x="349" y="2622"/>
                </a:lnTo>
                <a:lnTo>
                  <a:pt x="340" y="2625"/>
                </a:lnTo>
                <a:lnTo>
                  <a:pt x="332" y="2630"/>
                </a:lnTo>
                <a:lnTo>
                  <a:pt x="321" y="2630"/>
                </a:lnTo>
                <a:lnTo>
                  <a:pt x="314" y="2632"/>
                </a:lnTo>
                <a:lnTo>
                  <a:pt x="316" y="2647"/>
                </a:lnTo>
                <a:lnTo>
                  <a:pt x="317" y="2658"/>
                </a:lnTo>
                <a:lnTo>
                  <a:pt x="309" y="2667"/>
                </a:lnTo>
                <a:lnTo>
                  <a:pt x="297" y="2675"/>
                </a:lnTo>
                <a:lnTo>
                  <a:pt x="283" y="2685"/>
                </a:lnTo>
                <a:lnTo>
                  <a:pt x="263" y="2699"/>
                </a:lnTo>
                <a:lnTo>
                  <a:pt x="253" y="2707"/>
                </a:lnTo>
                <a:lnTo>
                  <a:pt x="246" y="2714"/>
                </a:lnTo>
                <a:lnTo>
                  <a:pt x="244" y="2721"/>
                </a:lnTo>
                <a:lnTo>
                  <a:pt x="243" y="2730"/>
                </a:lnTo>
                <a:lnTo>
                  <a:pt x="244" y="2746"/>
                </a:lnTo>
                <a:lnTo>
                  <a:pt x="245" y="2768"/>
                </a:lnTo>
                <a:lnTo>
                  <a:pt x="244" y="2780"/>
                </a:lnTo>
                <a:lnTo>
                  <a:pt x="241" y="2789"/>
                </a:lnTo>
                <a:lnTo>
                  <a:pt x="238" y="2799"/>
                </a:lnTo>
                <a:lnTo>
                  <a:pt x="233" y="2806"/>
                </a:lnTo>
                <a:lnTo>
                  <a:pt x="227" y="2813"/>
                </a:lnTo>
                <a:lnTo>
                  <a:pt x="220" y="2820"/>
                </a:lnTo>
                <a:lnTo>
                  <a:pt x="213" y="2826"/>
                </a:lnTo>
                <a:lnTo>
                  <a:pt x="204" y="2832"/>
                </a:lnTo>
                <a:lnTo>
                  <a:pt x="195" y="2837"/>
                </a:lnTo>
                <a:lnTo>
                  <a:pt x="185" y="2841"/>
                </a:lnTo>
                <a:lnTo>
                  <a:pt x="175" y="2845"/>
                </a:lnTo>
                <a:lnTo>
                  <a:pt x="164" y="2849"/>
                </a:lnTo>
                <a:lnTo>
                  <a:pt x="152" y="2851"/>
                </a:lnTo>
                <a:lnTo>
                  <a:pt x="140" y="2852"/>
                </a:lnTo>
                <a:lnTo>
                  <a:pt x="130" y="2852"/>
                </a:lnTo>
                <a:lnTo>
                  <a:pt x="118" y="2852"/>
                </a:lnTo>
                <a:lnTo>
                  <a:pt x="106" y="2852"/>
                </a:lnTo>
                <a:lnTo>
                  <a:pt x="95" y="2853"/>
                </a:lnTo>
                <a:lnTo>
                  <a:pt x="86" y="2855"/>
                </a:lnTo>
                <a:lnTo>
                  <a:pt x="76" y="2856"/>
                </a:lnTo>
                <a:lnTo>
                  <a:pt x="69" y="2859"/>
                </a:lnTo>
                <a:lnTo>
                  <a:pt x="62" y="2863"/>
                </a:lnTo>
                <a:lnTo>
                  <a:pt x="56" y="2866"/>
                </a:lnTo>
                <a:lnTo>
                  <a:pt x="52" y="2871"/>
                </a:lnTo>
                <a:lnTo>
                  <a:pt x="50" y="2877"/>
                </a:lnTo>
                <a:lnTo>
                  <a:pt x="50" y="2883"/>
                </a:lnTo>
                <a:lnTo>
                  <a:pt x="52" y="2890"/>
                </a:lnTo>
                <a:lnTo>
                  <a:pt x="56" y="2896"/>
                </a:lnTo>
                <a:lnTo>
                  <a:pt x="64" y="2910"/>
                </a:lnTo>
                <a:lnTo>
                  <a:pt x="75" y="2926"/>
                </a:lnTo>
                <a:lnTo>
                  <a:pt x="80" y="2934"/>
                </a:lnTo>
                <a:lnTo>
                  <a:pt x="83" y="2943"/>
                </a:lnTo>
                <a:lnTo>
                  <a:pt x="86" y="2952"/>
                </a:lnTo>
                <a:lnTo>
                  <a:pt x="88" y="2962"/>
                </a:lnTo>
                <a:lnTo>
                  <a:pt x="92" y="2981"/>
                </a:lnTo>
                <a:lnTo>
                  <a:pt x="93" y="2995"/>
                </a:lnTo>
                <a:lnTo>
                  <a:pt x="94" y="3007"/>
                </a:lnTo>
                <a:lnTo>
                  <a:pt x="95" y="3016"/>
                </a:lnTo>
                <a:lnTo>
                  <a:pt x="96" y="3020"/>
                </a:lnTo>
                <a:lnTo>
                  <a:pt x="97" y="3023"/>
                </a:lnTo>
                <a:lnTo>
                  <a:pt x="100" y="3026"/>
                </a:lnTo>
                <a:lnTo>
                  <a:pt x="102" y="3027"/>
                </a:lnTo>
                <a:lnTo>
                  <a:pt x="106" y="3028"/>
                </a:lnTo>
                <a:lnTo>
                  <a:pt x="108" y="3030"/>
                </a:lnTo>
                <a:lnTo>
                  <a:pt x="109" y="3034"/>
                </a:lnTo>
                <a:lnTo>
                  <a:pt x="111" y="3038"/>
                </a:lnTo>
                <a:lnTo>
                  <a:pt x="112" y="3048"/>
                </a:lnTo>
                <a:lnTo>
                  <a:pt x="111" y="3060"/>
                </a:lnTo>
                <a:lnTo>
                  <a:pt x="109" y="3066"/>
                </a:lnTo>
                <a:lnTo>
                  <a:pt x="107" y="3071"/>
                </a:lnTo>
                <a:lnTo>
                  <a:pt x="105" y="3073"/>
                </a:lnTo>
                <a:lnTo>
                  <a:pt x="101" y="3074"/>
                </a:lnTo>
                <a:lnTo>
                  <a:pt x="99" y="3074"/>
                </a:lnTo>
                <a:lnTo>
                  <a:pt x="95" y="3074"/>
                </a:lnTo>
                <a:lnTo>
                  <a:pt x="92" y="3073"/>
                </a:lnTo>
                <a:lnTo>
                  <a:pt x="88" y="3071"/>
                </a:lnTo>
                <a:lnTo>
                  <a:pt x="84" y="3070"/>
                </a:lnTo>
                <a:lnTo>
                  <a:pt x="81" y="3068"/>
                </a:lnTo>
                <a:lnTo>
                  <a:pt x="76" y="3070"/>
                </a:lnTo>
                <a:lnTo>
                  <a:pt x="71" y="3071"/>
                </a:lnTo>
                <a:lnTo>
                  <a:pt x="59" y="3076"/>
                </a:lnTo>
                <a:lnTo>
                  <a:pt x="45" y="3083"/>
                </a:lnTo>
                <a:lnTo>
                  <a:pt x="29" y="3090"/>
                </a:lnTo>
                <a:lnTo>
                  <a:pt x="14" y="3095"/>
                </a:lnTo>
                <a:lnTo>
                  <a:pt x="8" y="3097"/>
                </a:lnTo>
                <a:lnTo>
                  <a:pt x="5" y="3101"/>
                </a:lnTo>
                <a:lnTo>
                  <a:pt x="1" y="3105"/>
                </a:lnTo>
                <a:lnTo>
                  <a:pt x="0" y="3111"/>
                </a:lnTo>
                <a:lnTo>
                  <a:pt x="0" y="3118"/>
                </a:lnTo>
                <a:lnTo>
                  <a:pt x="2" y="3128"/>
                </a:lnTo>
                <a:lnTo>
                  <a:pt x="5" y="3135"/>
                </a:lnTo>
                <a:lnTo>
                  <a:pt x="10" y="3142"/>
                </a:lnTo>
                <a:lnTo>
                  <a:pt x="20" y="3148"/>
                </a:lnTo>
                <a:lnTo>
                  <a:pt x="32" y="3154"/>
                </a:lnTo>
                <a:lnTo>
                  <a:pt x="37" y="3160"/>
                </a:lnTo>
                <a:lnTo>
                  <a:pt x="39" y="3167"/>
                </a:lnTo>
                <a:lnTo>
                  <a:pt x="42" y="3175"/>
                </a:lnTo>
                <a:lnTo>
                  <a:pt x="43" y="3185"/>
                </a:lnTo>
                <a:lnTo>
                  <a:pt x="44" y="3194"/>
                </a:lnTo>
                <a:lnTo>
                  <a:pt x="46" y="3204"/>
                </a:lnTo>
                <a:lnTo>
                  <a:pt x="50" y="3212"/>
                </a:lnTo>
                <a:lnTo>
                  <a:pt x="55" y="3219"/>
                </a:lnTo>
                <a:lnTo>
                  <a:pt x="68" y="3233"/>
                </a:lnTo>
                <a:lnTo>
                  <a:pt x="81" y="3248"/>
                </a:lnTo>
                <a:lnTo>
                  <a:pt x="87" y="3254"/>
                </a:lnTo>
                <a:lnTo>
                  <a:pt x="94" y="3259"/>
                </a:lnTo>
                <a:lnTo>
                  <a:pt x="100" y="3262"/>
                </a:lnTo>
                <a:lnTo>
                  <a:pt x="107" y="3263"/>
                </a:lnTo>
                <a:lnTo>
                  <a:pt x="114" y="3262"/>
                </a:lnTo>
                <a:lnTo>
                  <a:pt x="119" y="3261"/>
                </a:lnTo>
                <a:lnTo>
                  <a:pt x="121" y="3260"/>
                </a:lnTo>
                <a:lnTo>
                  <a:pt x="125" y="3256"/>
                </a:lnTo>
                <a:lnTo>
                  <a:pt x="128" y="3249"/>
                </a:lnTo>
                <a:lnTo>
                  <a:pt x="133" y="3240"/>
                </a:lnTo>
                <a:lnTo>
                  <a:pt x="137" y="3235"/>
                </a:lnTo>
                <a:lnTo>
                  <a:pt x="140" y="3230"/>
                </a:lnTo>
                <a:lnTo>
                  <a:pt x="145" y="3228"/>
                </a:lnTo>
                <a:lnTo>
                  <a:pt x="151" y="3225"/>
                </a:lnTo>
                <a:lnTo>
                  <a:pt x="156" y="3224"/>
                </a:lnTo>
                <a:lnTo>
                  <a:pt x="162" y="3224"/>
                </a:lnTo>
                <a:lnTo>
                  <a:pt x="169" y="3227"/>
                </a:lnTo>
                <a:lnTo>
                  <a:pt x="175" y="3229"/>
                </a:lnTo>
                <a:lnTo>
                  <a:pt x="191" y="3238"/>
                </a:lnTo>
                <a:lnTo>
                  <a:pt x="210" y="3249"/>
                </a:lnTo>
                <a:lnTo>
                  <a:pt x="229" y="3259"/>
                </a:lnTo>
                <a:lnTo>
                  <a:pt x="245" y="3267"/>
                </a:lnTo>
                <a:lnTo>
                  <a:pt x="258" y="3274"/>
                </a:lnTo>
                <a:lnTo>
                  <a:pt x="275" y="3284"/>
                </a:lnTo>
                <a:lnTo>
                  <a:pt x="282" y="3290"/>
                </a:lnTo>
                <a:lnTo>
                  <a:pt x="289" y="3297"/>
                </a:lnTo>
                <a:lnTo>
                  <a:pt x="295" y="3303"/>
                </a:lnTo>
                <a:lnTo>
                  <a:pt x="300" y="3310"/>
                </a:lnTo>
                <a:lnTo>
                  <a:pt x="309" y="3328"/>
                </a:lnTo>
                <a:lnTo>
                  <a:pt x="319" y="3344"/>
                </a:lnTo>
                <a:lnTo>
                  <a:pt x="332" y="3357"/>
                </a:lnTo>
                <a:lnTo>
                  <a:pt x="342" y="3369"/>
                </a:lnTo>
                <a:lnTo>
                  <a:pt x="346" y="3375"/>
                </a:lnTo>
                <a:lnTo>
                  <a:pt x="347" y="3382"/>
                </a:lnTo>
                <a:lnTo>
                  <a:pt x="348" y="3389"/>
                </a:lnTo>
                <a:lnTo>
                  <a:pt x="348" y="3397"/>
                </a:lnTo>
                <a:lnTo>
                  <a:pt x="346" y="3402"/>
                </a:lnTo>
                <a:lnTo>
                  <a:pt x="342" y="3408"/>
                </a:lnTo>
                <a:lnTo>
                  <a:pt x="339" y="3413"/>
                </a:lnTo>
                <a:lnTo>
                  <a:pt x="332" y="3417"/>
                </a:lnTo>
                <a:lnTo>
                  <a:pt x="326" y="3419"/>
                </a:lnTo>
                <a:lnTo>
                  <a:pt x="320" y="3424"/>
                </a:lnTo>
                <a:lnTo>
                  <a:pt x="315" y="3429"/>
                </a:lnTo>
                <a:lnTo>
                  <a:pt x="310" y="3436"/>
                </a:lnTo>
                <a:lnTo>
                  <a:pt x="307" y="3443"/>
                </a:lnTo>
                <a:lnTo>
                  <a:pt x="303" y="3452"/>
                </a:lnTo>
                <a:lnTo>
                  <a:pt x="300" y="3462"/>
                </a:lnTo>
                <a:lnTo>
                  <a:pt x="297" y="3474"/>
                </a:lnTo>
                <a:lnTo>
                  <a:pt x="290" y="3496"/>
                </a:lnTo>
                <a:lnTo>
                  <a:pt x="285" y="3520"/>
                </a:lnTo>
                <a:lnTo>
                  <a:pt x="284" y="3532"/>
                </a:lnTo>
                <a:lnTo>
                  <a:pt x="285" y="3543"/>
                </a:lnTo>
                <a:lnTo>
                  <a:pt x="286" y="3549"/>
                </a:lnTo>
                <a:lnTo>
                  <a:pt x="289" y="3553"/>
                </a:lnTo>
                <a:lnTo>
                  <a:pt x="292" y="3558"/>
                </a:lnTo>
                <a:lnTo>
                  <a:pt x="296" y="3563"/>
                </a:lnTo>
                <a:lnTo>
                  <a:pt x="302" y="3571"/>
                </a:lnTo>
                <a:lnTo>
                  <a:pt x="306" y="3577"/>
                </a:lnTo>
                <a:lnTo>
                  <a:pt x="307" y="3582"/>
                </a:lnTo>
                <a:lnTo>
                  <a:pt x="304" y="3586"/>
                </a:lnTo>
                <a:lnTo>
                  <a:pt x="297" y="3596"/>
                </a:lnTo>
                <a:lnTo>
                  <a:pt x="288" y="3614"/>
                </a:lnTo>
                <a:lnTo>
                  <a:pt x="284" y="3625"/>
                </a:lnTo>
                <a:lnTo>
                  <a:pt x="283" y="3634"/>
                </a:lnTo>
                <a:lnTo>
                  <a:pt x="284" y="3644"/>
                </a:lnTo>
                <a:lnTo>
                  <a:pt x="285" y="3653"/>
                </a:lnTo>
                <a:lnTo>
                  <a:pt x="291" y="3669"/>
                </a:lnTo>
                <a:lnTo>
                  <a:pt x="296" y="3683"/>
                </a:lnTo>
                <a:lnTo>
                  <a:pt x="296" y="3687"/>
                </a:lnTo>
                <a:lnTo>
                  <a:pt x="296" y="3689"/>
                </a:lnTo>
                <a:lnTo>
                  <a:pt x="295" y="3691"/>
                </a:lnTo>
                <a:lnTo>
                  <a:pt x="294" y="3694"/>
                </a:lnTo>
                <a:lnTo>
                  <a:pt x="289" y="3698"/>
                </a:lnTo>
                <a:lnTo>
                  <a:pt x="283" y="3702"/>
                </a:lnTo>
                <a:lnTo>
                  <a:pt x="277" y="3706"/>
                </a:lnTo>
                <a:lnTo>
                  <a:pt x="270" y="3709"/>
                </a:lnTo>
                <a:lnTo>
                  <a:pt x="262" y="3714"/>
                </a:lnTo>
                <a:lnTo>
                  <a:pt x="253" y="3721"/>
                </a:lnTo>
                <a:lnTo>
                  <a:pt x="250" y="3725"/>
                </a:lnTo>
                <a:lnTo>
                  <a:pt x="247" y="3729"/>
                </a:lnTo>
                <a:lnTo>
                  <a:pt x="245" y="3734"/>
                </a:lnTo>
                <a:lnTo>
                  <a:pt x="244" y="3739"/>
                </a:lnTo>
                <a:lnTo>
                  <a:pt x="243" y="3748"/>
                </a:lnTo>
                <a:lnTo>
                  <a:pt x="244" y="3759"/>
                </a:lnTo>
                <a:lnTo>
                  <a:pt x="250" y="3778"/>
                </a:lnTo>
                <a:lnTo>
                  <a:pt x="256" y="3791"/>
                </a:lnTo>
                <a:lnTo>
                  <a:pt x="259" y="3798"/>
                </a:lnTo>
                <a:lnTo>
                  <a:pt x="266" y="3809"/>
                </a:lnTo>
                <a:lnTo>
                  <a:pt x="273" y="3821"/>
                </a:lnTo>
                <a:lnTo>
                  <a:pt x="279" y="3834"/>
                </a:lnTo>
                <a:lnTo>
                  <a:pt x="281" y="3839"/>
                </a:lnTo>
                <a:lnTo>
                  <a:pt x="282" y="3842"/>
                </a:lnTo>
                <a:lnTo>
                  <a:pt x="281" y="3846"/>
                </a:lnTo>
                <a:lnTo>
                  <a:pt x="281" y="3849"/>
                </a:lnTo>
                <a:lnTo>
                  <a:pt x="278" y="3858"/>
                </a:lnTo>
                <a:lnTo>
                  <a:pt x="277" y="3866"/>
                </a:lnTo>
                <a:lnTo>
                  <a:pt x="277" y="3871"/>
                </a:lnTo>
                <a:lnTo>
                  <a:pt x="276" y="3876"/>
                </a:lnTo>
                <a:lnTo>
                  <a:pt x="275" y="3879"/>
                </a:lnTo>
                <a:lnTo>
                  <a:pt x="272" y="3881"/>
                </a:lnTo>
                <a:lnTo>
                  <a:pt x="270" y="3884"/>
                </a:lnTo>
                <a:lnTo>
                  <a:pt x="267" y="3886"/>
                </a:lnTo>
                <a:lnTo>
                  <a:pt x="265" y="3887"/>
                </a:lnTo>
                <a:lnTo>
                  <a:pt x="262" y="3887"/>
                </a:lnTo>
                <a:lnTo>
                  <a:pt x="254" y="3887"/>
                </a:lnTo>
                <a:lnTo>
                  <a:pt x="246" y="3887"/>
                </a:lnTo>
                <a:lnTo>
                  <a:pt x="239" y="3886"/>
                </a:lnTo>
                <a:lnTo>
                  <a:pt x="231" y="3884"/>
                </a:lnTo>
                <a:lnTo>
                  <a:pt x="218" y="3881"/>
                </a:lnTo>
                <a:lnTo>
                  <a:pt x="207" y="3880"/>
                </a:lnTo>
                <a:lnTo>
                  <a:pt x="202" y="3881"/>
                </a:lnTo>
                <a:lnTo>
                  <a:pt x="197" y="3883"/>
                </a:lnTo>
                <a:lnTo>
                  <a:pt x="191" y="3885"/>
                </a:lnTo>
                <a:lnTo>
                  <a:pt x="187" y="3889"/>
                </a:lnTo>
                <a:lnTo>
                  <a:pt x="181" y="3891"/>
                </a:lnTo>
                <a:lnTo>
                  <a:pt x="175" y="3893"/>
                </a:lnTo>
                <a:lnTo>
                  <a:pt x="170" y="3895"/>
                </a:lnTo>
                <a:lnTo>
                  <a:pt x="165" y="3893"/>
                </a:lnTo>
                <a:lnTo>
                  <a:pt x="162" y="3892"/>
                </a:lnTo>
                <a:lnTo>
                  <a:pt x="157" y="3889"/>
                </a:lnTo>
                <a:lnTo>
                  <a:pt x="153" y="3884"/>
                </a:lnTo>
                <a:lnTo>
                  <a:pt x="149" y="3877"/>
                </a:lnTo>
                <a:lnTo>
                  <a:pt x="146" y="3873"/>
                </a:lnTo>
                <a:lnTo>
                  <a:pt x="143" y="3868"/>
                </a:lnTo>
                <a:lnTo>
                  <a:pt x="139" y="3866"/>
                </a:lnTo>
                <a:lnTo>
                  <a:pt x="134" y="3864"/>
                </a:lnTo>
                <a:lnTo>
                  <a:pt x="130" y="3861"/>
                </a:lnTo>
                <a:lnTo>
                  <a:pt x="125" y="3859"/>
                </a:lnTo>
                <a:lnTo>
                  <a:pt x="119" y="3858"/>
                </a:lnTo>
                <a:lnTo>
                  <a:pt x="114" y="3858"/>
                </a:lnTo>
                <a:lnTo>
                  <a:pt x="102" y="3859"/>
                </a:lnTo>
                <a:lnTo>
                  <a:pt x="89" y="3860"/>
                </a:lnTo>
                <a:lnTo>
                  <a:pt x="83" y="3857"/>
                </a:lnTo>
                <a:lnTo>
                  <a:pt x="76" y="3853"/>
                </a:lnTo>
                <a:lnTo>
                  <a:pt x="69" y="3853"/>
                </a:lnTo>
                <a:lnTo>
                  <a:pt x="63" y="3853"/>
                </a:lnTo>
                <a:lnTo>
                  <a:pt x="57" y="3854"/>
                </a:lnTo>
                <a:lnTo>
                  <a:pt x="53" y="3855"/>
                </a:lnTo>
                <a:lnTo>
                  <a:pt x="49" y="3860"/>
                </a:lnTo>
                <a:lnTo>
                  <a:pt x="46" y="3865"/>
                </a:lnTo>
                <a:lnTo>
                  <a:pt x="44" y="3871"/>
                </a:lnTo>
                <a:lnTo>
                  <a:pt x="43" y="3878"/>
                </a:lnTo>
                <a:lnTo>
                  <a:pt x="42" y="3892"/>
                </a:lnTo>
                <a:lnTo>
                  <a:pt x="40" y="3906"/>
                </a:lnTo>
                <a:lnTo>
                  <a:pt x="39" y="3916"/>
                </a:lnTo>
                <a:lnTo>
                  <a:pt x="39" y="3924"/>
                </a:lnTo>
                <a:lnTo>
                  <a:pt x="39" y="3933"/>
                </a:lnTo>
                <a:lnTo>
                  <a:pt x="42" y="3939"/>
                </a:lnTo>
                <a:lnTo>
                  <a:pt x="44" y="3944"/>
                </a:lnTo>
                <a:lnTo>
                  <a:pt x="48" y="3948"/>
                </a:lnTo>
                <a:lnTo>
                  <a:pt x="51" y="3949"/>
                </a:lnTo>
                <a:lnTo>
                  <a:pt x="56" y="3949"/>
                </a:lnTo>
                <a:lnTo>
                  <a:pt x="68" y="3944"/>
                </a:lnTo>
                <a:lnTo>
                  <a:pt x="80" y="3941"/>
                </a:lnTo>
                <a:lnTo>
                  <a:pt x="84" y="3940"/>
                </a:lnTo>
                <a:lnTo>
                  <a:pt x="89" y="3940"/>
                </a:lnTo>
                <a:lnTo>
                  <a:pt x="94" y="3940"/>
                </a:lnTo>
                <a:lnTo>
                  <a:pt x="97" y="3941"/>
                </a:lnTo>
                <a:lnTo>
                  <a:pt x="100" y="3948"/>
                </a:lnTo>
                <a:lnTo>
                  <a:pt x="106" y="3959"/>
                </a:lnTo>
                <a:lnTo>
                  <a:pt x="119" y="3965"/>
                </a:lnTo>
                <a:lnTo>
                  <a:pt x="131" y="3969"/>
                </a:lnTo>
                <a:lnTo>
                  <a:pt x="132" y="3978"/>
                </a:lnTo>
                <a:lnTo>
                  <a:pt x="132" y="3993"/>
                </a:lnTo>
                <a:lnTo>
                  <a:pt x="132" y="4000"/>
                </a:lnTo>
                <a:lnTo>
                  <a:pt x="133" y="4007"/>
                </a:lnTo>
                <a:lnTo>
                  <a:pt x="134" y="4013"/>
                </a:lnTo>
                <a:lnTo>
                  <a:pt x="136" y="4018"/>
                </a:lnTo>
                <a:lnTo>
                  <a:pt x="138" y="4019"/>
                </a:lnTo>
                <a:lnTo>
                  <a:pt x="141" y="4021"/>
                </a:lnTo>
                <a:lnTo>
                  <a:pt x="144" y="4019"/>
                </a:lnTo>
                <a:lnTo>
                  <a:pt x="146" y="4018"/>
                </a:lnTo>
                <a:lnTo>
                  <a:pt x="152" y="4010"/>
                </a:lnTo>
                <a:lnTo>
                  <a:pt x="159" y="4003"/>
                </a:lnTo>
                <a:lnTo>
                  <a:pt x="163" y="4002"/>
                </a:lnTo>
                <a:lnTo>
                  <a:pt x="168" y="4002"/>
                </a:lnTo>
                <a:lnTo>
                  <a:pt x="172" y="4003"/>
                </a:lnTo>
                <a:lnTo>
                  <a:pt x="176" y="4004"/>
                </a:lnTo>
                <a:lnTo>
                  <a:pt x="185" y="4007"/>
                </a:lnTo>
                <a:lnTo>
                  <a:pt x="193" y="4010"/>
                </a:lnTo>
                <a:lnTo>
                  <a:pt x="204" y="4012"/>
                </a:lnTo>
                <a:lnTo>
                  <a:pt x="215" y="4016"/>
                </a:lnTo>
                <a:lnTo>
                  <a:pt x="225" y="4019"/>
                </a:lnTo>
                <a:lnTo>
                  <a:pt x="232" y="4025"/>
                </a:lnTo>
                <a:lnTo>
                  <a:pt x="240" y="4038"/>
                </a:lnTo>
                <a:lnTo>
                  <a:pt x="251" y="4050"/>
                </a:lnTo>
                <a:lnTo>
                  <a:pt x="265" y="4057"/>
                </a:lnTo>
                <a:lnTo>
                  <a:pt x="277" y="4062"/>
                </a:lnTo>
                <a:lnTo>
                  <a:pt x="282" y="4065"/>
                </a:lnTo>
                <a:lnTo>
                  <a:pt x="286" y="4067"/>
                </a:lnTo>
                <a:lnTo>
                  <a:pt x="289" y="4070"/>
                </a:lnTo>
                <a:lnTo>
                  <a:pt x="291" y="4074"/>
                </a:lnTo>
                <a:lnTo>
                  <a:pt x="294" y="4085"/>
                </a:lnTo>
                <a:lnTo>
                  <a:pt x="295" y="4101"/>
                </a:lnTo>
                <a:lnTo>
                  <a:pt x="294" y="4112"/>
                </a:lnTo>
                <a:lnTo>
                  <a:pt x="292" y="4123"/>
                </a:lnTo>
                <a:lnTo>
                  <a:pt x="291" y="4135"/>
                </a:lnTo>
                <a:lnTo>
                  <a:pt x="289" y="4148"/>
                </a:lnTo>
                <a:lnTo>
                  <a:pt x="288" y="4154"/>
                </a:lnTo>
                <a:lnTo>
                  <a:pt x="286" y="4158"/>
                </a:lnTo>
                <a:lnTo>
                  <a:pt x="286" y="4163"/>
                </a:lnTo>
                <a:lnTo>
                  <a:pt x="288" y="4168"/>
                </a:lnTo>
                <a:lnTo>
                  <a:pt x="290" y="4174"/>
                </a:lnTo>
                <a:lnTo>
                  <a:pt x="295" y="4177"/>
                </a:lnTo>
                <a:lnTo>
                  <a:pt x="300" y="4179"/>
                </a:lnTo>
                <a:lnTo>
                  <a:pt x="303" y="4177"/>
                </a:lnTo>
                <a:lnTo>
                  <a:pt x="307" y="4176"/>
                </a:lnTo>
                <a:lnTo>
                  <a:pt x="309" y="4173"/>
                </a:lnTo>
                <a:lnTo>
                  <a:pt x="310" y="4170"/>
                </a:lnTo>
                <a:lnTo>
                  <a:pt x="313" y="4168"/>
                </a:lnTo>
                <a:lnTo>
                  <a:pt x="314" y="4166"/>
                </a:lnTo>
                <a:lnTo>
                  <a:pt x="317" y="4166"/>
                </a:lnTo>
                <a:lnTo>
                  <a:pt x="323" y="4164"/>
                </a:lnTo>
                <a:lnTo>
                  <a:pt x="330" y="4167"/>
                </a:lnTo>
                <a:lnTo>
                  <a:pt x="339" y="4172"/>
                </a:lnTo>
                <a:lnTo>
                  <a:pt x="347" y="4179"/>
                </a:lnTo>
                <a:lnTo>
                  <a:pt x="355" y="4188"/>
                </a:lnTo>
                <a:lnTo>
                  <a:pt x="364" y="4196"/>
                </a:lnTo>
                <a:lnTo>
                  <a:pt x="373" y="4211"/>
                </a:lnTo>
                <a:lnTo>
                  <a:pt x="389" y="4232"/>
                </a:lnTo>
                <a:lnTo>
                  <a:pt x="404" y="4256"/>
                </a:lnTo>
                <a:lnTo>
                  <a:pt x="415" y="4275"/>
                </a:lnTo>
                <a:lnTo>
                  <a:pt x="417" y="4281"/>
                </a:lnTo>
                <a:lnTo>
                  <a:pt x="417" y="4286"/>
                </a:lnTo>
                <a:lnTo>
                  <a:pt x="415" y="4287"/>
                </a:lnTo>
                <a:lnTo>
                  <a:pt x="411" y="4290"/>
                </a:lnTo>
                <a:lnTo>
                  <a:pt x="410" y="4293"/>
                </a:lnTo>
                <a:lnTo>
                  <a:pt x="410" y="4295"/>
                </a:lnTo>
                <a:lnTo>
                  <a:pt x="410" y="4297"/>
                </a:lnTo>
                <a:lnTo>
                  <a:pt x="410" y="4301"/>
                </a:lnTo>
                <a:lnTo>
                  <a:pt x="415" y="4313"/>
                </a:lnTo>
                <a:lnTo>
                  <a:pt x="421" y="4330"/>
                </a:lnTo>
                <a:lnTo>
                  <a:pt x="426" y="4346"/>
                </a:lnTo>
                <a:lnTo>
                  <a:pt x="427" y="4357"/>
                </a:lnTo>
                <a:lnTo>
                  <a:pt x="427" y="4360"/>
                </a:lnTo>
                <a:lnTo>
                  <a:pt x="424" y="4364"/>
                </a:lnTo>
                <a:lnTo>
                  <a:pt x="422" y="4368"/>
                </a:lnTo>
                <a:lnTo>
                  <a:pt x="420" y="4370"/>
                </a:lnTo>
                <a:lnTo>
                  <a:pt x="412" y="4376"/>
                </a:lnTo>
                <a:lnTo>
                  <a:pt x="404" y="4385"/>
                </a:lnTo>
                <a:lnTo>
                  <a:pt x="401" y="4391"/>
                </a:lnTo>
                <a:lnTo>
                  <a:pt x="398" y="4396"/>
                </a:lnTo>
                <a:lnTo>
                  <a:pt x="397" y="4401"/>
                </a:lnTo>
                <a:lnTo>
                  <a:pt x="397" y="4406"/>
                </a:lnTo>
                <a:lnTo>
                  <a:pt x="399" y="4415"/>
                </a:lnTo>
                <a:lnTo>
                  <a:pt x="399" y="4428"/>
                </a:lnTo>
                <a:lnTo>
                  <a:pt x="399" y="4433"/>
                </a:lnTo>
                <a:lnTo>
                  <a:pt x="397" y="4438"/>
                </a:lnTo>
                <a:lnTo>
                  <a:pt x="395" y="4441"/>
                </a:lnTo>
                <a:lnTo>
                  <a:pt x="392" y="4445"/>
                </a:lnTo>
                <a:lnTo>
                  <a:pt x="384" y="4447"/>
                </a:lnTo>
                <a:lnTo>
                  <a:pt x="377" y="4450"/>
                </a:lnTo>
                <a:lnTo>
                  <a:pt x="374" y="4458"/>
                </a:lnTo>
                <a:lnTo>
                  <a:pt x="373" y="4466"/>
                </a:lnTo>
                <a:lnTo>
                  <a:pt x="363" y="4473"/>
                </a:lnTo>
                <a:lnTo>
                  <a:pt x="349" y="4482"/>
                </a:lnTo>
                <a:lnTo>
                  <a:pt x="346" y="4486"/>
                </a:lnTo>
                <a:lnTo>
                  <a:pt x="342" y="4492"/>
                </a:lnTo>
                <a:lnTo>
                  <a:pt x="341" y="4497"/>
                </a:lnTo>
                <a:lnTo>
                  <a:pt x="339" y="4502"/>
                </a:lnTo>
                <a:lnTo>
                  <a:pt x="339" y="4505"/>
                </a:lnTo>
                <a:lnTo>
                  <a:pt x="339" y="4510"/>
                </a:lnTo>
                <a:lnTo>
                  <a:pt x="340" y="4514"/>
                </a:lnTo>
                <a:lnTo>
                  <a:pt x="341" y="4519"/>
                </a:lnTo>
                <a:lnTo>
                  <a:pt x="345" y="4525"/>
                </a:lnTo>
                <a:lnTo>
                  <a:pt x="348" y="4530"/>
                </a:lnTo>
                <a:lnTo>
                  <a:pt x="354" y="4534"/>
                </a:lnTo>
                <a:lnTo>
                  <a:pt x="359" y="4536"/>
                </a:lnTo>
                <a:lnTo>
                  <a:pt x="369" y="4540"/>
                </a:lnTo>
                <a:lnTo>
                  <a:pt x="376" y="4545"/>
                </a:lnTo>
                <a:lnTo>
                  <a:pt x="379" y="4547"/>
                </a:lnTo>
                <a:lnTo>
                  <a:pt x="382" y="4551"/>
                </a:lnTo>
                <a:lnTo>
                  <a:pt x="384" y="4555"/>
                </a:lnTo>
                <a:lnTo>
                  <a:pt x="385" y="4560"/>
                </a:lnTo>
                <a:lnTo>
                  <a:pt x="388" y="4571"/>
                </a:lnTo>
                <a:lnTo>
                  <a:pt x="388" y="4582"/>
                </a:lnTo>
                <a:lnTo>
                  <a:pt x="388" y="4588"/>
                </a:lnTo>
                <a:lnTo>
                  <a:pt x="385" y="4593"/>
                </a:lnTo>
                <a:lnTo>
                  <a:pt x="383" y="4599"/>
                </a:lnTo>
                <a:lnTo>
                  <a:pt x="379" y="4607"/>
                </a:lnTo>
                <a:lnTo>
                  <a:pt x="376" y="4612"/>
                </a:lnTo>
                <a:lnTo>
                  <a:pt x="373" y="4618"/>
                </a:lnTo>
                <a:lnTo>
                  <a:pt x="372" y="4623"/>
                </a:lnTo>
                <a:lnTo>
                  <a:pt x="372" y="4627"/>
                </a:lnTo>
                <a:lnTo>
                  <a:pt x="372" y="4630"/>
                </a:lnTo>
                <a:lnTo>
                  <a:pt x="374" y="4634"/>
                </a:lnTo>
                <a:lnTo>
                  <a:pt x="377" y="4636"/>
                </a:lnTo>
                <a:lnTo>
                  <a:pt x="380" y="4639"/>
                </a:lnTo>
                <a:lnTo>
                  <a:pt x="388" y="4643"/>
                </a:lnTo>
                <a:lnTo>
                  <a:pt x="397" y="4648"/>
                </a:lnTo>
                <a:lnTo>
                  <a:pt x="408" y="4652"/>
                </a:lnTo>
                <a:lnTo>
                  <a:pt x="418" y="4656"/>
                </a:lnTo>
                <a:lnTo>
                  <a:pt x="423" y="4660"/>
                </a:lnTo>
                <a:lnTo>
                  <a:pt x="429" y="4662"/>
                </a:lnTo>
                <a:lnTo>
                  <a:pt x="435" y="4665"/>
                </a:lnTo>
                <a:lnTo>
                  <a:pt x="441" y="4665"/>
                </a:lnTo>
                <a:lnTo>
                  <a:pt x="453" y="4660"/>
                </a:lnTo>
                <a:lnTo>
                  <a:pt x="466" y="4653"/>
                </a:lnTo>
                <a:lnTo>
                  <a:pt x="481" y="4648"/>
                </a:lnTo>
                <a:lnTo>
                  <a:pt x="496" y="4647"/>
                </a:lnTo>
                <a:lnTo>
                  <a:pt x="503" y="4646"/>
                </a:lnTo>
                <a:lnTo>
                  <a:pt x="508" y="4647"/>
                </a:lnTo>
                <a:lnTo>
                  <a:pt x="512" y="4647"/>
                </a:lnTo>
                <a:lnTo>
                  <a:pt x="516" y="4649"/>
                </a:lnTo>
                <a:lnTo>
                  <a:pt x="519" y="4651"/>
                </a:lnTo>
                <a:lnTo>
                  <a:pt x="521" y="4653"/>
                </a:lnTo>
                <a:lnTo>
                  <a:pt x="522" y="4656"/>
                </a:lnTo>
                <a:lnTo>
                  <a:pt x="522" y="4660"/>
                </a:lnTo>
                <a:lnTo>
                  <a:pt x="521" y="4664"/>
                </a:lnTo>
                <a:lnTo>
                  <a:pt x="518" y="4668"/>
                </a:lnTo>
                <a:lnTo>
                  <a:pt x="514" y="4672"/>
                </a:lnTo>
                <a:lnTo>
                  <a:pt x="508" y="4677"/>
                </a:lnTo>
                <a:lnTo>
                  <a:pt x="502" y="4681"/>
                </a:lnTo>
                <a:lnTo>
                  <a:pt x="499" y="4686"/>
                </a:lnTo>
                <a:lnTo>
                  <a:pt x="498" y="4691"/>
                </a:lnTo>
                <a:lnTo>
                  <a:pt x="498" y="4694"/>
                </a:lnTo>
                <a:lnTo>
                  <a:pt x="500" y="4699"/>
                </a:lnTo>
                <a:lnTo>
                  <a:pt x="503" y="4703"/>
                </a:lnTo>
                <a:lnTo>
                  <a:pt x="506" y="4706"/>
                </a:lnTo>
                <a:lnTo>
                  <a:pt x="511" y="4710"/>
                </a:lnTo>
                <a:lnTo>
                  <a:pt x="519" y="4717"/>
                </a:lnTo>
                <a:lnTo>
                  <a:pt x="527" y="4727"/>
                </a:lnTo>
                <a:lnTo>
                  <a:pt x="533" y="4737"/>
                </a:lnTo>
                <a:lnTo>
                  <a:pt x="537" y="4749"/>
                </a:lnTo>
                <a:lnTo>
                  <a:pt x="544" y="4762"/>
                </a:lnTo>
                <a:lnTo>
                  <a:pt x="556" y="4779"/>
                </a:lnTo>
                <a:lnTo>
                  <a:pt x="568" y="4793"/>
                </a:lnTo>
                <a:lnTo>
                  <a:pt x="577" y="4805"/>
                </a:lnTo>
                <a:lnTo>
                  <a:pt x="580" y="4809"/>
                </a:lnTo>
                <a:lnTo>
                  <a:pt x="582" y="4811"/>
                </a:lnTo>
                <a:lnTo>
                  <a:pt x="586" y="4813"/>
                </a:lnTo>
                <a:lnTo>
                  <a:pt x="590" y="4816"/>
                </a:lnTo>
                <a:lnTo>
                  <a:pt x="598" y="4819"/>
                </a:lnTo>
                <a:lnTo>
                  <a:pt x="611" y="4822"/>
                </a:lnTo>
                <a:lnTo>
                  <a:pt x="617" y="4824"/>
                </a:lnTo>
                <a:lnTo>
                  <a:pt x="624" y="4828"/>
                </a:lnTo>
                <a:lnTo>
                  <a:pt x="629" y="4831"/>
                </a:lnTo>
                <a:lnTo>
                  <a:pt x="634" y="4836"/>
                </a:lnTo>
                <a:lnTo>
                  <a:pt x="637" y="4841"/>
                </a:lnTo>
                <a:lnTo>
                  <a:pt x="641" y="4847"/>
                </a:lnTo>
                <a:lnTo>
                  <a:pt x="643" y="4853"/>
                </a:lnTo>
                <a:lnTo>
                  <a:pt x="645" y="4857"/>
                </a:lnTo>
                <a:lnTo>
                  <a:pt x="648" y="4863"/>
                </a:lnTo>
                <a:lnTo>
                  <a:pt x="650" y="4867"/>
                </a:lnTo>
                <a:lnTo>
                  <a:pt x="654" y="4870"/>
                </a:lnTo>
                <a:lnTo>
                  <a:pt x="659" y="4873"/>
                </a:lnTo>
                <a:lnTo>
                  <a:pt x="668" y="4875"/>
                </a:lnTo>
                <a:lnTo>
                  <a:pt x="681" y="4879"/>
                </a:lnTo>
                <a:lnTo>
                  <a:pt x="687" y="4880"/>
                </a:lnTo>
                <a:lnTo>
                  <a:pt x="693" y="4883"/>
                </a:lnTo>
                <a:lnTo>
                  <a:pt x="699" y="4887"/>
                </a:lnTo>
                <a:lnTo>
                  <a:pt x="705" y="4891"/>
                </a:lnTo>
                <a:lnTo>
                  <a:pt x="714" y="4899"/>
                </a:lnTo>
                <a:lnTo>
                  <a:pt x="723" y="4908"/>
                </a:lnTo>
                <a:lnTo>
                  <a:pt x="731" y="4916"/>
                </a:lnTo>
                <a:lnTo>
                  <a:pt x="742" y="4923"/>
                </a:lnTo>
                <a:lnTo>
                  <a:pt x="747" y="4925"/>
                </a:lnTo>
                <a:lnTo>
                  <a:pt x="752" y="4927"/>
                </a:lnTo>
                <a:lnTo>
                  <a:pt x="757" y="4929"/>
                </a:lnTo>
                <a:lnTo>
                  <a:pt x="762" y="4930"/>
                </a:lnTo>
                <a:lnTo>
                  <a:pt x="774" y="4931"/>
                </a:lnTo>
                <a:lnTo>
                  <a:pt x="786" y="4935"/>
                </a:lnTo>
                <a:lnTo>
                  <a:pt x="798" y="4941"/>
                </a:lnTo>
                <a:lnTo>
                  <a:pt x="808" y="4946"/>
                </a:lnTo>
                <a:lnTo>
                  <a:pt x="813" y="4950"/>
                </a:lnTo>
                <a:lnTo>
                  <a:pt x="818" y="4951"/>
                </a:lnTo>
                <a:lnTo>
                  <a:pt x="823" y="4952"/>
                </a:lnTo>
                <a:lnTo>
                  <a:pt x="827" y="4954"/>
                </a:lnTo>
                <a:lnTo>
                  <a:pt x="839" y="4955"/>
                </a:lnTo>
                <a:lnTo>
                  <a:pt x="854" y="4956"/>
                </a:lnTo>
                <a:lnTo>
                  <a:pt x="863" y="4962"/>
                </a:lnTo>
                <a:lnTo>
                  <a:pt x="875" y="4971"/>
                </a:lnTo>
                <a:lnTo>
                  <a:pt x="881" y="4975"/>
                </a:lnTo>
                <a:lnTo>
                  <a:pt x="887" y="4979"/>
                </a:lnTo>
                <a:lnTo>
                  <a:pt x="890" y="4979"/>
                </a:lnTo>
                <a:lnTo>
                  <a:pt x="893" y="4979"/>
                </a:lnTo>
                <a:lnTo>
                  <a:pt x="895" y="4979"/>
                </a:lnTo>
                <a:lnTo>
                  <a:pt x="898" y="4976"/>
                </a:lnTo>
                <a:lnTo>
                  <a:pt x="901" y="4973"/>
                </a:lnTo>
                <a:lnTo>
                  <a:pt x="906" y="4973"/>
                </a:lnTo>
                <a:lnTo>
                  <a:pt x="911" y="4973"/>
                </a:lnTo>
                <a:lnTo>
                  <a:pt x="917" y="4974"/>
                </a:lnTo>
                <a:lnTo>
                  <a:pt x="927" y="4980"/>
                </a:lnTo>
                <a:lnTo>
                  <a:pt x="938" y="4983"/>
                </a:lnTo>
                <a:lnTo>
                  <a:pt x="946" y="4986"/>
                </a:lnTo>
                <a:lnTo>
                  <a:pt x="953" y="4988"/>
                </a:lnTo>
                <a:lnTo>
                  <a:pt x="958" y="4989"/>
                </a:lnTo>
                <a:lnTo>
                  <a:pt x="962" y="4992"/>
                </a:lnTo>
                <a:lnTo>
                  <a:pt x="963" y="4995"/>
                </a:lnTo>
                <a:lnTo>
                  <a:pt x="962" y="4998"/>
                </a:lnTo>
                <a:lnTo>
                  <a:pt x="959" y="5001"/>
                </a:lnTo>
                <a:lnTo>
                  <a:pt x="955" y="5006"/>
                </a:lnTo>
                <a:lnTo>
                  <a:pt x="945" y="5012"/>
                </a:lnTo>
                <a:lnTo>
                  <a:pt x="937" y="5017"/>
                </a:lnTo>
                <a:lnTo>
                  <a:pt x="927" y="5021"/>
                </a:lnTo>
                <a:lnTo>
                  <a:pt x="919" y="5028"/>
                </a:lnTo>
                <a:lnTo>
                  <a:pt x="915" y="5033"/>
                </a:lnTo>
                <a:lnTo>
                  <a:pt x="913" y="5039"/>
                </a:lnTo>
                <a:lnTo>
                  <a:pt x="909" y="5045"/>
                </a:lnTo>
                <a:lnTo>
                  <a:pt x="908" y="5051"/>
                </a:lnTo>
                <a:lnTo>
                  <a:pt x="905" y="5064"/>
                </a:lnTo>
                <a:lnTo>
                  <a:pt x="902" y="5077"/>
                </a:lnTo>
                <a:lnTo>
                  <a:pt x="901" y="5090"/>
                </a:lnTo>
                <a:lnTo>
                  <a:pt x="901" y="5102"/>
                </a:lnTo>
                <a:lnTo>
                  <a:pt x="901" y="5113"/>
                </a:lnTo>
                <a:lnTo>
                  <a:pt x="902" y="5121"/>
                </a:lnTo>
                <a:lnTo>
                  <a:pt x="903" y="5130"/>
                </a:lnTo>
                <a:lnTo>
                  <a:pt x="906" y="5135"/>
                </a:lnTo>
                <a:lnTo>
                  <a:pt x="908" y="5140"/>
                </a:lnTo>
                <a:lnTo>
                  <a:pt x="913" y="5144"/>
                </a:lnTo>
                <a:lnTo>
                  <a:pt x="917" y="5146"/>
                </a:lnTo>
                <a:lnTo>
                  <a:pt x="919" y="5150"/>
                </a:lnTo>
                <a:lnTo>
                  <a:pt x="920" y="5153"/>
                </a:lnTo>
                <a:lnTo>
                  <a:pt x="921" y="5157"/>
                </a:lnTo>
                <a:lnTo>
                  <a:pt x="921" y="5162"/>
                </a:lnTo>
                <a:lnTo>
                  <a:pt x="919" y="5166"/>
                </a:lnTo>
                <a:lnTo>
                  <a:pt x="917" y="5172"/>
                </a:lnTo>
                <a:lnTo>
                  <a:pt x="913" y="5179"/>
                </a:lnTo>
                <a:lnTo>
                  <a:pt x="911" y="5185"/>
                </a:lnTo>
                <a:lnTo>
                  <a:pt x="909" y="5190"/>
                </a:lnTo>
                <a:lnTo>
                  <a:pt x="908" y="5195"/>
                </a:lnTo>
                <a:lnTo>
                  <a:pt x="909" y="5198"/>
                </a:lnTo>
                <a:lnTo>
                  <a:pt x="913" y="5210"/>
                </a:lnTo>
                <a:lnTo>
                  <a:pt x="914" y="5228"/>
                </a:lnTo>
                <a:lnTo>
                  <a:pt x="914" y="5240"/>
                </a:lnTo>
                <a:lnTo>
                  <a:pt x="913" y="5252"/>
                </a:lnTo>
                <a:lnTo>
                  <a:pt x="911" y="5263"/>
                </a:lnTo>
                <a:lnTo>
                  <a:pt x="909" y="5273"/>
                </a:lnTo>
                <a:lnTo>
                  <a:pt x="903" y="5294"/>
                </a:lnTo>
                <a:lnTo>
                  <a:pt x="898" y="5311"/>
                </a:lnTo>
                <a:lnTo>
                  <a:pt x="896" y="5320"/>
                </a:lnTo>
                <a:lnTo>
                  <a:pt x="896" y="5327"/>
                </a:lnTo>
                <a:lnTo>
                  <a:pt x="898" y="5333"/>
                </a:lnTo>
                <a:lnTo>
                  <a:pt x="900" y="5339"/>
                </a:lnTo>
                <a:lnTo>
                  <a:pt x="901" y="5343"/>
                </a:lnTo>
                <a:lnTo>
                  <a:pt x="902" y="5349"/>
                </a:lnTo>
                <a:lnTo>
                  <a:pt x="902" y="5354"/>
                </a:lnTo>
                <a:lnTo>
                  <a:pt x="900" y="5360"/>
                </a:lnTo>
                <a:lnTo>
                  <a:pt x="899" y="5365"/>
                </a:lnTo>
                <a:lnTo>
                  <a:pt x="898" y="5370"/>
                </a:lnTo>
                <a:lnTo>
                  <a:pt x="900" y="5373"/>
                </a:lnTo>
                <a:lnTo>
                  <a:pt x="902" y="5377"/>
                </a:lnTo>
                <a:lnTo>
                  <a:pt x="908" y="5381"/>
                </a:lnTo>
                <a:lnTo>
                  <a:pt x="915" y="5384"/>
                </a:lnTo>
                <a:lnTo>
                  <a:pt x="921" y="5386"/>
                </a:lnTo>
                <a:lnTo>
                  <a:pt x="927" y="5390"/>
                </a:lnTo>
                <a:lnTo>
                  <a:pt x="934" y="5396"/>
                </a:lnTo>
                <a:lnTo>
                  <a:pt x="939" y="5402"/>
                </a:lnTo>
                <a:lnTo>
                  <a:pt x="945" y="5408"/>
                </a:lnTo>
                <a:lnTo>
                  <a:pt x="950" y="5411"/>
                </a:lnTo>
                <a:lnTo>
                  <a:pt x="956" y="5415"/>
                </a:lnTo>
                <a:lnTo>
                  <a:pt x="963" y="5415"/>
                </a:lnTo>
                <a:lnTo>
                  <a:pt x="969" y="5415"/>
                </a:lnTo>
                <a:lnTo>
                  <a:pt x="974" y="5417"/>
                </a:lnTo>
                <a:lnTo>
                  <a:pt x="977" y="5421"/>
                </a:lnTo>
                <a:lnTo>
                  <a:pt x="981" y="5427"/>
                </a:lnTo>
                <a:lnTo>
                  <a:pt x="982" y="5434"/>
                </a:lnTo>
                <a:lnTo>
                  <a:pt x="982" y="5441"/>
                </a:lnTo>
                <a:lnTo>
                  <a:pt x="983" y="5443"/>
                </a:lnTo>
                <a:lnTo>
                  <a:pt x="985" y="5446"/>
                </a:lnTo>
                <a:lnTo>
                  <a:pt x="988" y="5448"/>
                </a:lnTo>
                <a:lnTo>
                  <a:pt x="993" y="5448"/>
                </a:lnTo>
                <a:lnTo>
                  <a:pt x="1000" y="5449"/>
                </a:lnTo>
                <a:lnTo>
                  <a:pt x="1006" y="5450"/>
                </a:lnTo>
                <a:lnTo>
                  <a:pt x="1013" y="5454"/>
                </a:lnTo>
                <a:lnTo>
                  <a:pt x="1019" y="5458"/>
                </a:lnTo>
                <a:lnTo>
                  <a:pt x="1024" y="5461"/>
                </a:lnTo>
                <a:lnTo>
                  <a:pt x="1027" y="5466"/>
                </a:lnTo>
                <a:lnTo>
                  <a:pt x="1031" y="5471"/>
                </a:lnTo>
                <a:lnTo>
                  <a:pt x="1033" y="5475"/>
                </a:lnTo>
                <a:lnTo>
                  <a:pt x="1034" y="5480"/>
                </a:lnTo>
                <a:lnTo>
                  <a:pt x="1037" y="5484"/>
                </a:lnTo>
                <a:lnTo>
                  <a:pt x="1039" y="5487"/>
                </a:lnTo>
                <a:lnTo>
                  <a:pt x="1041" y="5491"/>
                </a:lnTo>
                <a:lnTo>
                  <a:pt x="1047" y="5496"/>
                </a:lnTo>
                <a:lnTo>
                  <a:pt x="1054" y="5499"/>
                </a:lnTo>
                <a:lnTo>
                  <a:pt x="1057" y="5502"/>
                </a:lnTo>
                <a:lnTo>
                  <a:pt x="1060" y="5507"/>
                </a:lnTo>
                <a:lnTo>
                  <a:pt x="1063" y="5513"/>
                </a:lnTo>
                <a:lnTo>
                  <a:pt x="1065" y="5521"/>
                </a:lnTo>
                <a:lnTo>
                  <a:pt x="1067" y="5528"/>
                </a:lnTo>
                <a:lnTo>
                  <a:pt x="1071" y="5534"/>
                </a:lnTo>
                <a:lnTo>
                  <a:pt x="1075" y="5538"/>
                </a:lnTo>
                <a:lnTo>
                  <a:pt x="1078" y="5542"/>
                </a:lnTo>
                <a:lnTo>
                  <a:pt x="1088" y="5544"/>
                </a:lnTo>
                <a:lnTo>
                  <a:pt x="1098" y="5546"/>
                </a:lnTo>
                <a:lnTo>
                  <a:pt x="1103" y="5546"/>
                </a:lnTo>
                <a:lnTo>
                  <a:pt x="1107" y="5547"/>
                </a:lnTo>
                <a:lnTo>
                  <a:pt x="1111" y="5549"/>
                </a:lnTo>
                <a:lnTo>
                  <a:pt x="1114" y="5553"/>
                </a:lnTo>
                <a:lnTo>
                  <a:pt x="1117" y="5560"/>
                </a:lnTo>
                <a:lnTo>
                  <a:pt x="1121" y="5563"/>
                </a:lnTo>
                <a:lnTo>
                  <a:pt x="1125" y="5562"/>
                </a:lnTo>
                <a:lnTo>
                  <a:pt x="1129" y="5559"/>
                </a:lnTo>
                <a:lnTo>
                  <a:pt x="1134" y="5555"/>
                </a:lnTo>
                <a:lnTo>
                  <a:pt x="1139" y="5551"/>
                </a:lnTo>
                <a:lnTo>
                  <a:pt x="1145" y="5548"/>
                </a:lnTo>
                <a:lnTo>
                  <a:pt x="1151" y="5547"/>
                </a:lnTo>
                <a:lnTo>
                  <a:pt x="1155" y="5546"/>
                </a:lnTo>
                <a:lnTo>
                  <a:pt x="1161" y="5546"/>
                </a:lnTo>
                <a:lnTo>
                  <a:pt x="1166" y="5548"/>
                </a:lnTo>
                <a:lnTo>
                  <a:pt x="1171" y="5550"/>
                </a:lnTo>
                <a:lnTo>
                  <a:pt x="1180" y="5556"/>
                </a:lnTo>
                <a:lnTo>
                  <a:pt x="1191" y="5561"/>
                </a:lnTo>
                <a:lnTo>
                  <a:pt x="1204" y="5566"/>
                </a:lnTo>
                <a:lnTo>
                  <a:pt x="1217" y="5569"/>
                </a:lnTo>
                <a:lnTo>
                  <a:pt x="1245" y="5574"/>
                </a:lnTo>
                <a:lnTo>
                  <a:pt x="1268" y="5578"/>
                </a:lnTo>
                <a:lnTo>
                  <a:pt x="1285" y="5579"/>
                </a:lnTo>
                <a:lnTo>
                  <a:pt x="1295" y="5579"/>
                </a:lnTo>
                <a:lnTo>
                  <a:pt x="1298" y="5579"/>
                </a:lnTo>
                <a:lnTo>
                  <a:pt x="1302" y="5580"/>
                </a:lnTo>
                <a:lnTo>
                  <a:pt x="1305" y="5581"/>
                </a:lnTo>
                <a:lnTo>
                  <a:pt x="1310" y="5584"/>
                </a:lnTo>
                <a:lnTo>
                  <a:pt x="1318" y="5591"/>
                </a:lnTo>
                <a:lnTo>
                  <a:pt x="1327" y="5594"/>
                </a:lnTo>
                <a:lnTo>
                  <a:pt x="1330" y="5597"/>
                </a:lnTo>
                <a:lnTo>
                  <a:pt x="1335" y="5598"/>
                </a:lnTo>
                <a:lnTo>
                  <a:pt x="1341" y="5598"/>
                </a:lnTo>
                <a:lnTo>
                  <a:pt x="1347" y="5598"/>
                </a:lnTo>
                <a:lnTo>
                  <a:pt x="1359" y="5598"/>
                </a:lnTo>
                <a:lnTo>
                  <a:pt x="1368" y="5598"/>
                </a:lnTo>
                <a:lnTo>
                  <a:pt x="1377" y="5599"/>
                </a:lnTo>
                <a:lnTo>
                  <a:pt x="1387" y="5599"/>
                </a:lnTo>
                <a:lnTo>
                  <a:pt x="1393" y="5600"/>
                </a:lnTo>
                <a:lnTo>
                  <a:pt x="1399" y="5600"/>
                </a:lnTo>
                <a:lnTo>
                  <a:pt x="1404" y="5599"/>
                </a:lnTo>
                <a:lnTo>
                  <a:pt x="1409" y="5598"/>
                </a:lnTo>
                <a:lnTo>
                  <a:pt x="1413" y="5595"/>
                </a:lnTo>
                <a:lnTo>
                  <a:pt x="1417" y="5591"/>
                </a:lnTo>
                <a:lnTo>
                  <a:pt x="1421" y="5585"/>
                </a:lnTo>
                <a:lnTo>
                  <a:pt x="1424" y="5576"/>
                </a:lnTo>
                <a:lnTo>
                  <a:pt x="1430" y="5560"/>
                </a:lnTo>
                <a:lnTo>
                  <a:pt x="1436" y="5547"/>
                </a:lnTo>
                <a:lnTo>
                  <a:pt x="1438" y="5542"/>
                </a:lnTo>
                <a:lnTo>
                  <a:pt x="1443" y="5537"/>
                </a:lnTo>
                <a:lnTo>
                  <a:pt x="1447" y="5534"/>
                </a:lnTo>
                <a:lnTo>
                  <a:pt x="1453" y="5529"/>
                </a:lnTo>
                <a:lnTo>
                  <a:pt x="1456" y="5525"/>
                </a:lnTo>
                <a:lnTo>
                  <a:pt x="1460" y="5521"/>
                </a:lnTo>
                <a:lnTo>
                  <a:pt x="1462" y="5516"/>
                </a:lnTo>
                <a:lnTo>
                  <a:pt x="1465" y="5511"/>
                </a:lnTo>
                <a:lnTo>
                  <a:pt x="1467" y="5500"/>
                </a:lnTo>
                <a:lnTo>
                  <a:pt x="1469" y="5488"/>
                </a:lnTo>
                <a:lnTo>
                  <a:pt x="1470" y="5478"/>
                </a:lnTo>
                <a:lnTo>
                  <a:pt x="1473" y="5468"/>
                </a:lnTo>
                <a:lnTo>
                  <a:pt x="1475" y="5463"/>
                </a:lnTo>
                <a:lnTo>
                  <a:pt x="1478" y="5461"/>
                </a:lnTo>
                <a:lnTo>
                  <a:pt x="1480" y="5458"/>
                </a:lnTo>
                <a:lnTo>
                  <a:pt x="1484" y="5456"/>
                </a:lnTo>
                <a:lnTo>
                  <a:pt x="1491" y="5454"/>
                </a:lnTo>
                <a:lnTo>
                  <a:pt x="1498" y="5455"/>
                </a:lnTo>
                <a:lnTo>
                  <a:pt x="1504" y="5456"/>
                </a:lnTo>
                <a:lnTo>
                  <a:pt x="1510" y="5459"/>
                </a:lnTo>
                <a:lnTo>
                  <a:pt x="1514" y="5460"/>
                </a:lnTo>
                <a:lnTo>
                  <a:pt x="1518" y="5459"/>
                </a:lnTo>
                <a:lnTo>
                  <a:pt x="1520" y="5458"/>
                </a:lnTo>
                <a:lnTo>
                  <a:pt x="1522" y="5456"/>
                </a:lnTo>
                <a:lnTo>
                  <a:pt x="1522" y="5454"/>
                </a:lnTo>
                <a:lnTo>
                  <a:pt x="1523" y="5450"/>
                </a:lnTo>
                <a:lnTo>
                  <a:pt x="1524" y="5435"/>
                </a:lnTo>
                <a:lnTo>
                  <a:pt x="1528" y="5421"/>
                </a:lnTo>
                <a:lnTo>
                  <a:pt x="1531" y="5414"/>
                </a:lnTo>
                <a:lnTo>
                  <a:pt x="1535" y="5408"/>
                </a:lnTo>
                <a:lnTo>
                  <a:pt x="1541" y="5402"/>
                </a:lnTo>
                <a:lnTo>
                  <a:pt x="1547" y="5397"/>
                </a:lnTo>
                <a:lnTo>
                  <a:pt x="1563" y="5387"/>
                </a:lnTo>
                <a:lnTo>
                  <a:pt x="1582" y="5377"/>
                </a:lnTo>
                <a:lnTo>
                  <a:pt x="1602" y="5366"/>
                </a:lnTo>
                <a:lnTo>
                  <a:pt x="1621" y="5354"/>
                </a:lnTo>
                <a:lnTo>
                  <a:pt x="1639" y="5345"/>
                </a:lnTo>
                <a:lnTo>
                  <a:pt x="1651" y="5338"/>
                </a:lnTo>
                <a:lnTo>
                  <a:pt x="1655" y="5333"/>
                </a:lnTo>
                <a:lnTo>
                  <a:pt x="1657" y="5329"/>
                </a:lnTo>
                <a:lnTo>
                  <a:pt x="1657" y="5324"/>
                </a:lnTo>
                <a:lnTo>
                  <a:pt x="1656" y="5318"/>
                </a:lnTo>
                <a:lnTo>
                  <a:pt x="1654" y="5311"/>
                </a:lnTo>
                <a:lnTo>
                  <a:pt x="1652" y="5305"/>
                </a:lnTo>
                <a:lnTo>
                  <a:pt x="1652" y="5301"/>
                </a:lnTo>
                <a:lnTo>
                  <a:pt x="1654" y="5296"/>
                </a:lnTo>
                <a:lnTo>
                  <a:pt x="1655" y="5291"/>
                </a:lnTo>
                <a:lnTo>
                  <a:pt x="1658" y="5286"/>
                </a:lnTo>
                <a:lnTo>
                  <a:pt x="1663" y="5283"/>
                </a:lnTo>
                <a:lnTo>
                  <a:pt x="1669" y="5279"/>
                </a:lnTo>
                <a:lnTo>
                  <a:pt x="1681" y="5275"/>
                </a:lnTo>
                <a:lnTo>
                  <a:pt x="1692" y="5272"/>
                </a:lnTo>
                <a:lnTo>
                  <a:pt x="1702" y="5267"/>
                </a:lnTo>
                <a:lnTo>
                  <a:pt x="1717" y="5260"/>
                </a:lnTo>
                <a:lnTo>
                  <a:pt x="1725" y="5255"/>
                </a:lnTo>
                <a:lnTo>
                  <a:pt x="1733" y="5252"/>
                </a:lnTo>
                <a:lnTo>
                  <a:pt x="1739" y="5251"/>
                </a:lnTo>
                <a:lnTo>
                  <a:pt x="1745" y="5251"/>
                </a:lnTo>
                <a:lnTo>
                  <a:pt x="1750" y="5253"/>
                </a:lnTo>
                <a:lnTo>
                  <a:pt x="1753" y="5255"/>
                </a:lnTo>
                <a:lnTo>
                  <a:pt x="1756" y="5260"/>
                </a:lnTo>
                <a:lnTo>
                  <a:pt x="1756" y="5266"/>
                </a:lnTo>
                <a:lnTo>
                  <a:pt x="1756" y="5277"/>
                </a:lnTo>
                <a:lnTo>
                  <a:pt x="1756" y="5285"/>
                </a:lnTo>
                <a:lnTo>
                  <a:pt x="1756" y="5289"/>
                </a:lnTo>
                <a:lnTo>
                  <a:pt x="1758" y="5291"/>
                </a:lnTo>
                <a:lnTo>
                  <a:pt x="1761" y="5292"/>
                </a:lnTo>
                <a:lnTo>
                  <a:pt x="1765" y="5294"/>
                </a:lnTo>
                <a:lnTo>
                  <a:pt x="1774" y="5297"/>
                </a:lnTo>
                <a:lnTo>
                  <a:pt x="1783" y="5302"/>
                </a:lnTo>
                <a:lnTo>
                  <a:pt x="1791" y="5309"/>
                </a:lnTo>
                <a:lnTo>
                  <a:pt x="1800" y="5320"/>
                </a:lnTo>
                <a:lnTo>
                  <a:pt x="1807" y="5333"/>
                </a:lnTo>
                <a:lnTo>
                  <a:pt x="1815" y="5345"/>
                </a:lnTo>
                <a:lnTo>
                  <a:pt x="1819" y="5351"/>
                </a:lnTo>
                <a:lnTo>
                  <a:pt x="1824" y="5354"/>
                </a:lnTo>
                <a:lnTo>
                  <a:pt x="1827" y="5358"/>
                </a:lnTo>
                <a:lnTo>
                  <a:pt x="1833" y="5359"/>
                </a:lnTo>
                <a:lnTo>
                  <a:pt x="1843" y="5357"/>
                </a:lnTo>
                <a:lnTo>
                  <a:pt x="1852" y="5353"/>
                </a:lnTo>
                <a:lnTo>
                  <a:pt x="1857" y="5353"/>
                </a:lnTo>
                <a:lnTo>
                  <a:pt x="1862" y="5353"/>
                </a:lnTo>
                <a:lnTo>
                  <a:pt x="1868" y="5354"/>
                </a:lnTo>
                <a:lnTo>
                  <a:pt x="1875" y="5359"/>
                </a:lnTo>
                <a:lnTo>
                  <a:pt x="1888" y="5368"/>
                </a:lnTo>
                <a:lnTo>
                  <a:pt x="1901" y="5376"/>
                </a:lnTo>
                <a:lnTo>
                  <a:pt x="1906" y="5377"/>
                </a:lnTo>
                <a:lnTo>
                  <a:pt x="1910" y="5377"/>
                </a:lnTo>
                <a:lnTo>
                  <a:pt x="1914" y="5374"/>
                </a:lnTo>
                <a:lnTo>
                  <a:pt x="1917" y="5371"/>
                </a:lnTo>
                <a:lnTo>
                  <a:pt x="1919" y="5365"/>
                </a:lnTo>
                <a:lnTo>
                  <a:pt x="1920" y="5359"/>
                </a:lnTo>
                <a:lnTo>
                  <a:pt x="1920" y="5354"/>
                </a:lnTo>
                <a:lnTo>
                  <a:pt x="1920" y="5349"/>
                </a:lnTo>
                <a:lnTo>
                  <a:pt x="1920" y="5345"/>
                </a:lnTo>
                <a:lnTo>
                  <a:pt x="1921" y="5341"/>
                </a:lnTo>
                <a:lnTo>
                  <a:pt x="1922" y="5340"/>
                </a:lnTo>
                <a:lnTo>
                  <a:pt x="1925" y="5339"/>
                </a:lnTo>
                <a:lnTo>
                  <a:pt x="1928" y="5339"/>
                </a:lnTo>
                <a:lnTo>
                  <a:pt x="1933" y="5341"/>
                </a:lnTo>
                <a:lnTo>
                  <a:pt x="1936" y="5346"/>
                </a:lnTo>
                <a:lnTo>
                  <a:pt x="1941" y="5351"/>
                </a:lnTo>
                <a:lnTo>
                  <a:pt x="1951" y="5362"/>
                </a:lnTo>
                <a:lnTo>
                  <a:pt x="1960" y="5373"/>
                </a:lnTo>
                <a:lnTo>
                  <a:pt x="1966" y="5378"/>
                </a:lnTo>
                <a:lnTo>
                  <a:pt x="1972" y="5380"/>
                </a:lnTo>
                <a:lnTo>
                  <a:pt x="1978" y="5383"/>
                </a:lnTo>
                <a:lnTo>
                  <a:pt x="1985" y="5385"/>
                </a:lnTo>
                <a:lnTo>
                  <a:pt x="1998" y="5386"/>
                </a:lnTo>
                <a:lnTo>
                  <a:pt x="2011" y="5387"/>
                </a:lnTo>
                <a:lnTo>
                  <a:pt x="2024" y="5387"/>
                </a:lnTo>
                <a:lnTo>
                  <a:pt x="2039" y="5390"/>
                </a:lnTo>
                <a:lnTo>
                  <a:pt x="2045" y="5392"/>
                </a:lnTo>
                <a:lnTo>
                  <a:pt x="2051" y="5396"/>
                </a:lnTo>
                <a:lnTo>
                  <a:pt x="2054" y="5399"/>
                </a:lnTo>
                <a:lnTo>
                  <a:pt x="2057" y="5405"/>
                </a:lnTo>
                <a:lnTo>
                  <a:pt x="2060" y="5418"/>
                </a:lnTo>
                <a:lnTo>
                  <a:pt x="2064" y="5431"/>
                </a:lnTo>
                <a:lnTo>
                  <a:pt x="2066" y="5437"/>
                </a:lnTo>
                <a:lnTo>
                  <a:pt x="2068" y="5442"/>
                </a:lnTo>
                <a:lnTo>
                  <a:pt x="2072" y="5447"/>
                </a:lnTo>
                <a:lnTo>
                  <a:pt x="2076" y="5450"/>
                </a:lnTo>
                <a:lnTo>
                  <a:pt x="2082" y="5454"/>
                </a:lnTo>
                <a:lnTo>
                  <a:pt x="2089" y="5458"/>
                </a:lnTo>
                <a:lnTo>
                  <a:pt x="2096" y="5460"/>
                </a:lnTo>
                <a:lnTo>
                  <a:pt x="2105" y="5462"/>
                </a:lnTo>
                <a:lnTo>
                  <a:pt x="2124" y="5466"/>
                </a:lnTo>
                <a:lnTo>
                  <a:pt x="2142" y="5469"/>
                </a:lnTo>
                <a:lnTo>
                  <a:pt x="2159" y="5472"/>
                </a:lnTo>
                <a:lnTo>
                  <a:pt x="2173" y="5473"/>
                </a:lnTo>
                <a:lnTo>
                  <a:pt x="2179" y="5472"/>
                </a:lnTo>
                <a:lnTo>
                  <a:pt x="2185" y="5471"/>
                </a:lnTo>
                <a:lnTo>
                  <a:pt x="2191" y="5468"/>
                </a:lnTo>
                <a:lnTo>
                  <a:pt x="2197" y="5466"/>
                </a:lnTo>
                <a:lnTo>
                  <a:pt x="2206" y="5459"/>
                </a:lnTo>
                <a:lnTo>
                  <a:pt x="2215" y="5456"/>
                </a:lnTo>
                <a:lnTo>
                  <a:pt x="2222" y="5455"/>
                </a:lnTo>
                <a:lnTo>
                  <a:pt x="2230" y="5455"/>
                </a:lnTo>
                <a:lnTo>
                  <a:pt x="2238" y="5456"/>
                </a:lnTo>
                <a:lnTo>
                  <a:pt x="2246" y="5455"/>
                </a:lnTo>
                <a:lnTo>
                  <a:pt x="2248" y="5454"/>
                </a:lnTo>
                <a:lnTo>
                  <a:pt x="2250" y="5450"/>
                </a:lnTo>
                <a:lnTo>
                  <a:pt x="2253" y="5447"/>
                </a:lnTo>
                <a:lnTo>
                  <a:pt x="2256" y="5440"/>
                </a:lnTo>
                <a:lnTo>
                  <a:pt x="2261" y="5427"/>
                </a:lnTo>
                <a:lnTo>
                  <a:pt x="2268" y="5415"/>
                </a:lnTo>
                <a:lnTo>
                  <a:pt x="2273" y="5411"/>
                </a:lnTo>
                <a:lnTo>
                  <a:pt x="2279" y="5406"/>
                </a:lnTo>
                <a:lnTo>
                  <a:pt x="2285" y="5404"/>
                </a:lnTo>
                <a:lnTo>
                  <a:pt x="2293" y="5403"/>
                </a:lnTo>
                <a:lnTo>
                  <a:pt x="2314" y="5402"/>
                </a:lnTo>
                <a:lnTo>
                  <a:pt x="2339" y="5401"/>
                </a:lnTo>
                <a:lnTo>
                  <a:pt x="2350" y="5399"/>
                </a:lnTo>
                <a:lnTo>
                  <a:pt x="2361" y="5397"/>
                </a:lnTo>
                <a:lnTo>
                  <a:pt x="2364" y="5396"/>
                </a:lnTo>
                <a:lnTo>
                  <a:pt x="2369" y="5395"/>
                </a:lnTo>
                <a:lnTo>
                  <a:pt x="2372" y="5392"/>
                </a:lnTo>
                <a:lnTo>
                  <a:pt x="2374" y="5389"/>
                </a:lnTo>
                <a:lnTo>
                  <a:pt x="2379" y="5379"/>
                </a:lnTo>
                <a:lnTo>
                  <a:pt x="2385" y="5371"/>
                </a:lnTo>
                <a:lnTo>
                  <a:pt x="2388" y="5367"/>
                </a:lnTo>
                <a:lnTo>
                  <a:pt x="2393" y="5365"/>
                </a:lnTo>
                <a:lnTo>
                  <a:pt x="2399" y="5361"/>
                </a:lnTo>
                <a:lnTo>
                  <a:pt x="2407" y="5359"/>
                </a:lnTo>
                <a:lnTo>
                  <a:pt x="2417" y="5357"/>
                </a:lnTo>
                <a:lnTo>
                  <a:pt x="2425" y="5355"/>
                </a:lnTo>
                <a:lnTo>
                  <a:pt x="2435" y="5354"/>
                </a:lnTo>
                <a:lnTo>
                  <a:pt x="2443" y="5354"/>
                </a:lnTo>
                <a:lnTo>
                  <a:pt x="2451" y="5355"/>
                </a:lnTo>
                <a:lnTo>
                  <a:pt x="2460" y="5358"/>
                </a:lnTo>
                <a:lnTo>
                  <a:pt x="2468" y="5361"/>
                </a:lnTo>
                <a:lnTo>
                  <a:pt x="2475" y="5365"/>
                </a:lnTo>
                <a:lnTo>
                  <a:pt x="2487" y="5376"/>
                </a:lnTo>
                <a:lnTo>
                  <a:pt x="2496" y="5384"/>
                </a:lnTo>
                <a:lnTo>
                  <a:pt x="2500" y="5389"/>
                </a:lnTo>
                <a:lnTo>
                  <a:pt x="2504" y="5391"/>
                </a:lnTo>
                <a:lnTo>
                  <a:pt x="2508" y="5395"/>
                </a:lnTo>
                <a:lnTo>
                  <a:pt x="2513" y="5397"/>
                </a:lnTo>
                <a:lnTo>
                  <a:pt x="2518" y="5397"/>
                </a:lnTo>
                <a:lnTo>
                  <a:pt x="2523" y="5396"/>
                </a:lnTo>
                <a:lnTo>
                  <a:pt x="2527" y="5392"/>
                </a:lnTo>
                <a:lnTo>
                  <a:pt x="2532" y="5387"/>
                </a:lnTo>
                <a:lnTo>
                  <a:pt x="2538" y="5384"/>
                </a:lnTo>
                <a:lnTo>
                  <a:pt x="2543" y="5380"/>
                </a:lnTo>
                <a:lnTo>
                  <a:pt x="2546" y="5379"/>
                </a:lnTo>
                <a:lnTo>
                  <a:pt x="2549" y="5378"/>
                </a:lnTo>
                <a:lnTo>
                  <a:pt x="2552" y="5378"/>
                </a:lnTo>
                <a:lnTo>
                  <a:pt x="2556" y="5379"/>
                </a:lnTo>
                <a:lnTo>
                  <a:pt x="2562" y="5381"/>
                </a:lnTo>
                <a:lnTo>
                  <a:pt x="2569" y="5385"/>
                </a:lnTo>
                <a:lnTo>
                  <a:pt x="2575" y="5390"/>
                </a:lnTo>
                <a:lnTo>
                  <a:pt x="2580" y="5395"/>
                </a:lnTo>
                <a:lnTo>
                  <a:pt x="2584" y="5401"/>
                </a:lnTo>
                <a:lnTo>
                  <a:pt x="2589" y="5406"/>
                </a:lnTo>
                <a:lnTo>
                  <a:pt x="2591" y="5412"/>
                </a:lnTo>
                <a:lnTo>
                  <a:pt x="2591" y="5418"/>
                </a:lnTo>
                <a:lnTo>
                  <a:pt x="2591" y="5424"/>
                </a:lnTo>
                <a:lnTo>
                  <a:pt x="2589" y="5429"/>
                </a:lnTo>
                <a:lnTo>
                  <a:pt x="2587" y="5434"/>
                </a:lnTo>
                <a:lnTo>
                  <a:pt x="2582" y="5440"/>
                </a:lnTo>
                <a:lnTo>
                  <a:pt x="2575" y="5449"/>
                </a:lnTo>
                <a:lnTo>
                  <a:pt x="2570" y="5458"/>
                </a:lnTo>
                <a:lnTo>
                  <a:pt x="2570" y="5462"/>
                </a:lnTo>
                <a:lnTo>
                  <a:pt x="2571" y="5467"/>
                </a:lnTo>
                <a:lnTo>
                  <a:pt x="2572" y="5472"/>
                </a:lnTo>
                <a:lnTo>
                  <a:pt x="2575" y="5478"/>
                </a:lnTo>
                <a:lnTo>
                  <a:pt x="2582" y="5490"/>
                </a:lnTo>
                <a:lnTo>
                  <a:pt x="2590" y="5505"/>
                </a:lnTo>
                <a:lnTo>
                  <a:pt x="2600" y="5522"/>
                </a:lnTo>
                <a:lnTo>
                  <a:pt x="2608" y="5534"/>
                </a:lnTo>
                <a:lnTo>
                  <a:pt x="2613" y="5537"/>
                </a:lnTo>
                <a:lnTo>
                  <a:pt x="2618" y="5538"/>
                </a:lnTo>
                <a:lnTo>
                  <a:pt x="2620" y="5538"/>
                </a:lnTo>
                <a:lnTo>
                  <a:pt x="2622" y="5537"/>
                </a:lnTo>
                <a:lnTo>
                  <a:pt x="2625" y="5536"/>
                </a:lnTo>
                <a:lnTo>
                  <a:pt x="2628" y="5534"/>
                </a:lnTo>
                <a:lnTo>
                  <a:pt x="2631" y="5530"/>
                </a:lnTo>
                <a:lnTo>
                  <a:pt x="2634" y="5529"/>
                </a:lnTo>
                <a:lnTo>
                  <a:pt x="2637" y="5528"/>
                </a:lnTo>
                <a:lnTo>
                  <a:pt x="2640" y="5528"/>
                </a:lnTo>
                <a:lnTo>
                  <a:pt x="2649" y="5530"/>
                </a:lnTo>
                <a:lnTo>
                  <a:pt x="2656" y="5534"/>
                </a:lnTo>
                <a:lnTo>
                  <a:pt x="2663" y="5538"/>
                </a:lnTo>
                <a:lnTo>
                  <a:pt x="2670" y="5544"/>
                </a:lnTo>
                <a:lnTo>
                  <a:pt x="2676" y="5550"/>
                </a:lnTo>
                <a:lnTo>
                  <a:pt x="2681" y="5556"/>
                </a:lnTo>
                <a:lnTo>
                  <a:pt x="2685" y="5561"/>
                </a:lnTo>
                <a:lnTo>
                  <a:pt x="2689" y="5563"/>
                </a:lnTo>
                <a:lnTo>
                  <a:pt x="2693" y="5566"/>
                </a:lnTo>
                <a:lnTo>
                  <a:pt x="2696" y="5568"/>
                </a:lnTo>
                <a:lnTo>
                  <a:pt x="2703" y="5568"/>
                </a:lnTo>
                <a:lnTo>
                  <a:pt x="2712" y="5568"/>
                </a:lnTo>
                <a:lnTo>
                  <a:pt x="2720" y="5569"/>
                </a:lnTo>
                <a:lnTo>
                  <a:pt x="2726" y="5570"/>
                </a:lnTo>
                <a:lnTo>
                  <a:pt x="2731" y="5573"/>
                </a:lnTo>
                <a:lnTo>
                  <a:pt x="2738" y="5581"/>
                </a:lnTo>
                <a:lnTo>
                  <a:pt x="2741" y="5585"/>
                </a:lnTo>
                <a:lnTo>
                  <a:pt x="2745" y="5588"/>
                </a:lnTo>
                <a:lnTo>
                  <a:pt x="2750" y="5592"/>
                </a:lnTo>
                <a:lnTo>
                  <a:pt x="2756" y="5594"/>
                </a:lnTo>
                <a:lnTo>
                  <a:pt x="2767" y="5598"/>
                </a:lnTo>
                <a:lnTo>
                  <a:pt x="2782" y="5599"/>
                </a:lnTo>
                <a:lnTo>
                  <a:pt x="2796" y="5599"/>
                </a:lnTo>
                <a:lnTo>
                  <a:pt x="2809" y="5600"/>
                </a:lnTo>
                <a:lnTo>
                  <a:pt x="2820" y="5603"/>
                </a:lnTo>
                <a:lnTo>
                  <a:pt x="2829" y="5607"/>
                </a:lnTo>
                <a:lnTo>
                  <a:pt x="2838" y="5612"/>
                </a:lnTo>
                <a:lnTo>
                  <a:pt x="2848" y="5614"/>
                </a:lnTo>
                <a:lnTo>
                  <a:pt x="2853" y="5614"/>
                </a:lnTo>
                <a:lnTo>
                  <a:pt x="2859" y="5614"/>
                </a:lnTo>
                <a:lnTo>
                  <a:pt x="2864" y="5612"/>
                </a:lnTo>
                <a:lnTo>
                  <a:pt x="2870" y="5610"/>
                </a:lnTo>
                <a:lnTo>
                  <a:pt x="2879" y="5606"/>
                </a:lnTo>
                <a:lnTo>
                  <a:pt x="2886" y="5604"/>
                </a:lnTo>
                <a:lnTo>
                  <a:pt x="2895" y="5604"/>
                </a:lnTo>
                <a:lnTo>
                  <a:pt x="2905" y="5605"/>
                </a:lnTo>
                <a:lnTo>
                  <a:pt x="2916" y="5609"/>
                </a:lnTo>
                <a:lnTo>
                  <a:pt x="2922" y="5612"/>
                </a:lnTo>
                <a:lnTo>
                  <a:pt x="2924" y="5614"/>
                </a:lnTo>
                <a:lnTo>
                  <a:pt x="2926" y="5617"/>
                </a:lnTo>
                <a:lnTo>
                  <a:pt x="2926" y="5620"/>
                </a:lnTo>
                <a:lnTo>
                  <a:pt x="2926" y="5625"/>
                </a:lnTo>
                <a:lnTo>
                  <a:pt x="2926" y="5629"/>
                </a:lnTo>
                <a:lnTo>
                  <a:pt x="2927" y="5633"/>
                </a:lnTo>
                <a:lnTo>
                  <a:pt x="2928" y="5636"/>
                </a:lnTo>
                <a:lnTo>
                  <a:pt x="2929" y="5638"/>
                </a:lnTo>
                <a:lnTo>
                  <a:pt x="2933" y="5641"/>
                </a:lnTo>
                <a:lnTo>
                  <a:pt x="2937" y="5642"/>
                </a:lnTo>
                <a:lnTo>
                  <a:pt x="2943" y="5642"/>
                </a:lnTo>
                <a:lnTo>
                  <a:pt x="2952" y="5641"/>
                </a:lnTo>
                <a:lnTo>
                  <a:pt x="2972" y="5639"/>
                </a:lnTo>
                <a:lnTo>
                  <a:pt x="2992" y="5637"/>
                </a:lnTo>
                <a:lnTo>
                  <a:pt x="3013" y="5635"/>
                </a:lnTo>
                <a:lnTo>
                  <a:pt x="3031" y="5631"/>
                </a:lnTo>
                <a:lnTo>
                  <a:pt x="3037" y="5629"/>
                </a:lnTo>
                <a:lnTo>
                  <a:pt x="3042" y="5625"/>
                </a:lnTo>
                <a:lnTo>
                  <a:pt x="3044" y="5623"/>
                </a:lnTo>
                <a:lnTo>
                  <a:pt x="3046" y="5618"/>
                </a:lnTo>
                <a:lnTo>
                  <a:pt x="3046" y="5609"/>
                </a:lnTo>
                <a:lnTo>
                  <a:pt x="3048" y="5595"/>
                </a:lnTo>
                <a:lnTo>
                  <a:pt x="3050" y="5589"/>
                </a:lnTo>
                <a:lnTo>
                  <a:pt x="3054" y="5585"/>
                </a:lnTo>
                <a:lnTo>
                  <a:pt x="3060" y="5582"/>
                </a:lnTo>
                <a:lnTo>
                  <a:pt x="3067" y="5580"/>
                </a:lnTo>
                <a:lnTo>
                  <a:pt x="3081" y="5579"/>
                </a:lnTo>
                <a:lnTo>
                  <a:pt x="3097" y="5579"/>
                </a:lnTo>
                <a:lnTo>
                  <a:pt x="3112" y="5580"/>
                </a:lnTo>
                <a:lnTo>
                  <a:pt x="3129" y="5581"/>
                </a:lnTo>
                <a:lnTo>
                  <a:pt x="3149" y="5582"/>
                </a:lnTo>
                <a:lnTo>
                  <a:pt x="3173" y="5584"/>
                </a:lnTo>
                <a:lnTo>
                  <a:pt x="3195" y="5585"/>
                </a:lnTo>
                <a:lnTo>
                  <a:pt x="3211" y="5584"/>
                </a:lnTo>
                <a:lnTo>
                  <a:pt x="3218" y="5582"/>
                </a:lnTo>
                <a:lnTo>
                  <a:pt x="3225" y="5581"/>
                </a:lnTo>
                <a:lnTo>
                  <a:pt x="3232" y="5578"/>
                </a:lnTo>
                <a:lnTo>
                  <a:pt x="3241" y="5574"/>
                </a:lnTo>
                <a:lnTo>
                  <a:pt x="3251" y="5570"/>
                </a:lnTo>
                <a:lnTo>
                  <a:pt x="3263" y="5566"/>
                </a:lnTo>
                <a:lnTo>
                  <a:pt x="3270" y="5565"/>
                </a:lnTo>
                <a:lnTo>
                  <a:pt x="3276" y="5565"/>
                </a:lnTo>
                <a:lnTo>
                  <a:pt x="3283" y="5563"/>
                </a:lnTo>
                <a:lnTo>
                  <a:pt x="3289" y="5565"/>
                </a:lnTo>
                <a:lnTo>
                  <a:pt x="3300" y="5568"/>
                </a:lnTo>
                <a:lnTo>
                  <a:pt x="3309" y="5573"/>
                </a:lnTo>
                <a:lnTo>
                  <a:pt x="3314" y="5574"/>
                </a:lnTo>
                <a:lnTo>
                  <a:pt x="3318" y="5575"/>
                </a:lnTo>
                <a:lnTo>
                  <a:pt x="3323" y="5575"/>
                </a:lnTo>
                <a:lnTo>
                  <a:pt x="3327" y="5575"/>
                </a:lnTo>
                <a:lnTo>
                  <a:pt x="3345" y="5569"/>
                </a:lnTo>
                <a:lnTo>
                  <a:pt x="3362" y="5567"/>
                </a:lnTo>
                <a:lnTo>
                  <a:pt x="3369" y="5567"/>
                </a:lnTo>
                <a:lnTo>
                  <a:pt x="3376" y="5568"/>
                </a:lnTo>
                <a:lnTo>
                  <a:pt x="3382" y="5570"/>
                </a:lnTo>
                <a:lnTo>
                  <a:pt x="3387" y="5575"/>
                </a:lnTo>
                <a:lnTo>
                  <a:pt x="3396" y="5586"/>
                </a:lnTo>
                <a:lnTo>
                  <a:pt x="3405" y="5597"/>
                </a:lnTo>
                <a:lnTo>
                  <a:pt x="3408" y="5601"/>
                </a:lnTo>
                <a:lnTo>
                  <a:pt x="3413" y="5606"/>
                </a:lnTo>
                <a:lnTo>
                  <a:pt x="3419" y="5610"/>
                </a:lnTo>
                <a:lnTo>
                  <a:pt x="3425" y="5613"/>
                </a:lnTo>
                <a:lnTo>
                  <a:pt x="3431" y="5617"/>
                </a:lnTo>
                <a:lnTo>
                  <a:pt x="3437" y="5620"/>
                </a:lnTo>
                <a:lnTo>
                  <a:pt x="3441" y="5624"/>
                </a:lnTo>
                <a:lnTo>
                  <a:pt x="3446" y="5629"/>
                </a:lnTo>
                <a:lnTo>
                  <a:pt x="3455" y="5638"/>
                </a:lnTo>
                <a:lnTo>
                  <a:pt x="3464" y="5650"/>
                </a:lnTo>
                <a:lnTo>
                  <a:pt x="3466" y="5652"/>
                </a:lnTo>
                <a:lnTo>
                  <a:pt x="3470" y="5654"/>
                </a:lnTo>
                <a:lnTo>
                  <a:pt x="3472" y="5654"/>
                </a:lnTo>
                <a:lnTo>
                  <a:pt x="3475" y="5654"/>
                </a:lnTo>
                <a:lnTo>
                  <a:pt x="3479" y="5648"/>
                </a:lnTo>
                <a:lnTo>
                  <a:pt x="3485" y="5639"/>
                </a:lnTo>
                <a:lnTo>
                  <a:pt x="3489" y="5635"/>
                </a:lnTo>
                <a:lnTo>
                  <a:pt x="3494" y="5630"/>
                </a:lnTo>
                <a:lnTo>
                  <a:pt x="3500" y="5626"/>
                </a:lnTo>
                <a:lnTo>
                  <a:pt x="3506" y="5623"/>
                </a:lnTo>
                <a:lnTo>
                  <a:pt x="3514" y="5619"/>
                </a:lnTo>
                <a:lnTo>
                  <a:pt x="3522" y="5617"/>
                </a:lnTo>
                <a:lnTo>
                  <a:pt x="3531" y="5616"/>
                </a:lnTo>
                <a:lnTo>
                  <a:pt x="3540" y="5614"/>
                </a:lnTo>
                <a:lnTo>
                  <a:pt x="3564" y="5614"/>
                </a:lnTo>
                <a:lnTo>
                  <a:pt x="3590" y="5614"/>
                </a:lnTo>
                <a:lnTo>
                  <a:pt x="3603" y="5613"/>
                </a:lnTo>
                <a:lnTo>
                  <a:pt x="3616" y="5613"/>
                </a:lnTo>
                <a:lnTo>
                  <a:pt x="3628" y="5611"/>
                </a:lnTo>
                <a:lnTo>
                  <a:pt x="3638" y="5609"/>
                </a:lnTo>
                <a:lnTo>
                  <a:pt x="3647" y="5604"/>
                </a:lnTo>
                <a:lnTo>
                  <a:pt x="3655" y="5599"/>
                </a:lnTo>
                <a:lnTo>
                  <a:pt x="3664" y="5591"/>
                </a:lnTo>
                <a:lnTo>
                  <a:pt x="3671" y="5582"/>
                </a:lnTo>
                <a:lnTo>
                  <a:pt x="3678" y="5573"/>
                </a:lnTo>
                <a:lnTo>
                  <a:pt x="3684" y="5563"/>
                </a:lnTo>
                <a:lnTo>
                  <a:pt x="3690" y="5551"/>
                </a:lnTo>
                <a:lnTo>
                  <a:pt x="3695" y="5541"/>
                </a:lnTo>
                <a:lnTo>
                  <a:pt x="3703" y="5518"/>
                </a:lnTo>
                <a:lnTo>
                  <a:pt x="3710" y="5500"/>
                </a:lnTo>
                <a:lnTo>
                  <a:pt x="3714" y="5493"/>
                </a:lnTo>
                <a:lnTo>
                  <a:pt x="3718" y="5487"/>
                </a:lnTo>
                <a:lnTo>
                  <a:pt x="3724" y="5484"/>
                </a:lnTo>
                <a:lnTo>
                  <a:pt x="3731" y="5481"/>
                </a:lnTo>
                <a:lnTo>
                  <a:pt x="3739" y="5480"/>
                </a:lnTo>
                <a:lnTo>
                  <a:pt x="3746" y="5480"/>
                </a:lnTo>
                <a:lnTo>
                  <a:pt x="3752" y="5481"/>
                </a:lnTo>
                <a:lnTo>
                  <a:pt x="3758" y="5481"/>
                </a:lnTo>
                <a:lnTo>
                  <a:pt x="3762" y="5483"/>
                </a:lnTo>
                <a:lnTo>
                  <a:pt x="3767" y="5483"/>
                </a:lnTo>
                <a:lnTo>
                  <a:pt x="3772" y="5483"/>
                </a:lnTo>
                <a:lnTo>
                  <a:pt x="3777" y="5480"/>
                </a:lnTo>
                <a:lnTo>
                  <a:pt x="3785" y="5477"/>
                </a:lnTo>
                <a:lnTo>
                  <a:pt x="3792" y="5474"/>
                </a:lnTo>
                <a:lnTo>
                  <a:pt x="3794" y="5474"/>
                </a:lnTo>
                <a:lnTo>
                  <a:pt x="3797" y="5474"/>
                </a:lnTo>
                <a:lnTo>
                  <a:pt x="3800" y="5477"/>
                </a:lnTo>
                <a:lnTo>
                  <a:pt x="3803" y="5479"/>
                </a:lnTo>
                <a:lnTo>
                  <a:pt x="3806" y="5481"/>
                </a:lnTo>
                <a:lnTo>
                  <a:pt x="3810" y="5483"/>
                </a:lnTo>
                <a:lnTo>
                  <a:pt x="3812" y="5484"/>
                </a:lnTo>
                <a:lnTo>
                  <a:pt x="3816" y="5484"/>
                </a:lnTo>
                <a:lnTo>
                  <a:pt x="3822" y="5483"/>
                </a:lnTo>
                <a:lnTo>
                  <a:pt x="3827" y="5479"/>
                </a:lnTo>
                <a:lnTo>
                  <a:pt x="3830" y="5477"/>
                </a:lnTo>
                <a:lnTo>
                  <a:pt x="3834" y="5477"/>
                </a:lnTo>
                <a:lnTo>
                  <a:pt x="3840" y="5478"/>
                </a:lnTo>
                <a:lnTo>
                  <a:pt x="3844" y="5478"/>
                </a:lnTo>
                <a:lnTo>
                  <a:pt x="3856" y="5481"/>
                </a:lnTo>
                <a:lnTo>
                  <a:pt x="3866" y="5484"/>
                </a:lnTo>
                <a:lnTo>
                  <a:pt x="3874" y="5485"/>
                </a:lnTo>
                <a:lnTo>
                  <a:pt x="3882" y="5484"/>
                </a:lnTo>
                <a:lnTo>
                  <a:pt x="3887" y="5481"/>
                </a:lnTo>
                <a:lnTo>
                  <a:pt x="3892" y="5479"/>
                </a:lnTo>
                <a:lnTo>
                  <a:pt x="3897" y="5477"/>
                </a:lnTo>
                <a:lnTo>
                  <a:pt x="3903" y="5472"/>
                </a:lnTo>
                <a:lnTo>
                  <a:pt x="3909" y="5467"/>
                </a:lnTo>
                <a:lnTo>
                  <a:pt x="3916" y="5465"/>
                </a:lnTo>
                <a:lnTo>
                  <a:pt x="3923" y="5463"/>
                </a:lnTo>
                <a:lnTo>
                  <a:pt x="3930" y="5463"/>
                </a:lnTo>
                <a:lnTo>
                  <a:pt x="3937" y="5465"/>
                </a:lnTo>
                <a:lnTo>
                  <a:pt x="3944" y="5467"/>
                </a:lnTo>
                <a:lnTo>
                  <a:pt x="3950" y="5469"/>
                </a:lnTo>
                <a:lnTo>
                  <a:pt x="3956" y="5472"/>
                </a:lnTo>
                <a:lnTo>
                  <a:pt x="3964" y="5479"/>
                </a:lnTo>
                <a:lnTo>
                  <a:pt x="3973" y="5485"/>
                </a:lnTo>
                <a:lnTo>
                  <a:pt x="3978" y="5486"/>
                </a:lnTo>
                <a:lnTo>
                  <a:pt x="3982" y="5488"/>
                </a:lnTo>
                <a:lnTo>
                  <a:pt x="3989" y="5490"/>
                </a:lnTo>
                <a:lnTo>
                  <a:pt x="3998" y="5490"/>
                </a:lnTo>
                <a:lnTo>
                  <a:pt x="4016" y="5491"/>
                </a:lnTo>
                <a:lnTo>
                  <a:pt x="4030" y="5494"/>
                </a:lnTo>
                <a:lnTo>
                  <a:pt x="4036" y="5496"/>
                </a:lnTo>
                <a:lnTo>
                  <a:pt x="4041" y="5496"/>
                </a:lnTo>
                <a:lnTo>
                  <a:pt x="4044" y="5494"/>
                </a:lnTo>
                <a:lnTo>
                  <a:pt x="4045" y="5491"/>
                </a:lnTo>
                <a:lnTo>
                  <a:pt x="4048" y="5487"/>
                </a:lnTo>
                <a:lnTo>
                  <a:pt x="4050" y="5484"/>
                </a:lnTo>
                <a:lnTo>
                  <a:pt x="4054" y="5481"/>
                </a:lnTo>
                <a:lnTo>
                  <a:pt x="4058" y="5480"/>
                </a:lnTo>
                <a:lnTo>
                  <a:pt x="4068" y="5478"/>
                </a:lnTo>
                <a:lnTo>
                  <a:pt x="4079" y="5478"/>
                </a:lnTo>
                <a:lnTo>
                  <a:pt x="4090" y="5475"/>
                </a:lnTo>
                <a:lnTo>
                  <a:pt x="4107" y="5471"/>
                </a:lnTo>
                <a:lnTo>
                  <a:pt x="4123" y="5467"/>
                </a:lnTo>
                <a:lnTo>
                  <a:pt x="4137" y="5465"/>
                </a:lnTo>
                <a:lnTo>
                  <a:pt x="4143" y="5465"/>
                </a:lnTo>
                <a:lnTo>
                  <a:pt x="4148" y="5466"/>
                </a:lnTo>
                <a:lnTo>
                  <a:pt x="4152" y="5466"/>
                </a:lnTo>
                <a:lnTo>
                  <a:pt x="4156" y="5468"/>
                </a:lnTo>
                <a:lnTo>
                  <a:pt x="4158" y="5471"/>
                </a:lnTo>
                <a:lnTo>
                  <a:pt x="4161" y="5473"/>
                </a:lnTo>
                <a:lnTo>
                  <a:pt x="4162" y="5478"/>
                </a:lnTo>
                <a:lnTo>
                  <a:pt x="4163" y="5483"/>
                </a:lnTo>
                <a:lnTo>
                  <a:pt x="4164" y="5488"/>
                </a:lnTo>
                <a:lnTo>
                  <a:pt x="4165" y="5493"/>
                </a:lnTo>
                <a:lnTo>
                  <a:pt x="4167" y="5498"/>
                </a:lnTo>
                <a:lnTo>
                  <a:pt x="4169" y="5500"/>
                </a:lnTo>
                <a:lnTo>
                  <a:pt x="4171" y="5503"/>
                </a:lnTo>
                <a:lnTo>
                  <a:pt x="4176" y="5505"/>
                </a:lnTo>
                <a:lnTo>
                  <a:pt x="4181" y="5506"/>
                </a:lnTo>
                <a:lnTo>
                  <a:pt x="4187" y="5506"/>
                </a:lnTo>
                <a:lnTo>
                  <a:pt x="4201" y="5507"/>
                </a:lnTo>
                <a:lnTo>
                  <a:pt x="4214" y="5509"/>
                </a:lnTo>
                <a:lnTo>
                  <a:pt x="4227" y="5510"/>
                </a:lnTo>
                <a:lnTo>
                  <a:pt x="4239" y="5510"/>
                </a:lnTo>
                <a:lnTo>
                  <a:pt x="4249" y="5509"/>
                </a:lnTo>
                <a:lnTo>
                  <a:pt x="4257" y="5510"/>
                </a:lnTo>
                <a:lnTo>
                  <a:pt x="4262" y="5511"/>
                </a:lnTo>
                <a:lnTo>
                  <a:pt x="4265" y="5512"/>
                </a:lnTo>
                <a:lnTo>
                  <a:pt x="4269" y="5516"/>
                </a:lnTo>
                <a:lnTo>
                  <a:pt x="4274" y="5519"/>
                </a:lnTo>
                <a:lnTo>
                  <a:pt x="4277" y="5522"/>
                </a:lnTo>
                <a:lnTo>
                  <a:pt x="4282" y="5524"/>
                </a:lnTo>
                <a:lnTo>
                  <a:pt x="4287" y="5524"/>
                </a:lnTo>
                <a:lnTo>
                  <a:pt x="4293" y="5523"/>
                </a:lnTo>
                <a:lnTo>
                  <a:pt x="4302" y="5519"/>
                </a:lnTo>
                <a:lnTo>
                  <a:pt x="4310" y="5513"/>
                </a:lnTo>
                <a:lnTo>
                  <a:pt x="4318" y="5507"/>
                </a:lnTo>
                <a:lnTo>
                  <a:pt x="4326" y="5502"/>
                </a:lnTo>
                <a:lnTo>
                  <a:pt x="4331" y="5499"/>
                </a:lnTo>
                <a:lnTo>
                  <a:pt x="4335" y="5498"/>
                </a:lnTo>
                <a:lnTo>
                  <a:pt x="4341" y="5498"/>
                </a:lnTo>
                <a:lnTo>
                  <a:pt x="4347" y="5499"/>
                </a:lnTo>
                <a:lnTo>
                  <a:pt x="4360" y="5503"/>
                </a:lnTo>
                <a:lnTo>
                  <a:pt x="4375" y="5509"/>
                </a:lnTo>
                <a:lnTo>
                  <a:pt x="4382" y="5511"/>
                </a:lnTo>
                <a:lnTo>
                  <a:pt x="4390" y="5512"/>
                </a:lnTo>
                <a:lnTo>
                  <a:pt x="4398" y="5513"/>
                </a:lnTo>
                <a:lnTo>
                  <a:pt x="4408" y="5515"/>
                </a:lnTo>
                <a:lnTo>
                  <a:pt x="4427" y="5513"/>
                </a:lnTo>
                <a:lnTo>
                  <a:pt x="4448" y="5513"/>
                </a:lnTo>
                <a:lnTo>
                  <a:pt x="4458" y="5515"/>
                </a:lnTo>
                <a:lnTo>
                  <a:pt x="4469" y="5517"/>
                </a:lnTo>
                <a:lnTo>
                  <a:pt x="4477" y="5519"/>
                </a:lnTo>
                <a:lnTo>
                  <a:pt x="4486" y="5523"/>
                </a:lnTo>
                <a:lnTo>
                  <a:pt x="4503" y="5530"/>
                </a:lnTo>
                <a:lnTo>
                  <a:pt x="4518" y="5535"/>
                </a:lnTo>
                <a:lnTo>
                  <a:pt x="4524" y="5537"/>
                </a:lnTo>
                <a:lnTo>
                  <a:pt x="4530" y="5541"/>
                </a:lnTo>
                <a:lnTo>
                  <a:pt x="4534" y="5543"/>
                </a:lnTo>
                <a:lnTo>
                  <a:pt x="4537" y="5547"/>
                </a:lnTo>
                <a:lnTo>
                  <a:pt x="4540" y="5555"/>
                </a:lnTo>
                <a:lnTo>
                  <a:pt x="4543" y="5562"/>
                </a:lnTo>
                <a:lnTo>
                  <a:pt x="4545" y="5566"/>
                </a:lnTo>
                <a:lnTo>
                  <a:pt x="4547" y="5569"/>
                </a:lnTo>
                <a:lnTo>
                  <a:pt x="4552" y="5573"/>
                </a:lnTo>
                <a:lnTo>
                  <a:pt x="4556" y="5578"/>
                </a:lnTo>
                <a:lnTo>
                  <a:pt x="4566" y="5585"/>
                </a:lnTo>
                <a:lnTo>
                  <a:pt x="4572" y="5591"/>
                </a:lnTo>
                <a:lnTo>
                  <a:pt x="4575" y="5597"/>
                </a:lnTo>
                <a:lnTo>
                  <a:pt x="4578" y="5604"/>
                </a:lnTo>
                <a:lnTo>
                  <a:pt x="4579" y="5609"/>
                </a:lnTo>
                <a:lnTo>
                  <a:pt x="4581" y="5613"/>
                </a:lnTo>
                <a:lnTo>
                  <a:pt x="4584" y="5617"/>
                </a:lnTo>
                <a:lnTo>
                  <a:pt x="4587" y="5619"/>
                </a:lnTo>
                <a:lnTo>
                  <a:pt x="4592" y="5622"/>
                </a:lnTo>
                <a:lnTo>
                  <a:pt x="4596" y="5623"/>
                </a:lnTo>
                <a:lnTo>
                  <a:pt x="4600" y="5623"/>
                </a:lnTo>
                <a:lnTo>
                  <a:pt x="4606" y="5622"/>
                </a:lnTo>
                <a:lnTo>
                  <a:pt x="4611" y="5620"/>
                </a:lnTo>
                <a:lnTo>
                  <a:pt x="4616" y="5619"/>
                </a:lnTo>
                <a:lnTo>
                  <a:pt x="4622" y="5618"/>
                </a:lnTo>
                <a:lnTo>
                  <a:pt x="4628" y="5619"/>
                </a:lnTo>
                <a:lnTo>
                  <a:pt x="4639" y="5622"/>
                </a:lnTo>
                <a:lnTo>
                  <a:pt x="4650" y="5625"/>
                </a:lnTo>
                <a:lnTo>
                  <a:pt x="4663" y="5632"/>
                </a:lnTo>
                <a:lnTo>
                  <a:pt x="4674" y="5638"/>
                </a:lnTo>
                <a:lnTo>
                  <a:pt x="4682" y="5644"/>
                </a:lnTo>
                <a:lnTo>
                  <a:pt x="4693" y="5652"/>
                </a:lnTo>
                <a:lnTo>
                  <a:pt x="4702" y="5658"/>
                </a:lnTo>
                <a:lnTo>
                  <a:pt x="4709" y="5663"/>
                </a:lnTo>
                <a:lnTo>
                  <a:pt x="4712" y="5664"/>
                </a:lnTo>
                <a:lnTo>
                  <a:pt x="4716" y="5664"/>
                </a:lnTo>
                <a:lnTo>
                  <a:pt x="4719" y="5664"/>
                </a:lnTo>
                <a:lnTo>
                  <a:pt x="4722" y="5663"/>
                </a:lnTo>
                <a:lnTo>
                  <a:pt x="4725" y="5661"/>
                </a:lnTo>
                <a:lnTo>
                  <a:pt x="4730" y="5660"/>
                </a:lnTo>
                <a:lnTo>
                  <a:pt x="4734" y="5660"/>
                </a:lnTo>
                <a:lnTo>
                  <a:pt x="4738" y="5660"/>
                </a:lnTo>
                <a:lnTo>
                  <a:pt x="4743" y="5660"/>
                </a:lnTo>
                <a:lnTo>
                  <a:pt x="4748" y="5662"/>
                </a:lnTo>
                <a:lnTo>
                  <a:pt x="4751" y="5664"/>
                </a:lnTo>
                <a:lnTo>
                  <a:pt x="4754" y="5668"/>
                </a:lnTo>
                <a:lnTo>
                  <a:pt x="4757" y="5673"/>
                </a:lnTo>
                <a:lnTo>
                  <a:pt x="4761" y="5676"/>
                </a:lnTo>
                <a:lnTo>
                  <a:pt x="4767" y="5681"/>
                </a:lnTo>
                <a:lnTo>
                  <a:pt x="4773" y="5686"/>
                </a:lnTo>
                <a:lnTo>
                  <a:pt x="4787" y="5695"/>
                </a:lnTo>
                <a:lnTo>
                  <a:pt x="4799" y="5706"/>
                </a:lnTo>
                <a:lnTo>
                  <a:pt x="4812" y="5719"/>
                </a:lnTo>
                <a:lnTo>
                  <a:pt x="4826" y="5732"/>
                </a:lnTo>
                <a:lnTo>
                  <a:pt x="4843" y="5744"/>
                </a:lnTo>
                <a:lnTo>
                  <a:pt x="4857" y="5756"/>
                </a:lnTo>
                <a:lnTo>
                  <a:pt x="4874" y="5765"/>
                </a:lnTo>
                <a:lnTo>
                  <a:pt x="4892" y="5774"/>
                </a:lnTo>
                <a:lnTo>
                  <a:pt x="4908" y="5780"/>
                </a:lnTo>
                <a:lnTo>
                  <a:pt x="4924" y="5782"/>
                </a:lnTo>
                <a:lnTo>
                  <a:pt x="4936" y="5783"/>
                </a:lnTo>
                <a:lnTo>
                  <a:pt x="4944" y="5783"/>
                </a:lnTo>
                <a:lnTo>
                  <a:pt x="4951" y="5784"/>
                </a:lnTo>
                <a:lnTo>
                  <a:pt x="4958" y="5788"/>
                </a:lnTo>
                <a:lnTo>
                  <a:pt x="4963" y="5790"/>
                </a:lnTo>
                <a:lnTo>
                  <a:pt x="4967" y="5790"/>
                </a:lnTo>
                <a:lnTo>
                  <a:pt x="4971" y="5790"/>
                </a:lnTo>
                <a:lnTo>
                  <a:pt x="4975" y="5788"/>
                </a:lnTo>
                <a:lnTo>
                  <a:pt x="4978" y="5786"/>
                </a:lnTo>
                <a:lnTo>
                  <a:pt x="4982" y="5783"/>
                </a:lnTo>
                <a:lnTo>
                  <a:pt x="4986" y="5778"/>
                </a:lnTo>
                <a:lnTo>
                  <a:pt x="4989" y="5775"/>
                </a:lnTo>
                <a:lnTo>
                  <a:pt x="4994" y="5762"/>
                </a:lnTo>
                <a:lnTo>
                  <a:pt x="5000" y="5744"/>
                </a:lnTo>
                <a:lnTo>
                  <a:pt x="5005" y="5727"/>
                </a:lnTo>
                <a:lnTo>
                  <a:pt x="5007" y="5714"/>
                </a:lnTo>
                <a:lnTo>
                  <a:pt x="5008" y="5711"/>
                </a:lnTo>
                <a:lnTo>
                  <a:pt x="5011" y="5708"/>
                </a:lnTo>
                <a:lnTo>
                  <a:pt x="5013" y="5708"/>
                </a:lnTo>
                <a:lnTo>
                  <a:pt x="5015" y="5708"/>
                </a:lnTo>
                <a:lnTo>
                  <a:pt x="5022" y="5713"/>
                </a:lnTo>
                <a:lnTo>
                  <a:pt x="5031" y="5720"/>
                </a:lnTo>
                <a:lnTo>
                  <a:pt x="5040" y="5732"/>
                </a:lnTo>
                <a:lnTo>
                  <a:pt x="5050" y="5748"/>
                </a:lnTo>
                <a:lnTo>
                  <a:pt x="5058" y="5763"/>
                </a:lnTo>
                <a:lnTo>
                  <a:pt x="5064" y="5773"/>
                </a:lnTo>
                <a:lnTo>
                  <a:pt x="5069" y="5774"/>
                </a:lnTo>
                <a:lnTo>
                  <a:pt x="5076" y="5775"/>
                </a:lnTo>
                <a:lnTo>
                  <a:pt x="5083" y="5775"/>
                </a:lnTo>
                <a:lnTo>
                  <a:pt x="5089" y="5775"/>
                </a:lnTo>
                <a:lnTo>
                  <a:pt x="5096" y="5777"/>
                </a:lnTo>
                <a:lnTo>
                  <a:pt x="5107" y="5782"/>
                </a:lnTo>
                <a:lnTo>
                  <a:pt x="5119" y="5788"/>
                </a:lnTo>
                <a:lnTo>
                  <a:pt x="5127" y="5793"/>
                </a:lnTo>
                <a:lnTo>
                  <a:pt x="5140" y="5795"/>
                </a:lnTo>
                <a:lnTo>
                  <a:pt x="5153" y="5796"/>
                </a:lnTo>
                <a:lnTo>
                  <a:pt x="5166" y="5796"/>
                </a:lnTo>
                <a:lnTo>
                  <a:pt x="5177" y="5796"/>
                </a:lnTo>
                <a:lnTo>
                  <a:pt x="5187" y="5797"/>
                </a:lnTo>
                <a:lnTo>
                  <a:pt x="5198" y="5802"/>
                </a:lnTo>
                <a:lnTo>
                  <a:pt x="5211" y="5808"/>
                </a:lnTo>
                <a:lnTo>
                  <a:pt x="5222" y="5817"/>
                </a:lnTo>
                <a:lnTo>
                  <a:pt x="5233" y="5824"/>
                </a:lnTo>
                <a:lnTo>
                  <a:pt x="5241" y="5832"/>
                </a:lnTo>
                <a:lnTo>
                  <a:pt x="5248" y="5840"/>
                </a:lnTo>
                <a:lnTo>
                  <a:pt x="5255" y="5850"/>
                </a:lnTo>
                <a:lnTo>
                  <a:pt x="5261" y="5858"/>
                </a:lnTo>
                <a:lnTo>
                  <a:pt x="5270" y="5865"/>
                </a:lnTo>
                <a:lnTo>
                  <a:pt x="5273" y="5869"/>
                </a:lnTo>
                <a:lnTo>
                  <a:pt x="5278" y="5871"/>
                </a:lnTo>
                <a:lnTo>
                  <a:pt x="5283" y="5872"/>
                </a:lnTo>
                <a:lnTo>
                  <a:pt x="5288" y="5874"/>
                </a:lnTo>
                <a:lnTo>
                  <a:pt x="5298" y="5874"/>
                </a:lnTo>
                <a:lnTo>
                  <a:pt x="5308" y="5872"/>
                </a:lnTo>
                <a:lnTo>
                  <a:pt x="5311" y="5870"/>
                </a:lnTo>
                <a:lnTo>
                  <a:pt x="5315" y="5869"/>
                </a:lnTo>
                <a:lnTo>
                  <a:pt x="5318" y="5866"/>
                </a:lnTo>
                <a:lnTo>
                  <a:pt x="5321" y="5863"/>
                </a:lnTo>
                <a:lnTo>
                  <a:pt x="5324" y="5860"/>
                </a:lnTo>
                <a:lnTo>
                  <a:pt x="5327" y="5858"/>
                </a:lnTo>
                <a:lnTo>
                  <a:pt x="5330" y="5856"/>
                </a:lnTo>
                <a:lnTo>
                  <a:pt x="5334" y="5855"/>
                </a:lnTo>
                <a:lnTo>
                  <a:pt x="5342" y="5853"/>
                </a:lnTo>
                <a:lnTo>
                  <a:pt x="5352" y="5855"/>
                </a:lnTo>
                <a:lnTo>
                  <a:pt x="5357" y="5856"/>
                </a:lnTo>
                <a:lnTo>
                  <a:pt x="5361" y="5856"/>
                </a:lnTo>
                <a:lnTo>
                  <a:pt x="5365" y="5855"/>
                </a:lnTo>
                <a:lnTo>
                  <a:pt x="5368" y="5853"/>
                </a:lnTo>
                <a:lnTo>
                  <a:pt x="5372" y="5851"/>
                </a:lnTo>
                <a:lnTo>
                  <a:pt x="5374" y="5847"/>
                </a:lnTo>
                <a:lnTo>
                  <a:pt x="5377" y="5844"/>
                </a:lnTo>
                <a:lnTo>
                  <a:pt x="5378" y="5838"/>
                </a:lnTo>
                <a:lnTo>
                  <a:pt x="5379" y="5826"/>
                </a:lnTo>
                <a:lnTo>
                  <a:pt x="5379" y="5815"/>
                </a:lnTo>
                <a:lnTo>
                  <a:pt x="5378" y="5809"/>
                </a:lnTo>
                <a:lnTo>
                  <a:pt x="5377" y="5805"/>
                </a:lnTo>
                <a:lnTo>
                  <a:pt x="5374" y="5801"/>
                </a:lnTo>
                <a:lnTo>
                  <a:pt x="5373" y="5799"/>
                </a:lnTo>
                <a:lnTo>
                  <a:pt x="5368" y="5793"/>
                </a:lnTo>
                <a:lnTo>
                  <a:pt x="5367" y="5788"/>
                </a:lnTo>
                <a:lnTo>
                  <a:pt x="5367" y="5786"/>
                </a:lnTo>
                <a:lnTo>
                  <a:pt x="5368" y="5783"/>
                </a:lnTo>
                <a:lnTo>
                  <a:pt x="5370" y="5781"/>
                </a:lnTo>
                <a:lnTo>
                  <a:pt x="5372" y="5778"/>
                </a:lnTo>
                <a:lnTo>
                  <a:pt x="5377" y="5775"/>
                </a:lnTo>
                <a:lnTo>
                  <a:pt x="5380" y="5771"/>
                </a:lnTo>
                <a:lnTo>
                  <a:pt x="5380" y="5770"/>
                </a:lnTo>
                <a:lnTo>
                  <a:pt x="5379" y="5769"/>
                </a:lnTo>
                <a:lnTo>
                  <a:pt x="5378" y="5769"/>
                </a:lnTo>
                <a:lnTo>
                  <a:pt x="5374" y="5769"/>
                </a:lnTo>
                <a:lnTo>
                  <a:pt x="5372" y="5768"/>
                </a:lnTo>
                <a:lnTo>
                  <a:pt x="5368" y="5767"/>
                </a:lnTo>
                <a:lnTo>
                  <a:pt x="5366" y="5765"/>
                </a:lnTo>
                <a:lnTo>
                  <a:pt x="5364" y="5763"/>
                </a:lnTo>
                <a:lnTo>
                  <a:pt x="5362" y="5761"/>
                </a:lnTo>
                <a:lnTo>
                  <a:pt x="5361" y="5756"/>
                </a:lnTo>
                <a:lnTo>
                  <a:pt x="5361" y="5751"/>
                </a:lnTo>
                <a:lnTo>
                  <a:pt x="5362" y="5745"/>
                </a:lnTo>
                <a:lnTo>
                  <a:pt x="5366" y="5733"/>
                </a:lnTo>
                <a:lnTo>
                  <a:pt x="5370" y="5721"/>
                </a:lnTo>
                <a:lnTo>
                  <a:pt x="5372" y="5712"/>
                </a:lnTo>
                <a:lnTo>
                  <a:pt x="5373" y="5700"/>
                </a:lnTo>
                <a:lnTo>
                  <a:pt x="5373" y="5688"/>
                </a:lnTo>
                <a:lnTo>
                  <a:pt x="5372" y="5676"/>
                </a:lnTo>
                <a:lnTo>
                  <a:pt x="5371" y="5672"/>
                </a:lnTo>
                <a:lnTo>
                  <a:pt x="5368" y="5667"/>
                </a:lnTo>
                <a:lnTo>
                  <a:pt x="5364" y="5663"/>
                </a:lnTo>
                <a:lnTo>
                  <a:pt x="5357" y="5661"/>
                </a:lnTo>
                <a:lnTo>
                  <a:pt x="5342" y="5658"/>
                </a:lnTo>
                <a:lnTo>
                  <a:pt x="5330" y="5657"/>
                </a:lnTo>
                <a:lnTo>
                  <a:pt x="5326" y="5656"/>
                </a:lnTo>
                <a:lnTo>
                  <a:pt x="5322" y="5655"/>
                </a:lnTo>
                <a:lnTo>
                  <a:pt x="5320" y="5652"/>
                </a:lnTo>
                <a:lnTo>
                  <a:pt x="5318" y="5650"/>
                </a:lnTo>
                <a:lnTo>
                  <a:pt x="5317" y="5644"/>
                </a:lnTo>
                <a:lnTo>
                  <a:pt x="5316" y="5641"/>
                </a:lnTo>
                <a:lnTo>
                  <a:pt x="5313" y="5639"/>
                </a:lnTo>
                <a:lnTo>
                  <a:pt x="5308" y="5638"/>
                </a:lnTo>
                <a:lnTo>
                  <a:pt x="5301" y="5638"/>
                </a:lnTo>
                <a:lnTo>
                  <a:pt x="5295" y="5636"/>
                </a:lnTo>
                <a:lnTo>
                  <a:pt x="5291" y="5633"/>
                </a:lnTo>
                <a:lnTo>
                  <a:pt x="5289" y="5630"/>
                </a:lnTo>
                <a:lnTo>
                  <a:pt x="5286" y="5626"/>
                </a:lnTo>
                <a:lnTo>
                  <a:pt x="5285" y="5620"/>
                </a:lnTo>
                <a:lnTo>
                  <a:pt x="5283" y="5607"/>
                </a:lnTo>
                <a:lnTo>
                  <a:pt x="5284" y="5593"/>
                </a:lnTo>
                <a:lnTo>
                  <a:pt x="5285" y="5587"/>
                </a:lnTo>
                <a:lnTo>
                  <a:pt x="5286" y="5582"/>
                </a:lnTo>
                <a:lnTo>
                  <a:pt x="5288" y="5578"/>
                </a:lnTo>
                <a:lnTo>
                  <a:pt x="5290" y="5575"/>
                </a:lnTo>
                <a:lnTo>
                  <a:pt x="5294" y="5570"/>
                </a:lnTo>
                <a:lnTo>
                  <a:pt x="5296" y="5566"/>
                </a:lnTo>
                <a:lnTo>
                  <a:pt x="5295" y="5561"/>
                </a:lnTo>
                <a:lnTo>
                  <a:pt x="5294" y="5554"/>
                </a:lnTo>
                <a:lnTo>
                  <a:pt x="5292" y="5551"/>
                </a:lnTo>
                <a:lnTo>
                  <a:pt x="5291" y="5548"/>
                </a:lnTo>
                <a:lnTo>
                  <a:pt x="5291" y="5544"/>
                </a:lnTo>
                <a:lnTo>
                  <a:pt x="5291" y="5541"/>
                </a:lnTo>
                <a:lnTo>
                  <a:pt x="5294" y="5538"/>
                </a:lnTo>
                <a:lnTo>
                  <a:pt x="5296" y="5535"/>
                </a:lnTo>
                <a:lnTo>
                  <a:pt x="5298" y="5531"/>
                </a:lnTo>
                <a:lnTo>
                  <a:pt x="5303" y="5528"/>
                </a:lnTo>
                <a:lnTo>
                  <a:pt x="5315" y="5518"/>
                </a:lnTo>
                <a:lnTo>
                  <a:pt x="5329" y="5507"/>
                </a:lnTo>
                <a:lnTo>
                  <a:pt x="5336" y="5504"/>
                </a:lnTo>
                <a:lnTo>
                  <a:pt x="5345" y="5499"/>
                </a:lnTo>
                <a:lnTo>
                  <a:pt x="5352" y="5498"/>
                </a:lnTo>
                <a:lnTo>
                  <a:pt x="5359" y="5497"/>
                </a:lnTo>
                <a:lnTo>
                  <a:pt x="5374" y="5499"/>
                </a:lnTo>
                <a:lnTo>
                  <a:pt x="5393" y="5499"/>
                </a:lnTo>
                <a:lnTo>
                  <a:pt x="5402" y="5499"/>
                </a:lnTo>
                <a:lnTo>
                  <a:pt x="5411" y="5497"/>
                </a:lnTo>
                <a:lnTo>
                  <a:pt x="5418" y="5494"/>
                </a:lnTo>
                <a:lnTo>
                  <a:pt x="5425" y="5491"/>
                </a:lnTo>
                <a:lnTo>
                  <a:pt x="5436" y="5480"/>
                </a:lnTo>
                <a:lnTo>
                  <a:pt x="5444" y="5472"/>
                </a:lnTo>
                <a:lnTo>
                  <a:pt x="5448" y="5468"/>
                </a:lnTo>
                <a:lnTo>
                  <a:pt x="5453" y="5466"/>
                </a:lnTo>
                <a:lnTo>
                  <a:pt x="5459" y="5465"/>
                </a:lnTo>
                <a:lnTo>
                  <a:pt x="5466" y="5466"/>
                </a:lnTo>
                <a:lnTo>
                  <a:pt x="5480" y="5468"/>
                </a:lnTo>
                <a:lnTo>
                  <a:pt x="5492" y="5471"/>
                </a:lnTo>
                <a:lnTo>
                  <a:pt x="5497" y="5471"/>
                </a:lnTo>
                <a:lnTo>
                  <a:pt x="5502" y="5469"/>
                </a:lnTo>
                <a:lnTo>
                  <a:pt x="5506" y="5468"/>
                </a:lnTo>
                <a:lnTo>
                  <a:pt x="5510" y="5465"/>
                </a:lnTo>
                <a:lnTo>
                  <a:pt x="5512" y="5460"/>
                </a:lnTo>
                <a:lnTo>
                  <a:pt x="5515" y="5454"/>
                </a:lnTo>
                <a:lnTo>
                  <a:pt x="5515" y="5447"/>
                </a:lnTo>
                <a:lnTo>
                  <a:pt x="5513" y="5440"/>
                </a:lnTo>
                <a:lnTo>
                  <a:pt x="5511" y="5424"/>
                </a:lnTo>
                <a:lnTo>
                  <a:pt x="5506" y="5414"/>
                </a:lnTo>
                <a:lnTo>
                  <a:pt x="5502" y="5404"/>
                </a:lnTo>
                <a:lnTo>
                  <a:pt x="5494" y="5392"/>
                </a:lnTo>
                <a:lnTo>
                  <a:pt x="5487" y="5379"/>
                </a:lnTo>
                <a:lnTo>
                  <a:pt x="5483" y="5367"/>
                </a:lnTo>
                <a:lnTo>
                  <a:pt x="5478" y="5352"/>
                </a:lnTo>
                <a:lnTo>
                  <a:pt x="5475" y="5332"/>
                </a:lnTo>
                <a:lnTo>
                  <a:pt x="5473" y="5311"/>
                </a:lnTo>
                <a:lnTo>
                  <a:pt x="5471" y="5296"/>
                </a:lnTo>
                <a:lnTo>
                  <a:pt x="5468" y="5283"/>
                </a:lnTo>
                <a:lnTo>
                  <a:pt x="5463" y="5272"/>
                </a:lnTo>
                <a:lnTo>
                  <a:pt x="5460" y="5267"/>
                </a:lnTo>
                <a:lnTo>
                  <a:pt x="5456" y="5264"/>
                </a:lnTo>
                <a:lnTo>
                  <a:pt x="5453" y="5260"/>
                </a:lnTo>
                <a:lnTo>
                  <a:pt x="5448" y="5258"/>
                </a:lnTo>
                <a:lnTo>
                  <a:pt x="5437" y="5254"/>
                </a:lnTo>
                <a:lnTo>
                  <a:pt x="5425" y="5248"/>
                </a:lnTo>
                <a:lnTo>
                  <a:pt x="5421" y="5245"/>
                </a:lnTo>
                <a:lnTo>
                  <a:pt x="5415" y="5241"/>
                </a:lnTo>
                <a:lnTo>
                  <a:pt x="5411" y="5235"/>
                </a:lnTo>
                <a:lnTo>
                  <a:pt x="5408" y="5228"/>
                </a:lnTo>
                <a:lnTo>
                  <a:pt x="5403" y="5213"/>
                </a:lnTo>
                <a:lnTo>
                  <a:pt x="5400" y="5198"/>
                </a:lnTo>
                <a:lnTo>
                  <a:pt x="5398" y="5191"/>
                </a:lnTo>
                <a:lnTo>
                  <a:pt x="5396" y="5184"/>
                </a:lnTo>
                <a:lnTo>
                  <a:pt x="5391" y="5177"/>
                </a:lnTo>
                <a:lnTo>
                  <a:pt x="5384" y="5169"/>
                </a:lnTo>
                <a:lnTo>
                  <a:pt x="5365" y="5153"/>
                </a:lnTo>
                <a:lnTo>
                  <a:pt x="5342" y="5139"/>
                </a:lnTo>
                <a:lnTo>
                  <a:pt x="5322" y="5126"/>
                </a:lnTo>
                <a:lnTo>
                  <a:pt x="5305" y="5115"/>
                </a:lnTo>
                <a:lnTo>
                  <a:pt x="5298" y="5110"/>
                </a:lnTo>
                <a:lnTo>
                  <a:pt x="5292" y="5106"/>
                </a:lnTo>
                <a:lnTo>
                  <a:pt x="5286" y="5100"/>
                </a:lnTo>
                <a:lnTo>
                  <a:pt x="5282" y="5094"/>
                </a:lnTo>
                <a:lnTo>
                  <a:pt x="5277" y="5088"/>
                </a:lnTo>
                <a:lnTo>
                  <a:pt x="5273" y="5081"/>
                </a:lnTo>
                <a:lnTo>
                  <a:pt x="5271" y="5074"/>
                </a:lnTo>
                <a:lnTo>
                  <a:pt x="5271" y="5067"/>
                </a:lnTo>
                <a:lnTo>
                  <a:pt x="5271" y="5051"/>
                </a:lnTo>
                <a:lnTo>
                  <a:pt x="5272" y="5038"/>
                </a:lnTo>
                <a:lnTo>
                  <a:pt x="5274" y="5032"/>
                </a:lnTo>
                <a:lnTo>
                  <a:pt x="5277" y="5027"/>
                </a:lnTo>
                <a:lnTo>
                  <a:pt x="5280" y="5025"/>
                </a:lnTo>
                <a:lnTo>
                  <a:pt x="5285" y="5023"/>
                </a:lnTo>
                <a:lnTo>
                  <a:pt x="5296" y="5020"/>
                </a:lnTo>
                <a:lnTo>
                  <a:pt x="5305" y="5017"/>
                </a:lnTo>
                <a:lnTo>
                  <a:pt x="5309" y="5015"/>
                </a:lnTo>
                <a:lnTo>
                  <a:pt x="5311" y="5012"/>
                </a:lnTo>
                <a:lnTo>
                  <a:pt x="5314" y="5008"/>
                </a:lnTo>
                <a:lnTo>
                  <a:pt x="5314" y="5004"/>
                </a:lnTo>
                <a:lnTo>
                  <a:pt x="5313" y="4990"/>
                </a:lnTo>
                <a:lnTo>
                  <a:pt x="5307" y="4974"/>
                </a:lnTo>
                <a:lnTo>
                  <a:pt x="5301" y="4958"/>
                </a:lnTo>
                <a:lnTo>
                  <a:pt x="5294" y="4948"/>
                </a:lnTo>
                <a:lnTo>
                  <a:pt x="5283" y="4932"/>
                </a:lnTo>
                <a:lnTo>
                  <a:pt x="5267" y="4910"/>
                </a:lnTo>
                <a:lnTo>
                  <a:pt x="5251" y="4886"/>
                </a:lnTo>
                <a:lnTo>
                  <a:pt x="5239" y="4868"/>
                </a:lnTo>
                <a:lnTo>
                  <a:pt x="5232" y="4854"/>
                </a:lnTo>
                <a:lnTo>
                  <a:pt x="5227" y="4842"/>
                </a:lnTo>
                <a:lnTo>
                  <a:pt x="5226" y="4831"/>
                </a:lnTo>
                <a:lnTo>
                  <a:pt x="5226" y="4823"/>
                </a:lnTo>
                <a:lnTo>
                  <a:pt x="5229" y="4816"/>
                </a:lnTo>
                <a:lnTo>
                  <a:pt x="5233" y="4810"/>
                </a:lnTo>
                <a:lnTo>
                  <a:pt x="5239" y="4805"/>
                </a:lnTo>
                <a:lnTo>
                  <a:pt x="5246" y="4801"/>
                </a:lnTo>
                <a:lnTo>
                  <a:pt x="5253" y="4799"/>
                </a:lnTo>
                <a:lnTo>
                  <a:pt x="5263" y="4797"/>
                </a:lnTo>
                <a:lnTo>
                  <a:pt x="5271" y="4796"/>
                </a:lnTo>
                <a:lnTo>
                  <a:pt x="5280" y="4794"/>
                </a:lnTo>
                <a:lnTo>
                  <a:pt x="5297" y="4793"/>
                </a:lnTo>
                <a:lnTo>
                  <a:pt x="5311" y="4792"/>
                </a:lnTo>
                <a:lnTo>
                  <a:pt x="5327" y="4790"/>
                </a:lnTo>
                <a:lnTo>
                  <a:pt x="5343" y="4784"/>
                </a:lnTo>
                <a:lnTo>
                  <a:pt x="5361" y="4776"/>
                </a:lnTo>
                <a:lnTo>
                  <a:pt x="5383" y="4765"/>
                </a:lnTo>
                <a:lnTo>
                  <a:pt x="5404" y="4753"/>
                </a:lnTo>
                <a:lnTo>
                  <a:pt x="5423" y="4743"/>
                </a:lnTo>
                <a:lnTo>
                  <a:pt x="5433" y="4740"/>
                </a:lnTo>
                <a:lnTo>
                  <a:pt x="5442" y="4737"/>
                </a:lnTo>
                <a:lnTo>
                  <a:pt x="5452" y="4736"/>
                </a:lnTo>
                <a:lnTo>
                  <a:pt x="5460" y="4736"/>
                </a:lnTo>
                <a:lnTo>
                  <a:pt x="5480" y="4738"/>
                </a:lnTo>
                <a:lnTo>
                  <a:pt x="5504" y="4740"/>
                </a:lnTo>
                <a:lnTo>
                  <a:pt x="5529" y="4741"/>
                </a:lnTo>
                <a:lnTo>
                  <a:pt x="5553" y="4740"/>
                </a:lnTo>
                <a:lnTo>
                  <a:pt x="5579" y="4738"/>
                </a:lnTo>
                <a:lnTo>
                  <a:pt x="5605" y="4737"/>
                </a:lnTo>
                <a:lnTo>
                  <a:pt x="5626" y="4736"/>
                </a:lnTo>
                <a:lnTo>
                  <a:pt x="5641" y="4734"/>
                </a:lnTo>
                <a:lnTo>
                  <a:pt x="5654" y="4730"/>
                </a:lnTo>
                <a:lnTo>
                  <a:pt x="5673" y="4723"/>
                </a:lnTo>
                <a:lnTo>
                  <a:pt x="5685" y="4718"/>
                </a:lnTo>
                <a:lnTo>
                  <a:pt x="5695" y="4715"/>
                </a:lnTo>
                <a:lnTo>
                  <a:pt x="5707" y="4712"/>
                </a:lnTo>
                <a:lnTo>
                  <a:pt x="5718" y="4710"/>
                </a:lnTo>
                <a:lnTo>
                  <a:pt x="5730" y="4710"/>
                </a:lnTo>
                <a:lnTo>
                  <a:pt x="5740" y="4710"/>
                </a:lnTo>
                <a:lnTo>
                  <a:pt x="5751" y="4710"/>
                </a:lnTo>
                <a:lnTo>
                  <a:pt x="5762" y="4711"/>
                </a:lnTo>
                <a:lnTo>
                  <a:pt x="5781" y="4715"/>
                </a:lnTo>
                <a:lnTo>
                  <a:pt x="5798" y="4717"/>
                </a:lnTo>
                <a:lnTo>
                  <a:pt x="5805" y="4717"/>
                </a:lnTo>
                <a:lnTo>
                  <a:pt x="5813" y="4717"/>
                </a:lnTo>
                <a:lnTo>
                  <a:pt x="5822" y="4716"/>
                </a:lnTo>
                <a:lnTo>
                  <a:pt x="5832" y="4714"/>
                </a:lnTo>
                <a:lnTo>
                  <a:pt x="5842" y="4712"/>
                </a:lnTo>
                <a:lnTo>
                  <a:pt x="5850" y="4709"/>
                </a:lnTo>
                <a:lnTo>
                  <a:pt x="5858" y="4705"/>
                </a:lnTo>
                <a:lnTo>
                  <a:pt x="5865" y="4702"/>
                </a:lnTo>
                <a:lnTo>
                  <a:pt x="5876" y="4696"/>
                </a:lnTo>
                <a:lnTo>
                  <a:pt x="5887" y="4691"/>
                </a:lnTo>
                <a:lnTo>
                  <a:pt x="5897" y="4690"/>
                </a:lnTo>
                <a:lnTo>
                  <a:pt x="5910" y="4689"/>
                </a:lnTo>
                <a:lnTo>
                  <a:pt x="5922" y="4689"/>
                </a:lnTo>
                <a:lnTo>
                  <a:pt x="5932" y="4687"/>
                </a:lnTo>
                <a:lnTo>
                  <a:pt x="5940" y="4686"/>
                </a:lnTo>
                <a:lnTo>
                  <a:pt x="5951" y="4681"/>
                </a:lnTo>
                <a:lnTo>
                  <a:pt x="5963" y="4677"/>
                </a:lnTo>
                <a:lnTo>
                  <a:pt x="5975" y="4674"/>
                </a:lnTo>
                <a:lnTo>
                  <a:pt x="5981" y="4674"/>
                </a:lnTo>
                <a:lnTo>
                  <a:pt x="5985" y="4674"/>
                </a:lnTo>
                <a:lnTo>
                  <a:pt x="5990" y="4674"/>
                </a:lnTo>
                <a:lnTo>
                  <a:pt x="5995" y="4675"/>
                </a:lnTo>
                <a:lnTo>
                  <a:pt x="6003" y="4678"/>
                </a:lnTo>
                <a:lnTo>
                  <a:pt x="6012" y="4680"/>
                </a:lnTo>
                <a:lnTo>
                  <a:pt x="6015" y="4680"/>
                </a:lnTo>
                <a:lnTo>
                  <a:pt x="6019" y="4679"/>
                </a:lnTo>
                <a:lnTo>
                  <a:pt x="6021" y="4678"/>
                </a:lnTo>
                <a:lnTo>
                  <a:pt x="6023" y="4674"/>
                </a:lnTo>
                <a:lnTo>
                  <a:pt x="6028" y="4668"/>
                </a:lnTo>
                <a:lnTo>
                  <a:pt x="6034" y="4664"/>
                </a:lnTo>
                <a:lnTo>
                  <a:pt x="6038" y="4661"/>
                </a:lnTo>
                <a:lnTo>
                  <a:pt x="6041" y="4659"/>
                </a:lnTo>
                <a:lnTo>
                  <a:pt x="6046" y="4659"/>
                </a:lnTo>
                <a:lnTo>
                  <a:pt x="6052" y="4659"/>
                </a:lnTo>
                <a:lnTo>
                  <a:pt x="6057" y="4659"/>
                </a:lnTo>
                <a:lnTo>
                  <a:pt x="6060" y="4656"/>
                </a:lnTo>
                <a:lnTo>
                  <a:pt x="6064" y="4655"/>
                </a:lnTo>
                <a:lnTo>
                  <a:pt x="6067" y="4652"/>
                </a:lnTo>
                <a:lnTo>
                  <a:pt x="6071" y="4649"/>
                </a:lnTo>
                <a:lnTo>
                  <a:pt x="6077" y="4648"/>
                </a:lnTo>
                <a:lnTo>
                  <a:pt x="6084" y="4646"/>
                </a:lnTo>
                <a:lnTo>
                  <a:pt x="6095" y="4646"/>
                </a:lnTo>
                <a:lnTo>
                  <a:pt x="6120" y="4647"/>
                </a:lnTo>
                <a:lnTo>
                  <a:pt x="6147" y="4647"/>
                </a:lnTo>
                <a:lnTo>
                  <a:pt x="6172" y="4648"/>
                </a:lnTo>
                <a:lnTo>
                  <a:pt x="6193" y="4648"/>
                </a:lnTo>
                <a:lnTo>
                  <a:pt x="6210" y="4649"/>
                </a:lnTo>
                <a:lnTo>
                  <a:pt x="6221" y="4649"/>
                </a:lnTo>
                <a:lnTo>
                  <a:pt x="6218" y="4641"/>
                </a:lnTo>
                <a:lnTo>
                  <a:pt x="6217" y="4624"/>
                </a:lnTo>
                <a:lnTo>
                  <a:pt x="6220" y="4609"/>
                </a:lnTo>
                <a:lnTo>
                  <a:pt x="6221" y="4595"/>
                </a:lnTo>
                <a:lnTo>
                  <a:pt x="6223" y="4582"/>
                </a:lnTo>
                <a:lnTo>
                  <a:pt x="6224" y="4572"/>
                </a:lnTo>
                <a:lnTo>
                  <a:pt x="6225" y="4565"/>
                </a:lnTo>
                <a:lnTo>
                  <a:pt x="6227" y="4558"/>
                </a:lnTo>
                <a:lnTo>
                  <a:pt x="6225" y="4549"/>
                </a:lnTo>
                <a:lnTo>
                  <a:pt x="6225" y="4541"/>
                </a:lnTo>
                <a:lnTo>
                  <a:pt x="6222" y="4523"/>
                </a:lnTo>
                <a:lnTo>
                  <a:pt x="6217" y="4504"/>
                </a:lnTo>
                <a:lnTo>
                  <a:pt x="6211" y="4484"/>
                </a:lnTo>
                <a:lnTo>
                  <a:pt x="6206" y="4460"/>
                </a:lnTo>
                <a:lnTo>
                  <a:pt x="6203" y="4437"/>
                </a:lnTo>
                <a:lnTo>
                  <a:pt x="6202" y="4414"/>
                </a:lnTo>
                <a:lnTo>
                  <a:pt x="6201" y="4391"/>
                </a:lnTo>
                <a:lnTo>
                  <a:pt x="6201" y="4368"/>
                </a:lnTo>
                <a:lnTo>
                  <a:pt x="6201" y="4356"/>
                </a:lnTo>
                <a:lnTo>
                  <a:pt x="6201" y="4345"/>
                </a:lnTo>
                <a:lnTo>
                  <a:pt x="6203" y="4337"/>
                </a:lnTo>
                <a:lnTo>
                  <a:pt x="6205" y="4328"/>
                </a:lnTo>
                <a:lnTo>
                  <a:pt x="6212" y="4314"/>
                </a:lnTo>
                <a:lnTo>
                  <a:pt x="6222" y="4300"/>
                </a:lnTo>
                <a:lnTo>
                  <a:pt x="6234" y="4284"/>
                </a:lnTo>
                <a:lnTo>
                  <a:pt x="6245" y="4271"/>
                </a:lnTo>
                <a:lnTo>
                  <a:pt x="6254" y="4258"/>
                </a:lnTo>
                <a:lnTo>
                  <a:pt x="6262" y="4246"/>
                </a:lnTo>
                <a:lnTo>
                  <a:pt x="6268" y="4234"/>
                </a:lnTo>
                <a:lnTo>
                  <a:pt x="6273" y="4224"/>
                </a:lnTo>
                <a:lnTo>
                  <a:pt x="6277" y="4210"/>
                </a:lnTo>
                <a:lnTo>
                  <a:pt x="6279" y="4191"/>
                </a:lnTo>
                <a:lnTo>
                  <a:pt x="6281" y="4170"/>
                </a:lnTo>
                <a:lnTo>
                  <a:pt x="6284" y="4155"/>
                </a:lnTo>
                <a:lnTo>
                  <a:pt x="6286" y="4138"/>
                </a:lnTo>
                <a:lnTo>
                  <a:pt x="6290" y="4119"/>
                </a:lnTo>
                <a:lnTo>
                  <a:pt x="6293" y="4098"/>
                </a:lnTo>
                <a:lnTo>
                  <a:pt x="6294" y="4078"/>
                </a:lnTo>
                <a:lnTo>
                  <a:pt x="6294" y="4069"/>
                </a:lnTo>
                <a:lnTo>
                  <a:pt x="6294" y="4062"/>
                </a:lnTo>
                <a:lnTo>
                  <a:pt x="6296" y="4057"/>
                </a:lnTo>
                <a:lnTo>
                  <a:pt x="6298" y="4054"/>
                </a:lnTo>
                <a:lnTo>
                  <a:pt x="6300" y="4053"/>
                </a:lnTo>
                <a:lnTo>
                  <a:pt x="6304" y="4053"/>
                </a:lnTo>
                <a:lnTo>
                  <a:pt x="6309" y="4054"/>
                </a:lnTo>
                <a:lnTo>
                  <a:pt x="6315" y="4057"/>
                </a:lnTo>
                <a:lnTo>
                  <a:pt x="6334" y="4067"/>
                </a:lnTo>
                <a:lnTo>
                  <a:pt x="6356" y="4078"/>
                </a:lnTo>
                <a:lnTo>
                  <a:pt x="6380" y="4088"/>
                </a:lnTo>
                <a:lnTo>
                  <a:pt x="6400" y="4097"/>
                </a:lnTo>
                <a:lnTo>
                  <a:pt x="6414" y="4101"/>
                </a:lnTo>
                <a:lnTo>
                  <a:pt x="6426" y="4103"/>
                </a:lnTo>
                <a:lnTo>
                  <a:pt x="6431" y="4103"/>
                </a:lnTo>
                <a:lnTo>
                  <a:pt x="6436" y="4101"/>
                </a:lnTo>
                <a:lnTo>
                  <a:pt x="6442" y="4099"/>
                </a:lnTo>
                <a:lnTo>
                  <a:pt x="6448" y="4095"/>
                </a:lnTo>
                <a:lnTo>
                  <a:pt x="6460" y="4088"/>
                </a:lnTo>
                <a:lnTo>
                  <a:pt x="6470" y="4081"/>
                </a:lnTo>
                <a:lnTo>
                  <a:pt x="6483" y="4074"/>
                </a:lnTo>
                <a:lnTo>
                  <a:pt x="6498" y="4068"/>
                </a:lnTo>
                <a:lnTo>
                  <a:pt x="6519" y="4065"/>
                </a:lnTo>
                <a:lnTo>
                  <a:pt x="6542" y="4062"/>
                </a:lnTo>
                <a:lnTo>
                  <a:pt x="6554" y="4061"/>
                </a:lnTo>
                <a:lnTo>
                  <a:pt x="6564" y="4059"/>
                </a:lnTo>
                <a:lnTo>
                  <a:pt x="6569" y="4056"/>
                </a:lnTo>
                <a:lnTo>
                  <a:pt x="6573" y="4055"/>
                </a:lnTo>
                <a:lnTo>
                  <a:pt x="6577" y="4051"/>
                </a:lnTo>
                <a:lnTo>
                  <a:pt x="6580" y="4049"/>
                </a:lnTo>
                <a:lnTo>
                  <a:pt x="6584" y="4042"/>
                </a:lnTo>
                <a:lnTo>
                  <a:pt x="6587" y="4034"/>
                </a:lnTo>
                <a:lnTo>
                  <a:pt x="6588" y="4025"/>
                </a:lnTo>
                <a:lnTo>
                  <a:pt x="6588" y="4017"/>
                </a:lnTo>
                <a:lnTo>
                  <a:pt x="6588" y="4007"/>
                </a:lnTo>
                <a:lnTo>
                  <a:pt x="6590" y="3999"/>
                </a:lnTo>
                <a:lnTo>
                  <a:pt x="6592" y="3994"/>
                </a:lnTo>
                <a:lnTo>
                  <a:pt x="6593" y="3990"/>
                </a:lnTo>
                <a:lnTo>
                  <a:pt x="6596" y="3985"/>
                </a:lnTo>
                <a:lnTo>
                  <a:pt x="6599" y="3980"/>
                </a:lnTo>
                <a:lnTo>
                  <a:pt x="6613" y="3962"/>
                </a:lnTo>
                <a:lnTo>
                  <a:pt x="6627" y="3946"/>
                </a:lnTo>
                <a:lnTo>
                  <a:pt x="6642" y="3929"/>
                </a:lnTo>
                <a:lnTo>
                  <a:pt x="6656" y="3916"/>
                </a:lnTo>
                <a:lnTo>
                  <a:pt x="6663" y="3910"/>
                </a:lnTo>
                <a:lnTo>
                  <a:pt x="6669" y="3904"/>
                </a:lnTo>
                <a:lnTo>
                  <a:pt x="6672" y="3898"/>
                </a:lnTo>
                <a:lnTo>
                  <a:pt x="6676" y="3893"/>
                </a:lnTo>
                <a:lnTo>
                  <a:pt x="6681" y="3883"/>
                </a:lnTo>
                <a:lnTo>
                  <a:pt x="6684" y="3873"/>
                </a:lnTo>
                <a:lnTo>
                  <a:pt x="6687" y="3868"/>
                </a:lnTo>
                <a:lnTo>
                  <a:pt x="6690" y="3862"/>
                </a:lnTo>
                <a:lnTo>
                  <a:pt x="6695" y="3857"/>
                </a:lnTo>
                <a:lnTo>
                  <a:pt x="6702" y="3849"/>
                </a:lnTo>
                <a:lnTo>
                  <a:pt x="6716" y="3838"/>
                </a:lnTo>
                <a:lnTo>
                  <a:pt x="6732" y="3826"/>
                </a:lnTo>
                <a:lnTo>
                  <a:pt x="6751" y="3810"/>
                </a:lnTo>
                <a:lnTo>
                  <a:pt x="6776" y="3791"/>
                </a:lnTo>
                <a:lnTo>
                  <a:pt x="6802" y="3771"/>
                </a:lnTo>
                <a:lnTo>
                  <a:pt x="6826" y="3753"/>
                </a:lnTo>
                <a:lnTo>
                  <a:pt x="6848" y="3738"/>
                </a:lnTo>
                <a:lnTo>
                  <a:pt x="6872" y="3721"/>
                </a:lnTo>
                <a:lnTo>
                  <a:pt x="6895" y="3707"/>
                </a:lnTo>
                <a:lnTo>
                  <a:pt x="6911" y="3697"/>
                </a:lnTo>
                <a:lnTo>
                  <a:pt x="6915" y="3696"/>
                </a:lnTo>
                <a:lnTo>
                  <a:pt x="6919" y="3696"/>
                </a:lnTo>
                <a:lnTo>
                  <a:pt x="6923" y="3696"/>
                </a:lnTo>
                <a:lnTo>
                  <a:pt x="6929" y="3697"/>
                </a:lnTo>
                <a:lnTo>
                  <a:pt x="6942" y="3701"/>
                </a:lnTo>
                <a:lnTo>
                  <a:pt x="6958" y="3706"/>
                </a:lnTo>
                <a:lnTo>
                  <a:pt x="6973" y="3709"/>
                </a:lnTo>
                <a:lnTo>
                  <a:pt x="6989" y="3713"/>
                </a:lnTo>
                <a:lnTo>
                  <a:pt x="6997" y="3713"/>
                </a:lnTo>
                <a:lnTo>
                  <a:pt x="7004" y="3713"/>
                </a:lnTo>
                <a:lnTo>
                  <a:pt x="7011" y="3712"/>
                </a:lnTo>
                <a:lnTo>
                  <a:pt x="7018" y="3709"/>
                </a:lnTo>
                <a:lnTo>
                  <a:pt x="7026" y="3707"/>
                </a:lnTo>
                <a:lnTo>
                  <a:pt x="7031" y="3702"/>
                </a:lnTo>
                <a:lnTo>
                  <a:pt x="7039" y="3697"/>
                </a:lnTo>
                <a:lnTo>
                  <a:pt x="7045" y="3691"/>
                </a:lnTo>
                <a:lnTo>
                  <a:pt x="7058" y="3677"/>
                </a:lnTo>
                <a:lnTo>
                  <a:pt x="7069" y="3663"/>
                </a:lnTo>
                <a:lnTo>
                  <a:pt x="7081" y="3649"/>
                </a:lnTo>
                <a:lnTo>
                  <a:pt x="7092" y="3637"/>
                </a:lnTo>
                <a:lnTo>
                  <a:pt x="7097" y="3631"/>
                </a:lnTo>
                <a:lnTo>
                  <a:pt x="7102" y="3627"/>
                </a:lnTo>
                <a:lnTo>
                  <a:pt x="7108" y="3624"/>
                </a:lnTo>
                <a:lnTo>
                  <a:pt x="7112" y="3622"/>
                </a:lnTo>
                <a:lnTo>
                  <a:pt x="7131" y="3619"/>
                </a:lnTo>
                <a:lnTo>
                  <a:pt x="7150" y="3616"/>
                </a:lnTo>
                <a:lnTo>
                  <a:pt x="7171" y="3614"/>
                </a:lnTo>
                <a:lnTo>
                  <a:pt x="7191" y="3612"/>
                </a:lnTo>
                <a:lnTo>
                  <a:pt x="7206" y="3609"/>
                </a:lnTo>
                <a:lnTo>
                  <a:pt x="7217" y="3609"/>
                </a:lnTo>
                <a:lnTo>
                  <a:pt x="7228" y="3609"/>
                </a:lnTo>
                <a:lnTo>
                  <a:pt x="7239" y="3612"/>
                </a:lnTo>
                <a:lnTo>
                  <a:pt x="7260" y="3619"/>
                </a:lnTo>
                <a:lnTo>
                  <a:pt x="7272" y="3625"/>
                </a:lnTo>
                <a:lnTo>
                  <a:pt x="7283" y="3626"/>
                </a:lnTo>
                <a:lnTo>
                  <a:pt x="7302" y="3625"/>
                </a:lnTo>
                <a:lnTo>
                  <a:pt x="7325" y="3622"/>
                </a:lnTo>
                <a:lnTo>
                  <a:pt x="7345" y="3619"/>
                </a:lnTo>
                <a:lnTo>
                  <a:pt x="7358" y="3615"/>
                </a:lnTo>
                <a:lnTo>
                  <a:pt x="7374" y="3610"/>
                </a:lnTo>
                <a:lnTo>
                  <a:pt x="7381" y="3608"/>
                </a:lnTo>
                <a:lnTo>
                  <a:pt x="7387" y="3605"/>
                </a:lnTo>
                <a:lnTo>
                  <a:pt x="7393" y="3601"/>
                </a:lnTo>
                <a:lnTo>
                  <a:pt x="7398" y="3597"/>
                </a:lnTo>
                <a:lnTo>
                  <a:pt x="7400" y="3594"/>
                </a:lnTo>
                <a:lnTo>
                  <a:pt x="7401" y="3590"/>
                </a:lnTo>
                <a:lnTo>
                  <a:pt x="7401" y="3587"/>
                </a:lnTo>
                <a:lnTo>
                  <a:pt x="7402" y="3583"/>
                </a:lnTo>
                <a:lnTo>
                  <a:pt x="7406" y="3559"/>
                </a:lnTo>
                <a:lnTo>
                  <a:pt x="7411" y="3525"/>
                </a:lnTo>
                <a:lnTo>
                  <a:pt x="7415" y="3488"/>
                </a:lnTo>
                <a:lnTo>
                  <a:pt x="7419" y="3460"/>
                </a:lnTo>
                <a:lnTo>
                  <a:pt x="7421" y="3432"/>
                </a:lnTo>
                <a:lnTo>
                  <a:pt x="7425" y="3398"/>
                </a:lnTo>
                <a:lnTo>
                  <a:pt x="7428" y="3367"/>
                </a:lnTo>
                <a:lnTo>
                  <a:pt x="7431" y="3344"/>
                </a:lnTo>
                <a:lnTo>
                  <a:pt x="7431" y="3335"/>
                </a:lnTo>
                <a:lnTo>
                  <a:pt x="7431" y="3326"/>
                </a:lnTo>
                <a:lnTo>
                  <a:pt x="7431" y="3322"/>
                </a:lnTo>
                <a:lnTo>
                  <a:pt x="7432" y="3317"/>
                </a:lnTo>
                <a:lnTo>
                  <a:pt x="7433" y="3313"/>
                </a:lnTo>
                <a:lnTo>
                  <a:pt x="7436" y="3310"/>
                </a:lnTo>
                <a:lnTo>
                  <a:pt x="7439" y="3306"/>
                </a:lnTo>
                <a:lnTo>
                  <a:pt x="7446" y="3303"/>
                </a:lnTo>
                <a:lnTo>
                  <a:pt x="7452" y="3300"/>
                </a:lnTo>
                <a:lnTo>
                  <a:pt x="7459" y="3298"/>
                </a:lnTo>
                <a:lnTo>
                  <a:pt x="7475" y="3291"/>
                </a:lnTo>
                <a:lnTo>
                  <a:pt x="7492" y="3284"/>
                </a:lnTo>
                <a:lnTo>
                  <a:pt x="7508" y="3279"/>
                </a:lnTo>
                <a:lnTo>
                  <a:pt x="7521" y="3274"/>
                </a:lnTo>
                <a:lnTo>
                  <a:pt x="7537" y="3271"/>
                </a:lnTo>
                <a:lnTo>
                  <a:pt x="7546" y="3269"/>
                </a:lnTo>
                <a:lnTo>
                  <a:pt x="7555" y="3267"/>
                </a:lnTo>
                <a:lnTo>
                  <a:pt x="7557" y="3266"/>
                </a:lnTo>
                <a:lnTo>
                  <a:pt x="7557" y="3260"/>
                </a:lnTo>
                <a:lnTo>
                  <a:pt x="7557" y="3250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7" name="宁夏"/>
          <p:cNvSpPr/>
          <p:nvPr/>
        </p:nvSpPr>
        <p:spPr bwMode="auto">
          <a:xfrm>
            <a:off x="5436870" y="2846070"/>
            <a:ext cx="490220" cy="757555"/>
          </a:xfrm>
          <a:custGeom>
            <a:avLst/>
            <a:gdLst>
              <a:gd name="T0" fmla="*/ 1014 w 1159"/>
              <a:gd name="T1" fmla="*/ 989 h 1815"/>
              <a:gd name="T2" fmla="*/ 1037 w 1159"/>
              <a:gd name="T3" fmla="*/ 980 h 1815"/>
              <a:gd name="T4" fmla="*/ 1047 w 1159"/>
              <a:gd name="T5" fmla="*/ 964 h 1815"/>
              <a:gd name="T6" fmla="*/ 1031 w 1159"/>
              <a:gd name="T7" fmla="*/ 934 h 1815"/>
              <a:gd name="T8" fmla="*/ 1024 w 1159"/>
              <a:gd name="T9" fmla="*/ 903 h 1815"/>
              <a:gd name="T10" fmla="*/ 1038 w 1159"/>
              <a:gd name="T11" fmla="*/ 826 h 1815"/>
              <a:gd name="T12" fmla="*/ 1043 w 1159"/>
              <a:gd name="T13" fmla="*/ 776 h 1815"/>
              <a:gd name="T14" fmla="*/ 1089 w 1159"/>
              <a:gd name="T15" fmla="*/ 739 h 1815"/>
              <a:gd name="T16" fmla="*/ 1158 w 1159"/>
              <a:gd name="T17" fmla="*/ 676 h 1815"/>
              <a:gd name="T18" fmla="*/ 1090 w 1159"/>
              <a:gd name="T19" fmla="*/ 617 h 1815"/>
              <a:gd name="T20" fmla="*/ 971 w 1159"/>
              <a:gd name="T21" fmla="*/ 553 h 1815"/>
              <a:gd name="T22" fmla="*/ 794 w 1159"/>
              <a:gd name="T23" fmla="*/ 482 h 1815"/>
              <a:gd name="T24" fmla="*/ 819 w 1159"/>
              <a:gd name="T25" fmla="*/ 422 h 1815"/>
              <a:gd name="T26" fmla="*/ 824 w 1159"/>
              <a:gd name="T27" fmla="*/ 343 h 1815"/>
              <a:gd name="T28" fmla="*/ 855 w 1159"/>
              <a:gd name="T29" fmla="*/ 276 h 1815"/>
              <a:gd name="T30" fmla="*/ 953 w 1159"/>
              <a:gd name="T31" fmla="*/ 159 h 1815"/>
              <a:gd name="T32" fmla="*/ 892 w 1159"/>
              <a:gd name="T33" fmla="*/ 82 h 1815"/>
              <a:gd name="T34" fmla="*/ 844 w 1159"/>
              <a:gd name="T35" fmla="*/ 1 h 1815"/>
              <a:gd name="T36" fmla="*/ 731 w 1159"/>
              <a:gd name="T37" fmla="*/ 31 h 1815"/>
              <a:gd name="T38" fmla="*/ 682 w 1159"/>
              <a:gd name="T39" fmla="*/ 84 h 1815"/>
              <a:gd name="T40" fmla="*/ 587 w 1159"/>
              <a:gd name="T41" fmla="*/ 254 h 1815"/>
              <a:gd name="T42" fmla="*/ 568 w 1159"/>
              <a:gd name="T43" fmla="*/ 423 h 1815"/>
              <a:gd name="T44" fmla="*/ 541 w 1159"/>
              <a:gd name="T45" fmla="*/ 627 h 1815"/>
              <a:gd name="T46" fmla="*/ 464 w 1159"/>
              <a:gd name="T47" fmla="*/ 679 h 1815"/>
              <a:gd name="T48" fmla="*/ 376 w 1159"/>
              <a:gd name="T49" fmla="*/ 682 h 1815"/>
              <a:gd name="T50" fmla="*/ 244 w 1159"/>
              <a:gd name="T51" fmla="*/ 755 h 1815"/>
              <a:gd name="T52" fmla="*/ 79 w 1159"/>
              <a:gd name="T53" fmla="*/ 763 h 1815"/>
              <a:gd name="T54" fmla="*/ 12 w 1159"/>
              <a:gd name="T55" fmla="*/ 803 h 1815"/>
              <a:gd name="T56" fmla="*/ 108 w 1159"/>
              <a:gd name="T57" fmla="*/ 822 h 1815"/>
              <a:gd name="T58" fmla="*/ 156 w 1159"/>
              <a:gd name="T59" fmla="*/ 855 h 1815"/>
              <a:gd name="T60" fmla="*/ 144 w 1159"/>
              <a:gd name="T61" fmla="*/ 922 h 1815"/>
              <a:gd name="T62" fmla="*/ 226 w 1159"/>
              <a:gd name="T63" fmla="*/ 965 h 1815"/>
              <a:gd name="T64" fmla="*/ 307 w 1159"/>
              <a:gd name="T65" fmla="*/ 1053 h 1815"/>
              <a:gd name="T66" fmla="*/ 348 w 1159"/>
              <a:gd name="T67" fmla="*/ 1128 h 1815"/>
              <a:gd name="T68" fmla="*/ 327 w 1159"/>
              <a:gd name="T69" fmla="*/ 1212 h 1815"/>
              <a:gd name="T70" fmla="*/ 394 w 1159"/>
              <a:gd name="T71" fmla="*/ 1334 h 1815"/>
              <a:gd name="T72" fmla="*/ 401 w 1159"/>
              <a:gd name="T73" fmla="*/ 1407 h 1815"/>
              <a:gd name="T74" fmla="*/ 333 w 1159"/>
              <a:gd name="T75" fmla="*/ 1463 h 1815"/>
              <a:gd name="T76" fmla="*/ 364 w 1159"/>
              <a:gd name="T77" fmla="*/ 1551 h 1815"/>
              <a:gd name="T78" fmla="*/ 401 w 1159"/>
              <a:gd name="T79" fmla="*/ 1594 h 1815"/>
              <a:gd name="T80" fmla="*/ 484 w 1159"/>
              <a:gd name="T81" fmla="*/ 1594 h 1815"/>
              <a:gd name="T82" fmla="*/ 501 w 1159"/>
              <a:gd name="T83" fmla="*/ 1664 h 1815"/>
              <a:gd name="T84" fmla="*/ 540 w 1159"/>
              <a:gd name="T85" fmla="*/ 1673 h 1815"/>
              <a:gd name="T86" fmla="*/ 537 w 1159"/>
              <a:gd name="T87" fmla="*/ 1728 h 1815"/>
              <a:gd name="T88" fmla="*/ 591 w 1159"/>
              <a:gd name="T89" fmla="*/ 1736 h 1815"/>
              <a:gd name="T90" fmla="*/ 641 w 1159"/>
              <a:gd name="T91" fmla="*/ 1729 h 1815"/>
              <a:gd name="T92" fmla="*/ 698 w 1159"/>
              <a:gd name="T93" fmla="*/ 1813 h 1815"/>
              <a:gd name="T94" fmla="*/ 732 w 1159"/>
              <a:gd name="T95" fmla="*/ 1697 h 1815"/>
              <a:gd name="T96" fmla="*/ 741 w 1159"/>
              <a:gd name="T97" fmla="*/ 1589 h 1815"/>
              <a:gd name="T98" fmla="*/ 816 w 1159"/>
              <a:gd name="T99" fmla="*/ 1615 h 1815"/>
              <a:gd name="T100" fmla="*/ 877 w 1159"/>
              <a:gd name="T101" fmla="*/ 1576 h 1815"/>
              <a:gd name="T102" fmla="*/ 882 w 1159"/>
              <a:gd name="T103" fmla="*/ 1499 h 1815"/>
              <a:gd name="T104" fmla="*/ 850 w 1159"/>
              <a:gd name="T105" fmla="*/ 1385 h 1815"/>
              <a:gd name="T106" fmla="*/ 757 w 1159"/>
              <a:gd name="T107" fmla="*/ 1353 h 1815"/>
              <a:gd name="T108" fmla="*/ 751 w 1159"/>
              <a:gd name="T109" fmla="*/ 1269 h 1815"/>
              <a:gd name="T110" fmla="*/ 738 w 1159"/>
              <a:gd name="T111" fmla="*/ 1225 h 1815"/>
              <a:gd name="T112" fmla="*/ 773 w 1159"/>
              <a:gd name="T113" fmla="*/ 1150 h 1815"/>
              <a:gd name="T114" fmla="*/ 805 w 1159"/>
              <a:gd name="T115" fmla="*/ 1086 h 1815"/>
              <a:gd name="T116" fmla="*/ 770 w 1159"/>
              <a:gd name="T117" fmla="*/ 1041 h 1815"/>
              <a:gd name="T118" fmla="*/ 801 w 1159"/>
              <a:gd name="T119" fmla="*/ 1016 h 1815"/>
              <a:gd name="T120" fmla="*/ 832 w 1159"/>
              <a:gd name="T121" fmla="*/ 979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59" h="1815">
                <a:moveTo>
                  <a:pt x="920" y="986"/>
                </a:moveTo>
                <a:lnTo>
                  <a:pt x="933" y="984"/>
                </a:lnTo>
                <a:lnTo>
                  <a:pt x="943" y="982"/>
                </a:lnTo>
                <a:lnTo>
                  <a:pt x="953" y="978"/>
                </a:lnTo>
                <a:lnTo>
                  <a:pt x="964" y="977"/>
                </a:lnTo>
                <a:lnTo>
                  <a:pt x="970" y="977"/>
                </a:lnTo>
                <a:lnTo>
                  <a:pt x="976" y="977"/>
                </a:lnTo>
                <a:lnTo>
                  <a:pt x="983" y="978"/>
                </a:lnTo>
                <a:lnTo>
                  <a:pt x="990" y="978"/>
                </a:lnTo>
                <a:lnTo>
                  <a:pt x="996" y="979"/>
                </a:lnTo>
                <a:lnTo>
                  <a:pt x="1002" y="982"/>
                </a:lnTo>
                <a:lnTo>
                  <a:pt x="1007" y="984"/>
                </a:lnTo>
                <a:lnTo>
                  <a:pt x="1011" y="988"/>
                </a:lnTo>
                <a:lnTo>
                  <a:pt x="1014" y="989"/>
                </a:lnTo>
                <a:lnTo>
                  <a:pt x="1018" y="990"/>
                </a:lnTo>
                <a:lnTo>
                  <a:pt x="1020" y="990"/>
                </a:lnTo>
                <a:lnTo>
                  <a:pt x="1021" y="990"/>
                </a:lnTo>
                <a:lnTo>
                  <a:pt x="1025" y="990"/>
                </a:lnTo>
                <a:lnTo>
                  <a:pt x="1030" y="990"/>
                </a:lnTo>
                <a:lnTo>
                  <a:pt x="1032" y="989"/>
                </a:lnTo>
                <a:lnTo>
                  <a:pt x="1033" y="988"/>
                </a:lnTo>
                <a:lnTo>
                  <a:pt x="1033" y="985"/>
                </a:lnTo>
                <a:lnTo>
                  <a:pt x="1033" y="984"/>
                </a:lnTo>
                <a:lnTo>
                  <a:pt x="1034" y="983"/>
                </a:lnTo>
                <a:lnTo>
                  <a:pt x="1035" y="982"/>
                </a:lnTo>
                <a:lnTo>
                  <a:pt x="1035" y="982"/>
                </a:lnTo>
                <a:lnTo>
                  <a:pt x="1035" y="980"/>
                </a:lnTo>
                <a:lnTo>
                  <a:pt x="1037" y="980"/>
                </a:lnTo>
                <a:lnTo>
                  <a:pt x="1038" y="980"/>
                </a:lnTo>
                <a:lnTo>
                  <a:pt x="1039" y="979"/>
                </a:lnTo>
                <a:lnTo>
                  <a:pt x="1040" y="979"/>
                </a:lnTo>
                <a:lnTo>
                  <a:pt x="1041" y="978"/>
                </a:lnTo>
                <a:lnTo>
                  <a:pt x="1043" y="978"/>
                </a:lnTo>
                <a:lnTo>
                  <a:pt x="1044" y="977"/>
                </a:lnTo>
                <a:lnTo>
                  <a:pt x="1045" y="977"/>
                </a:lnTo>
                <a:lnTo>
                  <a:pt x="1047" y="973"/>
                </a:lnTo>
                <a:lnTo>
                  <a:pt x="1049" y="971"/>
                </a:lnTo>
                <a:lnTo>
                  <a:pt x="1049" y="971"/>
                </a:lnTo>
                <a:lnTo>
                  <a:pt x="1049" y="969"/>
                </a:lnTo>
                <a:lnTo>
                  <a:pt x="1049" y="967"/>
                </a:lnTo>
                <a:lnTo>
                  <a:pt x="1049" y="966"/>
                </a:lnTo>
                <a:lnTo>
                  <a:pt x="1047" y="964"/>
                </a:lnTo>
                <a:lnTo>
                  <a:pt x="1045" y="960"/>
                </a:lnTo>
                <a:lnTo>
                  <a:pt x="1043" y="958"/>
                </a:lnTo>
                <a:lnTo>
                  <a:pt x="1040" y="956"/>
                </a:lnTo>
                <a:lnTo>
                  <a:pt x="1037" y="954"/>
                </a:lnTo>
                <a:lnTo>
                  <a:pt x="1035" y="952"/>
                </a:lnTo>
                <a:lnTo>
                  <a:pt x="1032" y="951"/>
                </a:lnTo>
                <a:lnTo>
                  <a:pt x="1028" y="948"/>
                </a:lnTo>
                <a:lnTo>
                  <a:pt x="1026" y="946"/>
                </a:lnTo>
                <a:lnTo>
                  <a:pt x="1025" y="944"/>
                </a:lnTo>
                <a:lnTo>
                  <a:pt x="1025" y="941"/>
                </a:lnTo>
                <a:lnTo>
                  <a:pt x="1026" y="939"/>
                </a:lnTo>
                <a:lnTo>
                  <a:pt x="1027" y="937"/>
                </a:lnTo>
                <a:lnTo>
                  <a:pt x="1030" y="935"/>
                </a:lnTo>
                <a:lnTo>
                  <a:pt x="1031" y="934"/>
                </a:lnTo>
                <a:lnTo>
                  <a:pt x="1032" y="933"/>
                </a:lnTo>
                <a:lnTo>
                  <a:pt x="1033" y="931"/>
                </a:lnTo>
                <a:lnTo>
                  <a:pt x="1034" y="929"/>
                </a:lnTo>
                <a:lnTo>
                  <a:pt x="1034" y="928"/>
                </a:lnTo>
                <a:lnTo>
                  <a:pt x="1034" y="927"/>
                </a:lnTo>
                <a:lnTo>
                  <a:pt x="1034" y="926"/>
                </a:lnTo>
                <a:lnTo>
                  <a:pt x="1033" y="925"/>
                </a:lnTo>
                <a:lnTo>
                  <a:pt x="1032" y="922"/>
                </a:lnTo>
                <a:lnTo>
                  <a:pt x="1030" y="919"/>
                </a:lnTo>
                <a:lnTo>
                  <a:pt x="1027" y="916"/>
                </a:lnTo>
                <a:lnTo>
                  <a:pt x="1025" y="913"/>
                </a:lnTo>
                <a:lnTo>
                  <a:pt x="1024" y="909"/>
                </a:lnTo>
                <a:lnTo>
                  <a:pt x="1024" y="907"/>
                </a:lnTo>
                <a:lnTo>
                  <a:pt x="1024" y="903"/>
                </a:lnTo>
                <a:lnTo>
                  <a:pt x="1024" y="897"/>
                </a:lnTo>
                <a:lnTo>
                  <a:pt x="1024" y="893"/>
                </a:lnTo>
                <a:lnTo>
                  <a:pt x="1024" y="885"/>
                </a:lnTo>
                <a:lnTo>
                  <a:pt x="1024" y="875"/>
                </a:lnTo>
                <a:lnTo>
                  <a:pt x="1024" y="871"/>
                </a:lnTo>
                <a:lnTo>
                  <a:pt x="1024" y="868"/>
                </a:lnTo>
                <a:lnTo>
                  <a:pt x="1024" y="863"/>
                </a:lnTo>
                <a:lnTo>
                  <a:pt x="1025" y="856"/>
                </a:lnTo>
                <a:lnTo>
                  <a:pt x="1026" y="850"/>
                </a:lnTo>
                <a:lnTo>
                  <a:pt x="1027" y="843"/>
                </a:lnTo>
                <a:lnTo>
                  <a:pt x="1030" y="838"/>
                </a:lnTo>
                <a:lnTo>
                  <a:pt x="1032" y="833"/>
                </a:lnTo>
                <a:lnTo>
                  <a:pt x="1035" y="830"/>
                </a:lnTo>
                <a:lnTo>
                  <a:pt x="1038" y="826"/>
                </a:lnTo>
                <a:lnTo>
                  <a:pt x="1045" y="820"/>
                </a:lnTo>
                <a:lnTo>
                  <a:pt x="1050" y="814"/>
                </a:lnTo>
                <a:lnTo>
                  <a:pt x="1051" y="809"/>
                </a:lnTo>
                <a:lnTo>
                  <a:pt x="1051" y="805"/>
                </a:lnTo>
                <a:lnTo>
                  <a:pt x="1050" y="802"/>
                </a:lnTo>
                <a:lnTo>
                  <a:pt x="1049" y="801"/>
                </a:lnTo>
                <a:lnTo>
                  <a:pt x="1046" y="799"/>
                </a:lnTo>
                <a:lnTo>
                  <a:pt x="1044" y="796"/>
                </a:lnTo>
                <a:lnTo>
                  <a:pt x="1041" y="794"/>
                </a:lnTo>
                <a:lnTo>
                  <a:pt x="1038" y="789"/>
                </a:lnTo>
                <a:lnTo>
                  <a:pt x="1038" y="786"/>
                </a:lnTo>
                <a:lnTo>
                  <a:pt x="1039" y="782"/>
                </a:lnTo>
                <a:lnTo>
                  <a:pt x="1041" y="778"/>
                </a:lnTo>
                <a:lnTo>
                  <a:pt x="1043" y="776"/>
                </a:lnTo>
                <a:lnTo>
                  <a:pt x="1046" y="774"/>
                </a:lnTo>
                <a:lnTo>
                  <a:pt x="1050" y="770"/>
                </a:lnTo>
                <a:lnTo>
                  <a:pt x="1055" y="765"/>
                </a:lnTo>
                <a:lnTo>
                  <a:pt x="1059" y="761"/>
                </a:lnTo>
                <a:lnTo>
                  <a:pt x="1063" y="757"/>
                </a:lnTo>
                <a:lnTo>
                  <a:pt x="1065" y="755"/>
                </a:lnTo>
                <a:lnTo>
                  <a:pt x="1069" y="752"/>
                </a:lnTo>
                <a:lnTo>
                  <a:pt x="1072" y="750"/>
                </a:lnTo>
                <a:lnTo>
                  <a:pt x="1077" y="746"/>
                </a:lnTo>
                <a:lnTo>
                  <a:pt x="1079" y="745"/>
                </a:lnTo>
                <a:lnTo>
                  <a:pt x="1082" y="744"/>
                </a:lnTo>
                <a:lnTo>
                  <a:pt x="1084" y="743"/>
                </a:lnTo>
                <a:lnTo>
                  <a:pt x="1087" y="742"/>
                </a:lnTo>
                <a:lnTo>
                  <a:pt x="1089" y="739"/>
                </a:lnTo>
                <a:lnTo>
                  <a:pt x="1091" y="736"/>
                </a:lnTo>
                <a:lnTo>
                  <a:pt x="1093" y="732"/>
                </a:lnTo>
                <a:lnTo>
                  <a:pt x="1095" y="727"/>
                </a:lnTo>
                <a:lnTo>
                  <a:pt x="1097" y="724"/>
                </a:lnTo>
                <a:lnTo>
                  <a:pt x="1102" y="720"/>
                </a:lnTo>
                <a:lnTo>
                  <a:pt x="1108" y="715"/>
                </a:lnTo>
                <a:lnTo>
                  <a:pt x="1115" y="712"/>
                </a:lnTo>
                <a:lnTo>
                  <a:pt x="1129" y="708"/>
                </a:lnTo>
                <a:lnTo>
                  <a:pt x="1142" y="704"/>
                </a:lnTo>
                <a:lnTo>
                  <a:pt x="1150" y="700"/>
                </a:lnTo>
                <a:lnTo>
                  <a:pt x="1156" y="694"/>
                </a:lnTo>
                <a:lnTo>
                  <a:pt x="1158" y="686"/>
                </a:lnTo>
                <a:lnTo>
                  <a:pt x="1159" y="680"/>
                </a:lnTo>
                <a:lnTo>
                  <a:pt x="1158" y="676"/>
                </a:lnTo>
                <a:lnTo>
                  <a:pt x="1158" y="674"/>
                </a:lnTo>
                <a:lnTo>
                  <a:pt x="1157" y="671"/>
                </a:lnTo>
                <a:lnTo>
                  <a:pt x="1154" y="668"/>
                </a:lnTo>
                <a:lnTo>
                  <a:pt x="1148" y="664"/>
                </a:lnTo>
                <a:lnTo>
                  <a:pt x="1139" y="661"/>
                </a:lnTo>
                <a:lnTo>
                  <a:pt x="1135" y="658"/>
                </a:lnTo>
                <a:lnTo>
                  <a:pt x="1129" y="655"/>
                </a:lnTo>
                <a:lnTo>
                  <a:pt x="1123" y="651"/>
                </a:lnTo>
                <a:lnTo>
                  <a:pt x="1118" y="648"/>
                </a:lnTo>
                <a:lnTo>
                  <a:pt x="1108" y="642"/>
                </a:lnTo>
                <a:lnTo>
                  <a:pt x="1100" y="635"/>
                </a:lnTo>
                <a:lnTo>
                  <a:pt x="1097" y="631"/>
                </a:lnTo>
                <a:lnTo>
                  <a:pt x="1095" y="626"/>
                </a:lnTo>
                <a:lnTo>
                  <a:pt x="1090" y="617"/>
                </a:lnTo>
                <a:lnTo>
                  <a:pt x="1088" y="607"/>
                </a:lnTo>
                <a:lnTo>
                  <a:pt x="1084" y="598"/>
                </a:lnTo>
                <a:lnTo>
                  <a:pt x="1078" y="589"/>
                </a:lnTo>
                <a:lnTo>
                  <a:pt x="1070" y="581"/>
                </a:lnTo>
                <a:lnTo>
                  <a:pt x="1060" y="574"/>
                </a:lnTo>
                <a:lnTo>
                  <a:pt x="1050" y="566"/>
                </a:lnTo>
                <a:lnTo>
                  <a:pt x="1038" y="560"/>
                </a:lnTo>
                <a:lnTo>
                  <a:pt x="1022" y="554"/>
                </a:lnTo>
                <a:lnTo>
                  <a:pt x="1012" y="551"/>
                </a:lnTo>
                <a:lnTo>
                  <a:pt x="1006" y="550"/>
                </a:lnTo>
                <a:lnTo>
                  <a:pt x="1002" y="550"/>
                </a:lnTo>
                <a:lnTo>
                  <a:pt x="996" y="550"/>
                </a:lnTo>
                <a:lnTo>
                  <a:pt x="989" y="550"/>
                </a:lnTo>
                <a:lnTo>
                  <a:pt x="971" y="553"/>
                </a:lnTo>
                <a:lnTo>
                  <a:pt x="957" y="555"/>
                </a:lnTo>
                <a:lnTo>
                  <a:pt x="951" y="556"/>
                </a:lnTo>
                <a:lnTo>
                  <a:pt x="943" y="556"/>
                </a:lnTo>
                <a:lnTo>
                  <a:pt x="938" y="556"/>
                </a:lnTo>
                <a:lnTo>
                  <a:pt x="933" y="556"/>
                </a:lnTo>
                <a:lnTo>
                  <a:pt x="928" y="555"/>
                </a:lnTo>
                <a:lnTo>
                  <a:pt x="924" y="553"/>
                </a:lnTo>
                <a:lnTo>
                  <a:pt x="888" y="537"/>
                </a:lnTo>
                <a:lnTo>
                  <a:pt x="850" y="517"/>
                </a:lnTo>
                <a:lnTo>
                  <a:pt x="837" y="510"/>
                </a:lnTo>
                <a:lnTo>
                  <a:pt x="825" y="503"/>
                </a:lnTo>
                <a:lnTo>
                  <a:pt x="812" y="494"/>
                </a:lnTo>
                <a:lnTo>
                  <a:pt x="800" y="487"/>
                </a:lnTo>
                <a:lnTo>
                  <a:pt x="794" y="482"/>
                </a:lnTo>
                <a:lnTo>
                  <a:pt x="789" y="478"/>
                </a:lnTo>
                <a:lnTo>
                  <a:pt x="786" y="474"/>
                </a:lnTo>
                <a:lnTo>
                  <a:pt x="785" y="471"/>
                </a:lnTo>
                <a:lnTo>
                  <a:pt x="783" y="468"/>
                </a:lnTo>
                <a:lnTo>
                  <a:pt x="783" y="465"/>
                </a:lnTo>
                <a:lnTo>
                  <a:pt x="785" y="461"/>
                </a:lnTo>
                <a:lnTo>
                  <a:pt x="786" y="458"/>
                </a:lnTo>
                <a:lnTo>
                  <a:pt x="788" y="453"/>
                </a:lnTo>
                <a:lnTo>
                  <a:pt x="791" y="448"/>
                </a:lnTo>
                <a:lnTo>
                  <a:pt x="794" y="443"/>
                </a:lnTo>
                <a:lnTo>
                  <a:pt x="798" y="440"/>
                </a:lnTo>
                <a:lnTo>
                  <a:pt x="807" y="433"/>
                </a:lnTo>
                <a:lnTo>
                  <a:pt x="817" y="424"/>
                </a:lnTo>
                <a:lnTo>
                  <a:pt x="819" y="422"/>
                </a:lnTo>
                <a:lnTo>
                  <a:pt x="823" y="418"/>
                </a:lnTo>
                <a:lnTo>
                  <a:pt x="826" y="414"/>
                </a:lnTo>
                <a:lnTo>
                  <a:pt x="830" y="408"/>
                </a:lnTo>
                <a:lnTo>
                  <a:pt x="831" y="404"/>
                </a:lnTo>
                <a:lnTo>
                  <a:pt x="832" y="399"/>
                </a:lnTo>
                <a:lnTo>
                  <a:pt x="833" y="395"/>
                </a:lnTo>
                <a:lnTo>
                  <a:pt x="833" y="391"/>
                </a:lnTo>
                <a:lnTo>
                  <a:pt x="833" y="387"/>
                </a:lnTo>
                <a:lnTo>
                  <a:pt x="833" y="383"/>
                </a:lnTo>
                <a:lnTo>
                  <a:pt x="832" y="372"/>
                </a:lnTo>
                <a:lnTo>
                  <a:pt x="830" y="360"/>
                </a:lnTo>
                <a:lnTo>
                  <a:pt x="827" y="354"/>
                </a:lnTo>
                <a:lnTo>
                  <a:pt x="825" y="347"/>
                </a:lnTo>
                <a:lnTo>
                  <a:pt x="824" y="343"/>
                </a:lnTo>
                <a:lnTo>
                  <a:pt x="823" y="341"/>
                </a:lnTo>
                <a:lnTo>
                  <a:pt x="823" y="340"/>
                </a:lnTo>
                <a:lnTo>
                  <a:pt x="823" y="337"/>
                </a:lnTo>
                <a:lnTo>
                  <a:pt x="822" y="330"/>
                </a:lnTo>
                <a:lnTo>
                  <a:pt x="822" y="326"/>
                </a:lnTo>
                <a:lnTo>
                  <a:pt x="824" y="321"/>
                </a:lnTo>
                <a:lnTo>
                  <a:pt x="825" y="317"/>
                </a:lnTo>
                <a:lnTo>
                  <a:pt x="827" y="314"/>
                </a:lnTo>
                <a:lnTo>
                  <a:pt x="829" y="310"/>
                </a:lnTo>
                <a:lnTo>
                  <a:pt x="832" y="307"/>
                </a:lnTo>
                <a:lnTo>
                  <a:pt x="836" y="302"/>
                </a:lnTo>
                <a:lnTo>
                  <a:pt x="849" y="286"/>
                </a:lnTo>
                <a:lnTo>
                  <a:pt x="852" y="282"/>
                </a:lnTo>
                <a:lnTo>
                  <a:pt x="855" y="276"/>
                </a:lnTo>
                <a:lnTo>
                  <a:pt x="856" y="273"/>
                </a:lnTo>
                <a:lnTo>
                  <a:pt x="858" y="270"/>
                </a:lnTo>
                <a:lnTo>
                  <a:pt x="862" y="261"/>
                </a:lnTo>
                <a:lnTo>
                  <a:pt x="867" y="253"/>
                </a:lnTo>
                <a:lnTo>
                  <a:pt x="873" y="245"/>
                </a:lnTo>
                <a:lnTo>
                  <a:pt x="877" y="239"/>
                </a:lnTo>
                <a:lnTo>
                  <a:pt x="888" y="229"/>
                </a:lnTo>
                <a:lnTo>
                  <a:pt x="898" y="221"/>
                </a:lnTo>
                <a:lnTo>
                  <a:pt x="908" y="211"/>
                </a:lnTo>
                <a:lnTo>
                  <a:pt x="919" y="202"/>
                </a:lnTo>
                <a:lnTo>
                  <a:pt x="928" y="194"/>
                </a:lnTo>
                <a:lnTo>
                  <a:pt x="938" y="185"/>
                </a:lnTo>
                <a:lnTo>
                  <a:pt x="945" y="172"/>
                </a:lnTo>
                <a:lnTo>
                  <a:pt x="953" y="159"/>
                </a:lnTo>
                <a:lnTo>
                  <a:pt x="952" y="154"/>
                </a:lnTo>
                <a:lnTo>
                  <a:pt x="952" y="150"/>
                </a:lnTo>
                <a:lnTo>
                  <a:pt x="948" y="148"/>
                </a:lnTo>
                <a:lnTo>
                  <a:pt x="943" y="147"/>
                </a:lnTo>
                <a:lnTo>
                  <a:pt x="921" y="135"/>
                </a:lnTo>
                <a:lnTo>
                  <a:pt x="913" y="129"/>
                </a:lnTo>
                <a:lnTo>
                  <a:pt x="906" y="125"/>
                </a:lnTo>
                <a:lnTo>
                  <a:pt x="901" y="120"/>
                </a:lnTo>
                <a:lnTo>
                  <a:pt x="899" y="118"/>
                </a:lnTo>
                <a:lnTo>
                  <a:pt x="899" y="114"/>
                </a:lnTo>
                <a:lnTo>
                  <a:pt x="899" y="112"/>
                </a:lnTo>
                <a:lnTo>
                  <a:pt x="898" y="102"/>
                </a:lnTo>
                <a:lnTo>
                  <a:pt x="894" y="90"/>
                </a:lnTo>
                <a:lnTo>
                  <a:pt x="892" y="82"/>
                </a:lnTo>
                <a:lnTo>
                  <a:pt x="888" y="71"/>
                </a:lnTo>
                <a:lnTo>
                  <a:pt x="886" y="61"/>
                </a:lnTo>
                <a:lnTo>
                  <a:pt x="885" y="50"/>
                </a:lnTo>
                <a:lnTo>
                  <a:pt x="886" y="32"/>
                </a:lnTo>
                <a:lnTo>
                  <a:pt x="889" y="19"/>
                </a:lnTo>
                <a:lnTo>
                  <a:pt x="888" y="14"/>
                </a:lnTo>
                <a:lnTo>
                  <a:pt x="887" y="8"/>
                </a:lnTo>
                <a:lnTo>
                  <a:pt x="886" y="5"/>
                </a:lnTo>
                <a:lnTo>
                  <a:pt x="883" y="2"/>
                </a:lnTo>
                <a:lnTo>
                  <a:pt x="881" y="1"/>
                </a:lnTo>
                <a:lnTo>
                  <a:pt x="876" y="0"/>
                </a:lnTo>
                <a:lnTo>
                  <a:pt x="865" y="0"/>
                </a:lnTo>
                <a:lnTo>
                  <a:pt x="855" y="0"/>
                </a:lnTo>
                <a:lnTo>
                  <a:pt x="844" y="1"/>
                </a:lnTo>
                <a:lnTo>
                  <a:pt x="837" y="1"/>
                </a:lnTo>
                <a:lnTo>
                  <a:pt x="826" y="5"/>
                </a:lnTo>
                <a:lnTo>
                  <a:pt x="817" y="8"/>
                </a:lnTo>
                <a:lnTo>
                  <a:pt x="810" y="13"/>
                </a:lnTo>
                <a:lnTo>
                  <a:pt x="804" y="18"/>
                </a:lnTo>
                <a:lnTo>
                  <a:pt x="799" y="21"/>
                </a:lnTo>
                <a:lnTo>
                  <a:pt x="794" y="22"/>
                </a:lnTo>
                <a:lnTo>
                  <a:pt x="787" y="24"/>
                </a:lnTo>
                <a:lnTo>
                  <a:pt x="780" y="24"/>
                </a:lnTo>
                <a:lnTo>
                  <a:pt x="764" y="24"/>
                </a:lnTo>
                <a:lnTo>
                  <a:pt x="749" y="24"/>
                </a:lnTo>
                <a:lnTo>
                  <a:pt x="742" y="25"/>
                </a:lnTo>
                <a:lnTo>
                  <a:pt x="736" y="27"/>
                </a:lnTo>
                <a:lnTo>
                  <a:pt x="731" y="31"/>
                </a:lnTo>
                <a:lnTo>
                  <a:pt x="728" y="37"/>
                </a:lnTo>
                <a:lnTo>
                  <a:pt x="725" y="43"/>
                </a:lnTo>
                <a:lnTo>
                  <a:pt x="723" y="50"/>
                </a:lnTo>
                <a:lnTo>
                  <a:pt x="722" y="58"/>
                </a:lnTo>
                <a:lnTo>
                  <a:pt x="722" y="68"/>
                </a:lnTo>
                <a:lnTo>
                  <a:pt x="722" y="75"/>
                </a:lnTo>
                <a:lnTo>
                  <a:pt x="719" y="81"/>
                </a:lnTo>
                <a:lnTo>
                  <a:pt x="718" y="84"/>
                </a:lnTo>
                <a:lnTo>
                  <a:pt x="715" y="87"/>
                </a:lnTo>
                <a:lnTo>
                  <a:pt x="710" y="88"/>
                </a:lnTo>
                <a:lnTo>
                  <a:pt x="704" y="88"/>
                </a:lnTo>
                <a:lnTo>
                  <a:pt x="698" y="87"/>
                </a:lnTo>
                <a:lnTo>
                  <a:pt x="691" y="85"/>
                </a:lnTo>
                <a:lnTo>
                  <a:pt x="682" y="84"/>
                </a:lnTo>
                <a:lnTo>
                  <a:pt x="678" y="85"/>
                </a:lnTo>
                <a:lnTo>
                  <a:pt x="673" y="87"/>
                </a:lnTo>
                <a:lnTo>
                  <a:pt x="669" y="89"/>
                </a:lnTo>
                <a:lnTo>
                  <a:pt x="665" y="97"/>
                </a:lnTo>
                <a:lnTo>
                  <a:pt x="661" y="107"/>
                </a:lnTo>
                <a:lnTo>
                  <a:pt x="655" y="121"/>
                </a:lnTo>
                <a:lnTo>
                  <a:pt x="647" y="141"/>
                </a:lnTo>
                <a:lnTo>
                  <a:pt x="637" y="162"/>
                </a:lnTo>
                <a:lnTo>
                  <a:pt x="628" y="177"/>
                </a:lnTo>
                <a:lnTo>
                  <a:pt x="618" y="190"/>
                </a:lnTo>
                <a:lnTo>
                  <a:pt x="608" y="206"/>
                </a:lnTo>
                <a:lnTo>
                  <a:pt x="597" y="221"/>
                </a:lnTo>
                <a:lnTo>
                  <a:pt x="590" y="236"/>
                </a:lnTo>
                <a:lnTo>
                  <a:pt x="587" y="254"/>
                </a:lnTo>
                <a:lnTo>
                  <a:pt x="585" y="274"/>
                </a:lnTo>
                <a:lnTo>
                  <a:pt x="585" y="285"/>
                </a:lnTo>
                <a:lnTo>
                  <a:pt x="584" y="295"/>
                </a:lnTo>
                <a:lnTo>
                  <a:pt x="581" y="303"/>
                </a:lnTo>
                <a:lnTo>
                  <a:pt x="578" y="310"/>
                </a:lnTo>
                <a:lnTo>
                  <a:pt x="574" y="316"/>
                </a:lnTo>
                <a:lnTo>
                  <a:pt x="572" y="322"/>
                </a:lnTo>
                <a:lnTo>
                  <a:pt x="571" y="328"/>
                </a:lnTo>
                <a:lnTo>
                  <a:pt x="569" y="335"/>
                </a:lnTo>
                <a:lnTo>
                  <a:pt x="568" y="348"/>
                </a:lnTo>
                <a:lnTo>
                  <a:pt x="567" y="360"/>
                </a:lnTo>
                <a:lnTo>
                  <a:pt x="567" y="389"/>
                </a:lnTo>
                <a:lnTo>
                  <a:pt x="568" y="412"/>
                </a:lnTo>
                <a:lnTo>
                  <a:pt x="568" y="423"/>
                </a:lnTo>
                <a:lnTo>
                  <a:pt x="567" y="435"/>
                </a:lnTo>
                <a:lnTo>
                  <a:pt x="564" y="447"/>
                </a:lnTo>
                <a:lnTo>
                  <a:pt x="556" y="460"/>
                </a:lnTo>
                <a:lnTo>
                  <a:pt x="549" y="474"/>
                </a:lnTo>
                <a:lnTo>
                  <a:pt x="545" y="492"/>
                </a:lnTo>
                <a:lnTo>
                  <a:pt x="542" y="500"/>
                </a:lnTo>
                <a:lnTo>
                  <a:pt x="541" y="510"/>
                </a:lnTo>
                <a:lnTo>
                  <a:pt x="541" y="519"/>
                </a:lnTo>
                <a:lnTo>
                  <a:pt x="541" y="528"/>
                </a:lnTo>
                <a:lnTo>
                  <a:pt x="543" y="551"/>
                </a:lnTo>
                <a:lnTo>
                  <a:pt x="545" y="581"/>
                </a:lnTo>
                <a:lnTo>
                  <a:pt x="545" y="597"/>
                </a:lnTo>
                <a:lnTo>
                  <a:pt x="543" y="612"/>
                </a:lnTo>
                <a:lnTo>
                  <a:pt x="541" y="627"/>
                </a:lnTo>
                <a:lnTo>
                  <a:pt x="536" y="642"/>
                </a:lnTo>
                <a:lnTo>
                  <a:pt x="533" y="652"/>
                </a:lnTo>
                <a:lnTo>
                  <a:pt x="528" y="660"/>
                </a:lnTo>
                <a:lnTo>
                  <a:pt x="524" y="664"/>
                </a:lnTo>
                <a:lnTo>
                  <a:pt x="522" y="666"/>
                </a:lnTo>
                <a:lnTo>
                  <a:pt x="515" y="664"/>
                </a:lnTo>
                <a:lnTo>
                  <a:pt x="508" y="663"/>
                </a:lnTo>
                <a:lnTo>
                  <a:pt x="496" y="663"/>
                </a:lnTo>
                <a:lnTo>
                  <a:pt x="480" y="664"/>
                </a:lnTo>
                <a:lnTo>
                  <a:pt x="473" y="666"/>
                </a:lnTo>
                <a:lnTo>
                  <a:pt x="468" y="667"/>
                </a:lnTo>
                <a:lnTo>
                  <a:pt x="464" y="669"/>
                </a:lnTo>
                <a:lnTo>
                  <a:pt x="463" y="671"/>
                </a:lnTo>
                <a:lnTo>
                  <a:pt x="464" y="679"/>
                </a:lnTo>
                <a:lnTo>
                  <a:pt x="465" y="686"/>
                </a:lnTo>
                <a:lnTo>
                  <a:pt x="464" y="688"/>
                </a:lnTo>
                <a:lnTo>
                  <a:pt x="464" y="692"/>
                </a:lnTo>
                <a:lnTo>
                  <a:pt x="463" y="693"/>
                </a:lnTo>
                <a:lnTo>
                  <a:pt x="460" y="695"/>
                </a:lnTo>
                <a:lnTo>
                  <a:pt x="453" y="696"/>
                </a:lnTo>
                <a:lnTo>
                  <a:pt x="446" y="696"/>
                </a:lnTo>
                <a:lnTo>
                  <a:pt x="438" y="695"/>
                </a:lnTo>
                <a:lnTo>
                  <a:pt x="427" y="693"/>
                </a:lnTo>
                <a:lnTo>
                  <a:pt x="413" y="689"/>
                </a:lnTo>
                <a:lnTo>
                  <a:pt x="397" y="685"/>
                </a:lnTo>
                <a:lnTo>
                  <a:pt x="389" y="682"/>
                </a:lnTo>
                <a:lnTo>
                  <a:pt x="382" y="681"/>
                </a:lnTo>
                <a:lnTo>
                  <a:pt x="376" y="682"/>
                </a:lnTo>
                <a:lnTo>
                  <a:pt x="370" y="683"/>
                </a:lnTo>
                <a:lnTo>
                  <a:pt x="358" y="690"/>
                </a:lnTo>
                <a:lnTo>
                  <a:pt x="342" y="700"/>
                </a:lnTo>
                <a:lnTo>
                  <a:pt x="334" y="706"/>
                </a:lnTo>
                <a:lnTo>
                  <a:pt x="325" y="711"/>
                </a:lnTo>
                <a:lnTo>
                  <a:pt x="315" y="714"/>
                </a:lnTo>
                <a:lnTo>
                  <a:pt x="304" y="718"/>
                </a:lnTo>
                <a:lnTo>
                  <a:pt x="295" y="721"/>
                </a:lnTo>
                <a:lnTo>
                  <a:pt x="287" y="725"/>
                </a:lnTo>
                <a:lnTo>
                  <a:pt x="281" y="729"/>
                </a:lnTo>
                <a:lnTo>
                  <a:pt x="275" y="732"/>
                </a:lnTo>
                <a:lnTo>
                  <a:pt x="265" y="740"/>
                </a:lnTo>
                <a:lnTo>
                  <a:pt x="254" y="748"/>
                </a:lnTo>
                <a:lnTo>
                  <a:pt x="244" y="755"/>
                </a:lnTo>
                <a:lnTo>
                  <a:pt x="233" y="761"/>
                </a:lnTo>
                <a:lnTo>
                  <a:pt x="228" y="763"/>
                </a:lnTo>
                <a:lnTo>
                  <a:pt x="222" y="764"/>
                </a:lnTo>
                <a:lnTo>
                  <a:pt x="215" y="765"/>
                </a:lnTo>
                <a:lnTo>
                  <a:pt x="207" y="765"/>
                </a:lnTo>
                <a:lnTo>
                  <a:pt x="187" y="765"/>
                </a:lnTo>
                <a:lnTo>
                  <a:pt x="167" y="765"/>
                </a:lnTo>
                <a:lnTo>
                  <a:pt x="147" y="765"/>
                </a:lnTo>
                <a:lnTo>
                  <a:pt x="128" y="764"/>
                </a:lnTo>
                <a:lnTo>
                  <a:pt x="119" y="762"/>
                </a:lnTo>
                <a:lnTo>
                  <a:pt x="108" y="762"/>
                </a:lnTo>
                <a:lnTo>
                  <a:pt x="98" y="762"/>
                </a:lnTo>
                <a:lnTo>
                  <a:pt x="88" y="762"/>
                </a:lnTo>
                <a:lnTo>
                  <a:pt x="79" y="763"/>
                </a:lnTo>
                <a:lnTo>
                  <a:pt x="70" y="765"/>
                </a:lnTo>
                <a:lnTo>
                  <a:pt x="62" y="768"/>
                </a:lnTo>
                <a:lnTo>
                  <a:pt x="57" y="771"/>
                </a:lnTo>
                <a:lnTo>
                  <a:pt x="54" y="775"/>
                </a:lnTo>
                <a:lnTo>
                  <a:pt x="51" y="778"/>
                </a:lnTo>
                <a:lnTo>
                  <a:pt x="51" y="783"/>
                </a:lnTo>
                <a:lnTo>
                  <a:pt x="51" y="788"/>
                </a:lnTo>
                <a:lnTo>
                  <a:pt x="50" y="792"/>
                </a:lnTo>
                <a:lnTo>
                  <a:pt x="49" y="795"/>
                </a:lnTo>
                <a:lnTo>
                  <a:pt x="45" y="797"/>
                </a:lnTo>
                <a:lnTo>
                  <a:pt x="38" y="797"/>
                </a:lnTo>
                <a:lnTo>
                  <a:pt x="30" y="799"/>
                </a:lnTo>
                <a:lnTo>
                  <a:pt x="20" y="801"/>
                </a:lnTo>
                <a:lnTo>
                  <a:pt x="12" y="803"/>
                </a:lnTo>
                <a:lnTo>
                  <a:pt x="4" y="809"/>
                </a:lnTo>
                <a:lnTo>
                  <a:pt x="0" y="812"/>
                </a:lnTo>
                <a:lnTo>
                  <a:pt x="0" y="814"/>
                </a:lnTo>
                <a:lnTo>
                  <a:pt x="2" y="815"/>
                </a:lnTo>
                <a:lnTo>
                  <a:pt x="6" y="815"/>
                </a:lnTo>
                <a:lnTo>
                  <a:pt x="17" y="815"/>
                </a:lnTo>
                <a:lnTo>
                  <a:pt x="29" y="815"/>
                </a:lnTo>
                <a:lnTo>
                  <a:pt x="44" y="815"/>
                </a:lnTo>
                <a:lnTo>
                  <a:pt x="61" y="815"/>
                </a:lnTo>
                <a:lnTo>
                  <a:pt x="69" y="815"/>
                </a:lnTo>
                <a:lnTo>
                  <a:pt x="77" y="816"/>
                </a:lnTo>
                <a:lnTo>
                  <a:pt x="86" y="816"/>
                </a:lnTo>
                <a:lnTo>
                  <a:pt x="93" y="819"/>
                </a:lnTo>
                <a:lnTo>
                  <a:pt x="108" y="822"/>
                </a:lnTo>
                <a:lnTo>
                  <a:pt x="123" y="824"/>
                </a:lnTo>
                <a:lnTo>
                  <a:pt x="137" y="824"/>
                </a:lnTo>
                <a:lnTo>
                  <a:pt x="149" y="824"/>
                </a:lnTo>
                <a:lnTo>
                  <a:pt x="155" y="822"/>
                </a:lnTo>
                <a:lnTo>
                  <a:pt x="159" y="822"/>
                </a:lnTo>
                <a:lnTo>
                  <a:pt x="164" y="822"/>
                </a:lnTo>
                <a:lnTo>
                  <a:pt x="168" y="825"/>
                </a:lnTo>
                <a:lnTo>
                  <a:pt x="169" y="827"/>
                </a:lnTo>
                <a:lnTo>
                  <a:pt x="170" y="833"/>
                </a:lnTo>
                <a:lnTo>
                  <a:pt x="170" y="837"/>
                </a:lnTo>
                <a:lnTo>
                  <a:pt x="170" y="840"/>
                </a:lnTo>
                <a:lnTo>
                  <a:pt x="169" y="843"/>
                </a:lnTo>
                <a:lnTo>
                  <a:pt x="168" y="845"/>
                </a:lnTo>
                <a:lnTo>
                  <a:pt x="156" y="855"/>
                </a:lnTo>
                <a:lnTo>
                  <a:pt x="146" y="863"/>
                </a:lnTo>
                <a:lnTo>
                  <a:pt x="132" y="872"/>
                </a:lnTo>
                <a:lnTo>
                  <a:pt x="118" y="881"/>
                </a:lnTo>
                <a:lnTo>
                  <a:pt x="114" y="883"/>
                </a:lnTo>
                <a:lnTo>
                  <a:pt x="113" y="884"/>
                </a:lnTo>
                <a:lnTo>
                  <a:pt x="112" y="887"/>
                </a:lnTo>
                <a:lnTo>
                  <a:pt x="113" y="889"/>
                </a:lnTo>
                <a:lnTo>
                  <a:pt x="115" y="893"/>
                </a:lnTo>
                <a:lnTo>
                  <a:pt x="119" y="897"/>
                </a:lnTo>
                <a:lnTo>
                  <a:pt x="126" y="907"/>
                </a:lnTo>
                <a:lnTo>
                  <a:pt x="133" y="916"/>
                </a:lnTo>
                <a:lnTo>
                  <a:pt x="137" y="920"/>
                </a:lnTo>
                <a:lnTo>
                  <a:pt x="140" y="921"/>
                </a:lnTo>
                <a:lnTo>
                  <a:pt x="144" y="922"/>
                </a:lnTo>
                <a:lnTo>
                  <a:pt x="147" y="921"/>
                </a:lnTo>
                <a:lnTo>
                  <a:pt x="155" y="918"/>
                </a:lnTo>
                <a:lnTo>
                  <a:pt x="162" y="912"/>
                </a:lnTo>
                <a:lnTo>
                  <a:pt x="170" y="907"/>
                </a:lnTo>
                <a:lnTo>
                  <a:pt x="178" y="903"/>
                </a:lnTo>
                <a:lnTo>
                  <a:pt x="183" y="903"/>
                </a:lnTo>
                <a:lnTo>
                  <a:pt x="188" y="904"/>
                </a:lnTo>
                <a:lnTo>
                  <a:pt x="193" y="907"/>
                </a:lnTo>
                <a:lnTo>
                  <a:pt x="196" y="912"/>
                </a:lnTo>
                <a:lnTo>
                  <a:pt x="205" y="925"/>
                </a:lnTo>
                <a:lnTo>
                  <a:pt x="213" y="941"/>
                </a:lnTo>
                <a:lnTo>
                  <a:pt x="216" y="950"/>
                </a:lnTo>
                <a:lnTo>
                  <a:pt x="221" y="958"/>
                </a:lnTo>
                <a:lnTo>
                  <a:pt x="226" y="965"/>
                </a:lnTo>
                <a:lnTo>
                  <a:pt x="232" y="972"/>
                </a:lnTo>
                <a:lnTo>
                  <a:pt x="239" y="979"/>
                </a:lnTo>
                <a:lnTo>
                  <a:pt x="247" y="985"/>
                </a:lnTo>
                <a:lnTo>
                  <a:pt x="257" y="991"/>
                </a:lnTo>
                <a:lnTo>
                  <a:pt x="268" y="997"/>
                </a:lnTo>
                <a:lnTo>
                  <a:pt x="277" y="1003"/>
                </a:lnTo>
                <a:lnTo>
                  <a:pt x="284" y="1009"/>
                </a:lnTo>
                <a:lnTo>
                  <a:pt x="291" y="1014"/>
                </a:lnTo>
                <a:lnTo>
                  <a:pt x="295" y="1019"/>
                </a:lnTo>
                <a:lnTo>
                  <a:pt x="298" y="1027"/>
                </a:lnTo>
                <a:lnTo>
                  <a:pt x="301" y="1036"/>
                </a:lnTo>
                <a:lnTo>
                  <a:pt x="302" y="1041"/>
                </a:lnTo>
                <a:lnTo>
                  <a:pt x="304" y="1047"/>
                </a:lnTo>
                <a:lnTo>
                  <a:pt x="307" y="1053"/>
                </a:lnTo>
                <a:lnTo>
                  <a:pt x="312" y="1059"/>
                </a:lnTo>
                <a:lnTo>
                  <a:pt x="322" y="1067"/>
                </a:lnTo>
                <a:lnTo>
                  <a:pt x="332" y="1074"/>
                </a:lnTo>
                <a:lnTo>
                  <a:pt x="336" y="1078"/>
                </a:lnTo>
                <a:lnTo>
                  <a:pt x="341" y="1082"/>
                </a:lnTo>
                <a:lnTo>
                  <a:pt x="346" y="1086"/>
                </a:lnTo>
                <a:lnTo>
                  <a:pt x="350" y="1092"/>
                </a:lnTo>
                <a:lnTo>
                  <a:pt x="352" y="1099"/>
                </a:lnTo>
                <a:lnTo>
                  <a:pt x="354" y="1105"/>
                </a:lnTo>
                <a:lnTo>
                  <a:pt x="356" y="1111"/>
                </a:lnTo>
                <a:lnTo>
                  <a:pt x="356" y="1116"/>
                </a:lnTo>
                <a:lnTo>
                  <a:pt x="354" y="1120"/>
                </a:lnTo>
                <a:lnTo>
                  <a:pt x="352" y="1124"/>
                </a:lnTo>
                <a:lnTo>
                  <a:pt x="348" y="1128"/>
                </a:lnTo>
                <a:lnTo>
                  <a:pt x="344" y="1131"/>
                </a:lnTo>
                <a:lnTo>
                  <a:pt x="333" y="1137"/>
                </a:lnTo>
                <a:lnTo>
                  <a:pt x="321" y="1142"/>
                </a:lnTo>
                <a:lnTo>
                  <a:pt x="315" y="1145"/>
                </a:lnTo>
                <a:lnTo>
                  <a:pt x="312" y="1148"/>
                </a:lnTo>
                <a:lnTo>
                  <a:pt x="308" y="1153"/>
                </a:lnTo>
                <a:lnTo>
                  <a:pt x="308" y="1160"/>
                </a:lnTo>
                <a:lnTo>
                  <a:pt x="308" y="1167"/>
                </a:lnTo>
                <a:lnTo>
                  <a:pt x="309" y="1173"/>
                </a:lnTo>
                <a:lnTo>
                  <a:pt x="312" y="1179"/>
                </a:lnTo>
                <a:lnTo>
                  <a:pt x="314" y="1184"/>
                </a:lnTo>
                <a:lnTo>
                  <a:pt x="320" y="1194"/>
                </a:lnTo>
                <a:lnTo>
                  <a:pt x="323" y="1206"/>
                </a:lnTo>
                <a:lnTo>
                  <a:pt x="327" y="1212"/>
                </a:lnTo>
                <a:lnTo>
                  <a:pt x="332" y="1218"/>
                </a:lnTo>
                <a:lnTo>
                  <a:pt x="338" y="1224"/>
                </a:lnTo>
                <a:lnTo>
                  <a:pt x="345" y="1229"/>
                </a:lnTo>
                <a:lnTo>
                  <a:pt x="352" y="1235"/>
                </a:lnTo>
                <a:lnTo>
                  <a:pt x="358" y="1240"/>
                </a:lnTo>
                <a:lnTo>
                  <a:pt x="363" y="1244"/>
                </a:lnTo>
                <a:lnTo>
                  <a:pt x="366" y="1250"/>
                </a:lnTo>
                <a:lnTo>
                  <a:pt x="371" y="1263"/>
                </a:lnTo>
                <a:lnTo>
                  <a:pt x="377" y="1280"/>
                </a:lnTo>
                <a:lnTo>
                  <a:pt x="383" y="1298"/>
                </a:lnTo>
                <a:lnTo>
                  <a:pt x="388" y="1311"/>
                </a:lnTo>
                <a:lnTo>
                  <a:pt x="392" y="1319"/>
                </a:lnTo>
                <a:lnTo>
                  <a:pt x="394" y="1326"/>
                </a:lnTo>
                <a:lnTo>
                  <a:pt x="394" y="1334"/>
                </a:lnTo>
                <a:lnTo>
                  <a:pt x="392" y="1343"/>
                </a:lnTo>
                <a:lnTo>
                  <a:pt x="389" y="1354"/>
                </a:lnTo>
                <a:lnTo>
                  <a:pt x="388" y="1361"/>
                </a:lnTo>
                <a:lnTo>
                  <a:pt x="389" y="1364"/>
                </a:lnTo>
                <a:lnTo>
                  <a:pt x="390" y="1368"/>
                </a:lnTo>
                <a:lnTo>
                  <a:pt x="392" y="1370"/>
                </a:lnTo>
                <a:lnTo>
                  <a:pt x="396" y="1373"/>
                </a:lnTo>
                <a:lnTo>
                  <a:pt x="399" y="1376"/>
                </a:lnTo>
                <a:lnTo>
                  <a:pt x="402" y="1380"/>
                </a:lnTo>
                <a:lnTo>
                  <a:pt x="403" y="1385"/>
                </a:lnTo>
                <a:lnTo>
                  <a:pt x="404" y="1391"/>
                </a:lnTo>
                <a:lnTo>
                  <a:pt x="404" y="1397"/>
                </a:lnTo>
                <a:lnTo>
                  <a:pt x="403" y="1402"/>
                </a:lnTo>
                <a:lnTo>
                  <a:pt x="401" y="1407"/>
                </a:lnTo>
                <a:lnTo>
                  <a:pt x="398" y="1411"/>
                </a:lnTo>
                <a:lnTo>
                  <a:pt x="391" y="1418"/>
                </a:lnTo>
                <a:lnTo>
                  <a:pt x="383" y="1426"/>
                </a:lnTo>
                <a:lnTo>
                  <a:pt x="378" y="1430"/>
                </a:lnTo>
                <a:lnTo>
                  <a:pt x="372" y="1432"/>
                </a:lnTo>
                <a:lnTo>
                  <a:pt x="366" y="1436"/>
                </a:lnTo>
                <a:lnTo>
                  <a:pt x="359" y="1438"/>
                </a:lnTo>
                <a:lnTo>
                  <a:pt x="352" y="1440"/>
                </a:lnTo>
                <a:lnTo>
                  <a:pt x="346" y="1443"/>
                </a:lnTo>
                <a:lnTo>
                  <a:pt x="342" y="1445"/>
                </a:lnTo>
                <a:lnTo>
                  <a:pt x="339" y="1449"/>
                </a:lnTo>
                <a:lnTo>
                  <a:pt x="335" y="1452"/>
                </a:lnTo>
                <a:lnTo>
                  <a:pt x="334" y="1457"/>
                </a:lnTo>
                <a:lnTo>
                  <a:pt x="333" y="1463"/>
                </a:lnTo>
                <a:lnTo>
                  <a:pt x="333" y="1470"/>
                </a:lnTo>
                <a:lnTo>
                  <a:pt x="334" y="1486"/>
                </a:lnTo>
                <a:lnTo>
                  <a:pt x="336" y="1502"/>
                </a:lnTo>
                <a:lnTo>
                  <a:pt x="340" y="1519"/>
                </a:lnTo>
                <a:lnTo>
                  <a:pt x="342" y="1533"/>
                </a:lnTo>
                <a:lnTo>
                  <a:pt x="344" y="1539"/>
                </a:lnTo>
                <a:lnTo>
                  <a:pt x="345" y="1545"/>
                </a:lnTo>
                <a:lnTo>
                  <a:pt x="346" y="1549"/>
                </a:lnTo>
                <a:lnTo>
                  <a:pt x="347" y="1551"/>
                </a:lnTo>
                <a:lnTo>
                  <a:pt x="350" y="1552"/>
                </a:lnTo>
                <a:lnTo>
                  <a:pt x="352" y="1553"/>
                </a:lnTo>
                <a:lnTo>
                  <a:pt x="356" y="1553"/>
                </a:lnTo>
                <a:lnTo>
                  <a:pt x="360" y="1552"/>
                </a:lnTo>
                <a:lnTo>
                  <a:pt x="364" y="1551"/>
                </a:lnTo>
                <a:lnTo>
                  <a:pt x="367" y="1550"/>
                </a:lnTo>
                <a:lnTo>
                  <a:pt x="371" y="1551"/>
                </a:lnTo>
                <a:lnTo>
                  <a:pt x="373" y="1551"/>
                </a:lnTo>
                <a:lnTo>
                  <a:pt x="376" y="1553"/>
                </a:lnTo>
                <a:lnTo>
                  <a:pt x="377" y="1556"/>
                </a:lnTo>
                <a:lnTo>
                  <a:pt x="379" y="1561"/>
                </a:lnTo>
                <a:lnTo>
                  <a:pt x="380" y="1566"/>
                </a:lnTo>
                <a:lnTo>
                  <a:pt x="382" y="1572"/>
                </a:lnTo>
                <a:lnTo>
                  <a:pt x="384" y="1577"/>
                </a:lnTo>
                <a:lnTo>
                  <a:pt x="386" y="1582"/>
                </a:lnTo>
                <a:lnTo>
                  <a:pt x="390" y="1585"/>
                </a:lnTo>
                <a:lnTo>
                  <a:pt x="394" y="1589"/>
                </a:lnTo>
                <a:lnTo>
                  <a:pt x="397" y="1591"/>
                </a:lnTo>
                <a:lnTo>
                  <a:pt x="401" y="1594"/>
                </a:lnTo>
                <a:lnTo>
                  <a:pt x="405" y="1595"/>
                </a:lnTo>
                <a:lnTo>
                  <a:pt x="409" y="1595"/>
                </a:lnTo>
                <a:lnTo>
                  <a:pt x="413" y="1595"/>
                </a:lnTo>
                <a:lnTo>
                  <a:pt x="417" y="1594"/>
                </a:lnTo>
                <a:lnTo>
                  <a:pt x="421" y="1591"/>
                </a:lnTo>
                <a:lnTo>
                  <a:pt x="432" y="1588"/>
                </a:lnTo>
                <a:lnTo>
                  <a:pt x="447" y="1584"/>
                </a:lnTo>
                <a:lnTo>
                  <a:pt x="463" y="1583"/>
                </a:lnTo>
                <a:lnTo>
                  <a:pt x="472" y="1583"/>
                </a:lnTo>
                <a:lnTo>
                  <a:pt x="476" y="1584"/>
                </a:lnTo>
                <a:lnTo>
                  <a:pt x="478" y="1585"/>
                </a:lnTo>
                <a:lnTo>
                  <a:pt x="480" y="1588"/>
                </a:lnTo>
                <a:lnTo>
                  <a:pt x="482" y="1590"/>
                </a:lnTo>
                <a:lnTo>
                  <a:pt x="484" y="1594"/>
                </a:lnTo>
                <a:lnTo>
                  <a:pt x="484" y="1597"/>
                </a:lnTo>
                <a:lnTo>
                  <a:pt x="482" y="1600"/>
                </a:lnTo>
                <a:lnTo>
                  <a:pt x="477" y="1600"/>
                </a:lnTo>
                <a:lnTo>
                  <a:pt x="471" y="1601"/>
                </a:lnTo>
                <a:lnTo>
                  <a:pt x="466" y="1603"/>
                </a:lnTo>
                <a:lnTo>
                  <a:pt x="465" y="1606"/>
                </a:lnTo>
                <a:lnTo>
                  <a:pt x="464" y="1608"/>
                </a:lnTo>
                <a:lnTo>
                  <a:pt x="465" y="1610"/>
                </a:lnTo>
                <a:lnTo>
                  <a:pt x="466" y="1614"/>
                </a:lnTo>
                <a:lnTo>
                  <a:pt x="472" y="1622"/>
                </a:lnTo>
                <a:lnTo>
                  <a:pt x="479" y="1631"/>
                </a:lnTo>
                <a:lnTo>
                  <a:pt x="487" y="1641"/>
                </a:lnTo>
                <a:lnTo>
                  <a:pt x="496" y="1653"/>
                </a:lnTo>
                <a:lnTo>
                  <a:pt x="501" y="1664"/>
                </a:lnTo>
                <a:lnTo>
                  <a:pt x="504" y="1670"/>
                </a:lnTo>
                <a:lnTo>
                  <a:pt x="505" y="1675"/>
                </a:lnTo>
                <a:lnTo>
                  <a:pt x="505" y="1679"/>
                </a:lnTo>
                <a:lnTo>
                  <a:pt x="506" y="1683"/>
                </a:lnTo>
                <a:lnTo>
                  <a:pt x="508" y="1685"/>
                </a:lnTo>
                <a:lnTo>
                  <a:pt x="509" y="1687"/>
                </a:lnTo>
                <a:lnTo>
                  <a:pt x="511" y="1687"/>
                </a:lnTo>
                <a:lnTo>
                  <a:pt x="516" y="1685"/>
                </a:lnTo>
                <a:lnTo>
                  <a:pt x="522" y="1681"/>
                </a:lnTo>
                <a:lnTo>
                  <a:pt x="527" y="1676"/>
                </a:lnTo>
                <a:lnTo>
                  <a:pt x="529" y="1672"/>
                </a:lnTo>
                <a:lnTo>
                  <a:pt x="531" y="1671"/>
                </a:lnTo>
                <a:lnTo>
                  <a:pt x="535" y="1672"/>
                </a:lnTo>
                <a:lnTo>
                  <a:pt x="540" y="1673"/>
                </a:lnTo>
                <a:lnTo>
                  <a:pt x="547" y="1676"/>
                </a:lnTo>
                <a:lnTo>
                  <a:pt x="559" y="1681"/>
                </a:lnTo>
                <a:lnTo>
                  <a:pt x="564" y="1685"/>
                </a:lnTo>
                <a:lnTo>
                  <a:pt x="565" y="1687"/>
                </a:lnTo>
                <a:lnTo>
                  <a:pt x="565" y="1689"/>
                </a:lnTo>
                <a:lnTo>
                  <a:pt x="565" y="1691"/>
                </a:lnTo>
                <a:lnTo>
                  <a:pt x="562" y="1694"/>
                </a:lnTo>
                <a:lnTo>
                  <a:pt x="550" y="1704"/>
                </a:lnTo>
                <a:lnTo>
                  <a:pt x="536" y="1717"/>
                </a:lnTo>
                <a:lnTo>
                  <a:pt x="535" y="1720"/>
                </a:lnTo>
                <a:lnTo>
                  <a:pt x="534" y="1723"/>
                </a:lnTo>
                <a:lnTo>
                  <a:pt x="534" y="1726"/>
                </a:lnTo>
                <a:lnTo>
                  <a:pt x="535" y="1727"/>
                </a:lnTo>
                <a:lnTo>
                  <a:pt x="537" y="1728"/>
                </a:lnTo>
                <a:lnTo>
                  <a:pt x="541" y="1728"/>
                </a:lnTo>
                <a:lnTo>
                  <a:pt x="545" y="1728"/>
                </a:lnTo>
                <a:lnTo>
                  <a:pt x="549" y="1727"/>
                </a:lnTo>
                <a:lnTo>
                  <a:pt x="566" y="1719"/>
                </a:lnTo>
                <a:lnTo>
                  <a:pt x="578" y="1710"/>
                </a:lnTo>
                <a:lnTo>
                  <a:pt x="580" y="1709"/>
                </a:lnTo>
                <a:lnTo>
                  <a:pt x="583" y="1709"/>
                </a:lnTo>
                <a:lnTo>
                  <a:pt x="584" y="1710"/>
                </a:lnTo>
                <a:lnTo>
                  <a:pt x="585" y="1711"/>
                </a:lnTo>
                <a:lnTo>
                  <a:pt x="587" y="1716"/>
                </a:lnTo>
                <a:lnTo>
                  <a:pt x="587" y="1725"/>
                </a:lnTo>
                <a:lnTo>
                  <a:pt x="589" y="1728"/>
                </a:lnTo>
                <a:lnTo>
                  <a:pt x="590" y="1733"/>
                </a:lnTo>
                <a:lnTo>
                  <a:pt x="591" y="1736"/>
                </a:lnTo>
                <a:lnTo>
                  <a:pt x="594" y="1740"/>
                </a:lnTo>
                <a:lnTo>
                  <a:pt x="599" y="1747"/>
                </a:lnTo>
                <a:lnTo>
                  <a:pt x="604" y="1751"/>
                </a:lnTo>
                <a:lnTo>
                  <a:pt x="606" y="1752"/>
                </a:lnTo>
                <a:lnTo>
                  <a:pt x="609" y="1752"/>
                </a:lnTo>
                <a:lnTo>
                  <a:pt x="610" y="1751"/>
                </a:lnTo>
                <a:lnTo>
                  <a:pt x="612" y="1750"/>
                </a:lnTo>
                <a:lnTo>
                  <a:pt x="617" y="1744"/>
                </a:lnTo>
                <a:lnTo>
                  <a:pt x="622" y="1736"/>
                </a:lnTo>
                <a:lnTo>
                  <a:pt x="624" y="1733"/>
                </a:lnTo>
                <a:lnTo>
                  <a:pt x="628" y="1730"/>
                </a:lnTo>
                <a:lnTo>
                  <a:pt x="631" y="1728"/>
                </a:lnTo>
                <a:lnTo>
                  <a:pt x="636" y="1728"/>
                </a:lnTo>
                <a:lnTo>
                  <a:pt x="641" y="1729"/>
                </a:lnTo>
                <a:lnTo>
                  <a:pt x="644" y="1732"/>
                </a:lnTo>
                <a:lnTo>
                  <a:pt x="648" y="1734"/>
                </a:lnTo>
                <a:lnTo>
                  <a:pt x="649" y="1740"/>
                </a:lnTo>
                <a:lnTo>
                  <a:pt x="652" y="1750"/>
                </a:lnTo>
                <a:lnTo>
                  <a:pt x="654" y="1760"/>
                </a:lnTo>
                <a:lnTo>
                  <a:pt x="657" y="1770"/>
                </a:lnTo>
                <a:lnTo>
                  <a:pt x="665" y="1782"/>
                </a:lnTo>
                <a:lnTo>
                  <a:pt x="672" y="1793"/>
                </a:lnTo>
                <a:lnTo>
                  <a:pt x="678" y="1803"/>
                </a:lnTo>
                <a:lnTo>
                  <a:pt x="682" y="1810"/>
                </a:lnTo>
                <a:lnTo>
                  <a:pt x="687" y="1814"/>
                </a:lnTo>
                <a:lnTo>
                  <a:pt x="690" y="1815"/>
                </a:lnTo>
                <a:lnTo>
                  <a:pt x="693" y="1814"/>
                </a:lnTo>
                <a:lnTo>
                  <a:pt x="698" y="1813"/>
                </a:lnTo>
                <a:lnTo>
                  <a:pt x="701" y="1810"/>
                </a:lnTo>
                <a:lnTo>
                  <a:pt x="711" y="1803"/>
                </a:lnTo>
                <a:lnTo>
                  <a:pt x="719" y="1796"/>
                </a:lnTo>
                <a:lnTo>
                  <a:pt x="723" y="1792"/>
                </a:lnTo>
                <a:lnTo>
                  <a:pt x="726" y="1786"/>
                </a:lnTo>
                <a:lnTo>
                  <a:pt x="729" y="1780"/>
                </a:lnTo>
                <a:lnTo>
                  <a:pt x="731" y="1773"/>
                </a:lnTo>
                <a:lnTo>
                  <a:pt x="735" y="1757"/>
                </a:lnTo>
                <a:lnTo>
                  <a:pt x="737" y="1740"/>
                </a:lnTo>
                <a:lnTo>
                  <a:pt x="738" y="1730"/>
                </a:lnTo>
                <a:lnTo>
                  <a:pt x="738" y="1723"/>
                </a:lnTo>
                <a:lnTo>
                  <a:pt x="737" y="1716"/>
                </a:lnTo>
                <a:lnTo>
                  <a:pt x="736" y="1709"/>
                </a:lnTo>
                <a:lnTo>
                  <a:pt x="732" y="1697"/>
                </a:lnTo>
                <a:lnTo>
                  <a:pt x="731" y="1685"/>
                </a:lnTo>
                <a:lnTo>
                  <a:pt x="731" y="1672"/>
                </a:lnTo>
                <a:lnTo>
                  <a:pt x="732" y="1659"/>
                </a:lnTo>
                <a:lnTo>
                  <a:pt x="734" y="1647"/>
                </a:lnTo>
                <a:lnTo>
                  <a:pt x="732" y="1638"/>
                </a:lnTo>
                <a:lnTo>
                  <a:pt x="729" y="1629"/>
                </a:lnTo>
                <a:lnTo>
                  <a:pt x="726" y="1620"/>
                </a:lnTo>
                <a:lnTo>
                  <a:pt x="725" y="1615"/>
                </a:lnTo>
                <a:lnTo>
                  <a:pt x="724" y="1610"/>
                </a:lnTo>
                <a:lnTo>
                  <a:pt x="725" y="1606"/>
                </a:lnTo>
                <a:lnTo>
                  <a:pt x="728" y="1600"/>
                </a:lnTo>
                <a:lnTo>
                  <a:pt x="730" y="1595"/>
                </a:lnTo>
                <a:lnTo>
                  <a:pt x="735" y="1591"/>
                </a:lnTo>
                <a:lnTo>
                  <a:pt x="741" y="1589"/>
                </a:lnTo>
                <a:lnTo>
                  <a:pt x="747" y="1587"/>
                </a:lnTo>
                <a:lnTo>
                  <a:pt x="753" y="1587"/>
                </a:lnTo>
                <a:lnTo>
                  <a:pt x="759" y="1588"/>
                </a:lnTo>
                <a:lnTo>
                  <a:pt x="763" y="1590"/>
                </a:lnTo>
                <a:lnTo>
                  <a:pt x="768" y="1594"/>
                </a:lnTo>
                <a:lnTo>
                  <a:pt x="775" y="1602"/>
                </a:lnTo>
                <a:lnTo>
                  <a:pt x="783" y="1608"/>
                </a:lnTo>
                <a:lnTo>
                  <a:pt x="787" y="1612"/>
                </a:lnTo>
                <a:lnTo>
                  <a:pt x="792" y="1614"/>
                </a:lnTo>
                <a:lnTo>
                  <a:pt x="798" y="1615"/>
                </a:lnTo>
                <a:lnTo>
                  <a:pt x="804" y="1616"/>
                </a:lnTo>
                <a:lnTo>
                  <a:pt x="808" y="1616"/>
                </a:lnTo>
                <a:lnTo>
                  <a:pt x="812" y="1616"/>
                </a:lnTo>
                <a:lnTo>
                  <a:pt x="816" y="1615"/>
                </a:lnTo>
                <a:lnTo>
                  <a:pt x="817" y="1613"/>
                </a:lnTo>
                <a:lnTo>
                  <a:pt x="819" y="1608"/>
                </a:lnTo>
                <a:lnTo>
                  <a:pt x="822" y="1602"/>
                </a:lnTo>
                <a:lnTo>
                  <a:pt x="824" y="1599"/>
                </a:lnTo>
                <a:lnTo>
                  <a:pt x="827" y="1595"/>
                </a:lnTo>
                <a:lnTo>
                  <a:pt x="833" y="1594"/>
                </a:lnTo>
                <a:lnTo>
                  <a:pt x="841" y="1594"/>
                </a:lnTo>
                <a:lnTo>
                  <a:pt x="850" y="1595"/>
                </a:lnTo>
                <a:lnTo>
                  <a:pt x="861" y="1594"/>
                </a:lnTo>
                <a:lnTo>
                  <a:pt x="864" y="1593"/>
                </a:lnTo>
                <a:lnTo>
                  <a:pt x="869" y="1590"/>
                </a:lnTo>
                <a:lnTo>
                  <a:pt x="873" y="1587"/>
                </a:lnTo>
                <a:lnTo>
                  <a:pt x="876" y="1581"/>
                </a:lnTo>
                <a:lnTo>
                  <a:pt x="877" y="1576"/>
                </a:lnTo>
                <a:lnTo>
                  <a:pt x="877" y="1570"/>
                </a:lnTo>
                <a:lnTo>
                  <a:pt x="876" y="1565"/>
                </a:lnTo>
                <a:lnTo>
                  <a:pt x="874" y="1561"/>
                </a:lnTo>
                <a:lnTo>
                  <a:pt x="867" y="1552"/>
                </a:lnTo>
                <a:lnTo>
                  <a:pt x="860" y="1544"/>
                </a:lnTo>
                <a:lnTo>
                  <a:pt x="858" y="1542"/>
                </a:lnTo>
                <a:lnTo>
                  <a:pt x="857" y="1538"/>
                </a:lnTo>
                <a:lnTo>
                  <a:pt x="856" y="1536"/>
                </a:lnTo>
                <a:lnTo>
                  <a:pt x="857" y="1532"/>
                </a:lnTo>
                <a:lnTo>
                  <a:pt x="861" y="1526"/>
                </a:lnTo>
                <a:lnTo>
                  <a:pt x="868" y="1520"/>
                </a:lnTo>
                <a:lnTo>
                  <a:pt x="875" y="1514"/>
                </a:lnTo>
                <a:lnTo>
                  <a:pt x="880" y="1507"/>
                </a:lnTo>
                <a:lnTo>
                  <a:pt x="882" y="1499"/>
                </a:lnTo>
                <a:lnTo>
                  <a:pt x="886" y="1484"/>
                </a:lnTo>
                <a:lnTo>
                  <a:pt x="890" y="1469"/>
                </a:lnTo>
                <a:lnTo>
                  <a:pt x="892" y="1452"/>
                </a:lnTo>
                <a:lnTo>
                  <a:pt x="892" y="1445"/>
                </a:lnTo>
                <a:lnTo>
                  <a:pt x="892" y="1438"/>
                </a:lnTo>
                <a:lnTo>
                  <a:pt x="889" y="1431"/>
                </a:lnTo>
                <a:lnTo>
                  <a:pt x="887" y="1425"/>
                </a:lnTo>
                <a:lnTo>
                  <a:pt x="880" y="1412"/>
                </a:lnTo>
                <a:lnTo>
                  <a:pt x="873" y="1401"/>
                </a:lnTo>
                <a:lnTo>
                  <a:pt x="868" y="1397"/>
                </a:lnTo>
                <a:lnTo>
                  <a:pt x="864" y="1392"/>
                </a:lnTo>
                <a:lnTo>
                  <a:pt x="861" y="1389"/>
                </a:lnTo>
                <a:lnTo>
                  <a:pt x="857" y="1387"/>
                </a:lnTo>
                <a:lnTo>
                  <a:pt x="850" y="1385"/>
                </a:lnTo>
                <a:lnTo>
                  <a:pt x="839" y="1382"/>
                </a:lnTo>
                <a:lnTo>
                  <a:pt x="829" y="1379"/>
                </a:lnTo>
                <a:lnTo>
                  <a:pt x="818" y="1375"/>
                </a:lnTo>
                <a:lnTo>
                  <a:pt x="814" y="1374"/>
                </a:lnTo>
                <a:lnTo>
                  <a:pt x="811" y="1373"/>
                </a:lnTo>
                <a:lnTo>
                  <a:pt x="799" y="1366"/>
                </a:lnTo>
                <a:lnTo>
                  <a:pt x="788" y="1358"/>
                </a:lnTo>
                <a:lnTo>
                  <a:pt x="782" y="1355"/>
                </a:lnTo>
                <a:lnTo>
                  <a:pt x="778" y="1353"/>
                </a:lnTo>
                <a:lnTo>
                  <a:pt x="774" y="1351"/>
                </a:lnTo>
                <a:lnTo>
                  <a:pt x="770" y="1350"/>
                </a:lnTo>
                <a:lnTo>
                  <a:pt x="764" y="1350"/>
                </a:lnTo>
                <a:lnTo>
                  <a:pt x="760" y="1351"/>
                </a:lnTo>
                <a:lnTo>
                  <a:pt x="757" y="1353"/>
                </a:lnTo>
                <a:lnTo>
                  <a:pt x="754" y="1355"/>
                </a:lnTo>
                <a:lnTo>
                  <a:pt x="749" y="1357"/>
                </a:lnTo>
                <a:lnTo>
                  <a:pt x="747" y="1357"/>
                </a:lnTo>
                <a:lnTo>
                  <a:pt x="745" y="1355"/>
                </a:lnTo>
                <a:lnTo>
                  <a:pt x="744" y="1353"/>
                </a:lnTo>
                <a:lnTo>
                  <a:pt x="744" y="1348"/>
                </a:lnTo>
                <a:lnTo>
                  <a:pt x="744" y="1342"/>
                </a:lnTo>
                <a:lnTo>
                  <a:pt x="747" y="1326"/>
                </a:lnTo>
                <a:lnTo>
                  <a:pt x="749" y="1312"/>
                </a:lnTo>
                <a:lnTo>
                  <a:pt x="751" y="1298"/>
                </a:lnTo>
                <a:lnTo>
                  <a:pt x="753" y="1285"/>
                </a:lnTo>
                <a:lnTo>
                  <a:pt x="753" y="1279"/>
                </a:lnTo>
                <a:lnTo>
                  <a:pt x="753" y="1274"/>
                </a:lnTo>
                <a:lnTo>
                  <a:pt x="751" y="1269"/>
                </a:lnTo>
                <a:lnTo>
                  <a:pt x="749" y="1265"/>
                </a:lnTo>
                <a:lnTo>
                  <a:pt x="747" y="1261"/>
                </a:lnTo>
                <a:lnTo>
                  <a:pt x="743" y="1257"/>
                </a:lnTo>
                <a:lnTo>
                  <a:pt x="737" y="1254"/>
                </a:lnTo>
                <a:lnTo>
                  <a:pt x="731" y="1249"/>
                </a:lnTo>
                <a:lnTo>
                  <a:pt x="718" y="1242"/>
                </a:lnTo>
                <a:lnTo>
                  <a:pt x="710" y="1235"/>
                </a:lnTo>
                <a:lnTo>
                  <a:pt x="707" y="1232"/>
                </a:lnTo>
                <a:lnTo>
                  <a:pt x="707" y="1230"/>
                </a:lnTo>
                <a:lnTo>
                  <a:pt x="710" y="1229"/>
                </a:lnTo>
                <a:lnTo>
                  <a:pt x="715" y="1228"/>
                </a:lnTo>
                <a:lnTo>
                  <a:pt x="724" y="1227"/>
                </a:lnTo>
                <a:lnTo>
                  <a:pt x="735" y="1227"/>
                </a:lnTo>
                <a:lnTo>
                  <a:pt x="738" y="1225"/>
                </a:lnTo>
                <a:lnTo>
                  <a:pt x="742" y="1224"/>
                </a:lnTo>
                <a:lnTo>
                  <a:pt x="744" y="1221"/>
                </a:lnTo>
                <a:lnTo>
                  <a:pt x="744" y="1217"/>
                </a:lnTo>
                <a:lnTo>
                  <a:pt x="744" y="1204"/>
                </a:lnTo>
                <a:lnTo>
                  <a:pt x="743" y="1188"/>
                </a:lnTo>
                <a:lnTo>
                  <a:pt x="743" y="1181"/>
                </a:lnTo>
                <a:lnTo>
                  <a:pt x="744" y="1173"/>
                </a:lnTo>
                <a:lnTo>
                  <a:pt x="745" y="1167"/>
                </a:lnTo>
                <a:lnTo>
                  <a:pt x="748" y="1161"/>
                </a:lnTo>
                <a:lnTo>
                  <a:pt x="751" y="1156"/>
                </a:lnTo>
                <a:lnTo>
                  <a:pt x="755" y="1154"/>
                </a:lnTo>
                <a:lnTo>
                  <a:pt x="760" y="1152"/>
                </a:lnTo>
                <a:lnTo>
                  <a:pt x="763" y="1152"/>
                </a:lnTo>
                <a:lnTo>
                  <a:pt x="773" y="1150"/>
                </a:lnTo>
                <a:lnTo>
                  <a:pt x="781" y="1150"/>
                </a:lnTo>
                <a:lnTo>
                  <a:pt x="787" y="1149"/>
                </a:lnTo>
                <a:lnTo>
                  <a:pt x="792" y="1148"/>
                </a:lnTo>
                <a:lnTo>
                  <a:pt x="794" y="1143"/>
                </a:lnTo>
                <a:lnTo>
                  <a:pt x="794" y="1136"/>
                </a:lnTo>
                <a:lnTo>
                  <a:pt x="794" y="1128"/>
                </a:lnTo>
                <a:lnTo>
                  <a:pt x="795" y="1120"/>
                </a:lnTo>
                <a:lnTo>
                  <a:pt x="798" y="1112"/>
                </a:lnTo>
                <a:lnTo>
                  <a:pt x="801" y="1106"/>
                </a:lnTo>
                <a:lnTo>
                  <a:pt x="802" y="1104"/>
                </a:lnTo>
                <a:lnTo>
                  <a:pt x="805" y="1099"/>
                </a:lnTo>
                <a:lnTo>
                  <a:pt x="805" y="1096"/>
                </a:lnTo>
                <a:lnTo>
                  <a:pt x="805" y="1091"/>
                </a:lnTo>
                <a:lnTo>
                  <a:pt x="805" y="1086"/>
                </a:lnTo>
                <a:lnTo>
                  <a:pt x="804" y="1083"/>
                </a:lnTo>
                <a:lnTo>
                  <a:pt x="801" y="1079"/>
                </a:lnTo>
                <a:lnTo>
                  <a:pt x="800" y="1077"/>
                </a:lnTo>
                <a:lnTo>
                  <a:pt x="792" y="1074"/>
                </a:lnTo>
                <a:lnTo>
                  <a:pt x="783" y="1072"/>
                </a:lnTo>
                <a:lnTo>
                  <a:pt x="779" y="1071"/>
                </a:lnTo>
                <a:lnTo>
                  <a:pt x="774" y="1068"/>
                </a:lnTo>
                <a:lnTo>
                  <a:pt x="772" y="1066"/>
                </a:lnTo>
                <a:lnTo>
                  <a:pt x="769" y="1063"/>
                </a:lnTo>
                <a:lnTo>
                  <a:pt x="768" y="1058"/>
                </a:lnTo>
                <a:lnTo>
                  <a:pt x="767" y="1053"/>
                </a:lnTo>
                <a:lnTo>
                  <a:pt x="768" y="1049"/>
                </a:lnTo>
                <a:lnTo>
                  <a:pt x="768" y="1045"/>
                </a:lnTo>
                <a:lnTo>
                  <a:pt x="770" y="1041"/>
                </a:lnTo>
                <a:lnTo>
                  <a:pt x="773" y="1040"/>
                </a:lnTo>
                <a:lnTo>
                  <a:pt x="775" y="1040"/>
                </a:lnTo>
                <a:lnTo>
                  <a:pt x="779" y="1042"/>
                </a:lnTo>
                <a:lnTo>
                  <a:pt x="782" y="1045"/>
                </a:lnTo>
                <a:lnTo>
                  <a:pt x="786" y="1046"/>
                </a:lnTo>
                <a:lnTo>
                  <a:pt x="788" y="1047"/>
                </a:lnTo>
                <a:lnTo>
                  <a:pt x="792" y="1046"/>
                </a:lnTo>
                <a:lnTo>
                  <a:pt x="794" y="1045"/>
                </a:lnTo>
                <a:lnTo>
                  <a:pt x="797" y="1042"/>
                </a:lnTo>
                <a:lnTo>
                  <a:pt x="799" y="1038"/>
                </a:lnTo>
                <a:lnTo>
                  <a:pt x="800" y="1033"/>
                </a:lnTo>
                <a:lnTo>
                  <a:pt x="801" y="1028"/>
                </a:lnTo>
                <a:lnTo>
                  <a:pt x="802" y="1022"/>
                </a:lnTo>
                <a:lnTo>
                  <a:pt x="801" y="1016"/>
                </a:lnTo>
                <a:lnTo>
                  <a:pt x="801" y="1011"/>
                </a:lnTo>
                <a:lnTo>
                  <a:pt x="799" y="1001"/>
                </a:lnTo>
                <a:lnTo>
                  <a:pt x="797" y="991"/>
                </a:lnTo>
                <a:lnTo>
                  <a:pt x="795" y="986"/>
                </a:lnTo>
                <a:lnTo>
                  <a:pt x="795" y="984"/>
                </a:lnTo>
                <a:lnTo>
                  <a:pt x="797" y="982"/>
                </a:lnTo>
                <a:lnTo>
                  <a:pt x="798" y="979"/>
                </a:lnTo>
                <a:lnTo>
                  <a:pt x="802" y="978"/>
                </a:lnTo>
                <a:lnTo>
                  <a:pt x="811" y="979"/>
                </a:lnTo>
                <a:lnTo>
                  <a:pt x="816" y="979"/>
                </a:lnTo>
                <a:lnTo>
                  <a:pt x="819" y="980"/>
                </a:lnTo>
                <a:lnTo>
                  <a:pt x="825" y="980"/>
                </a:lnTo>
                <a:lnTo>
                  <a:pt x="829" y="980"/>
                </a:lnTo>
                <a:lnTo>
                  <a:pt x="832" y="979"/>
                </a:lnTo>
                <a:lnTo>
                  <a:pt x="837" y="977"/>
                </a:lnTo>
                <a:lnTo>
                  <a:pt x="843" y="971"/>
                </a:lnTo>
                <a:lnTo>
                  <a:pt x="850" y="967"/>
                </a:lnTo>
                <a:lnTo>
                  <a:pt x="855" y="966"/>
                </a:lnTo>
                <a:lnTo>
                  <a:pt x="858" y="966"/>
                </a:lnTo>
                <a:lnTo>
                  <a:pt x="862" y="967"/>
                </a:lnTo>
                <a:lnTo>
                  <a:pt x="867" y="971"/>
                </a:lnTo>
                <a:lnTo>
                  <a:pt x="875" y="977"/>
                </a:lnTo>
                <a:lnTo>
                  <a:pt x="885" y="982"/>
                </a:lnTo>
                <a:lnTo>
                  <a:pt x="895" y="984"/>
                </a:lnTo>
                <a:lnTo>
                  <a:pt x="906" y="986"/>
                </a:lnTo>
                <a:lnTo>
                  <a:pt x="913" y="986"/>
                </a:lnTo>
                <a:lnTo>
                  <a:pt x="920" y="986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8" name="甘肃"/>
          <p:cNvSpPr/>
          <p:nvPr/>
        </p:nvSpPr>
        <p:spPr bwMode="auto">
          <a:xfrm>
            <a:off x="3846830" y="2117725"/>
            <a:ext cx="2214245" cy="1961515"/>
          </a:xfrm>
          <a:custGeom>
            <a:avLst/>
            <a:gdLst>
              <a:gd name="T0" fmla="*/ 5071 w 5358"/>
              <a:gd name="T1" fmla="*/ 2925 h 4735"/>
              <a:gd name="T2" fmla="*/ 5289 w 5358"/>
              <a:gd name="T3" fmla="*/ 3067 h 4735"/>
              <a:gd name="T4" fmla="*/ 5306 w 5358"/>
              <a:gd name="T5" fmla="*/ 3448 h 4735"/>
              <a:gd name="T6" fmla="*/ 5084 w 5358"/>
              <a:gd name="T7" fmla="*/ 3604 h 4735"/>
              <a:gd name="T8" fmla="*/ 5043 w 5358"/>
              <a:gd name="T9" fmla="*/ 3697 h 4735"/>
              <a:gd name="T10" fmla="*/ 4806 w 5358"/>
              <a:gd name="T11" fmla="*/ 3735 h 4735"/>
              <a:gd name="T12" fmla="*/ 4594 w 5358"/>
              <a:gd name="T13" fmla="*/ 3923 h 4735"/>
              <a:gd name="T14" fmla="*/ 4567 w 5358"/>
              <a:gd name="T15" fmla="*/ 4191 h 4735"/>
              <a:gd name="T16" fmla="*/ 4457 w 5358"/>
              <a:gd name="T17" fmla="*/ 4323 h 4735"/>
              <a:gd name="T18" fmla="*/ 4377 w 5358"/>
              <a:gd name="T19" fmla="*/ 4504 h 4735"/>
              <a:gd name="T20" fmla="*/ 4158 w 5358"/>
              <a:gd name="T21" fmla="*/ 4658 h 4735"/>
              <a:gd name="T22" fmla="*/ 3939 w 5358"/>
              <a:gd name="T23" fmla="*/ 4703 h 4735"/>
              <a:gd name="T24" fmla="*/ 3791 w 5358"/>
              <a:gd name="T25" fmla="*/ 4510 h 4735"/>
              <a:gd name="T26" fmla="*/ 3681 w 5358"/>
              <a:gd name="T27" fmla="*/ 4230 h 4735"/>
              <a:gd name="T28" fmla="*/ 3405 w 5358"/>
              <a:gd name="T29" fmla="*/ 4171 h 4735"/>
              <a:gd name="T30" fmla="*/ 3280 w 5358"/>
              <a:gd name="T31" fmla="*/ 3937 h 4735"/>
              <a:gd name="T32" fmla="*/ 3083 w 5358"/>
              <a:gd name="T33" fmla="*/ 4155 h 4735"/>
              <a:gd name="T34" fmla="*/ 2995 w 5358"/>
              <a:gd name="T35" fmla="*/ 4347 h 4735"/>
              <a:gd name="T36" fmla="*/ 2936 w 5358"/>
              <a:gd name="T37" fmla="*/ 4267 h 4735"/>
              <a:gd name="T38" fmla="*/ 2763 w 5358"/>
              <a:gd name="T39" fmla="*/ 4158 h 4735"/>
              <a:gd name="T40" fmla="*/ 2555 w 5358"/>
              <a:gd name="T41" fmla="*/ 3917 h 4735"/>
              <a:gd name="T42" fmla="*/ 2820 w 5358"/>
              <a:gd name="T43" fmla="*/ 3933 h 4735"/>
              <a:gd name="T44" fmla="*/ 3047 w 5358"/>
              <a:gd name="T45" fmla="*/ 3915 h 4735"/>
              <a:gd name="T46" fmla="*/ 2990 w 5358"/>
              <a:gd name="T47" fmla="*/ 3656 h 4735"/>
              <a:gd name="T48" fmla="*/ 3224 w 5358"/>
              <a:gd name="T49" fmla="*/ 3367 h 4735"/>
              <a:gd name="T50" fmla="*/ 3376 w 5358"/>
              <a:gd name="T51" fmla="*/ 3218 h 4735"/>
              <a:gd name="T52" fmla="*/ 3278 w 5358"/>
              <a:gd name="T53" fmla="*/ 2875 h 4735"/>
              <a:gd name="T54" fmla="*/ 3224 w 5358"/>
              <a:gd name="T55" fmla="*/ 2604 h 4735"/>
              <a:gd name="T56" fmla="*/ 2986 w 5358"/>
              <a:gd name="T57" fmla="*/ 2398 h 4735"/>
              <a:gd name="T58" fmla="*/ 2664 w 5358"/>
              <a:gd name="T59" fmla="*/ 2144 h 4735"/>
              <a:gd name="T60" fmla="*/ 2518 w 5358"/>
              <a:gd name="T61" fmla="*/ 2098 h 4735"/>
              <a:gd name="T62" fmla="*/ 2179 w 5358"/>
              <a:gd name="T63" fmla="*/ 1781 h 4735"/>
              <a:gd name="T64" fmla="*/ 1922 w 5358"/>
              <a:gd name="T65" fmla="*/ 1724 h 4735"/>
              <a:gd name="T66" fmla="*/ 1672 w 5358"/>
              <a:gd name="T67" fmla="*/ 1651 h 4735"/>
              <a:gd name="T68" fmla="*/ 1503 w 5358"/>
              <a:gd name="T69" fmla="*/ 1842 h 4735"/>
              <a:gd name="T70" fmla="*/ 1346 w 5358"/>
              <a:gd name="T71" fmla="*/ 2006 h 4735"/>
              <a:gd name="T72" fmla="*/ 1038 w 5358"/>
              <a:gd name="T73" fmla="*/ 1891 h 4735"/>
              <a:gd name="T74" fmla="*/ 646 w 5358"/>
              <a:gd name="T75" fmla="*/ 1760 h 4735"/>
              <a:gd name="T76" fmla="*/ 363 w 5358"/>
              <a:gd name="T77" fmla="*/ 1533 h 4735"/>
              <a:gd name="T78" fmla="*/ 23 w 5358"/>
              <a:gd name="T79" fmla="*/ 1323 h 4735"/>
              <a:gd name="T80" fmla="*/ 287 w 5358"/>
              <a:gd name="T81" fmla="*/ 785 h 4735"/>
              <a:gd name="T82" fmla="*/ 826 w 5358"/>
              <a:gd name="T83" fmla="*/ 489 h 4735"/>
              <a:gd name="T84" fmla="*/ 1389 w 5358"/>
              <a:gd name="T85" fmla="*/ 276 h 4735"/>
              <a:gd name="T86" fmla="*/ 1868 w 5358"/>
              <a:gd name="T87" fmla="*/ 359 h 4735"/>
              <a:gd name="T88" fmla="*/ 2033 w 5358"/>
              <a:gd name="T89" fmla="*/ 875 h 4735"/>
              <a:gd name="T90" fmla="*/ 2161 w 5358"/>
              <a:gd name="T91" fmla="*/ 1014 h 4735"/>
              <a:gd name="T92" fmla="*/ 2644 w 5358"/>
              <a:gd name="T93" fmla="*/ 1044 h 4735"/>
              <a:gd name="T94" fmla="*/ 2450 w 5358"/>
              <a:gd name="T95" fmla="*/ 1382 h 4735"/>
              <a:gd name="T96" fmla="*/ 2795 w 5358"/>
              <a:gd name="T97" fmla="*/ 1639 h 4735"/>
              <a:gd name="T98" fmla="*/ 2999 w 5358"/>
              <a:gd name="T99" fmla="*/ 1964 h 4735"/>
              <a:gd name="T100" fmla="*/ 3292 w 5358"/>
              <a:gd name="T101" fmla="*/ 1755 h 4735"/>
              <a:gd name="T102" fmla="*/ 3830 w 5358"/>
              <a:gd name="T103" fmla="*/ 1776 h 4735"/>
              <a:gd name="T104" fmla="*/ 3625 w 5358"/>
              <a:gd name="T105" fmla="*/ 2174 h 4735"/>
              <a:gd name="T106" fmla="*/ 3836 w 5358"/>
              <a:gd name="T107" fmla="*/ 2584 h 4735"/>
              <a:gd name="T108" fmla="*/ 4081 w 5358"/>
              <a:gd name="T109" fmla="*/ 2734 h 4735"/>
              <a:gd name="T110" fmla="*/ 4231 w 5358"/>
              <a:gd name="T111" fmla="*/ 3039 h 4735"/>
              <a:gd name="T112" fmla="*/ 4233 w 5358"/>
              <a:gd name="T113" fmla="*/ 3327 h 4735"/>
              <a:gd name="T114" fmla="*/ 4393 w 5358"/>
              <a:gd name="T115" fmla="*/ 3447 h 4735"/>
              <a:gd name="T116" fmla="*/ 4525 w 5358"/>
              <a:gd name="T117" fmla="*/ 3558 h 4735"/>
              <a:gd name="T118" fmla="*/ 4679 w 5358"/>
              <a:gd name="T119" fmla="*/ 3384 h 4735"/>
              <a:gd name="T120" fmla="*/ 4620 w 5358"/>
              <a:gd name="T121" fmla="*/ 3127 h 4735"/>
              <a:gd name="T122" fmla="*/ 4658 w 5358"/>
              <a:gd name="T123" fmla="*/ 2888 h 4735"/>
              <a:gd name="T124" fmla="*/ 4718 w 5358"/>
              <a:gd name="T125" fmla="*/ 2742 h 4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58" h="4735">
                <a:moveTo>
                  <a:pt x="4783" y="2762"/>
                </a:moveTo>
                <a:lnTo>
                  <a:pt x="4788" y="2761"/>
                </a:lnTo>
                <a:lnTo>
                  <a:pt x="4797" y="2759"/>
                </a:lnTo>
                <a:lnTo>
                  <a:pt x="4806" y="2755"/>
                </a:lnTo>
                <a:lnTo>
                  <a:pt x="4818" y="2754"/>
                </a:lnTo>
                <a:lnTo>
                  <a:pt x="4832" y="2753"/>
                </a:lnTo>
                <a:lnTo>
                  <a:pt x="4846" y="2753"/>
                </a:lnTo>
                <a:lnTo>
                  <a:pt x="4851" y="2754"/>
                </a:lnTo>
                <a:lnTo>
                  <a:pt x="4856" y="2755"/>
                </a:lnTo>
                <a:lnTo>
                  <a:pt x="4861" y="2756"/>
                </a:lnTo>
                <a:lnTo>
                  <a:pt x="4865" y="2759"/>
                </a:lnTo>
                <a:lnTo>
                  <a:pt x="4871" y="2764"/>
                </a:lnTo>
                <a:lnTo>
                  <a:pt x="4878" y="2770"/>
                </a:lnTo>
                <a:lnTo>
                  <a:pt x="4880" y="2773"/>
                </a:lnTo>
                <a:lnTo>
                  <a:pt x="4882" y="2777"/>
                </a:lnTo>
                <a:lnTo>
                  <a:pt x="4884" y="2780"/>
                </a:lnTo>
                <a:lnTo>
                  <a:pt x="4885" y="2784"/>
                </a:lnTo>
                <a:lnTo>
                  <a:pt x="4882" y="2798"/>
                </a:lnTo>
                <a:lnTo>
                  <a:pt x="4878" y="2812"/>
                </a:lnTo>
                <a:lnTo>
                  <a:pt x="4876" y="2822"/>
                </a:lnTo>
                <a:lnTo>
                  <a:pt x="4876" y="2830"/>
                </a:lnTo>
                <a:lnTo>
                  <a:pt x="4876" y="2837"/>
                </a:lnTo>
                <a:lnTo>
                  <a:pt x="4878" y="2843"/>
                </a:lnTo>
                <a:lnTo>
                  <a:pt x="4878" y="2849"/>
                </a:lnTo>
                <a:lnTo>
                  <a:pt x="4879" y="2854"/>
                </a:lnTo>
                <a:lnTo>
                  <a:pt x="4879" y="2855"/>
                </a:lnTo>
                <a:lnTo>
                  <a:pt x="4880" y="2856"/>
                </a:lnTo>
                <a:lnTo>
                  <a:pt x="4891" y="2859"/>
                </a:lnTo>
                <a:lnTo>
                  <a:pt x="4907" y="2859"/>
                </a:lnTo>
                <a:lnTo>
                  <a:pt x="4917" y="2859"/>
                </a:lnTo>
                <a:lnTo>
                  <a:pt x="4929" y="2860"/>
                </a:lnTo>
                <a:lnTo>
                  <a:pt x="4941" y="2862"/>
                </a:lnTo>
                <a:lnTo>
                  <a:pt x="4954" y="2866"/>
                </a:lnTo>
                <a:lnTo>
                  <a:pt x="4956" y="2871"/>
                </a:lnTo>
                <a:lnTo>
                  <a:pt x="4958" y="2878"/>
                </a:lnTo>
                <a:lnTo>
                  <a:pt x="4960" y="2880"/>
                </a:lnTo>
                <a:lnTo>
                  <a:pt x="4960" y="2884"/>
                </a:lnTo>
                <a:lnTo>
                  <a:pt x="4962" y="2888"/>
                </a:lnTo>
                <a:lnTo>
                  <a:pt x="4964" y="2891"/>
                </a:lnTo>
                <a:lnTo>
                  <a:pt x="4968" y="2893"/>
                </a:lnTo>
                <a:lnTo>
                  <a:pt x="4970" y="2894"/>
                </a:lnTo>
                <a:lnTo>
                  <a:pt x="4975" y="2896"/>
                </a:lnTo>
                <a:lnTo>
                  <a:pt x="4980" y="2894"/>
                </a:lnTo>
                <a:lnTo>
                  <a:pt x="4987" y="2894"/>
                </a:lnTo>
                <a:lnTo>
                  <a:pt x="4994" y="2893"/>
                </a:lnTo>
                <a:lnTo>
                  <a:pt x="5002" y="2892"/>
                </a:lnTo>
                <a:lnTo>
                  <a:pt x="5011" y="2892"/>
                </a:lnTo>
                <a:lnTo>
                  <a:pt x="5024" y="2898"/>
                </a:lnTo>
                <a:lnTo>
                  <a:pt x="5036" y="2905"/>
                </a:lnTo>
                <a:lnTo>
                  <a:pt x="5055" y="2916"/>
                </a:lnTo>
                <a:lnTo>
                  <a:pt x="5071" y="2925"/>
                </a:lnTo>
                <a:lnTo>
                  <a:pt x="5076" y="2929"/>
                </a:lnTo>
                <a:lnTo>
                  <a:pt x="5081" y="2932"/>
                </a:lnTo>
                <a:lnTo>
                  <a:pt x="5084" y="2936"/>
                </a:lnTo>
                <a:lnTo>
                  <a:pt x="5088" y="2941"/>
                </a:lnTo>
                <a:lnTo>
                  <a:pt x="5089" y="2944"/>
                </a:lnTo>
                <a:lnTo>
                  <a:pt x="5089" y="2949"/>
                </a:lnTo>
                <a:lnTo>
                  <a:pt x="5090" y="2955"/>
                </a:lnTo>
                <a:lnTo>
                  <a:pt x="5093" y="2962"/>
                </a:lnTo>
                <a:lnTo>
                  <a:pt x="5095" y="2967"/>
                </a:lnTo>
                <a:lnTo>
                  <a:pt x="5099" y="2970"/>
                </a:lnTo>
                <a:lnTo>
                  <a:pt x="5104" y="2972"/>
                </a:lnTo>
                <a:lnTo>
                  <a:pt x="5107" y="2970"/>
                </a:lnTo>
                <a:lnTo>
                  <a:pt x="5111" y="2969"/>
                </a:lnTo>
                <a:lnTo>
                  <a:pt x="5115" y="2968"/>
                </a:lnTo>
                <a:lnTo>
                  <a:pt x="5118" y="2968"/>
                </a:lnTo>
                <a:lnTo>
                  <a:pt x="5121" y="2969"/>
                </a:lnTo>
                <a:lnTo>
                  <a:pt x="5123" y="2970"/>
                </a:lnTo>
                <a:lnTo>
                  <a:pt x="5125" y="2974"/>
                </a:lnTo>
                <a:lnTo>
                  <a:pt x="5127" y="2980"/>
                </a:lnTo>
                <a:lnTo>
                  <a:pt x="5128" y="2987"/>
                </a:lnTo>
                <a:lnTo>
                  <a:pt x="5131" y="2992"/>
                </a:lnTo>
                <a:lnTo>
                  <a:pt x="5133" y="2997"/>
                </a:lnTo>
                <a:lnTo>
                  <a:pt x="5139" y="3004"/>
                </a:lnTo>
                <a:lnTo>
                  <a:pt x="5144" y="3010"/>
                </a:lnTo>
                <a:lnTo>
                  <a:pt x="5151" y="3014"/>
                </a:lnTo>
                <a:lnTo>
                  <a:pt x="5158" y="3019"/>
                </a:lnTo>
                <a:lnTo>
                  <a:pt x="5164" y="3020"/>
                </a:lnTo>
                <a:lnTo>
                  <a:pt x="5170" y="3022"/>
                </a:lnTo>
                <a:lnTo>
                  <a:pt x="5172" y="3020"/>
                </a:lnTo>
                <a:lnTo>
                  <a:pt x="5176" y="3019"/>
                </a:lnTo>
                <a:lnTo>
                  <a:pt x="5177" y="3017"/>
                </a:lnTo>
                <a:lnTo>
                  <a:pt x="5178" y="3016"/>
                </a:lnTo>
                <a:lnTo>
                  <a:pt x="5180" y="3013"/>
                </a:lnTo>
                <a:lnTo>
                  <a:pt x="5182" y="3010"/>
                </a:lnTo>
                <a:lnTo>
                  <a:pt x="5184" y="3007"/>
                </a:lnTo>
                <a:lnTo>
                  <a:pt x="5188" y="3007"/>
                </a:lnTo>
                <a:lnTo>
                  <a:pt x="5195" y="3011"/>
                </a:lnTo>
                <a:lnTo>
                  <a:pt x="5202" y="3018"/>
                </a:lnTo>
                <a:lnTo>
                  <a:pt x="5210" y="3022"/>
                </a:lnTo>
                <a:lnTo>
                  <a:pt x="5220" y="3025"/>
                </a:lnTo>
                <a:lnTo>
                  <a:pt x="5230" y="3030"/>
                </a:lnTo>
                <a:lnTo>
                  <a:pt x="5240" y="3037"/>
                </a:lnTo>
                <a:lnTo>
                  <a:pt x="5249" y="3050"/>
                </a:lnTo>
                <a:lnTo>
                  <a:pt x="5257" y="3064"/>
                </a:lnTo>
                <a:lnTo>
                  <a:pt x="5259" y="3067"/>
                </a:lnTo>
                <a:lnTo>
                  <a:pt x="5262" y="3068"/>
                </a:lnTo>
                <a:lnTo>
                  <a:pt x="5264" y="3068"/>
                </a:lnTo>
                <a:lnTo>
                  <a:pt x="5268" y="3069"/>
                </a:lnTo>
                <a:lnTo>
                  <a:pt x="5275" y="3068"/>
                </a:lnTo>
                <a:lnTo>
                  <a:pt x="5282" y="3068"/>
                </a:lnTo>
                <a:lnTo>
                  <a:pt x="5289" y="3067"/>
                </a:lnTo>
                <a:lnTo>
                  <a:pt x="5297" y="3067"/>
                </a:lnTo>
                <a:lnTo>
                  <a:pt x="5304" y="3069"/>
                </a:lnTo>
                <a:lnTo>
                  <a:pt x="5312" y="3073"/>
                </a:lnTo>
                <a:lnTo>
                  <a:pt x="5325" y="3081"/>
                </a:lnTo>
                <a:lnTo>
                  <a:pt x="5337" y="3089"/>
                </a:lnTo>
                <a:lnTo>
                  <a:pt x="5344" y="3094"/>
                </a:lnTo>
                <a:lnTo>
                  <a:pt x="5350" y="3099"/>
                </a:lnTo>
                <a:lnTo>
                  <a:pt x="5354" y="3105"/>
                </a:lnTo>
                <a:lnTo>
                  <a:pt x="5358" y="3111"/>
                </a:lnTo>
                <a:lnTo>
                  <a:pt x="5358" y="3115"/>
                </a:lnTo>
                <a:lnTo>
                  <a:pt x="5358" y="3121"/>
                </a:lnTo>
                <a:lnTo>
                  <a:pt x="5357" y="3126"/>
                </a:lnTo>
                <a:lnTo>
                  <a:pt x="5356" y="3132"/>
                </a:lnTo>
                <a:lnTo>
                  <a:pt x="5347" y="3143"/>
                </a:lnTo>
                <a:lnTo>
                  <a:pt x="5341" y="3152"/>
                </a:lnTo>
                <a:lnTo>
                  <a:pt x="5340" y="3158"/>
                </a:lnTo>
                <a:lnTo>
                  <a:pt x="5340" y="3163"/>
                </a:lnTo>
                <a:lnTo>
                  <a:pt x="5340" y="3168"/>
                </a:lnTo>
                <a:lnTo>
                  <a:pt x="5341" y="3171"/>
                </a:lnTo>
                <a:lnTo>
                  <a:pt x="5344" y="3176"/>
                </a:lnTo>
                <a:lnTo>
                  <a:pt x="5347" y="3182"/>
                </a:lnTo>
                <a:lnTo>
                  <a:pt x="5350" y="3190"/>
                </a:lnTo>
                <a:lnTo>
                  <a:pt x="5352" y="3200"/>
                </a:lnTo>
                <a:lnTo>
                  <a:pt x="5354" y="3216"/>
                </a:lnTo>
                <a:lnTo>
                  <a:pt x="5356" y="3233"/>
                </a:lnTo>
                <a:lnTo>
                  <a:pt x="5356" y="3240"/>
                </a:lnTo>
                <a:lnTo>
                  <a:pt x="5354" y="3249"/>
                </a:lnTo>
                <a:lnTo>
                  <a:pt x="5353" y="3256"/>
                </a:lnTo>
                <a:lnTo>
                  <a:pt x="5351" y="3262"/>
                </a:lnTo>
                <a:lnTo>
                  <a:pt x="5347" y="3269"/>
                </a:lnTo>
                <a:lnTo>
                  <a:pt x="5344" y="3275"/>
                </a:lnTo>
                <a:lnTo>
                  <a:pt x="5339" y="3279"/>
                </a:lnTo>
                <a:lnTo>
                  <a:pt x="5333" y="3285"/>
                </a:lnTo>
                <a:lnTo>
                  <a:pt x="5322" y="3295"/>
                </a:lnTo>
                <a:lnTo>
                  <a:pt x="5310" y="3304"/>
                </a:lnTo>
                <a:lnTo>
                  <a:pt x="5304" y="3309"/>
                </a:lnTo>
                <a:lnTo>
                  <a:pt x="5298" y="3315"/>
                </a:lnTo>
                <a:lnTo>
                  <a:pt x="5295" y="3321"/>
                </a:lnTo>
                <a:lnTo>
                  <a:pt x="5291" y="3328"/>
                </a:lnTo>
                <a:lnTo>
                  <a:pt x="5290" y="3341"/>
                </a:lnTo>
                <a:lnTo>
                  <a:pt x="5290" y="3356"/>
                </a:lnTo>
                <a:lnTo>
                  <a:pt x="5290" y="3372"/>
                </a:lnTo>
                <a:lnTo>
                  <a:pt x="5293" y="3388"/>
                </a:lnTo>
                <a:lnTo>
                  <a:pt x="5293" y="3394"/>
                </a:lnTo>
                <a:lnTo>
                  <a:pt x="5293" y="3400"/>
                </a:lnTo>
                <a:lnTo>
                  <a:pt x="5296" y="3417"/>
                </a:lnTo>
                <a:lnTo>
                  <a:pt x="5298" y="3433"/>
                </a:lnTo>
                <a:lnTo>
                  <a:pt x="5301" y="3440"/>
                </a:lnTo>
                <a:lnTo>
                  <a:pt x="5303" y="3446"/>
                </a:lnTo>
                <a:lnTo>
                  <a:pt x="5304" y="3447"/>
                </a:lnTo>
                <a:lnTo>
                  <a:pt x="5306" y="3448"/>
                </a:lnTo>
                <a:lnTo>
                  <a:pt x="5306" y="3448"/>
                </a:lnTo>
                <a:lnTo>
                  <a:pt x="5307" y="3449"/>
                </a:lnTo>
                <a:lnTo>
                  <a:pt x="5308" y="3451"/>
                </a:lnTo>
                <a:lnTo>
                  <a:pt x="5310" y="3452"/>
                </a:lnTo>
                <a:lnTo>
                  <a:pt x="5313" y="3457"/>
                </a:lnTo>
                <a:lnTo>
                  <a:pt x="5315" y="3461"/>
                </a:lnTo>
                <a:lnTo>
                  <a:pt x="5316" y="3467"/>
                </a:lnTo>
                <a:lnTo>
                  <a:pt x="5317" y="3473"/>
                </a:lnTo>
                <a:lnTo>
                  <a:pt x="5319" y="3486"/>
                </a:lnTo>
                <a:lnTo>
                  <a:pt x="5319" y="3498"/>
                </a:lnTo>
                <a:lnTo>
                  <a:pt x="5320" y="3514"/>
                </a:lnTo>
                <a:lnTo>
                  <a:pt x="5321" y="3523"/>
                </a:lnTo>
                <a:lnTo>
                  <a:pt x="5320" y="3531"/>
                </a:lnTo>
                <a:lnTo>
                  <a:pt x="5319" y="3541"/>
                </a:lnTo>
                <a:lnTo>
                  <a:pt x="5316" y="3547"/>
                </a:lnTo>
                <a:lnTo>
                  <a:pt x="5313" y="3553"/>
                </a:lnTo>
                <a:lnTo>
                  <a:pt x="5308" y="3558"/>
                </a:lnTo>
                <a:lnTo>
                  <a:pt x="5304" y="3561"/>
                </a:lnTo>
                <a:lnTo>
                  <a:pt x="5301" y="3565"/>
                </a:lnTo>
                <a:lnTo>
                  <a:pt x="5297" y="3567"/>
                </a:lnTo>
                <a:lnTo>
                  <a:pt x="5290" y="3572"/>
                </a:lnTo>
                <a:lnTo>
                  <a:pt x="5283" y="3577"/>
                </a:lnTo>
                <a:lnTo>
                  <a:pt x="5276" y="3580"/>
                </a:lnTo>
                <a:lnTo>
                  <a:pt x="5268" y="3584"/>
                </a:lnTo>
                <a:lnTo>
                  <a:pt x="5262" y="3586"/>
                </a:lnTo>
                <a:lnTo>
                  <a:pt x="5254" y="3589"/>
                </a:lnTo>
                <a:lnTo>
                  <a:pt x="5240" y="3590"/>
                </a:lnTo>
                <a:lnTo>
                  <a:pt x="5224" y="3590"/>
                </a:lnTo>
                <a:lnTo>
                  <a:pt x="5212" y="3589"/>
                </a:lnTo>
                <a:lnTo>
                  <a:pt x="5200" y="3586"/>
                </a:lnTo>
                <a:lnTo>
                  <a:pt x="5193" y="3585"/>
                </a:lnTo>
                <a:lnTo>
                  <a:pt x="5188" y="3581"/>
                </a:lnTo>
                <a:lnTo>
                  <a:pt x="5184" y="3579"/>
                </a:lnTo>
                <a:lnTo>
                  <a:pt x="5180" y="3575"/>
                </a:lnTo>
                <a:lnTo>
                  <a:pt x="5176" y="3574"/>
                </a:lnTo>
                <a:lnTo>
                  <a:pt x="5170" y="3573"/>
                </a:lnTo>
                <a:lnTo>
                  <a:pt x="5167" y="3573"/>
                </a:lnTo>
                <a:lnTo>
                  <a:pt x="5162" y="3573"/>
                </a:lnTo>
                <a:lnTo>
                  <a:pt x="5152" y="3575"/>
                </a:lnTo>
                <a:lnTo>
                  <a:pt x="5140" y="3580"/>
                </a:lnTo>
                <a:lnTo>
                  <a:pt x="5131" y="3585"/>
                </a:lnTo>
                <a:lnTo>
                  <a:pt x="5120" y="3592"/>
                </a:lnTo>
                <a:lnTo>
                  <a:pt x="5112" y="3596"/>
                </a:lnTo>
                <a:lnTo>
                  <a:pt x="5104" y="3602"/>
                </a:lnTo>
                <a:lnTo>
                  <a:pt x="5100" y="3605"/>
                </a:lnTo>
                <a:lnTo>
                  <a:pt x="5095" y="3608"/>
                </a:lnTo>
                <a:lnTo>
                  <a:pt x="5090" y="3610"/>
                </a:lnTo>
                <a:lnTo>
                  <a:pt x="5088" y="3611"/>
                </a:lnTo>
                <a:lnTo>
                  <a:pt x="5086" y="3610"/>
                </a:lnTo>
                <a:lnTo>
                  <a:pt x="5084" y="3608"/>
                </a:lnTo>
                <a:lnTo>
                  <a:pt x="5084" y="3604"/>
                </a:lnTo>
                <a:lnTo>
                  <a:pt x="5083" y="3600"/>
                </a:lnTo>
                <a:lnTo>
                  <a:pt x="5082" y="3597"/>
                </a:lnTo>
                <a:lnTo>
                  <a:pt x="5080" y="3594"/>
                </a:lnTo>
                <a:lnTo>
                  <a:pt x="5079" y="3593"/>
                </a:lnTo>
                <a:lnTo>
                  <a:pt x="5077" y="3593"/>
                </a:lnTo>
                <a:lnTo>
                  <a:pt x="5076" y="3592"/>
                </a:lnTo>
                <a:lnTo>
                  <a:pt x="5075" y="3592"/>
                </a:lnTo>
                <a:lnTo>
                  <a:pt x="5067" y="3590"/>
                </a:lnTo>
                <a:lnTo>
                  <a:pt x="5057" y="3587"/>
                </a:lnTo>
                <a:lnTo>
                  <a:pt x="5049" y="3584"/>
                </a:lnTo>
                <a:lnTo>
                  <a:pt x="5041" y="3579"/>
                </a:lnTo>
                <a:lnTo>
                  <a:pt x="5036" y="3574"/>
                </a:lnTo>
                <a:lnTo>
                  <a:pt x="5031" y="3571"/>
                </a:lnTo>
                <a:lnTo>
                  <a:pt x="5029" y="3568"/>
                </a:lnTo>
                <a:lnTo>
                  <a:pt x="5027" y="3567"/>
                </a:lnTo>
                <a:lnTo>
                  <a:pt x="5026" y="3567"/>
                </a:lnTo>
                <a:lnTo>
                  <a:pt x="5026" y="3566"/>
                </a:lnTo>
                <a:lnTo>
                  <a:pt x="5025" y="3567"/>
                </a:lnTo>
                <a:lnTo>
                  <a:pt x="5024" y="3567"/>
                </a:lnTo>
                <a:lnTo>
                  <a:pt x="5024" y="3568"/>
                </a:lnTo>
                <a:lnTo>
                  <a:pt x="5023" y="3568"/>
                </a:lnTo>
                <a:lnTo>
                  <a:pt x="5021" y="3571"/>
                </a:lnTo>
                <a:lnTo>
                  <a:pt x="5020" y="3573"/>
                </a:lnTo>
                <a:lnTo>
                  <a:pt x="5017" y="3579"/>
                </a:lnTo>
                <a:lnTo>
                  <a:pt x="5013" y="3585"/>
                </a:lnTo>
                <a:lnTo>
                  <a:pt x="5008" y="3591"/>
                </a:lnTo>
                <a:lnTo>
                  <a:pt x="5001" y="3597"/>
                </a:lnTo>
                <a:lnTo>
                  <a:pt x="4998" y="3598"/>
                </a:lnTo>
                <a:lnTo>
                  <a:pt x="4994" y="3600"/>
                </a:lnTo>
                <a:lnTo>
                  <a:pt x="4992" y="3603"/>
                </a:lnTo>
                <a:lnTo>
                  <a:pt x="4988" y="3608"/>
                </a:lnTo>
                <a:lnTo>
                  <a:pt x="4988" y="3610"/>
                </a:lnTo>
                <a:lnTo>
                  <a:pt x="4989" y="3611"/>
                </a:lnTo>
                <a:lnTo>
                  <a:pt x="4991" y="3613"/>
                </a:lnTo>
                <a:lnTo>
                  <a:pt x="4994" y="3616"/>
                </a:lnTo>
                <a:lnTo>
                  <a:pt x="5000" y="3618"/>
                </a:lnTo>
                <a:lnTo>
                  <a:pt x="5006" y="3622"/>
                </a:lnTo>
                <a:lnTo>
                  <a:pt x="5007" y="3627"/>
                </a:lnTo>
                <a:lnTo>
                  <a:pt x="5007" y="3632"/>
                </a:lnTo>
                <a:lnTo>
                  <a:pt x="5007" y="3638"/>
                </a:lnTo>
                <a:lnTo>
                  <a:pt x="5007" y="3647"/>
                </a:lnTo>
                <a:lnTo>
                  <a:pt x="5008" y="3652"/>
                </a:lnTo>
                <a:lnTo>
                  <a:pt x="5010" y="3656"/>
                </a:lnTo>
                <a:lnTo>
                  <a:pt x="5011" y="3660"/>
                </a:lnTo>
                <a:lnTo>
                  <a:pt x="5014" y="3666"/>
                </a:lnTo>
                <a:lnTo>
                  <a:pt x="5019" y="3671"/>
                </a:lnTo>
                <a:lnTo>
                  <a:pt x="5024" y="3676"/>
                </a:lnTo>
                <a:lnTo>
                  <a:pt x="5031" y="3682"/>
                </a:lnTo>
                <a:lnTo>
                  <a:pt x="5038" y="3690"/>
                </a:lnTo>
                <a:lnTo>
                  <a:pt x="5041" y="3693"/>
                </a:lnTo>
                <a:lnTo>
                  <a:pt x="5043" y="3697"/>
                </a:lnTo>
                <a:lnTo>
                  <a:pt x="5045" y="3703"/>
                </a:lnTo>
                <a:lnTo>
                  <a:pt x="5046" y="3709"/>
                </a:lnTo>
                <a:lnTo>
                  <a:pt x="5046" y="3713"/>
                </a:lnTo>
                <a:lnTo>
                  <a:pt x="5045" y="3718"/>
                </a:lnTo>
                <a:lnTo>
                  <a:pt x="5044" y="3720"/>
                </a:lnTo>
                <a:lnTo>
                  <a:pt x="5042" y="3723"/>
                </a:lnTo>
                <a:lnTo>
                  <a:pt x="5041" y="3725"/>
                </a:lnTo>
                <a:lnTo>
                  <a:pt x="5038" y="3726"/>
                </a:lnTo>
                <a:lnTo>
                  <a:pt x="5035" y="3729"/>
                </a:lnTo>
                <a:lnTo>
                  <a:pt x="5031" y="3730"/>
                </a:lnTo>
                <a:lnTo>
                  <a:pt x="5024" y="3732"/>
                </a:lnTo>
                <a:lnTo>
                  <a:pt x="5017" y="3734"/>
                </a:lnTo>
                <a:lnTo>
                  <a:pt x="5007" y="3734"/>
                </a:lnTo>
                <a:lnTo>
                  <a:pt x="4997" y="3734"/>
                </a:lnTo>
                <a:lnTo>
                  <a:pt x="4992" y="3732"/>
                </a:lnTo>
                <a:lnTo>
                  <a:pt x="4987" y="3732"/>
                </a:lnTo>
                <a:lnTo>
                  <a:pt x="4982" y="3731"/>
                </a:lnTo>
                <a:lnTo>
                  <a:pt x="4976" y="3730"/>
                </a:lnTo>
                <a:lnTo>
                  <a:pt x="4972" y="3730"/>
                </a:lnTo>
                <a:lnTo>
                  <a:pt x="4967" y="3730"/>
                </a:lnTo>
                <a:lnTo>
                  <a:pt x="4960" y="3730"/>
                </a:lnTo>
                <a:lnTo>
                  <a:pt x="4956" y="3731"/>
                </a:lnTo>
                <a:lnTo>
                  <a:pt x="4948" y="3735"/>
                </a:lnTo>
                <a:lnTo>
                  <a:pt x="4941" y="3739"/>
                </a:lnTo>
                <a:lnTo>
                  <a:pt x="4932" y="3743"/>
                </a:lnTo>
                <a:lnTo>
                  <a:pt x="4924" y="3745"/>
                </a:lnTo>
                <a:lnTo>
                  <a:pt x="4918" y="3745"/>
                </a:lnTo>
                <a:lnTo>
                  <a:pt x="4912" y="3744"/>
                </a:lnTo>
                <a:lnTo>
                  <a:pt x="4907" y="3743"/>
                </a:lnTo>
                <a:lnTo>
                  <a:pt x="4901" y="3741"/>
                </a:lnTo>
                <a:lnTo>
                  <a:pt x="4893" y="3737"/>
                </a:lnTo>
                <a:lnTo>
                  <a:pt x="4884" y="3736"/>
                </a:lnTo>
                <a:lnTo>
                  <a:pt x="4878" y="3735"/>
                </a:lnTo>
                <a:lnTo>
                  <a:pt x="4871" y="3735"/>
                </a:lnTo>
                <a:lnTo>
                  <a:pt x="4865" y="3736"/>
                </a:lnTo>
                <a:lnTo>
                  <a:pt x="4860" y="3736"/>
                </a:lnTo>
                <a:lnTo>
                  <a:pt x="4851" y="3739"/>
                </a:lnTo>
                <a:lnTo>
                  <a:pt x="4842" y="3747"/>
                </a:lnTo>
                <a:lnTo>
                  <a:pt x="4840" y="3748"/>
                </a:lnTo>
                <a:lnTo>
                  <a:pt x="4838" y="3750"/>
                </a:lnTo>
                <a:lnTo>
                  <a:pt x="4836" y="3751"/>
                </a:lnTo>
                <a:lnTo>
                  <a:pt x="4834" y="3754"/>
                </a:lnTo>
                <a:lnTo>
                  <a:pt x="4830" y="3755"/>
                </a:lnTo>
                <a:lnTo>
                  <a:pt x="4827" y="3756"/>
                </a:lnTo>
                <a:lnTo>
                  <a:pt x="4825" y="3756"/>
                </a:lnTo>
                <a:lnTo>
                  <a:pt x="4824" y="3755"/>
                </a:lnTo>
                <a:lnTo>
                  <a:pt x="4821" y="3754"/>
                </a:lnTo>
                <a:lnTo>
                  <a:pt x="4818" y="3751"/>
                </a:lnTo>
                <a:lnTo>
                  <a:pt x="4813" y="3745"/>
                </a:lnTo>
                <a:lnTo>
                  <a:pt x="4810" y="3738"/>
                </a:lnTo>
                <a:lnTo>
                  <a:pt x="4806" y="3735"/>
                </a:lnTo>
                <a:lnTo>
                  <a:pt x="4804" y="3730"/>
                </a:lnTo>
                <a:lnTo>
                  <a:pt x="4791" y="3713"/>
                </a:lnTo>
                <a:lnTo>
                  <a:pt x="4780" y="3700"/>
                </a:lnTo>
                <a:lnTo>
                  <a:pt x="4773" y="3692"/>
                </a:lnTo>
                <a:lnTo>
                  <a:pt x="4765" y="3685"/>
                </a:lnTo>
                <a:lnTo>
                  <a:pt x="4755" y="3678"/>
                </a:lnTo>
                <a:lnTo>
                  <a:pt x="4746" y="3672"/>
                </a:lnTo>
                <a:lnTo>
                  <a:pt x="4736" y="3667"/>
                </a:lnTo>
                <a:lnTo>
                  <a:pt x="4725" y="3662"/>
                </a:lnTo>
                <a:lnTo>
                  <a:pt x="4714" y="3659"/>
                </a:lnTo>
                <a:lnTo>
                  <a:pt x="4702" y="3656"/>
                </a:lnTo>
                <a:lnTo>
                  <a:pt x="4691" y="3654"/>
                </a:lnTo>
                <a:lnTo>
                  <a:pt x="4678" y="3654"/>
                </a:lnTo>
                <a:lnTo>
                  <a:pt x="4654" y="3654"/>
                </a:lnTo>
                <a:lnTo>
                  <a:pt x="4633" y="3657"/>
                </a:lnTo>
                <a:lnTo>
                  <a:pt x="4622" y="3660"/>
                </a:lnTo>
                <a:lnTo>
                  <a:pt x="4614" y="3662"/>
                </a:lnTo>
                <a:lnTo>
                  <a:pt x="4608" y="3665"/>
                </a:lnTo>
                <a:lnTo>
                  <a:pt x="4603" y="3668"/>
                </a:lnTo>
                <a:lnTo>
                  <a:pt x="4598" y="3674"/>
                </a:lnTo>
                <a:lnTo>
                  <a:pt x="4596" y="3682"/>
                </a:lnTo>
                <a:lnTo>
                  <a:pt x="4595" y="3692"/>
                </a:lnTo>
                <a:lnTo>
                  <a:pt x="4594" y="3704"/>
                </a:lnTo>
                <a:lnTo>
                  <a:pt x="4594" y="3728"/>
                </a:lnTo>
                <a:lnTo>
                  <a:pt x="4596" y="3751"/>
                </a:lnTo>
                <a:lnTo>
                  <a:pt x="4598" y="3769"/>
                </a:lnTo>
                <a:lnTo>
                  <a:pt x="4601" y="3786"/>
                </a:lnTo>
                <a:lnTo>
                  <a:pt x="4599" y="3792"/>
                </a:lnTo>
                <a:lnTo>
                  <a:pt x="4598" y="3799"/>
                </a:lnTo>
                <a:lnTo>
                  <a:pt x="4596" y="3804"/>
                </a:lnTo>
                <a:lnTo>
                  <a:pt x="4591" y="3810"/>
                </a:lnTo>
                <a:lnTo>
                  <a:pt x="4580" y="3820"/>
                </a:lnTo>
                <a:lnTo>
                  <a:pt x="4569" y="3832"/>
                </a:lnTo>
                <a:lnTo>
                  <a:pt x="4554" y="3844"/>
                </a:lnTo>
                <a:lnTo>
                  <a:pt x="4540" y="3856"/>
                </a:lnTo>
                <a:lnTo>
                  <a:pt x="4536" y="3860"/>
                </a:lnTo>
                <a:lnTo>
                  <a:pt x="4534" y="3863"/>
                </a:lnTo>
                <a:lnTo>
                  <a:pt x="4532" y="3867"/>
                </a:lnTo>
                <a:lnTo>
                  <a:pt x="4529" y="3871"/>
                </a:lnTo>
                <a:lnTo>
                  <a:pt x="4528" y="3879"/>
                </a:lnTo>
                <a:lnTo>
                  <a:pt x="4527" y="3886"/>
                </a:lnTo>
                <a:lnTo>
                  <a:pt x="4528" y="3892"/>
                </a:lnTo>
                <a:lnTo>
                  <a:pt x="4532" y="3896"/>
                </a:lnTo>
                <a:lnTo>
                  <a:pt x="4536" y="3901"/>
                </a:lnTo>
                <a:lnTo>
                  <a:pt x="4546" y="3905"/>
                </a:lnTo>
                <a:lnTo>
                  <a:pt x="4558" y="3907"/>
                </a:lnTo>
                <a:lnTo>
                  <a:pt x="4571" y="3909"/>
                </a:lnTo>
                <a:lnTo>
                  <a:pt x="4578" y="3911"/>
                </a:lnTo>
                <a:lnTo>
                  <a:pt x="4584" y="3914"/>
                </a:lnTo>
                <a:lnTo>
                  <a:pt x="4590" y="3918"/>
                </a:lnTo>
                <a:lnTo>
                  <a:pt x="4594" y="3923"/>
                </a:lnTo>
                <a:lnTo>
                  <a:pt x="4601" y="3933"/>
                </a:lnTo>
                <a:lnTo>
                  <a:pt x="4607" y="3942"/>
                </a:lnTo>
                <a:lnTo>
                  <a:pt x="4613" y="3949"/>
                </a:lnTo>
                <a:lnTo>
                  <a:pt x="4621" y="3956"/>
                </a:lnTo>
                <a:lnTo>
                  <a:pt x="4629" y="3962"/>
                </a:lnTo>
                <a:lnTo>
                  <a:pt x="4638" y="3968"/>
                </a:lnTo>
                <a:lnTo>
                  <a:pt x="4642" y="3970"/>
                </a:lnTo>
                <a:lnTo>
                  <a:pt x="4645" y="3974"/>
                </a:lnTo>
                <a:lnTo>
                  <a:pt x="4647" y="3976"/>
                </a:lnTo>
                <a:lnTo>
                  <a:pt x="4647" y="3980"/>
                </a:lnTo>
                <a:lnTo>
                  <a:pt x="4646" y="3985"/>
                </a:lnTo>
                <a:lnTo>
                  <a:pt x="4641" y="3993"/>
                </a:lnTo>
                <a:lnTo>
                  <a:pt x="4636" y="3999"/>
                </a:lnTo>
                <a:lnTo>
                  <a:pt x="4633" y="4006"/>
                </a:lnTo>
                <a:lnTo>
                  <a:pt x="4629" y="4009"/>
                </a:lnTo>
                <a:lnTo>
                  <a:pt x="4626" y="4012"/>
                </a:lnTo>
                <a:lnTo>
                  <a:pt x="4621" y="4014"/>
                </a:lnTo>
                <a:lnTo>
                  <a:pt x="4615" y="4015"/>
                </a:lnTo>
                <a:lnTo>
                  <a:pt x="4603" y="4015"/>
                </a:lnTo>
                <a:lnTo>
                  <a:pt x="4591" y="4016"/>
                </a:lnTo>
                <a:lnTo>
                  <a:pt x="4588" y="4018"/>
                </a:lnTo>
                <a:lnTo>
                  <a:pt x="4586" y="4020"/>
                </a:lnTo>
                <a:lnTo>
                  <a:pt x="4588" y="4022"/>
                </a:lnTo>
                <a:lnTo>
                  <a:pt x="4590" y="4025"/>
                </a:lnTo>
                <a:lnTo>
                  <a:pt x="4598" y="4031"/>
                </a:lnTo>
                <a:lnTo>
                  <a:pt x="4605" y="4037"/>
                </a:lnTo>
                <a:lnTo>
                  <a:pt x="4608" y="4040"/>
                </a:lnTo>
                <a:lnTo>
                  <a:pt x="4608" y="4046"/>
                </a:lnTo>
                <a:lnTo>
                  <a:pt x="4608" y="4052"/>
                </a:lnTo>
                <a:lnTo>
                  <a:pt x="4607" y="4059"/>
                </a:lnTo>
                <a:lnTo>
                  <a:pt x="4602" y="4073"/>
                </a:lnTo>
                <a:lnTo>
                  <a:pt x="4595" y="4087"/>
                </a:lnTo>
                <a:lnTo>
                  <a:pt x="4585" y="4097"/>
                </a:lnTo>
                <a:lnTo>
                  <a:pt x="4576" y="4107"/>
                </a:lnTo>
                <a:lnTo>
                  <a:pt x="4572" y="4111"/>
                </a:lnTo>
                <a:lnTo>
                  <a:pt x="4569" y="4116"/>
                </a:lnTo>
                <a:lnTo>
                  <a:pt x="4566" y="4121"/>
                </a:lnTo>
                <a:lnTo>
                  <a:pt x="4565" y="4127"/>
                </a:lnTo>
                <a:lnTo>
                  <a:pt x="4564" y="4136"/>
                </a:lnTo>
                <a:lnTo>
                  <a:pt x="4561" y="4145"/>
                </a:lnTo>
                <a:lnTo>
                  <a:pt x="4558" y="4152"/>
                </a:lnTo>
                <a:lnTo>
                  <a:pt x="4552" y="4160"/>
                </a:lnTo>
                <a:lnTo>
                  <a:pt x="4548" y="4165"/>
                </a:lnTo>
                <a:lnTo>
                  <a:pt x="4546" y="4170"/>
                </a:lnTo>
                <a:lnTo>
                  <a:pt x="4545" y="4174"/>
                </a:lnTo>
                <a:lnTo>
                  <a:pt x="4545" y="4179"/>
                </a:lnTo>
                <a:lnTo>
                  <a:pt x="4546" y="4184"/>
                </a:lnTo>
                <a:lnTo>
                  <a:pt x="4550" y="4188"/>
                </a:lnTo>
                <a:lnTo>
                  <a:pt x="4555" y="4190"/>
                </a:lnTo>
                <a:lnTo>
                  <a:pt x="4563" y="4191"/>
                </a:lnTo>
                <a:lnTo>
                  <a:pt x="4567" y="4191"/>
                </a:lnTo>
                <a:lnTo>
                  <a:pt x="4570" y="4192"/>
                </a:lnTo>
                <a:lnTo>
                  <a:pt x="4572" y="4194"/>
                </a:lnTo>
                <a:lnTo>
                  <a:pt x="4572" y="4195"/>
                </a:lnTo>
                <a:lnTo>
                  <a:pt x="4572" y="4198"/>
                </a:lnTo>
                <a:lnTo>
                  <a:pt x="4569" y="4204"/>
                </a:lnTo>
                <a:lnTo>
                  <a:pt x="4565" y="4210"/>
                </a:lnTo>
                <a:lnTo>
                  <a:pt x="4560" y="4217"/>
                </a:lnTo>
                <a:lnTo>
                  <a:pt x="4558" y="4226"/>
                </a:lnTo>
                <a:lnTo>
                  <a:pt x="4557" y="4235"/>
                </a:lnTo>
                <a:lnTo>
                  <a:pt x="4558" y="4243"/>
                </a:lnTo>
                <a:lnTo>
                  <a:pt x="4561" y="4251"/>
                </a:lnTo>
                <a:lnTo>
                  <a:pt x="4565" y="4256"/>
                </a:lnTo>
                <a:lnTo>
                  <a:pt x="4570" y="4262"/>
                </a:lnTo>
                <a:lnTo>
                  <a:pt x="4580" y="4271"/>
                </a:lnTo>
                <a:lnTo>
                  <a:pt x="4589" y="4278"/>
                </a:lnTo>
                <a:lnTo>
                  <a:pt x="4592" y="4283"/>
                </a:lnTo>
                <a:lnTo>
                  <a:pt x="4595" y="4290"/>
                </a:lnTo>
                <a:lnTo>
                  <a:pt x="4596" y="4299"/>
                </a:lnTo>
                <a:lnTo>
                  <a:pt x="4596" y="4308"/>
                </a:lnTo>
                <a:lnTo>
                  <a:pt x="4595" y="4317"/>
                </a:lnTo>
                <a:lnTo>
                  <a:pt x="4594" y="4325"/>
                </a:lnTo>
                <a:lnTo>
                  <a:pt x="4591" y="4333"/>
                </a:lnTo>
                <a:lnTo>
                  <a:pt x="4589" y="4339"/>
                </a:lnTo>
                <a:lnTo>
                  <a:pt x="4585" y="4341"/>
                </a:lnTo>
                <a:lnTo>
                  <a:pt x="4580" y="4343"/>
                </a:lnTo>
                <a:lnTo>
                  <a:pt x="4576" y="4343"/>
                </a:lnTo>
                <a:lnTo>
                  <a:pt x="4571" y="4342"/>
                </a:lnTo>
                <a:lnTo>
                  <a:pt x="4565" y="4340"/>
                </a:lnTo>
                <a:lnTo>
                  <a:pt x="4560" y="4336"/>
                </a:lnTo>
                <a:lnTo>
                  <a:pt x="4555" y="4333"/>
                </a:lnTo>
                <a:lnTo>
                  <a:pt x="4552" y="4328"/>
                </a:lnTo>
                <a:lnTo>
                  <a:pt x="4545" y="4316"/>
                </a:lnTo>
                <a:lnTo>
                  <a:pt x="4541" y="4306"/>
                </a:lnTo>
                <a:lnTo>
                  <a:pt x="4539" y="4303"/>
                </a:lnTo>
                <a:lnTo>
                  <a:pt x="4536" y="4300"/>
                </a:lnTo>
                <a:lnTo>
                  <a:pt x="4534" y="4300"/>
                </a:lnTo>
                <a:lnTo>
                  <a:pt x="4531" y="4302"/>
                </a:lnTo>
                <a:lnTo>
                  <a:pt x="4523" y="4308"/>
                </a:lnTo>
                <a:lnTo>
                  <a:pt x="4517" y="4311"/>
                </a:lnTo>
                <a:lnTo>
                  <a:pt x="4515" y="4312"/>
                </a:lnTo>
                <a:lnTo>
                  <a:pt x="4512" y="4312"/>
                </a:lnTo>
                <a:lnTo>
                  <a:pt x="4509" y="4312"/>
                </a:lnTo>
                <a:lnTo>
                  <a:pt x="4506" y="4310"/>
                </a:lnTo>
                <a:lnTo>
                  <a:pt x="4503" y="4309"/>
                </a:lnTo>
                <a:lnTo>
                  <a:pt x="4500" y="4308"/>
                </a:lnTo>
                <a:lnTo>
                  <a:pt x="4496" y="4308"/>
                </a:lnTo>
                <a:lnTo>
                  <a:pt x="4492" y="4309"/>
                </a:lnTo>
                <a:lnTo>
                  <a:pt x="4483" y="4312"/>
                </a:lnTo>
                <a:lnTo>
                  <a:pt x="4471" y="4319"/>
                </a:lnTo>
                <a:lnTo>
                  <a:pt x="4464" y="4322"/>
                </a:lnTo>
                <a:lnTo>
                  <a:pt x="4457" y="4323"/>
                </a:lnTo>
                <a:lnTo>
                  <a:pt x="4450" y="4323"/>
                </a:lnTo>
                <a:lnTo>
                  <a:pt x="4443" y="4321"/>
                </a:lnTo>
                <a:lnTo>
                  <a:pt x="4426" y="4314"/>
                </a:lnTo>
                <a:lnTo>
                  <a:pt x="4406" y="4304"/>
                </a:lnTo>
                <a:lnTo>
                  <a:pt x="4395" y="4300"/>
                </a:lnTo>
                <a:lnTo>
                  <a:pt x="4387" y="4299"/>
                </a:lnTo>
                <a:lnTo>
                  <a:pt x="4378" y="4300"/>
                </a:lnTo>
                <a:lnTo>
                  <a:pt x="4371" y="4303"/>
                </a:lnTo>
                <a:lnTo>
                  <a:pt x="4365" y="4308"/>
                </a:lnTo>
                <a:lnTo>
                  <a:pt x="4358" y="4315"/>
                </a:lnTo>
                <a:lnTo>
                  <a:pt x="4351" y="4323"/>
                </a:lnTo>
                <a:lnTo>
                  <a:pt x="4343" y="4334"/>
                </a:lnTo>
                <a:lnTo>
                  <a:pt x="4336" y="4343"/>
                </a:lnTo>
                <a:lnTo>
                  <a:pt x="4330" y="4352"/>
                </a:lnTo>
                <a:lnTo>
                  <a:pt x="4327" y="4359"/>
                </a:lnTo>
                <a:lnTo>
                  <a:pt x="4325" y="4363"/>
                </a:lnTo>
                <a:lnTo>
                  <a:pt x="4324" y="4373"/>
                </a:lnTo>
                <a:lnTo>
                  <a:pt x="4323" y="4384"/>
                </a:lnTo>
                <a:lnTo>
                  <a:pt x="4320" y="4390"/>
                </a:lnTo>
                <a:lnTo>
                  <a:pt x="4318" y="4393"/>
                </a:lnTo>
                <a:lnTo>
                  <a:pt x="4314" y="4396"/>
                </a:lnTo>
                <a:lnTo>
                  <a:pt x="4311" y="4398"/>
                </a:lnTo>
                <a:lnTo>
                  <a:pt x="4307" y="4398"/>
                </a:lnTo>
                <a:lnTo>
                  <a:pt x="4302" y="4398"/>
                </a:lnTo>
                <a:lnTo>
                  <a:pt x="4298" y="4397"/>
                </a:lnTo>
                <a:lnTo>
                  <a:pt x="4293" y="4394"/>
                </a:lnTo>
                <a:lnTo>
                  <a:pt x="4290" y="4394"/>
                </a:lnTo>
                <a:lnTo>
                  <a:pt x="4288" y="4394"/>
                </a:lnTo>
                <a:lnTo>
                  <a:pt x="4287" y="4396"/>
                </a:lnTo>
                <a:lnTo>
                  <a:pt x="4286" y="4397"/>
                </a:lnTo>
                <a:lnTo>
                  <a:pt x="4284" y="4402"/>
                </a:lnTo>
                <a:lnTo>
                  <a:pt x="4284" y="4407"/>
                </a:lnTo>
                <a:lnTo>
                  <a:pt x="4284" y="4415"/>
                </a:lnTo>
                <a:lnTo>
                  <a:pt x="4287" y="4423"/>
                </a:lnTo>
                <a:lnTo>
                  <a:pt x="4289" y="4430"/>
                </a:lnTo>
                <a:lnTo>
                  <a:pt x="4293" y="4437"/>
                </a:lnTo>
                <a:lnTo>
                  <a:pt x="4298" y="4443"/>
                </a:lnTo>
                <a:lnTo>
                  <a:pt x="4302" y="4448"/>
                </a:lnTo>
                <a:lnTo>
                  <a:pt x="4308" y="4451"/>
                </a:lnTo>
                <a:lnTo>
                  <a:pt x="4314" y="4455"/>
                </a:lnTo>
                <a:lnTo>
                  <a:pt x="4326" y="4460"/>
                </a:lnTo>
                <a:lnTo>
                  <a:pt x="4338" y="4462"/>
                </a:lnTo>
                <a:lnTo>
                  <a:pt x="4349" y="4464"/>
                </a:lnTo>
                <a:lnTo>
                  <a:pt x="4359" y="4469"/>
                </a:lnTo>
                <a:lnTo>
                  <a:pt x="4364" y="4472"/>
                </a:lnTo>
                <a:lnTo>
                  <a:pt x="4369" y="4475"/>
                </a:lnTo>
                <a:lnTo>
                  <a:pt x="4372" y="4481"/>
                </a:lnTo>
                <a:lnTo>
                  <a:pt x="4375" y="4487"/>
                </a:lnTo>
                <a:lnTo>
                  <a:pt x="4377" y="4493"/>
                </a:lnTo>
                <a:lnTo>
                  <a:pt x="4378" y="4499"/>
                </a:lnTo>
                <a:lnTo>
                  <a:pt x="4377" y="4504"/>
                </a:lnTo>
                <a:lnTo>
                  <a:pt x="4376" y="4506"/>
                </a:lnTo>
                <a:lnTo>
                  <a:pt x="4375" y="4508"/>
                </a:lnTo>
                <a:lnTo>
                  <a:pt x="4372" y="4510"/>
                </a:lnTo>
                <a:lnTo>
                  <a:pt x="4370" y="4508"/>
                </a:lnTo>
                <a:lnTo>
                  <a:pt x="4369" y="4506"/>
                </a:lnTo>
                <a:lnTo>
                  <a:pt x="4365" y="4500"/>
                </a:lnTo>
                <a:lnTo>
                  <a:pt x="4362" y="4497"/>
                </a:lnTo>
                <a:lnTo>
                  <a:pt x="4358" y="4495"/>
                </a:lnTo>
                <a:lnTo>
                  <a:pt x="4353" y="4495"/>
                </a:lnTo>
                <a:lnTo>
                  <a:pt x="4352" y="4497"/>
                </a:lnTo>
                <a:lnTo>
                  <a:pt x="4351" y="4501"/>
                </a:lnTo>
                <a:lnTo>
                  <a:pt x="4351" y="4507"/>
                </a:lnTo>
                <a:lnTo>
                  <a:pt x="4352" y="4516"/>
                </a:lnTo>
                <a:lnTo>
                  <a:pt x="4355" y="4533"/>
                </a:lnTo>
                <a:lnTo>
                  <a:pt x="4355" y="4551"/>
                </a:lnTo>
                <a:lnTo>
                  <a:pt x="4355" y="4560"/>
                </a:lnTo>
                <a:lnTo>
                  <a:pt x="4353" y="4566"/>
                </a:lnTo>
                <a:lnTo>
                  <a:pt x="4352" y="4571"/>
                </a:lnTo>
                <a:lnTo>
                  <a:pt x="4350" y="4576"/>
                </a:lnTo>
                <a:lnTo>
                  <a:pt x="4347" y="4580"/>
                </a:lnTo>
                <a:lnTo>
                  <a:pt x="4344" y="4582"/>
                </a:lnTo>
                <a:lnTo>
                  <a:pt x="4340" y="4583"/>
                </a:lnTo>
                <a:lnTo>
                  <a:pt x="4336" y="4585"/>
                </a:lnTo>
                <a:lnTo>
                  <a:pt x="4326" y="4586"/>
                </a:lnTo>
                <a:lnTo>
                  <a:pt x="4314" y="4589"/>
                </a:lnTo>
                <a:lnTo>
                  <a:pt x="4300" y="4595"/>
                </a:lnTo>
                <a:lnTo>
                  <a:pt x="4284" y="4604"/>
                </a:lnTo>
                <a:lnTo>
                  <a:pt x="4275" y="4608"/>
                </a:lnTo>
                <a:lnTo>
                  <a:pt x="4264" y="4612"/>
                </a:lnTo>
                <a:lnTo>
                  <a:pt x="4254" y="4614"/>
                </a:lnTo>
                <a:lnTo>
                  <a:pt x="4243" y="4615"/>
                </a:lnTo>
                <a:lnTo>
                  <a:pt x="4233" y="4615"/>
                </a:lnTo>
                <a:lnTo>
                  <a:pt x="4224" y="4614"/>
                </a:lnTo>
                <a:lnTo>
                  <a:pt x="4217" y="4612"/>
                </a:lnTo>
                <a:lnTo>
                  <a:pt x="4210" y="4608"/>
                </a:lnTo>
                <a:lnTo>
                  <a:pt x="4204" y="4605"/>
                </a:lnTo>
                <a:lnTo>
                  <a:pt x="4198" y="4601"/>
                </a:lnTo>
                <a:lnTo>
                  <a:pt x="4192" y="4599"/>
                </a:lnTo>
                <a:lnTo>
                  <a:pt x="4186" y="4596"/>
                </a:lnTo>
                <a:lnTo>
                  <a:pt x="4179" y="4596"/>
                </a:lnTo>
                <a:lnTo>
                  <a:pt x="4173" y="4598"/>
                </a:lnTo>
                <a:lnTo>
                  <a:pt x="4166" y="4600"/>
                </a:lnTo>
                <a:lnTo>
                  <a:pt x="4160" y="4606"/>
                </a:lnTo>
                <a:lnTo>
                  <a:pt x="4155" y="4612"/>
                </a:lnTo>
                <a:lnTo>
                  <a:pt x="4151" y="4618"/>
                </a:lnTo>
                <a:lnTo>
                  <a:pt x="4150" y="4625"/>
                </a:lnTo>
                <a:lnTo>
                  <a:pt x="4149" y="4632"/>
                </a:lnTo>
                <a:lnTo>
                  <a:pt x="4150" y="4639"/>
                </a:lnTo>
                <a:lnTo>
                  <a:pt x="4151" y="4646"/>
                </a:lnTo>
                <a:lnTo>
                  <a:pt x="4155" y="4652"/>
                </a:lnTo>
                <a:lnTo>
                  <a:pt x="4158" y="4658"/>
                </a:lnTo>
                <a:lnTo>
                  <a:pt x="4161" y="4664"/>
                </a:lnTo>
                <a:lnTo>
                  <a:pt x="4163" y="4669"/>
                </a:lnTo>
                <a:lnTo>
                  <a:pt x="4164" y="4675"/>
                </a:lnTo>
                <a:lnTo>
                  <a:pt x="4163" y="4680"/>
                </a:lnTo>
                <a:lnTo>
                  <a:pt x="4161" y="4683"/>
                </a:lnTo>
                <a:lnTo>
                  <a:pt x="4158" y="4686"/>
                </a:lnTo>
                <a:lnTo>
                  <a:pt x="4154" y="4688"/>
                </a:lnTo>
                <a:lnTo>
                  <a:pt x="4149" y="4690"/>
                </a:lnTo>
                <a:lnTo>
                  <a:pt x="4139" y="4695"/>
                </a:lnTo>
                <a:lnTo>
                  <a:pt x="4130" y="4699"/>
                </a:lnTo>
                <a:lnTo>
                  <a:pt x="4118" y="4705"/>
                </a:lnTo>
                <a:lnTo>
                  <a:pt x="4107" y="4712"/>
                </a:lnTo>
                <a:lnTo>
                  <a:pt x="4103" y="4714"/>
                </a:lnTo>
                <a:lnTo>
                  <a:pt x="4098" y="4715"/>
                </a:lnTo>
                <a:lnTo>
                  <a:pt x="4093" y="4715"/>
                </a:lnTo>
                <a:lnTo>
                  <a:pt x="4090" y="4713"/>
                </a:lnTo>
                <a:lnTo>
                  <a:pt x="4087" y="4711"/>
                </a:lnTo>
                <a:lnTo>
                  <a:pt x="4085" y="4708"/>
                </a:lnTo>
                <a:lnTo>
                  <a:pt x="4082" y="4708"/>
                </a:lnTo>
                <a:lnTo>
                  <a:pt x="4080" y="4708"/>
                </a:lnTo>
                <a:lnTo>
                  <a:pt x="4076" y="4712"/>
                </a:lnTo>
                <a:lnTo>
                  <a:pt x="4070" y="4719"/>
                </a:lnTo>
                <a:lnTo>
                  <a:pt x="4067" y="4725"/>
                </a:lnTo>
                <a:lnTo>
                  <a:pt x="4062" y="4730"/>
                </a:lnTo>
                <a:lnTo>
                  <a:pt x="4057" y="4732"/>
                </a:lnTo>
                <a:lnTo>
                  <a:pt x="4049" y="4735"/>
                </a:lnTo>
                <a:lnTo>
                  <a:pt x="4046" y="4735"/>
                </a:lnTo>
                <a:lnTo>
                  <a:pt x="4042" y="4735"/>
                </a:lnTo>
                <a:lnTo>
                  <a:pt x="4038" y="4733"/>
                </a:lnTo>
                <a:lnTo>
                  <a:pt x="4036" y="4731"/>
                </a:lnTo>
                <a:lnTo>
                  <a:pt x="4031" y="4725"/>
                </a:lnTo>
                <a:lnTo>
                  <a:pt x="4027" y="4716"/>
                </a:lnTo>
                <a:lnTo>
                  <a:pt x="4023" y="4713"/>
                </a:lnTo>
                <a:lnTo>
                  <a:pt x="4019" y="4711"/>
                </a:lnTo>
                <a:lnTo>
                  <a:pt x="4013" y="4711"/>
                </a:lnTo>
                <a:lnTo>
                  <a:pt x="4007" y="4711"/>
                </a:lnTo>
                <a:lnTo>
                  <a:pt x="3996" y="4713"/>
                </a:lnTo>
                <a:lnTo>
                  <a:pt x="3985" y="4718"/>
                </a:lnTo>
                <a:lnTo>
                  <a:pt x="3981" y="4720"/>
                </a:lnTo>
                <a:lnTo>
                  <a:pt x="3978" y="4721"/>
                </a:lnTo>
                <a:lnTo>
                  <a:pt x="3974" y="4722"/>
                </a:lnTo>
                <a:lnTo>
                  <a:pt x="3972" y="4721"/>
                </a:lnTo>
                <a:lnTo>
                  <a:pt x="3968" y="4721"/>
                </a:lnTo>
                <a:lnTo>
                  <a:pt x="3966" y="4719"/>
                </a:lnTo>
                <a:lnTo>
                  <a:pt x="3964" y="4715"/>
                </a:lnTo>
                <a:lnTo>
                  <a:pt x="3960" y="4712"/>
                </a:lnTo>
                <a:lnTo>
                  <a:pt x="3956" y="4708"/>
                </a:lnTo>
                <a:lnTo>
                  <a:pt x="3954" y="4706"/>
                </a:lnTo>
                <a:lnTo>
                  <a:pt x="3949" y="4703"/>
                </a:lnTo>
                <a:lnTo>
                  <a:pt x="3946" y="4703"/>
                </a:lnTo>
                <a:lnTo>
                  <a:pt x="3939" y="4703"/>
                </a:lnTo>
                <a:lnTo>
                  <a:pt x="3930" y="4705"/>
                </a:lnTo>
                <a:lnTo>
                  <a:pt x="3922" y="4705"/>
                </a:lnTo>
                <a:lnTo>
                  <a:pt x="3912" y="4705"/>
                </a:lnTo>
                <a:lnTo>
                  <a:pt x="3902" y="4703"/>
                </a:lnTo>
                <a:lnTo>
                  <a:pt x="3892" y="4700"/>
                </a:lnTo>
                <a:lnTo>
                  <a:pt x="3883" y="4695"/>
                </a:lnTo>
                <a:lnTo>
                  <a:pt x="3874" y="4689"/>
                </a:lnTo>
                <a:lnTo>
                  <a:pt x="3871" y="4686"/>
                </a:lnTo>
                <a:lnTo>
                  <a:pt x="3867" y="4681"/>
                </a:lnTo>
                <a:lnTo>
                  <a:pt x="3864" y="4676"/>
                </a:lnTo>
                <a:lnTo>
                  <a:pt x="3861" y="4670"/>
                </a:lnTo>
                <a:lnTo>
                  <a:pt x="3859" y="4665"/>
                </a:lnTo>
                <a:lnTo>
                  <a:pt x="3855" y="4662"/>
                </a:lnTo>
                <a:lnTo>
                  <a:pt x="3852" y="4659"/>
                </a:lnTo>
                <a:lnTo>
                  <a:pt x="3848" y="4657"/>
                </a:lnTo>
                <a:lnTo>
                  <a:pt x="3840" y="4656"/>
                </a:lnTo>
                <a:lnTo>
                  <a:pt x="3830" y="4655"/>
                </a:lnTo>
                <a:lnTo>
                  <a:pt x="3822" y="4652"/>
                </a:lnTo>
                <a:lnTo>
                  <a:pt x="3814" y="4649"/>
                </a:lnTo>
                <a:lnTo>
                  <a:pt x="3804" y="4642"/>
                </a:lnTo>
                <a:lnTo>
                  <a:pt x="3794" y="4632"/>
                </a:lnTo>
                <a:lnTo>
                  <a:pt x="3780" y="4620"/>
                </a:lnTo>
                <a:lnTo>
                  <a:pt x="3770" y="4611"/>
                </a:lnTo>
                <a:lnTo>
                  <a:pt x="3765" y="4606"/>
                </a:lnTo>
                <a:lnTo>
                  <a:pt x="3763" y="4600"/>
                </a:lnTo>
                <a:lnTo>
                  <a:pt x="3760" y="4595"/>
                </a:lnTo>
                <a:lnTo>
                  <a:pt x="3759" y="4589"/>
                </a:lnTo>
                <a:lnTo>
                  <a:pt x="3759" y="4583"/>
                </a:lnTo>
                <a:lnTo>
                  <a:pt x="3759" y="4579"/>
                </a:lnTo>
                <a:lnTo>
                  <a:pt x="3760" y="4575"/>
                </a:lnTo>
                <a:lnTo>
                  <a:pt x="3761" y="4573"/>
                </a:lnTo>
                <a:lnTo>
                  <a:pt x="3766" y="4568"/>
                </a:lnTo>
                <a:lnTo>
                  <a:pt x="3773" y="4564"/>
                </a:lnTo>
                <a:lnTo>
                  <a:pt x="3780" y="4562"/>
                </a:lnTo>
                <a:lnTo>
                  <a:pt x="3788" y="4558"/>
                </a:lnTo>
                <a:lnTo>
                  <a:pt x="3796" y="4554"/>
                </a:lnTo>
                <a:lnTo>
                  <a:pt x="3803" y="4547"/>
                </a:lnTo>
                <a:lnTo>
                  <a:pt x="3805" y="4542"/>
                </a:lnTo>
                <a:lnTo>
                  <a:pt x="3808" y="4539"/>
                </a:lnTo>
                <a:lnTo>
                  <a:pt x="3809" y="4536"/>
                </a:lnTo>
                <a:lnTo>
                  <a:pt x="3809" y="4533"/>
                </a:lnTo>
                <a:lnTo>
                  <a:pt x="3808" y="4531"/>
                </a:lnTo>
                <a:lnTo>
                  <a:pt x="3807" y="4529"/>
                </a:lnTo>
                <a:lnTo>
                  <a:pt x="3804" y="4527"/>
                </a:lnTo>
                <a:lnTo>
                  <a:pt x="3801" y="4526"/>
                </a:lnTo>
                <a:lnTo>
                  <a:pt x="3795" y="4525"/>
                </a:lnTo>
                <a:lnTo>
                  <a:pt x="3791" y="4522"/>
                </a:lnTo>
                <a:lnTo>
                  <a:pt x="3790" y="4519"/>
                </a:lnTo>
                <a:lnTo>
                  <a:pt x="3789" y="4517"/>
                </a:lnTo>
                <a:lnTo>
                  <a:pt x="3790" y="4514"/>
                </a:lnTo>
                <a:lnTo>
                  <a:pt x="3791" y="4510"/>
                </a:lnTo>
                <a:lnTo>
                  <a:pt x="3794" y="4504"/>
                </a:lnTo>
                <a:lnTo>
                  <a:pt x="3795" y="4499"/>
                </a:lnTo>
                <a:lnTo>
                  <a:pt x="3796" y="4493"/>
                </a:lnTo>
                <a:lnTo>
                  <a:pt x="3795" y="4484"/>
                </a:lnTo>
                <a:lnTo>
                  <a:pt x="3792" y="4469"/>
                </a:lnTo>
                <a:lnTo>
                  <a:pt x="3788" y="4454"/>
                </a:lnTo>
                <a:lnTo>
                  <a:pt x="3783" y="4438"/>
                </a:lnTo>
                <a:lnTo>
                  <a:pt x="3779" y="4424"/>
                </a:lnTo>
                <a:lnTo>
                  <a:pt x="3779" y="4418"/>
                </a:lnTo>
                <a:lnTo>
                  <a:pt x="3779" y="4415"/>
                </a:lnTo>
                <a:lnTo>
                  <a:pt x="3779" y="4411"/>
                </a:lnTo>
                <a:lnTo>
                  <a:pt x="3780" y="4410"/>
                </a:lnTo>
                <a:lnTo>
                  <a:pt x="3786" y="4407"/>
                </a:lnTo>
                <a:lnTo>
                  <a:pt x="3794" y="4409"/>
                </a:lnTo>
                <a:lnTo>
                  <a:pt x="3802" y="4409"/>
                </a:lnTo>
                <a:lnTo>
                  <a:pt x="3809" y="4409"/>
                </a:lnTo>
                <a:lnTo>
                  <a:pt x="3811" y="4409"/>
                </a:lnTo>
                <a:lnTo>
                  <a:pt x="3814" y="4407"/>
                </a:lnTo>
                <a:lnTo>
                  <a:pt x="3816" y="4405"/>
                </a:lnTo>
                <a:lnTo>
                  <a:pt x="3816" y="4403"/>
                </a:lnTo>
                <a:lnTo>
                  <a:pt x="3815" y="4400"/>
                </a:lnTo>
                <a:lnTo>
                  <a:pt x="3815" y="4398"/>
                </a:lnTo>
                <a:lnTo>
                  <a:pt x="3814" y="4396"/>
                </a:lnTo>
                <a:lnTo>
                  <a:pt x="3811" y="4394"/>
                </a:lnTo>
                <a:lnTo>
                  <a:pt x="3805" y="4392"/>
                </a:lnTo>
                <a:lnTo>
                  <a:pt x="3797" y="4391"/>
                </a:lnTo>
                <a:lnTo>
                  <a:pt x="3788" y="4388"/>
                </a:lnTo>
                <a:lnTo>
                  <a:pt x="3780" y="4386"/>
                </a:lnTo>
                <a:lnTo>
                  <a:pt x="3774" y="4382"/>
                </a:lnTo>
                <a:lnTo>
                  <a:pt x="3769" y="4375"/>
                </a:lnTo>
                <a:lnTo>
                  <a:pt x="3760" y="4368"/>
                </a:lnTo>
                <a:lnTo>
                  <a:pt x="3752" y="4359"/>
                </a:lnTo>
                <a:lnTo>
                  <a:pt x="3747" y="4354"/>
                </a:lnTo>
                <a:lnTo>
                  <a:pt x="3744" y="4347"/>
                </a:lnTo>
                <a:lnTo>
                  <a:pt x="3739" y="4340"/>
                </a:lnTo>
                <a:lnTo>
                  <a:pt x="3735" y="4330"/>
                </a:lnTo>
                <a:lnTo>
                  <a:pt x="3732" y="4321"/>
                </a:lnTo>
                <a:lnTo>
                  <a:pt x="3731" y="4314"/>
                </a:lnTo>
                <a:lnTo>
                  <a:pt x="3729" y="4306"/>
                </a:lnTo>
                <a:lnTo>
                  <a:pt x="3729" y="4300"/>
                </a:lnTo>
                <a:lnTo>
                  <a:pt x="3731" y="4289"/>
                </a:lnTo>
                <a:lnTo>
                  <a:pt x="3732" y="4278"/>
                </a:lnTo>
                <a:lnTo>
                  <a:pt x="3731" y="4271"/>
                </a:lnTo>
                <a:lnTo>
                  <a:pt x="3728" y="4265"/>
                </a:lnTo>
                <a:lnTo>
                  <a:pt x="3725" y="4258"/>
                </a:lnTo>
                <a:lnTo>
                  <a:pt x="3720" y="4252"/>
                </a:lnTo>
                <a:lnTo>
                  <a:pt x="3714" y="4246"/>
                </a:lnTo>
                <a:lnTo>
                  <a:pt x="3707" y="4240"/>
                </a:lnTo>
                <a:lnTo>
                  <a:pt x="3698" y="4236"/>
                </a:lnTo>
                <a:lnTo>
                  <a:pt x="3690" y="4233"/>
                </a:lnTo>
                <a:lnTo>
                  <a:pt x="3681" y="4230"/>
                </a:lnTo>
                <a:lnTo>
                  <a:pt x="3672" y="4229"/>
                </a:lnTo>
                <a:lnTo>
                  <a:pt x="3663" y="4229"/>
                </a:lnTo>
                <a:lnTo>
                  <a:pt x="3653" y="4229"/>
                </a:lnTo>
                <a:lnTo>
                  <a:pt x="3634" y="4232"/>
                </a:lnTo>
                <a:lnTo>
                  <a:pt x="3619" y="4233"/>
                </a:lnTo>
                <a:lnTo>
                  <a:pt x="3603" y="4233"/>
                </a:lnTo>
                <a:lnTo>
                  <a:pt x="3587" y="4233"/>
                </a:lnTo>
                <a:lnTo>
                  <a:pt x="3580" y="4232"/>
                </a:lnTo>
                <a:lnTo>
                  <a:pt x="3572" y="4229"/>
                </a:lnTo>
                <a:lnTo>
                  <a:pt x="3566" y="4227"/>
                </a:lnTo>
                <a:lnTo>
                  <a:pt x="3563" y="4223"/>
                </a:lnTo>
                <a:lnTo>
                  <a:pt x="3559" y="4220"/>
                </a:lnTo>
                <a:lnTo>
                  <a:pt x="3555" y="4217"/>
                </a:lnTo>
                <a:lnTo>
                  <a:pt x="3551" y="4216"/>
                </a:lnTo>
                <a:lnTo>
                  <a:pt x="3547" y="4215"/>
                </a:lnTo>
                <a:lnTo>
                  <a:pt x="3543" y="4214"/>
                </a:lnTo>
                <a:lnTo>
                  <a:pt x="3539" y="4215"/>
                </a:lnTo>
                <a:lnTo>
                  <a:pt x="3536" y="4215"/>
                </a:lnTo>
                <a:lnTo>
                  <a:pt x="3532" y="4217"/>
                </a:lnTo>
                <a:lnTo>
                  <a:pt x="3526" y="4220"/>
                </a:lnTo>
                <a:lnTo>
                  <a:pt x="3518" y="4222"/>
                </a:lnTo>
                <a:lnTo>
                  <a:pt x="3513" y="4221"/>
                </a:lnTo>
                <a:lnTo>
                  <a:pt x="3509" y="4221"/>
                </a:lnTo>
                <a:lnTo>
                  <a:pt x="3506" y="4218"/>
                </a:lnTo>
                <a:lnTo>
                  <a:pt x="3503" y="4216"/>
                </a:lnTo>
                <a:lnTo>
                  <a:pt x="3501" y="4211"/>
                </a:lnTo>
                <a:lnTo>
                  <a:pt x="3500" y="4208"/>
                </a:lnTo>
                <a:lnTo>
                  <a:pt x="3500" y="4203"/>
                </a:lnTo>
                <a:lnTo>
                  <a:pt x="3501" y="4198"/>
                </a:lnTo>
                <a:lnTo>
                  <a:pt x="3503" y="4188"/>
                </a:lnTo>
                <a:lnTo>
                  <a:pt x="3507" y="4177"/>
                </a:lnTo>
                <a:lnTo>
                  <a:pt x="3509" y="4172"/>
                </a:lnTo>
                <a:lnTo>
                  <a:pt x="3509" y="4169"/>
                </a:lnTo>
                <a:lnTo>
                  <a:pt x="3509" y="4166"/>
                </a:lnTo>
                <a:lnTo>
                  <a:pt x="3508" y="4165"/>
                </a:lnTo>
                <a:lnTo>
                  <a:pt x="3506" y="4164"/>
                </a:lnTo>
                <a:lnTo>
                  <a:pt x="3503" y="4165"/>
                </a:lnTo>
                <a:lnTo>
                  <a:pt x="3500" y="4166"/>
                </a:lnTo>
                <a:lnTo>
                  <a:pt x="3496" y="4169"/>
                </a:lnTo>
                <a:lnTo>
                  <a:pt x="3489" y="4176"/>
                </a:lnTo>
                <a:lnTo>
                  <a:pt x="3482" y="4180"/>
                </a:lnTo>
                <a:lnTo>
                  <a:pt x="3478" y="4182"/>
                </a:lnTo>
                <a:lnTo>
                  <a:pt x="3475" y="4183"/>
                </a:lnTo>
                <a:lnTo>
                  <a:pt x="3469" y="4184"/>
                </a:lnTo>
                <a:lnTo>
                  <a:pt x="3463" y="4185"/>
                </a:lnTo>
                <a:lnTo>
                  <a:pt x="3455" y="4185"/>
                </a:lnTo>
                <a:lnTo>
                  <a:pt x="3445" y="4184"/>
                </a:lnTo>
                <a:lnTo>
                  <a:pt x="3436" y="4182"/>
                </a:lnTo>
                <a:lnTo>
                  <a:pt x="3425" y="4178"/>
                </a:lnTo>
                <a:lnTo>
                  <a:pt x="3414" y="4174"/>
                </a:lnTo>
                <a:lnTo>
                  <a:pt x="3405" y="4171"/>
                </a:lnTo>
                <a:lnTo>
                  <a:pt x="3396" y="4167"/>
                </a:lnTo>
                <a:lnTo>
                  <a:pt x="3392" y="4164"/>
                </a:lnTo>
                <a:lnTo>
                  <a:pt x="3388" y="4159"/>
                </a:lnTo>
                <a:lnTo>
                  <a:pt x="3386" y="4155"/>
                </a:lnTo>
                <a:lnTo>
                  <a:pt x="3385" y="4151"/>
                </a:lnTo>
                <a:lnTo>
                  <a:pt x="3385" y="4146"/>
                </a:lnTo>
                <a:lnTo>
                  <a:pt x="3386" y="4135"/>
                </a:lnTo>
                <a:lnTo>
                  <a:pt x="3388" y="4126"/>
                </a:lnTo>
                <a:lnTo>
                  <a:pt x="3389" y="4122"/>
                </a:lnTo>
                <a:lnTo>
                  <a:pt x="3389" y="4119"/>
                </a:lnTo>
                <a:lnTo>
                  <a:pt x="3389" y="4115"/>
                </a:lnTo>
                <a:lnTo>
                  <a:pt x="3388" y="4111"/>
                </a:lnTo>
                <a:lnTo>
                  <a:pt x="3382" y="4103"/>
                </a:lnTo>
                <a:lnTo>
                  <a:pt x="3376" y="4094"/>
                </a:lnTo>
                <a:lnTo>
                  <a:pt x="3373" y="4089"/>
                </a:lnTo>
                <a:lnTo>
                  <a:pt x="3372" y="4084"/>
                </a:lnTo>
                <a:lnTo>
                  <a:pt x="3370" y="4079"/>
                </a:lnTo>
                <a:lnTo>
                  <a:pt x="3372" y="4075"/>
                </a:lnTo>
                <a:lnTo>
                  <a:pt x="3373" y="4070"/>
                </a:lnTo>
                <a:lnTo>
                  <a:pt x="3374" y="4066"/>
                </a:lnTo>
                <a:lnTo>
                  <a:pt x="3377" y="4062"/>
                </a:lnTo>
                <a:lnTo>
                  <a:pt x="3381" y="4058"/>
                </a:lnTo>
                <a:lnTo>
                  <a:pt x="3383" y="4054"/>
                </a:lnTo>
                <a:lnTo>
                  <a:pt x="3386" y="4051"/>
                </a:lnTo>
                <a:lnTo>
                  <a:pt x="3387" y="4047"/>
                </a:lnTo>
                <a:lnTo>
                  <a:pt x="3388" y="4044"/>
                </a:lnTo>
                <a:lnTo>
                  <a:pt x="3387" y="4034"/>
                </a:lnTo>
                <a:lnTo>
                  <a:pt x="3386" y="4021"/>
                </a:lnTo>
                <a:lnTo>
                  <a:pt x="3385" y="4013"/>
                </a:lnTo>
                <a:lnTo>
                  <a:pt x="3382" y="4007"/>
                </a:lnTo>
                <a:lnTo>
                  <a:pt x="3377" y="4003"/>
                </a:lnTo>
                <a:lnTo>
                  <a:pt x="3374" y="4000"/>
                </a:lnTo>
                <a:lnTo>
                  <a:pt x="3362" y="3994"/>
                </a:lnTo>
                <a:lnTo>
                  <a:pt x="3350" y="3987"/>
                </a:lnTo>
                <a:lnTo>
                  <a:pt x="3344" y="3983"/>
                </a:lnTo>
                <a:lnTo>
                  <a:pt x="3339" y="3978"/>
                </a:lnTo>
                <a:lnTo>
                  <a:pt x="3336" y="3975"/>
                </a:lnTo>
                <a:lnTo>
                  <a:pt x="3333" y="3971"/>
                </a:lnTo>
                <a:lnTo>
                  <a:pt x="3330" y="3962"/>
                </a:lnTo>
                <a:lnTo>
                  <a:pt x="3326" y="3950"/>
                </a:lnTo>
                <a:lnTo>
                  <a:pt x="3324" y="3944"/>
                </a:lnTo>
                <a:lnTo>
                  <a:pt x="3320" y="3938"/>
                </a:lnTo>
                <a:lnTo>
                  <a:pt x="3317" y="3932"/>
                </a:lnTo>
                <a:lnTo>
                  <a:pt x="3312" y="3927"/>
                </a:lnTo>
                <a:lnTo>
                  <a:pt x="3306" y="3924"/>
                </a:lnTo>
                <a:lnTo>
                  <a:pt x="3301" y="3923"/>
                </a:lnTo>
                <a:lnTo>
                  <a:pt x="3297" y="3923"/>
                </a:lnTo>
                <a:lnTo>
                  <a:pt x="3293" y="3925"/>
                </a:lnTo>
                <a:lnTo>
                  <a:pt x="3287" y="3931"/>
                </a:lnTo>
                <a:lnTo>
                  <a:pt x="3282" y="3936"/>
                </a:lnTo>
                <a:lnTo>
                  <a:pt x="3280" y="3937"/>
                </a:lnTo>
                <a:lnTo>
                  <a:pt x="3278" y="3938"/>
                </a:lnTo>
                <a:lnTo>
                  <a:pt x="3274" y="3939"/>
                </a:lnTo>
                <a:lnTo>
                  <a:pt x="3269" y="3938"/>
                </a:lnTo>
                <a:lnTo>
                  <a:pt x="3263" y="3938"/>
                </a:lnTo>
                <a:lnTo>
                  <a:pt x="3260" y="3939"/>
                </a:lnTo>
                <a:lnTo>
                  <a:pt x="3256" y="3940"/>
                </a:lnTo>
                <a:lnTo>
                  <a:pt x="3254" y="3943"/>
                </a:lnTo>
                <a:lnTo>
                  <a:pt x="3247" y="3951"/>
                </a:lnTo>
                <a:lnTo>
                  <a:pt x="3238" y="3966"/>
                </a:lnTo>
                <a:lnTo>
                  <a:pt x="3231" y="3975"/>
                </a:lnTo>
                <a:lnTo>
                  <a:pt x="3223" y="3982"/>
                </a:lnTo>
                <a:lnTo>
                  <a:pt x="3216" y="3985"/>
                </a:lnTo>
                <a:lnTo>
                  <a:pt x="3209" y="3989"/>
                </a:lnTo>
                <a:lnTo>
                  <a:pt x="3207" y="3990"/>
                </a:lnTo>
                <a:lnTo>
                  <a:pt x="3207" y="3993"/>
                </a:lnTo>
                <a:lnTo>
                  <a:pt x="3207" y="3995"/>
                </a:lnTo>
                <a:lnTo>
                  <a:pt x="3209" y="3999"/>
                </a:lnTo>
                <a:lnTo>
                  <a:pt x="3210" y="4005"/>
                </a:lnTo>
                <a:lnTo>
                  <a:pt x="3211" y="4010"/>
                </a:lnTo>
                <a:lnTo>
                  <a:pt x="3210" y="4015"/>
                </a:lnTo>
                <a:lnTo>
                  <a:pt x="3206" y="4019"/>
                </a:lnTo>
                <a:lnTo>
                  <a:pt x="3202" y="4020"/>
                </a:lnTo>
                <a:lnTo>
                  <a:pt x="3197" y="4021"/>
                </a:lnTo>
                <a:lnTo>
                  <a:pt x="3182" y="4019"/>
                </a:lnTo>
                <a:lnTo>
                  <a:pt x="3166" y="4015"/>
                </a:lnTo>
                <a:lnTo>
                  <a:pt x="3159" y="4014"/>
                </a:lnTo>
                <a:lnTo>
                  <a:pt x="3152" y="4015"/>
                </a:lnTo>
                <a:lnTo>
                  <a:pt x="3147" y="4016"/>
                </a:lnTo>
                <a:lnTo>
                  <a:pt x="3142" y="4019"/>
                </a:lnTo>
                <a:lnTo>
                  <a:pt x="3137" y="4022"/>
                </a:lnTo>
                <a:lnTo>
                  <a:pt x="3134" y="4027"/>
                </a:lnTo>
                <a:lnTo>
                  <a:pt x="3130" y="4032"/>
                </a:lnTo>
                <a:lnTo>
                  <a:pt x="3127" y="4038"/>
                </a:lnTo>
                <a:lnTo>
                  <a:pt x="3121" y="4050"/>
                </a:lnTo>
                <a:lnTo>
                  <a:pt x="3115" y="4059"/>
                </a:lnTo>
                <a:lnTo>
                  <a:pt x="3111" y="4064"/>
                </a:lnTo>
                <a:lnTo>
                  <a:pt x="3106" y="4066"/>
                </a:lnTo>
                <a:lnTo>
                  <a:pt x="3100" y="4069"/>
                </a:lnTo>
                <a:lnTo>
                  <a:pt x="3093" y="4070"/>
                </a:lnTo>
                <a:lnTo>
                  <a:pt x="3090" y="4070"/>
                </a:lnTo>
                <a:lnTo>
                  <a:pt x="3086" y="4071"/>
                </a:lnTo>
                <a:lnTo>
                  <a:pt x="3083" y="4072"/>
                </a:lnTo>
                <a:lnTo>
                  <a:pt x="3080" y="4075"/>
                </a:lnTo>
                <a:lnTo>
                  <a:pt x="3074" y="4081"/>
                </a:lnTo>
                <a:lnTo>
                  <a:pt x="3071" y="4088"/>
                </a:lnTo>
                <a:lnTo>
                  <a:pt x="3068" y="4097"/>
                </a:lnTo>
                <a:lnTo>
                  <a:pt x="3067" y="4108"/>
                </a:lnTo>
                <a:lnTo>
                  <a:pt x="3067" y="4120"/>
                </a:lnTo>
                <a:lnTo>
                  <a:pt x="3068" y="4133"/>
                </a:lnTo>
                <a:lnTo>
                  <a:pt x="3074" y="4145"/>
                </a:lnTo>
                <a:lnTo>
                  <a:pt x="3083" y="4155"/>
                </a:lnTo>
                <a:lnTo>
                  <a:pt x="3084" y="4166"/>
                </a:lnTo>
                <a:lnTo>
                  <a:pt x="3084" y="4178"/>
                </a:lnTo>
                <a:lnTo>
                  <a:pt x="3083" y="4190"/>
                </a:lnTo>
                <a:lnTo>
                  <a:pt x="3083" y="4201"/>
                </a:lnTo>
                <a:lnTo>
                  <a:pt x="3083" y="4205"/>
                </a:lnTo>
                <a:lnTo>
                  <a:pt x="3085" y="4209"/>
                </a:lnTo>
                <a:lnTo>
                  <a:pt x="3087" y="4213"/>
                </a:lnTo>
                <a:lnTo>
                  <a:pt x="3092" y="4216"/>
                </a:lnTo>
                <a:lnTo>
                  <a:pt x="3102" y="4221"/>
                </a:lnTo>
                <a:lnTo>
                  <a:pt x="3115" y="4227"/>
                </a:lnTo>
                <a:lnTo>
                  <a:pt x="3119" y="4230"/>
                </a:lnTo>
                <a:lnTo>
                  <a:pt x="3123" y="4234"/>
                </a:lnTo>
                <a:lnTo>
                  <a:pt x="3127" y="4237"/>
                </a:lnTo>
                <a:lnTo>
                  <a:pt x="3128" y="4242"/>
                </a:lnTo>
                <a:lnTo>
                  <a:pt x="3128" y="4251"/>
                </a:lnTo>
                <a:lnTo>
                  <a:pt x="3125" y="4259"/>
                </a:lnTo>
                <a:lnTo>
                  <a:pt x="3123" y="4270"/>
                </a:lnTo>
                <a:lnTo>
                  <a:pt x="3118" y="4280"/>
                </a:lnTo>
                <a:lnTo>
                  <a:pt x="3114" y="4291"/>
                </a:lnTo>
                <a:lnTo>
                  <a:pt x="3110" y="4299"/>
                </a:lnTo>
                <a:lnTo>
                  <a:pt x="3108" y="4303"/>
                </a:lnTo>
                <a:lnTo>
                  <a:pt x="3103" y="4304"/>
                </a:lnTo>
                <a:lnTo>
                  <a:pt x="3098" y="4305"/>
                </a:lnTo>
                <a:lnTo>
                  <a:pt x="3092" y="4306"/>
                </a:lnTo>
                <a:lnTo>
                  <a:pt x="3078" y="4306"/>
                </a:lnTo>
                <a:lnTo>
                  <a:pt x="3062" y="4305"/>
                </a:lnTo>
                <a:lnTo>
                  <a:pt x="3056" y="4306"/>
                </a:lnTo>
                <a:lnTo>
                  <a:pt x="3051" y="4308"/>
                </a:lnTo>
                <a:lnTo>
                  <a:pt x="3046" y="4309"/>
                </a:lnTo>
                <a:lnTo>
                  <a:pt x="3042" y="4311"/>
                </a:lnTo>
                <a:lnTo>
                  <a:pt x="3040" y="4314"/>
                </a:lnTo>
                <a:lnTo>
                  <a:pt x="3037" y="4317"/>
                </a:lnTo>
                <a:lnTo>
                  <a:pt x="3036" y="4321"/>
                </a:lnTo>
                <a:lnTo>
                  <a:pt x="3035" y="4324"/>
                </a:lnTo>
                <a:lnTo>
                  <a:pt x="3035" y="4336"/>
                </a:lnTo>
                <a:lnTo>
                  <a:pt x="3035" y="4353"/>
                </a:lnTo>
                <a:lnTo>
                  <a:pt x="3034" y="4361"/>
                </a:lnTo>
                <a:lnTo>
                  <a:pt x="3033" y="4369"/>
                </a:lnTo>
                <a:lnTo>
                  <a:pt x="3032" y="4373"/>
                </a:lnTo>
                <a:lnTo>
                  <a:pt x="3030" y="4375"/>
                </a:lnTo>
                <a:lnTo>
                  <a:pt x="3029" y="4378"/>
                </a:lnTo>
                <a:lnTo>
                  <a:pt x="3027" y="4380"/>
                </a:lnTo>
                <a:lnTo>
                  <a:pt x="3024" y="4381"/>
                </a:lnTo>
                <a:lnTo>
                  <a:pt x="3022" y="4381"/>
                </a:lnTo>
                <a:lnTo>
                  <a:pt x="3020" y="4380"/>
                </a:lnTo>
                <a:lnTo>
                  <a:pt x="3017" y="4380"/>
                </a:lnTo>
                <a:lnTo>
                  <a:pt x="3015" y="4375"/>
                </a:lnTo>
                <a:lnTo>
                  <a:pt x="3011" y="4371"/>
                </a:lnTo>
                <a:lnTo>
                  <a:pt x="3005" y="4359"/>
                </a:lnTo>
                <a:lnTo>
                  <a:pt x="2998" y="4349"/>
                </a:lnTo>
                <a:lnTo>
                  <a:pt x="2995" y="4347"/>
                </a:lnTo>
                <a:lnTo>
                  <a:pt x="2991" y="4346"/>
                </a:lnTo>
                <a:lnTo>
                  <a:pt x="2989" y="4346"/>
                </a:lnTo>
                <a:lnTo>
                  <a:pt x="2986" y="4347"/>
                </a:lnTo>
                <a:lnTo>
                  <a:pt x="2984" y="4353"/>
                </a:lnTo>
                <a:lnTo>
                  <a:pt x="2984" y="4360"/>
                </a:lnTo>
                <a:lnTo>
                  <a:pt x="2984" y="4369"/>
                </a:lnTo>
                <a:lnTo>
                  <a:pt x="2983" y="4379"/>
                </a:lnTo>
                <a:lnTo>
                  <a:pt x="2983" y="4382"/>
                </a:lnTo>
                <a:lnTo>
                  <a:pt x="2982" y="4386"/>
                </a:lnTo>
                <a:lnTo>
                  <a:pt x="2979" y="4390"/>
                </a:lnTo>
                <a:lnTo>
                  <a:pt x="2977" y="4391"/>
                </a:lnTo>
                <a:lnTo>
                  <a:pt x="2966" y="4392"/>
                </a:lnTo>
                <a:lnTo>
                  <a:pt x="2944" y="4397"/>
                </a:lnTo>
                <a:lnTo>
                  <a:pt x="2936" y="4399"/>
                </a:lnTo>
                <a:lnTo>
                  <a:pt x="2929" y="4404"/>
                </a:lnTo>
                <a:lnTo>
                  <a:pt x="2923" y="4407"/>
                </a:lnTo>
                <a:lnTo>
                  <a:pt x="2920" y="4412"/>
                </a:lnTo>
                <a:lnTo>
                  <a:pt x="2916" y="4417"/>
                </a:lnTo>
                <a:lnTo>
                  <a:pt x="2913" y="4421"/>
                </a:lnTo>
                <a:lnTo>
                  <a:pt x="2909" y="4423"/>
                </a:lnTo>
                <a:lnTo>
                  <a:pt x="2906" y="4423"/>
                </a:lnTo>
                <a:lnTo>
                  <a:pt x="2903" y="4423"/>
                </a:lnTo>
                <a:lnTo>
                  <a:pt x="2901" y="4422"/>
                </a:lnTo>
                <a:lnTo>
                  <a:pt x="2900" y="4421"/>
                </a:lnTo>
                <a:lnTo>
                  <a:pt x="2898" y="4418"/>
                </a:lnTo>
                <a:lnTo>
                  <a:pt x="2898" y="4412"/>
                </a:lnTo>
                <a:lnTo>
                  <a:pt x="2900" y="4402"/>
                </a:lnTo>
                <a:lnTo>
                  <a:pt x="2900" y="4396"/>
                </a:lnTo>
                <a:lnTo>
                  <a:pt x="2900" y="4391"/>
                </a:lnTo>
                <a:lnTo>
                  <a:pt x="2897" y="4386"/>
                </a:lnTo>
                <a:lnTo>
                  <a:pt x="2895" y="4382"/>
                </a:lnTo>
                <a:lnTo>
                  <a:pt x="2889" y="4375"/>
                </a:lnTo>
                <a:lnTo>
                  <a:pt x="2883" y="4369"/>
                </a:lnTo>
                <a:lnTo>
                  <a:pt x="2879" y="4367"/>
                </a:lnTo>
                <a:lnTo>
                  <a:pt x="2879" y="4363"/>
                </a:lnTo>
                <a:lnTo>
                  <a:pt x="2879" y="4361"/>
                </a:lnTo>
                <a:lnTo>
                  <a:pt x="2882" y="4358"/>
                </a:lnTo>
                <a:lnTo>
                  <a:pt x="2889" y="4352"/>
                </a:lnTo>
                <a:lnTo>
                  <a:pt x="2898" y="4344"/>
                </a:lnTo>
                <a:lnTo>
                  <a:pt x="2907" y="4336"/>
                </a:lnTo>
                <a:lnTo>
                  <a:pt x="2913" y="4328"/>
                </a:lnTo>
                <a:lnTo>
                  <a:pt x="2916" y="4318"/>
                </a:lnTo>
                <a:lnTo>
                  <a:pt x="2920" y="4306"/>
                </a:lnTo>
                <a:lnTo>
                  <a:pt x="2922" y="4299"/>
                </a:lnTo>
                <a:lnTo>
                  <a:pt x="2927" y="4293"/>
                </a:lnTo>
                <a:lnTo>
                  <a:pt x="2930" y="4287"/>
                </a:lnTo>
                <a:lnTo>
                  <a:pt x="2935" y="4281"/>
                </a:lnTo>
                <a:lnTo>
                  <a:pt x="2939" y="4278"/>
                </a:lnTo>
                <a:lnTo>
                  <a:pt x="2940" y="4276"/>
                </a:lnTo>
                <a:lnTo>
                  <a:pt x="2939" y="4273"/>
                </a:lnTo>
                <a:lnTo>
                  <a:pt x="2936" y="4267"/>
                </a:lnTo>
                <a:lnTo>
                  <a:pt x="2933" y="4253"/>
                </a:lnTo>
                <a:lnTo>
                  <a:pt x="2932" y="4239"/>
                </a:lnTo>
                <a:lnTo>
                  <a:pt x="2930" y="4233"/>
                </a:lnTo>
                <a:lnTo>
                  <a:pt x="2929" y="4228"/>
                </a:lnTo>
                <a:lnTo>
                  <a:pt x="2927" y="4223"/>
                </a:lnTo>
                <a:lnTo>
                  <a:pt x="2925" y="4220"/>
                </a:lnTo>
                <a:lnTo>
                  <a:pt x="2920" y="4211"/>
                </a:lnTo>
                <a:lnTo>
                  <a:pt x="2914" y="4204"/>
                </a:lnTo>
                <a:lnTo>
                  <a:pt x="2911" y="4199"/>
                </a:lnTo>
                <a:lnTo>
                  <a:pt x="2909" y="4195"/>
                </a:lnTo>
                <a:lnTo>
                  <a:pt x="2908" y="4194"/>
                </a:lnTo>
                <a:lnTo>
                  <a:pt x="2907" y="4194"/>
                </a:lnTo>
                <a:lnTo>
                  <a:pt x="2906" y="4195"/>
                </a:lnTo>
                <a:lnTo>
                  <a:pt x="2904" y="4197"/>
                </a:lnTo>
                <a:lnTo>
                  <a:pt x="2898" y="4203"/>
                </a:lnTo>
                <a:lnTo>
                  <a:pt x="2892" y="4211"/>
                </a:lnTo>
                <a:lnTo>
                  <a:pt x="2889" y="4222"/>
                </a:lnTo>
                <a:lnTo>
                  <a:pt x="2889" y="4229"/>
                </a:lnTo>
                <a:lnTo>
                  <a:pt x="2888" y="4233"/>
                </a:lnTo>
                <a:lnTo>
                  <a:pt x="2888" y="4235"/>
                </a:lnTo>
                <a:lnTo>
                  <a:pt x="2885" y="4237"/>
                </a:lnTo>
                <a:lnTo>
                  <a:pt x="2883" y="4241"/>
                </a:lnTo>
                <a:lnTo>
                  <a:pt x="2877" y="4246"/>
                </a:lnTo>
                <a:lnTo>
                  <a:pt x="2870" y="4249"/>
                </a:lnTo>
                <a:lnTo>
                  <a:pt x="2862" y="4252"/>
                </a:lnTo>
                <a:lnTo>
                  <a:pt x="2854" y="4254"/>
                </a:lnTo>
                <a:lnTo>
                  <a:pt x="2846" y="4255"/>
                </a:lnTo>
                <a:lnTo>
                  <a:pt x="2840" y="4255"/>
                </a:lnTo>
                <a:lnTo>
                  <a:pt x="2834" y="4254"/>
                </a:lnTo>
                <a:lnTo>
                  <a:pt x="2831" y="4253"/>
                </a:lnTo>
                <a:lnTo>
                  <a:pt x="2827" y="4249"/>
                </a:lnTo>
                <a:lnTo>
                  <a:pt x="2826" y="4246"/>
                </a:lnTo>
                <a:lnTo>
                  <a:pt x="2825" y="4242"/>
                </a:lnTo>
                <a:lnTo>
                  <a:pt x="2825" y="4237"/>
                </a:lnTo>
                <a:lnTo>
                  <a:pt x="2825" y="4227"/>
                </a:lnTo>
                <a:lnTo>
                  <a:pt x="2828" y="4217"/>
                </a:lnTo>
                <a:lnTo>
                  <a:pt x="2829" y="4210"/>
                </a:lnTo>
                <a:lnTo>
                  <a:pt x="2829" y="4203"/>
                </a:lnTo>
                <a:lnTo>
                  <a:pt x="2827" y="4196"/>
                </a:lnTo>
                <a:lnTo>
                  <a:pt x="2823" y="4188"/>
                </a:lnTo>
                <a:lnTo>
                  <a:pt x="2820" y="4180"/>
                </a:lnTo>
                <a:lnTo>
                  <a:pt x="2820" y="4172"/>
                </a:lnTo>
                <a:lnTo>
                  <a:pt x="2820" y="4166"/>
                </a:lnTo>
                <a:lnTo>
                  <a:pt x="2820" y="4163"/>
                </a:lnTo>
                <a:lnTo>
                  <a:pt x="2819" y="4161"/>
                </a:lnTo>
                <a:lnTo>
                  <a:pt x="2812" y="4159"/>
                </a:lnTo>
                <a:lnTo>
                  <a:pt x="2806" y="4158"/>
                </a:lnTo>
                <a:lnTo>
                  <a:pt x="2797" y="4157"/>
                </a:lnTo>
                <a:lnTo>
                  <a:pt x="2785" y="4158"/>
                </a:lnTo>
                <a:lnTo>
                  <a:pt x="2771" y="4158"/>
                </a:lnTo>
                <a:lnTo>
                  <a:pt x="2763" y="4158"/>
                </a:lnTo>
                <a:lnTo>
                  <a:pt x="2759" y="4159"/>
                </a:lnTo>
                <a:lnTo>
                  <a:pt x="2757" y="4160"/>
                </a:lnTo>
                <a:lnTo>
                  <a:pt x="2752" y="4166"/>
                </a:lnTo>
                <a:lnTo>
                  <a:pt x="2749" y="4170"/>
                </a:lnTo>
                <a:lnTo>
                  <a:pt x="2744" y="4172"/>
                </a:lnTo>
                <a:lnTo>
                  <a:pt x="2736" y="4173"/>
                </a:lnTo>
                <a:lnTo>
                  <a:pt x="2727" y="4173"/>
                </a:lnTo>
                <a:lnTo>
                  <a:pt x="2720" y="4172"/>
                </a:lnTo>
                <a:lnTo>
                  <a:pt x="2713" y="4170"/>
                </a:lnTo>
                <a:lnTo>
                  <a:pt x="2707" y="4167"/>
                </a:lnTo>
                <a:lnTo>
                  <a:pt x="2701" y="4166"/>
                </a:lnTo>
                <a:lnTo>
                  <a:pt x="2694" y="4165"/>
                </a:lnTo>
                <a:lnTo>
                  <a:pt x="2684" y="4166"/>
                </a:lnTo>
                <a:lnTo>
                  <a:pt x="2680" y="4166"/>
                </a:lnTo>
                <a:lnTo>
                  <a:pt x="2676" y="4165"/>
                </a:lnTo>
                <a:lnTo>
                  <a:pt x="2674" y="4164"/>
                </a:lnTo>
                <a:lnTo>
                  <a:pt x="2673" y="4161"/>
                </a:lnTo>
                <a:lnTo>
                  <a:pt x="2673" y="4155"/>
                </a:lnTo>
                <a:lnTo>
                  <a:pt x="2675" y="4147"/>
                </a:lnTo>
                <a:lnTo>
                  <a:pt x="2681" y="4134"/>
                </a:lnTo>
                <a:lnTo>
                  <a:pt x="2690" y="4120"/>
                </a:lnTo>
                <a:lnTo>
                  <a:pt x="2693" y="4115"/>
                </a:lnTo>
                <a:lnTo>
                  <a:pt x="2694" y="4110"/>
                </a:lnTo>
                <a:lnTo>
                  <a:pt x="2692" y="4107"/>
                </a:lnTo>
                <a:lnTo>
                  <a:pt x="2689" y="4101"/>
                </a:lnTo>
                <a:lnTo>
                  <a:pt x="2677" y="4087"/>
                </a:lnTo>
                <a:lnTo>
                  <a:pt x="2662" y="4072"/>
                </a:lnTo>
                <a:lnTo>
                  <a:pt x="2656" y="4066"/>
                </a:lnTo>
                <a:lnTo>
                  <a:pt x="2649" y="4062"/>
                </a:lnTo>
                <a:lnTo>
                  <a:pt x="2645" y="4059"/>
                </a:lnTo>
                <a:lnTo>
                  <a:pt x="2642" y="4058"/>
                </a:lnTo>
                <a:lnTo>
                  <a:pt x="2638" y="4057"/>
                </a:lnTo>
                <a:lnTo>
                  <a:pt x="2634" y="4057"/>
                </a:lnTo>
                <a:lnTo>
                  <a:pt x="2631" y="4058"/>
                </a:lnTo>
                <a:lnTo>
                  <a:pt x="2629" y="4058"/>
                </a:lnTo>
                <a:lnTo>
                  <a:pt x="2626" y="4057"/>
                </a:lnTo>
                <a:lnTo>
                  <a:pt x="2625" y="4056"/>
                </a:lnTo>
                <a:lnTo>
                  <a:pt x="2623" y="4051"/>
                </a:lnTo>
                <a:lnTo>
                  <a:pt x="2620" y="4046"/>
                </a:lnTo>
                <a:lnTo>
                  <a:pt x="2610" y="4028"/>
                </a:lnTo>
                <a:lnTo>
                  <a:pt x="2600" y="4010"/>
                </a:lnTo>
                <a:lnTo>
                  <a:pt x="2595" y="3999"/>
                </a:lnTo>
                <a:lnTo>
                  <a:pt x="2593" y="3984"/>
                </a:lnTo>
                <a:lnTo>
                  <a:pt x="2589" y="3972"/>
                </a:lnTo>
                <a:lnTo>
                  <a:pt x="2587" y="3963"/>
                </a:lnTo>
                <a:lnTo>
                  <a:pt x="2581" y="3956"/>
                </a:lnTo>
                <a:lnTo>
                  <a:pt x="2573" y="3945"/>
                </a:lnTo>
                <a:lnTo>
                  <a:pt x="2564" y="3936"/>
                </a:lnTo>
                <a:lnTo>
                  <a:pt x="2557" y="3925"/>
                </a:lnTo>
                <a:lnTo>
                  <a:pt x="2556" y="3920"/>
                </a:lnTo>
                <a:lnTo>
                  <a:pt x="2555" y="3917"/>
                </a:lnTo>
                <a:lnTo>
                  <a:pt x="2555" y="3913"/>
                </a:lnTo>
                <a:lnTo>
                  <a:pt x="2556" y="3909"/>
                </a:lnTo>
                <a:lnTo>
                  <a:pt x="2558" y="3905"/>
                </a:lnTo>
                <a:lnTo>
                  <a:pt x="2563" y="3901"/>
                </a:lnTo>
                <a:lnTo>
                  <a:pt x="2566" y="3899"/>
                </a:lnTo>
                <a:lnTo>
                  <a:pt x="2568" y="3894"/>
                </a:lnTo>
                <a:lnTo>
                  <a:pt x="2569" y="3888"/>
                </a:lnTo>
                <a:lnTo>
                  <a:pt x="2568" y="3882"/>
                </a:lnTo>
                <a:lnTo>
                  <a:pt x="2569" y="3875"/>
                </a:lnTo>
                <a:lnTo>
                  <a:pt x="2573" y="3867"/>
                </a:lnTo>
                <a:lnTo>
                  <a:pt x="2575" y="3863"/>
                </a:lnTo>
                <a:lnTo>
                  <a:pt x="2577" y="3861"/>
                </a:lnTo>
                <a:lnTo>
                  <a:pt x="2581" y="3858"/>
                </a:lnTo>
                <a:lnTo>
                  <a:pt x="2585" y="3856"/>
                </a:lnTo>
                <a:lnTo>
                  <a:pt x="2592" y="3854"/>
                </a:lnTo>
                <a:lnTo>
                  <a:pt x="2598" y="3851"/>
                </a:lnTo>
                <a:lnTo>
                  <a:pt x="2604" y="3848"/>
                </a:lnTo>
                <a:lnTo>
                  <a:pt x="2610" y="3844"/>
                </a:lnTo>
                <a:lnTo>
                  <a:pt x="2612" y="3842"/>
                </a:lnTo>
                <a:lnTo>
                  <a:pt x="2615" y="3840"/>
                </a:lnTo>
                <a:lnTo>
                  <a:pt x="2620" y="3839"/>
                </a:lnTo>
                <a:lnTo>
                  <a:pt x="2624" y="3840"/>
                </a:lnTo>
                <a:lnTo>
                  <a:pt x="2629" y="3840"/>
                </a:lnTo>
                <a:lnTo>
                  <a:pt x="2633" y="3843"/>
                </a:lnTo>
                <a:lnTo>
                  <a:pt x="2637" y="3845"/>
                </a:lnTo>
                <a:lnTo>
                  <a:pt x="2642" y="3848"/>
                </a:lnTo>
                <a:lnTo>
                  <a:pt x="2648" y="3851"/>
                </a:lnTo>
                <a:lnTo>
                  <a:pt x="2653" y="3855"/>
                </a:lnTo>
                <a:lnTo>
                  <a:pt x="2661" y="3858"/>
                </a:lnTo>
                <a:lnTo>
                  <a:pt x="2668" y="3861"/>
                </a:lnTo>
                <a:lnTo>
                  <a:pt x="2684" y="3865"/>
                </a:lnTo>
                <a:lnTo>
                  <a:pt x="2701" y="3868"/>
                </a:lnTo>
                <a:lnTo>
                  <a:pt x="2708" y="3870"/>
                </a:lnTo>
                <a:lnTo>
                  <a:pt x="2713" y="3871"/>
                </a:lnTo>
                <a:lnTo>
                  <a:pt x="2718" y="3874"/>
                </a:lnTo>
                <a:lnTo>
                  <a:pt x="2721" y="3876"/>
                </a:lnTo>
                <a:lnTo>
                  <a:pt x="2727" y="3883"/>
                </a:lnTo>
                <a:lnTo>
                  <a:pt x="2736" y="3893"/>
                </a:lnTo>
                <a:lnTo>
                  <a:pt x="2740" y="3899"/>
                </a:lnTo>
                <a:lnTo>
                  <a:pt x="2745" y="3902"/>
                </a:lnTo>
                <a:lnTo>
                  <a:pt x="2750" y="3906"/>
                </a:lnTo>
                <a:lnTo>
                  <a:pt x="2755" y="3908"/>
                </a:lnTo>
                <a:lnTo>
                  <a:pt x="2763" y="3911"/>
                </a:lnTo>
                <a:lnTo>
                  <a:pt x="2771" y="3912"/>
                </a:lnTo>
                <a:lnTo>
                  <a:pt x="2778" y="3913"/>
                </a:lnTo>
                <a:lnTo>
                  <a:pt x="2785" y="3915"/>
                </a:lnTo>
                <a:lnTo>
                  <a:pt x="2793" y="3919"/>
                </a:lnTo>
                <a:lnTo>
                  <a:pt x="2800" y="3924"/>
                </a:lnTo>
                <a:lnTo>
                  <a:pt x="2807" y="3928"/>
                </a:lnTo>
                <a:lnTo>
                  <a:pt x="2813" y="3932"/>
                </a:lnTo>
                <a:lnTo>
                  <a:pt x="2820" y="3933"/>
                </a:lnTo>
                <a:lnTo>
                  <a:pt x="2828" y="3934"/>
                </a:lnTo>
                <a:lnTo>
                  <a:pt x="2833" y="3934"/>
                </a:lnTo>
                <a:lnTo>
                  <a:pt x="2837" y="3937"/>
                </a:lnTo>
                <a:lnTo>
                  <a:pt x="2841" y="3939"/>
                </a:lnTo>
                <a:lnTo>
                  <a:pt x="2846" y="3943"/>
                </a:lnTo>
                <a:lnTo>
                  <a:pt x="2850" y="3947"/>
                </a:lnTo>
                <a:lnTo>
                  <a:pt x="2852" y="3952"/>
                </a:lnTo>
                <a:lnTo>
                  <a:pt x="2854" y="3957"/>
                </a:lnTo>
                <a:lnTo>
                  <a:pt x="2857" y="3962"/>
                </a:lnTo>
                <a:lnTo>
                  <a:pt x="2858" y="3966"/>
                </a:lnTo>
                <a:lnTo>
                  <a:pt x="2860" y="3970"/>
                </a:lnTo>
                <a:lnTo>
                  <a:pt x="2864" y="3975"/>
                </a:lnTo>
                <a:lnTo>
                  <a:pt x="2867" y="3978"/>
                </a:lnTo>
                <a:lnTo>
                  <a:pt x="2876" y="3984"/>
                </a:lnTo>
                <a:lnTo>
                  <a:pt x="2884" y="3989"/>
                </a:lnTo>
                <a:lnTo>
                  <a:pt x="2891" y="3994"/>
                </a:lnTo>
                <a:lnTo>
                  <a:pt x="2898" y="4000"/>
                </a:lnTo>
                <a:lnTo>
                  <a:pt x="2903" y="4002"/>
                </a:lnTo>
                <a:lnTo>
                  <a:pt x="2906" y="4003"/>
                </a:lnTo>
                <a:lnTo>
                  <a:pt x="2908" y="4005"/>
                </a:lnTo>
                <a:lnTo>
                  <a:pt x="2910" y="4003"/>
                </a:lnTo>
                <a:lnTo>
                  <a:pt x="2914" y="4001"/>
                </a:lnTo>
                <a:lnTo>
                  <a:pt x="2917" y="3995"/>
                </a:lnTo>
                <a:lnTo>
                  <a:pt x="2926" y="3987"/>
                </a:lnTo>
                <a:lnTo>
                  <a:pt x="2932" y="3978"/>
                </a:lnTo>
                <a:lnTo>
                  <a:pt x="2938" y="3974"/>
                </a:lnTo>
                <a:lnTo>
                  <a:pt x="2942" y="3972"/>
                </a:lnTo>
                <a:lnTo>
                  <a:pt x="2947" y="3972"/>
                </a:lnTo>
                <a:lnTo>
                  <a:pt x="2953" y="3976"/>
                </a:lnTo>
                <a:lnTo>
                  <a:pt x="2960" y="3980"/>
                </a:lnTo>
                <a:lnTo>
                  <a:pt x="2966" y="3981"/>
                </a:lnTo>
                <a:lnTo>
                  <a:pt x="2971" y="3981"/>
                </a:lnTo>
                <a:lnTo>
                  <a:pt x="2974" y="3980"/>
                </a:lnTo>
                <a:lnTo>
                  <a:pt x="2978" y="3977"/>
                </a:lnTo>
                <a:lnTo>
                  <a:pt x="2983" y="3974"/>
                </a:lnTo>
                <a:lnTo>
                  <a:pt x="2990" y="3965"/>
                </a:lnTo>
                <a:lnTo>
                  <a:pt x="2998" y="3956"/>
                </a:lnTo>
                <a:lnTo>
                  <a:pt x="3004" y="3946"/>
                </a:lnTo>
                <a:lnTo>
                  <a:pt x="3007" y="3936"/>
                </a:lnTo>
                <a:lnTo>
                  <a:pt x="3009" y="3931"/>
                </a:lnTo>
                <a:lnTo>
                  <a:pt x="3010" y="3926"/>
                </a:lnTo>
                <a:lnTo>
                  <a:pt x="3013" y="3923"/>
                </a:lnTo>
                <a:lnTo>
                  <a:pt x="3016" y="3920"/>
                </a:lnTo>
                <a:lnTo>
                  <a:pt x="3020" y="3919"/>
                </a:lnTo>
                <a:lnTo>
                  <a:pt x="3023" y="3918"/>
                </a:lnTo>
                <a:lnTo>
                  <a:pt x="3028" y="3917"/>
                </a:lnTo>
                <a:lnTo>
                  <a:pt x="3033" y="3918"/>
                </a:lnTo>
                <a:lnTo>
                  <a:pt x="3037" y="3918"/>
                </a:lnTo>
                <a:lnTo>
                  <a:pt x="3041" y="3918"/>
                </a:lnTo>
                <a:lnTo>
                  <a:pt x="3045" y="3917"/>
                </a:lnTo>
                <a:lnTo>
                  <a:pt x="3047" y="3915"/>
                </a:lnTo>
                <a:lnTo>
                  <a:pt x="3049" y="3913"/>
                </a:lnTo>
                <a:lnTo>
                  <a:pt x="3051" y="3911"/>
                </a:lnTo>
                <a:lnTo>
                  <a:pt x="3051" y="3907"/>
                </a:lnTo>
                <a:lnTo>
                  <a:pt x="3052" y="3903"/>
                </a:lnTo>
                <a:lnTo>
                  <a:pt x="3052" y="3896"/>
                </a:lnTo>
                <a:lnTo>
                  <a:pt x="3055" y="3892"/>
                </a:lnTo>
                <a:lnTo>
                  <a:pt x="3056" y="3890"/>
                </a:lnTo>
                <a:lnTo>
                  <a:pt x="3059" y="3889"/>
                </a:lnTo>
                <a:lnTo>
                  <a:pt x="3061" y="3889"/>
                </a:lnTo>
                <a:lnTo>
                  <a:pt x="3065" y="3889"/>
                </a:lnTo>
                <a:lnTo>
                  <a:pt x="3071" y="3893"/>
                </a:lnTo>
                <a:lnTo>
                  <a:pt x="3076" y="3896"/>
                </a:lnTo>
                <a:lnTo>
                  <a:pt x="3078" y="3898"/>
                </a:lnTo>
                <a:lnTo>
                  <a:pt x="3080" y="3899"/>
                </a:lnTo>
                <a:lnTo>
                  <a:pt x="3081" y="3899"/>
                </a:lnTo>
                <a:lnTo>
                  <a:pt x="3084" y="3898"/>
                </a:lnTo>
                <a:lnTo>
                  <a:pt x="3085" y="3896"/>
                </a:lnTo>
                <a:lnTo>
                  <a:pt x="3086" y="3895"/>
                </a:lnTo>
                <a:lnTo>
                  <a:pt x="3086" y="3893"/>
                </a:lnTo>
                <a:lnTo>
                  <a:pt x="3086" y="3889"/>
                </a:lnTo>
                <a:lnTo>
                  <a:pt x="3084" y="3881"/>
                </a:lnTo>
                <a:lnTo>
                  <a:pt x="3080" y="3867"/>
                </a:lnTo>
                <a:lnTo>
                  <a:pt x="3077" y="3860"/>
                </a:lnTo>
                <a:lnTo>
                  <a:pt x="3074" y="3852"/>
                </a:lnTo>
                <a:lnTo>
                  <a:pt x="3070" y="3846"/>
                </a:lnTo>
                <a:lnTo>
                  <a:pt x="3065" y="3840"/>
                </a:lnTo>
                <a:lnTo>
                  <a:pt x="3060" y="3836"/>
                </a:lnTo>
                <a:lnTo>
                  <a:pt x="3054" y="3831"/>
                </a:lnTo>
                <a:lnTo>
                  <a:pt x="3048" y="3826"/>
                </a:lnTo>
                <a:lnTo>
                  <a:pt x="3042" y="3823"/>
                </a:lnTo>
                <a:lnTo>
                  <a:pt x="3026" y="3817"/>
                </a:lnTo>
                <a:lnTo>
                  <a:pt x="3009" y="3812"/>
                </a:lnTo>
                <a:lnTo>
                  <a:pt x="3001" y="3810"/>
                </a:lnTo>
                <a:lnTo>
                  <a:pt x="2996" y="3806"/>
                </a:lnTo>
                <a:lnTo>
                  <a:pt x="2993" y="3805"/>
                </a:lnTo>
                <a:lnTo>
                  <a:pt x="2992" y="3802"/>
                </a:lnTo>
                <a:lnTo>
                  <a:pt x="2992" y="3800"/>
                </a:lnTo>
                <a:lnTo>
                  <a:pt x="2993" y="3798"/>
                </a:lnTo>
                <a:lnTo>
                  <a:pt x="2996" y="3791"/>
                </a:lnTo>
                <a:lnTo>
                  <a:pt x="2996" y="3782"/>
                </a:lnTo>
                <a:lnTo>
                  <a:pt x="2996" y="3773"/>
                </a:lnTo>
                <a:lnTo>
                  <a:pt x="2995" y="3763"/>
                </a:lnTo>
                <a:lnTo>
                  <a:pt x="2990" y="3742"/>
                </a:lnTo>
                <a:lnTo>
                  <a:pt x="2985" y="3720"/>
                </a:lnTo>
                <a:lnTo>
                  <a:pt x="2983" y="3710"/>
                </a:lnTo>
                <a:lnTo>
                  <a:pt x="2982" y="3699"/>
                </a:lnTo>
                <a:lnTo>
                  <a:pt x="2980" y="3688"/>
                </a:lnTo>
                <a:lnTo>
                  <a:pt x="2980" y="3680"/>
                </a:lnTo>
                <a:lnTo>
                  <a:pt x="2982" y="3671"/>
                </a:lnTo>
                <a:lnTo>
                  <a:pt x="2985" y="3663"/>
                </a:lnTo>
                <a:lnTo>
                  <a:pt x="2990" y="3656"/>
                </a:lnTo>
                <a:lnTo>
                  <a:pt x="2996" y="3652"/>
                </a:lnTo>
                <a:lnTo>
                  <a:pt x="3001" y="3646"/>
                </a:lnTo>
                <a:lnTo>
                  <a:pt x="3004" y="3638"/>
                </a:lnTo>
                <a:lnTo>
                  <a:pt x="3007" y="3634"/>
                </a:lnTo>
                <a:lnTo>
                  <a:pt x="3010" y="3629"/>
                </a:lnTo>
                <a:lnTo>
                  <a:pt x="3015" y="3624"/>
                </a:lnTo>
                <a:lnTo>
                  <a:pt x="3021" y="3619"/>
                </a:lnTo>
                <a:lnTo>
                  <a:pt x="3040" y="3609"/>
                </a:lnTo>
                <a:lnTo>
                  <a:pt x="3065" y="3597"/>
                </a:lnTo>
                <a:lnTo>
                  <a:pt x="3089" y="3587"/>
                </a:lnTo>
                <a:lnTo>
                  <a:pt x="3108" y="3578"/>
                </a:lnTo>
                <a:lnTo>
                  <a:pt x="3116" y="3572"/>
                </a:lnTo>
                <a:lnTo>
                  <a:pt x="3123" y="3566"/>
                </a:lnTo>
                <a:lnTo>
                  <a:pt x="3131" y="3559"/>
                </a:lnTo>
                <a:lnTo>
                  <a:pt x="3139" y="3550"/>
                </a:lnTo>
                <a:lnTo>
                  <a:pt x="3144" y="3543"/>
                </a:lnTo>
                <a:lnTo>
                  <a:pt x="3149" y="3535"/>
                </a:lnTo>
                <a:lnTo>
                  <a:pt x="3154" y="3529"/>
                </a:lnTo>
                <a:lnTo>
                  <a:pt x="3155" y="3523"/>
                </a:lnTo>
                <a:lnTo>
                  <a:pt x="3158" y="3511"/>
                </a:lnTo>
                <a:lnTo>
                  <a:pt x="3160" y="3501"/>
                </a:lnTo>
                <a:lnTo>
                  <a:pt x="3159" y="3496"/>
                </a:lnTo>
                <a:lnTo>
                  <a:pt x="3158" y="3491"/>
                </a:lnTo>
                <a:lnTo>
                  <a:pt x="3156" y="3487"/>
                </a:lnTo>
                <a:lnTo>
                  <a:pt x="3153" y="3484"/>
                </a:lnTo>
                <a:lnTo>
                  <a:pt x="3149" y="3482"/>
                </a:lnTo>
                <a:lnTo>
                  <a:pt x="3147" y="3478"/>
                </a:lnTo>
                <a:lnTo>
                  <a:pt x="3146" y="3476"/>
                </a:lnTo>
                <a:lnTo>
                  <a:pt x="3146" y="3471"/>
                </a:lnTo>
                <a:lnTo>
                  <a:pt x="3146" y="3461"/>
                </a:lnTo>
                <a:lnTo>
                  <a:pt x="3144" y="3449"/>
                </a:lnTo>
                <a:lnTo>
                  <a:pt x="3144" y="3442"/>
                </a:lnTo>
                <a:lnTo>
                  <a:pt x="3144" y="3438"/>
                </a:lnTo>
                <a:lnTo>
                  <a:pt x="3146" y="3435"/>
                </a:lnTo>
                <a:lnTo>
                  <a:pt x="3148" y="3433"/>
                </a:lnTo>
                <a:lnTo>
                  <a:pt x="3153" y="3432"/>
                </a:lnTo>
                <a:lnTo>
                  <a:pt x="3160" y="3432"/>
                </a:lnTo>
                <a:lnTo>
                  <a:pt x="3166" y="3432"/>
                </a:lnTo>
                <a:lnTo>
                  <a:pt x="3172" y="3430"/>
                </a:lnTo>
                <a:lnTo>
                  <a:pt x="3178" y="3427"/>
                </a:lnTo>
                <a:lnTo>
                  <a:pt x="3187" y="3422"/>
                </a:lnTo>
                <a:lnTo>
                  <a:pt x="3191" y="3419"/>
                </a:lnTo>
                <a:lnTo>
                  <a:pt x="3194" y="3414"/>
                </a:lnTo>
                <a:lnTo>
                  <a:pt x="3198" y="3409"/>
                </a:lnTo>
                <a:lnTo>
                  <a:pt x="3200" y="3402"/>
                </a:lnTo>
                <a:lnTo>
                  <a:pt x="3204" y="3389"/>
                </a:lnTo>
                <a:lnTo>
                  <a:pt x="3209" y="3377"/>
                </a:lnTo>
                <a:lnTo>
                  <a:pt x="3211" y="3372"/>
                </a:lnTo>
                <a:lnTo>
                  <a:pt x="3215" y="3370"/>
                </a:lnTo>
                <a:lnTo>
                  <a:pt x="3219" y="3369"/>
                </a:lnTo>
                <a:lnTo>
                  <a:pt x="3224" y="3367"/>
                </a:lnTo>
                <a:lnTo>
                  <a:pt x="3229" y="3369"/>
                </a:lnTo>
                <a:lnTo>
                  <a:pt x="3234" y="3370"/>
                </a:lnTo>
                <a:lnTo>
                  <a:pt x="3238" y="3372"/>
                </a:lnTo>
                <a:lnTo>
                  <a:pt x="3243" y="3375"/>
                </a:lnTo>
                <a:lnTo>
                  <a:pt x="3251" y="3379"/>
                </a:lnTo>
                <a:lnTo>
                  <a:pt x="3259" y="3384"/>
                </a:lnTo>
                <a:lnTo>
                  <a:pt x="3262" y="3385"/>
                </a:lnTo>
                <a:lnTo>
                  <a:pt x="3266" y="3386"/>
                </a:lnTo>
                <a:lnTo>
                  <a:pt x="3270" y="3386"/>
                </a:lnTo>
                <a:lnTo>
                  <a:pt x="3274" y="3385"/>
                </a:lnTo>
                <a:lnTo>
                  <a:pt x="3278" y="3383"/>
                </a:lnTo>
                <a:lnTo>
                  <a:pt x="3281" y="3379"/>
                </a:lnTo>
                <a:lnTo>
                  <a:pt x="3285" y="3375"/>
                </a:lnTo>
                <a:lnTo>
                  <a:pt x="3288" y="3370"/>
                </a:lnTo>
                <a:lnTo>
                  <a:pt x="3292" y="3364"/>
                </a:lnTo>
                <a:lnTo>
                  <a:pt x="3294" y="3358"/>
                </a:lnTo>
                <a:lnTo>
                  <a:pt x="3297" y="3352"/>
                </a:lnTo>
                <a:lnTo>
                  <a:pt x="3298" y="3347"/>
                </a:lnTo>
                <a:lnTo>
                  <a:pt x="3298" y="3341"/>
                </a:lnTo>
                <a:lnTo>
                  <a:pt x="3297" y="3337"/>
                </a:lnTo>
                <a:lnTo>
                  <a:pt x="3294" y="3331"/>
                </a:lnTo>
                <a:lnTo>
                  <a:pt x="3292" y="3326"/>
                </a:lnTo>
                <a:lnTo>
                  <a:pt x="3287" y="3314"/>
                </a:lnTo>
                <a:lnTo>
                  <a:pt x="3282" y="3300"/>
                </a:lnTo>
                <a:lnTo>
                  <a:pt x="3281" y="3289"/>
                </a:lnTo>
                <a:lnTo>
                  <a:pt x="3281" y="3279"/>
                </a:lnTo>
                <a:lnTo>
                  <a:pt x="3281" y="3270"/>
                </a:lnTo>
                <a:lnTo>
                  <a:pt x="3282" y="3263"/>
                </a:lnTo>
                <a:lnTo>
                  <a:pt x="3284" y="3257"/>
                </a:lnTo>
                <a:lnTo>
                  <a:pt x="3285" y="3255"/>
                </a:lnTo>
                <a:lnTo>
                  <a:pt x="3287" y="3253"/>
                </a:lnTo>
                <a:lnTo>
                  <a:pt x="3292" y="3253"/>
                </a:lnTo>
                <a:lnTo>
                  <a:pt x="3298" y="3253"/>
                </a:lnTo>
                <a:lnTo>
                  <a:pt x="3303" y="3252"/>
                </a:lnTo>
                <a:lnTo>
                  <a:pt x="3310" y="3250"/>
                </a:lnTo>
                <a:lnTo>
                  <a:pt x="3317" y="3246"/>
                </a:lnTo>
                <a:lnTo>
                  <a:pt x="3324" y="3243"/>
                </a:lnTo>
                <a:lnTo>
                  <a:pt x="3329" y="3240"/>
                </a:lnTo>
                <a:lnTo>
                  <a:pt x="3333" y="3239"/>
                </a:lnTo>
                <a:lnTo>
                  <a:pt x="3339" y="3238"/>
                </a:lnTo>
                <a:lnTo>
                  <a:pt x="3344" y="3239"/>
                </a:lnTo>
                <a:lnTo>
                  <a:pt x="3348" y="3241"/>
                </a:lnTo>
                <a:lnTo>
                  <a:pt x="3351" y="3243"/>
                </a:lnTo>
                <a:lnTo>
                  <a:pt x="3354" y="3245"/>
                </a:lnTo>
                <a:lnTo>
                  <a:pt x="3358" y="3247"/>
                </a:lnTo>
                <a:lnTo>
                  <a:pt x="3362" y="3249"/>
                </a:lnTo>
                <a:lnTo>
                  <a:pt x="3366" y="3246"/>
                </a:lnTo>
                <a:lnTo>
                  <a:pt x="3368" y="3244"/>
                </a:lnTo>
                <a:lnTo>
                  <a:pt x="3372" y="3235"/>
                </a:lnTo>
                <a:lnTo>
                  <a:pt x="3374" y="3227"/>
                </a:lnTo>
                <a:lnTo>
                  <a:pt x="3376" y="3218"/>
                </a:lnTo>
                <a:lnTo>
                  <a:pt x="3379" y="3208"/>
                </a:lnTo>
                <a:lnTo>
                  <a:pt x="3379" y="3200"/>
                </a:lnTo>
                <a:lnTo>
                  <a:pt x="3379" y="3193"/>
                </a:lnTo>
                <a:lnTo>
                  <a:pt x="3379" y="3187"/>
                </a:lnTo>
                <a:lnTo>
                  <a:pt x="3376" y="3181"/>
                </a:lnTo>
                <a:lnTo>
                  <a:pt x="3374" y="3175"/>
                </a:lnTo>
                <a:lnTo>
                  <a:pt x="3372" y="3169"/>
                </a:lnTo>
                <a:lnTo>
                  <a:pt x="3366" y="3159"/>
                </a:lnTo>
                <a:lnTo>
                  <a:pt x="3362" y="3151"/>
                </a:lnTo>
                <a:lnTo>
                  <a:pt x="3361" y="3148"/>
                </a:lnTo>
                <a:lnTo>
                  <a:pt x="3362" y="3143"/>
                </a:lnTo>
                <a:lnTo>
                  <a:pt x="3364" y="3139"/>
                </a:lnTo>
                <a:lnTo>
                  <a:pt x="3367" y="3136"/>
                </a:lnTo>
                <a:lnTo>
                  <a:pt x="3375" y="3126"/>
                </a:lnTo>
                <a:lnTo>
                  <a:pt x="3383" y="3118"/>
                </a:lnTo>
                <a:lnTo>
                  <a:pt x="3391" y="3112"/>
                </a:lnTo>
                <a:lnTo>
                  <a:pt x="3398" y="3106"/>
                </a:lnTo>
                <a:lnTo>
                  <a:pt x="3407" y="3100"/>
                </a:lnTo>
                <a:lnTo>
                  <a:pt x="3415" y="3095"/>
                </a:lnTo>
                <a:lnTo>
                  <a:pt x="3420" y="3092"/>
                </a:lnTo>
                <a:lnTo>
                  <a:pt x="3423" y="3089"/>
                </a:lnTo>
                <a:lnTo>
                  <a:pt x="3421" y="3087"/>
                </a:lnTo>
                <a:lnTo>
                  <a:pt x="3415" y="3085"/>
                </a:lnTo>
                <a:lnTo>
                  <a:pt x="3410" y="3082"/>
                </a:lnTo>
                <a:lnTo>
                  <a:pt x="3402" y="3080"/>
                </a:lnTo>
                <a:lnTo>
                  <a:pt x="3396" y="3075"/>
                </a:lnTo>
                <a:lnTo>
                  <a:pt x="3392" y="3071"/>
                </a:lnTo>
                <a:lnTo>
                  <a:pt x="3383" y="3061"/>
                </a:lnTo>
                <a:lnTo>
                  <a:pt x="3379" y="3052"/>
                </a:lnTo>
                <a:lnTo>
                  <a:pt x="3373" y="3045"/>
                </a:lnTo>
                <a:lnTo>
                  <a:pt x="3366" y="3039"/>
                </a:lnTo>
                <a:lnTo>
                  <a:pt x="3360" y="3035"/>
                </a:lnTo>
                <a:lnTo>
                  <a:pt x="3352" y="3026"/>
                </a:lnTo>
                <a:lnTo>
                  <a:pt x="3348" y="3019"/>
                </a:lnTo>
                <a:lnTo>
                  <a:pt x="3344" y="3013"/>
                </a:lnTo>
                <a:lnTo>
                  <a:pt x="3342" y="3005"/>
                </a:lnTo>
                <a:lnTo>
                  <a:pt x="3341" y="2989"/>
                </a:lnTo>
                <a:lnTo>
                  <a:pt x="3339" y="2976"/>
                </a:lnTo>
                <a:lnTo>
                  <a:pt x="3337" y="2962"/>
                </a:lnTo>
                <a:lnTo>
                  <a:pt x="3333" y="2948"/>
                </a:lnTo>
                <a:lnTo>
                  <a:pt x="3329" y="2935"/>
                </a:lnTo>
                <a:lnTo>
                  <a:pt x="3324" y="2926"/>
                </a:lnTo>
                <a:lnTo>
                  <a:pt x="3319" y="2921"/>
                </a:lnTo>
                <a:lnTo>
                  <a:pt x="3314" y="2915"/>
                </a:lnTo>
                <a:lnTo>
                  <a:pt x="3308" y="2910"/>
                </a:lnTo>
                <a:lnTo>
                  <a:pt x="3298" y="2903"/>
                </a:lnTo>
                <a:lnTo>
                  <a:pt x="3288" y="2896"/>
                </a:lnTo>
                <a:lnTo>
                  <a:pt x="3284" y="2891"/>
                </a:lnTo>
                <a:lnTo>
                  <a:pt x="3281" y="2886"/>
                </a:lnTo>
                <a:lnTo>
                  <a:pt x="3279" y="2880"/>
                </a:lnTo>
                <a:lnTo>
                  <a:pt x="3278" y="2875"/>
                </a:lnTo>
                <a:lnTo>
                  <a:pt x="3278" y="2869"/>
                </a:lnTo>
                <a:lnTo>
                  <a:pt x="3279" y="2865"/>
                </a:lnTo>
                <a:lnTo>
                  <a:pt x="3282" y="2860"/>
                </a:lnTo>
                <a:lnTo>
                  <a:pt x="3286" y="2856"/>
                </a:lnTo>
                <a:lnTo>
                  <a:pt x="3299" y="2850"/>
                </a:lnTo>
                <a:lnTo>
                  <a:pt x="3313" y="2846"/>
                </a:lnTo>
                <a:lnTo>
                  <a:pt x="3319" y="2844"/>
                </a:lnTo>
                <a:lnTo>
                  <a:pt x="3323" y="2842"/>
                </a:lnTo>
                <a:lnTo>
                  <a:pt x="3324" y="2841"/>
                </a:lnTo>
                <a:lnTo>
                  <a:pt x="3325" y="2840"/>
                </a:lnTo>
                <a:lnTo>
                  <a:pt x="3325" y="2837"/>
                </a:lnTo>
                <a:lnTo>
                  <a:pt x="3325" y="2836"/>
                </a:lnTo>
                <a:lnTo>
                  <a:pt x="3319" y="2822"/>
                </a:lnTo>
                <a:lnTo>
                  <a:pt x="3314" y="2808"/>
                </a:lnTo>
                <a:lnTo>
                  <a:pt x="3311" y="2802"/>
                </a:lnTo>
                <a:lnTo>
                  <a:pt x="3305" y="2793"/>
                </a:lnTo>
                <a:lnTo>
                  <a:pt x="3299" y="2786"/>
                </a:lnTo>
                <a:lnTo>
                  <a:pt x="3293" y="2780"/>
                </a:lnTo>
                <a:lnTo>
                  <a:pt x="3280" y="2768"/>
                </a:lnTo>
                <a:lnTo>
                  <a:pt x="3263" y="2753"/>
                </a:lnTo>
                <a:lnTo>
                  <a:pt x="3260" y="2748"/>
                </a:lnTo>
                <a:lnTo>
                  <a:pt x="3257" y="2745"/>
                </a:lnTo>
                <a:lnTo>
                  <a:pt x="3255" y="2740"/>
                </a:lnTo>
                <a:lnTo>
                  <a:pt x="3255" y="2736"/>
                </a:lnTo>
                <a:lnTo>
                  <a:pt x="3255" y="2728"/>
                </a:lnTo>
                <a:lnTo>
                  <a:pt x="3255" y="2716"/>
                </a:lnTo>
                <a:lnTo>
                  <a:pt x="3255" y="2708"/>
                </a:lnTo>
                <a:lnTo>
                  <a:pt x="3255" y="2701"/>
                </a:lnTo>
                <a:lnTo>
                  <a:pt x="3256" y="2698"/>
                </a:lnTo>
                <a:lnTo>
                  <a:pt x="3257" y="2696"/>
                </a:lnTo>
                <a:lnTo>
                  <a:pt x="3259" y="2695"/>
                </a:lnTo>
                <a:lnTo>
                  <a:pt x="3261" y="2694"/>
                </a:lnTo>
                <a:lnTo>
                  <a:pt x="3267" y="2694"/>
                </a:lnTo>
                <a:lnTo>
                  <a:pt x="3273" y="2694"/>
                </a:lnTo>
                <a:lnTo>
                  <a:pt x="3278" y="2692"/>
                </a:lnTo>
                <a:lnTo>
                  <a:pt x="3282" y="2690"/>
                </a:lnTo>
                <a:lnTo>
                  <a:pt x="3286" y="2685"/>
                </a:lnTo>
                <a:lnTo>
                  <a:pt x="3287" y="2678"/>
                </a:lnTo>
                <a:lnTo>
                  <a:pt x="3287" y="2674"/>
                </a:lnTo>
                <a:lnTo>
                  <a:pt x="3286" y="2670"/>
                </a:lnTo>
                <a:lnTo>
                  <a:pt x="3285" y="2666"/>
                </a:lnTo>
                <a:lnTo>
                  <a:pt x="3282" y="2660"/>
                </a:lnTo>
                <a:lnTo>
                  <a:pt x="3268" y="2650"/>
                </a:lnTo>
                <a:lnTo>
                  <a:pt x="3256" y="2638"/>
                </a:lnTo>
                <a:lnTo>
                  <a:pt x="3253" y="2628"/>
                </a:lnTo>
                <a:lnTo>
                  <a:pt x="3248" y="2621"/>
                </a:lnTo>
                <a:lnTo>
                  <a:pt x="3244" y="2617"/>
                </a:lnTo>
                <a:lnTo>
                  <a:pt x="3242" y="2614"/>
                </a:lnTo>
                <a:lnTo>
                  <a:pt x="3237" y="2611"/>
                </a:lnTo>
                <a:lnTo>
                  <a:pt x="3232" y="2609"/>
                </a:lnTo>
                <a:lnTo>
                  <a:pt x="3224" y="2604"/>
                </a:lnTo>
                <a:lnTo>
                  <a:pt x="3217" y="2600"/>
                </a:lnTo>
                <a:lnTo>
                  <a:pt x="3212" y="2594"/>
                </a:lnTo>
                <a:lnTo>
                  <a:pt x="3206" y="2585"/>
                </a:lnTo>
                <a:lnTo>
                  <a:pt x="3198" y="2576"/>
                </a:lnTo>
                <a:lnTo>
                  <a:pt x="3186" y="2565"/>
                </a:lnTo>
                <a:lnTo>
                  <a:pt x="3173" y="2556"/>
                </a:lnTo>
                <a:lnTo>
                  <a:pt x="3161" y="2547"/>
                </a:lnTo>
                <a:lnTo>
                  <a:pt x="3149" y="2537"/>
                </a:lnTo>
                <a:lnTo>
                  <a:pt x="3142" y="2527"/>
                </a:lnTo>
                <a:lnTo>
                  <a:pt x="3140" y="2525"/>
                </a:lnTo>
                <a:lnTo>
                  <a:pt x="3139" y="2521"/>
                </a:lnTo>
                <a:lnTo>
                  <a:pt x="3139" y="2518"/>
                </a:lnTo>
                <a:lnTo>
                  <a:pt x="3140" y="2513"/>
                </a:lnTo>
                <a:lnTo>
                  <a:pt x="3141" y="2503"/>
                </a:lnTo>
                <a:lnTo>
                  <a:pt x="3143" y="2493"/>
                </a:lnTo>
                <a:lnTo>
                  <a:pt x="3144" y="2487"/>
                </a:lnTo>
                <a:lnTo>
                  <a:pt x="3142" y="2481"/>
                </a:lnTo>
                <a:lnTo>
                  <a:pt x="3140" y="2475"/>
                </a:lnTo>
                <a:lnTo>
                  <a:pt x="3137" y="2469"/>
                </a:lnTo>
                <a:lnTo>
                  <a:pt x="3130" y="2458"/>
                </a:lnTo>
                <a:lnTo>
                  <a:pt x="3124" y="2450"/>
                </a:lnTo>
                <a:lnTo>
                  <a:pt x="3121" y="2442"/>
                </a:lnTo>
                <a:lnTo>
                  <a:pt x="3116" y="2433"/>
                </a:lnTo>
                <a:lnTo>
                  <a:pt x="3112" y="2424"/>
                </a:lnTo>
                <a:lnTo>
                  <a:pt x="3111" y="2414"/>
                </a:lnTo>
                <a:lnTo>
                  <a:pt x="3111" y="2406"/>
                </a:lnTo>
                <a:lnTo>
                  <a:pt x="3109" y="2399"/>
                </a:lnTo>
                <a:lnTo>
                  <a:pt x="3108" y="2395"/>
                </a:lnTo>
                <a:lnTo>
                  <a:pt x="3106" y="2393"/>
                </a:lnTo>
                <a:lnTo>
                  <a:pt x="3104" y="2392"/>
                </a:lnTo>
                <a:lnTo>
                  <a:pt x="3102" y="2392"/>
                </a:lnTo>
                <a:lnTo>
                  <a:pt x="3099" y="2392"/>
                </a:lnTo>
                <a:lnTo>
                  <a:pt x="3097" y="2393"/>
                </a:lnTo>
                <a:lnTo>
                  <a:pt x="3095" y="2394"/>
                </a:lnTo>
                <a:lnTo>
                  <a:pt x="3092" y="2396"/>
                </a:lnTo>
                <a:lnTo>
                  <a:pt x="3086" y="2403"/>
                </a:lnTo>
                <a:lnTo>
                  <a:pt x="3077" y="2414"/>
                </a:lnTo>
                <a:lnTo>
                  <a:pt x="3070" y="2424"/>
                </a:lnTo>
                <a:lnTo>
                  <a:pt x="3066" y="2427"/>
                </a:lnTo>
                <a:lnTo>
                  <a:pt x="3062" y="2430"/>
                </a:lnTo>
                <a:lnTo>
                  <a:pt x="3056" y="2434"/>
                </a:lnTo>
                <a:lnTo>
                  <a:pt x="3049" y="2439"/>
                </a:lnTo>
                <a:lnTo>
                  <a:pt x="3046" y="2442"/>
                </a:lnTo>
                <a:lnTo>
                  <a:pt x="3043" y="2442"/>
                </a:lnTo>
                <a:lnTo>
                  <a:pt x="3039" y="2439"/>
                </a:lnTo>
                <a:lnTo>
                  <a:pt x="3032" y="2436"/>
                </a:lnTo>
                <a:lnTo>
                  <a:pt x="3024" y="2430"/>
                </a:lnTo>
                <a:lnTo>
                  <a:pt x="3016" y="2423"/>
                </a:lnTo>
                <a:lnTo>
                  <a:pt x="3007" y="2414"/>
                </a:lnTo>
                <a:lnTo>
                  <a:pt x="2996" y="2406"/>
                </a:lnTo>
                <a:lnTo>
                  <a:pt x="2986" y="2398"/>
                </a:lnTo>
                <a:lnTo>
                  <a:pt x="2990" y="2392"/>
                </a:lnTo>
                <a:lnTo>
                  <a:pt x="2996" y="2383"/>
                </a:lnTo>
                <a:lnTo>
                  <a:pt x="2993" y="2377"/>
                </a:lnTo>
                <a:lnTo>
                  <a:pt x="2988" y="2370"/>
                </a:lnTo>
                <a:lnTo>
                  <a:pt x="2982" y="2363"/>
                </a:lnTo>
                <a:lnTo>
                  <a:pt x="2976" y="2357"/>
                </a:lnTo>
                <a:lnTo>
                  <a:pt x="2969" y="2350"/>
                </a:lnTo>
                <a:lnTo>
                  <a:pt x="2957" y="2343"/>
                </a:lnTo>
                <a:lnTo>
                  <a:pt x="2946" y="2336"/>
                </a:lnTo>
                <a:lnTo>
                  <a:pt x="2938" y="2332"/>
                </a:lnTo>
                <a:lnTo>
                  <a:pt x="2934" y="2332"/>
                </a:lnTo>
                <a:lnTo>
                  <a:pt x="2928" y="2335"/>
                </a:lnTo>
                <a:lnTo>
                  <a:pt x="2922" y="2338"/>
                </a:lnTo>
                <a:lnTo>
                  <a:pt x="2915" y="2342"/>
                </a:lnTo>
                <a:lnTo>
                  <a:pt x="2908" y="2346"/>
                </a:lnTo>
                <a:lnTo>
                  <a:pt x="2902" y="2349"/>
                </a:lnTo>
                <a:lnTo>
                  <a:pt x="2896" y="2351"/>
                </a:lnTo>
                <a:lnTo>
                  <a:pt x="2892" y="2350"/>
                </a:lnTo>
                <a:lnTo>
                  <a:pt x="2877" y="2340"/>
                </a:lnTo>
                <a:lnTo>
                  <a:pt x="2864" y="2333"/>
                </a:lnTo>
                <a:lnTo>
                  <a:pt x="2856" y="2329"/>
                </a:lnTo>
                <a:lnTo>
                  <a:pt x="2850" y="2323"/>
                </a:lnTo>
                <a:lnTo>
                  <a:pt x="2844" y="2316"/>
                </a:lnTo>
                <a:lnTo>
                  <a:pt x="2837" y="2304"/>
                </a:lnTo>
                <a:lnTo>
                  <a:pt x="2828" y="2292"/>
                </a:lnTo>
                <a:lnTo>
                  <a:pt x="2820" y="2283"/>
                </a:lnTo>
                <a:lnTo>
                  <a:pt x="2812" y="2276"/>
                </a:lnTo>
                <a:lnTo>
                  <a:pt x="2800" y="2268"/>
                </a:lnTo>
                <a:lnTo>
                  <a:pt x="2789" y="2261"/>
                </a:lnTo>
                <a:lnTo>
                  <a:pt x="2778" y="2256"/>
                </a:lnTo>
                <a:lnTo>
                  <a:pt x="2770" y="2254"/>
                </a:lnTo>
                <a:lnTo>
                  <a:pt x="2764" y="2253"/>
                </a:lnTo>
                <a:lnTo>
                  <a:pt x="2757" y="2251"/>
                </a:lnTo>
                <a:lnTo>
                  <a:pt x="2749" y="2247"/>
                </a:lnTo>
                <a:lnTo>
                  <a:pt x="2738" y="2241"/>
                </a:lnTo>
                <a:lnTo>
                  <a:pt x="2727" y="2230"/>
                </a:lnTo>
                <a:lnTo>
                  <a:pt x="2721" y="2225"/>
                </a:lnTo>
                <a:lnTo>
                  <a:pt x="2715" y="2220"/>
                </a:lnTo>
                <a:lnTo>
                  <a:pt x="2708" y="2216"/>
                </a:lnTo>
                <a:lnTo>
                  <a:pt x="2702" y="2212"/>
                </a:lnTo>
                <a:lnTo>
                  <a:pt x="2689" y="2206"/>
                </a:lnTo>
                <a:lnTo>
                  <a:pt x="2680" y="2203"/>
                </a:lnTo>
                <a:lnTo>
                  <a:pt x="2676" y="2200"/>
                </a:lnTo>
                <a:lnTo>
                  <a:pt x="2673" y="2197"/>
                </a:lnTo>
                <a:lnTo>
                  <a:pt x="2671" y="2193"/>
                </a:lnTo>
                <a:lnTo>
                  <a:pt x="2670" y="2190"/>
                </a:lnTo>
                <a:lnTo>
                  <a:pt x="2669" y="2181"/>
                </a:lnTo>
                <a:lnTo>
                  <a:pt x="2669" y="2172"/>
                </a:lnTo>
                <a:lnTo>
                  <a:pt x="2669" y="2161"/>
                </a:lnTo>
                <a:lnTo>
                  <a:pt x="2667" y="2150"/>
                </a:lnTo>
                <a:lnTo>
                  <a:pt x="2664" y="2144"/>
                </a:lnTo>
                <a:lnTo>
                  <a:pt x="2662" y="2140"/>
                </a:lnTo>
                <a:lnTo>
                  <a:pt x="2657" y="2134"/>
                </a:lnTo>
                <a:lnTo>
                  <a:pt x="2652" y="2129"/>
                </a:lnTo>
                <a:lnTo>
                  <a:pt x="2645" y="2125"/>
                </a:lnTo>
                <a:lnTo>
                  <a:pt x="2639" y="2123"/>
                </a:lnTo>
                <a:lnTo>
                  <a:pt x="2632" y="2122"/>
                </a:lnTo>
                <a:lnTo>
                  <a:pt x="2626" y="2121"/>
                </a:lnTo>
                <a:lnTo>
                  <a:pt x="2613" y="2121"/>
                </a:lnTo>
                <a:lnTo>
                  <a:pt x="2602" y="2119"/>
                </a:lnTo>
                <a:lnTo>
                  <a:pt x="2598" y="2117"/>
                </a:lnTo>
                <a:lnTo>
                  <a:pt x="2593" y="2113"/>
                </a:lnTo>
                <a:lnTo>
                  <a:pt x="2588" y="2109"/>
                </a:lnTo>
                <a:lnTo>
                  <a:pt x="2583" y="2104"/>
                </a:lnTo>
                <a:lnTo>
                  <a:pt x="2580" y="2099"/>
                </a:lnTo>
                <a:lnTo>
                  <a:pt x="2577" y="2094"/>
                </a:lnTo>
                <a:lnTo>
                  <a:pt x="2575" y="2090"/>
                </a:lnTo>
                <a:lnTo>
                  <a:pt x="2574" y="2085"/>
                </a:lnTo>
                <a:lnTo>
                  <a:pt x="2573" y="2078"/>
                </a:lnTo>
                <a:lnTo>
                  <a:pt x="2570" y="2072"/>
                </a:lnTo>
                <a:lnTo>
                  <a:pt x="2569" y="2071"/>
                </a:lnTo>
                <a:lnTo>
                  <a:pt x="2567" y="2068"/>
                </a:lnTo>
                <a:lnTo>
                  <a:pt x="2564" y="2068"/>
                </a:lnTo>
                <a:lnTo>
                  <a:pt x="2561" y="2068"/>
                </a:lnTo>
                <a:lnTo>
                  <a:pt x="2557" y="2068"/>
                </a:lnTo>
                <a:lnTo>
                  <a:pt x="2554" y="2067"/>
                </a:lnTo>
                <a:lnTo>
                  <a:pt x="2552" y="2066"/>
                </a:lnTo>
                <a:lnTo>
                  <a:pt x="2551" y="2064"/>
                </a:lnTo>
                <a:lnTo>
                  <a:pt x="2550" y="2058"/>
                </a:lnTo>
                <a:lnTo>
                  <a:pt x="2550" y="2048"/>
                </a:lnTo>
                <a:lnTo>
                  <a:pt x="2549" y="2043"/>
                </a:lnTo>
                <a:lnTo>
                  <a:pt x="2548" y="2039"/>
                </a:lnTo>
                <a:lnTo>
                  <a:pt x="2547" y="2034"/>
                </a:lnTo>
                <a:lnTo>
                  <a:pt x="2544" y="2030"/>
                </a:lnTo>
                <a:lnTo>
                  <a:pt x="2538" y="2023"/>
                </a:lnTo>
                <a:lnTo>
                  <a:pt x="2530" y="2016"/>
                </a:lnTo>
                <a:lnTo>
                  <a:pt x="2522" y="2009"/>
                </a:lnTo>
                <a:lnTo>
                  <a:pt x="2512" y="2004"/>
                </a:lnTo>
                <a:lnTo>
                  <a:pt x="2506" y="2003"/>
                </a:lnTo>
                <a:lnTo>
                  <a:pt x="2501" y="2002"/>
                </a:lnTo>
                <a:lnTo>
                  <a:pt x="2497" y="2003"/>
                </a:lnTo>
                <a:lnTo>
                  <a:pt x="2493" y="2005"/>
                </a:lnTo>
                <a:lnTo>
                  <a:pt x="2489" y="2008"/>
                </a:lnTo>
                <a:lnTo>
                  <a:pt x="2488" y="2011"/>
                </a:lnTo>
                <a:lnTo>
                  <a:pt x="2488" y="2015"/>
                </a:lnTo>
                <a:lnTo>
                  <a:pt x="2487" y="2020"/>
                </a:lnTo>
                <a:lnTo>
                  <a:pt x="2487" y="2028"/>
                </a:lnTo>
                <a:lnTo>
                  <a:pt x="2492" y="2042"/>
                </a:lnTo>
                <a:lnTo>
                  <a:pt x="2498" y="2058"/>
                </a:lnTo>
                <a:lnTo>
                  <a:pt x="2503" y="2068"/>
                </a:lnTo>
                <a:lnTo>
                  <a:pt x="2511" y="2083"/>
                </a:lnTo>
                <a:lnTo>
                  <a:pt x="2518" y="2098"/>
                </a:lnTo>
                <a:lnTo>
                  <a:pt x="2520" y="2105"/>
                </a:lnTo>
                <a:lnTo>
                  <a:pt x="2522" y="2110"/>
                </a:lnTo>
                <a:lnTo>
                  <a:pt x="2522" y="2115"/>
                </a:lnTo>
                <a:lnTo>
                  <a:pt x="2520" y="2117"/>
                </a:lnTo>
                <a:lnTo>
                  <a:pt x="2519" y="2118"/>
                </a:lnTo>
                <a:lnTo>
                  <a:pt x="2516" y="2118"/>
                </a:lnTo>
                <a:lnTo>
                  <a:pt x="2512" y="2117"/>
                </a:lnTo>
                <a:lnTo>
                  <a:pt x="2506" y="2115"/>
                </a:lnTo>
                <a:lnTo>
                  <a:pt x="2494" y="2108"/>
                </a:lnTo>
                <a:lnTo>
                  <a:pt x="2482" y="2102"/>
                </a:lnTo>
                <a:lnTo>
                  <a:pt x="2470" y="2094"/>
                </a:lnTo>
                <a:lnTo>
                  <a:pt x="2460" y="2087"/>
                </a:lnTo>
                <a:lnTo>
                  <a:pt x="2445" y="2079"/>
                </a:lnTo>
                <a:lnTo>
                  <a:pt x="2429" y="2069"/>
                </a:lnTo>
                <a:lnTo>
                  <a:pt x="2413" y="2060"/>
                </a:lnTo>
                <a:lnTo>
                  <a:pt x="2400" y="2052"/>
                </a:lnTo>
                <a:lnTo>
                  <a:pt x="2387" y="2042"/>
                </a:lnTo>
                <a:lnTo>
                  <a:pt x="2372" y="2030"/>
                </a:lnTo>
                <a:lnTo>
                  <a:pt x="2356" y="2018"/>
                </a:lnTo>
                <a:lnTo>
                  <a:pt x="2346" y="2009"/>
                </a:lnTo>
                <a:lnTo>
                  <a:pt x="2338" y="1999"/>
                </a:lnTo>
                <a:lnTo>
                  <a:pt x="2331" y="1987"/>
                </a:lnTo>
                <a:lnTo>
                  <a:pt x="2325" y="1976"/>
                </a:lnTo>
                <a:lnTo>
                  <a:pt x="2322" y="1966"/>
                </a:lnTo>
                <a:lnTo>
                  <a:pt x="2321" y="1960"/>
                </a:lnTo>
                <a:lnTo>
                  <a:pt x="2319" y="1955"/>
                </a:lnTo>
                <a:lnTo>
                  <a:pt x="2316" y="1951"/>
                </a:lnTo>
                <a:lnTo>
                  <a:pt x="2309" y="1944"/>
                </a:lnTo>
                <a:lnTo>
                  <a:pt x="2300" y="1935"/>
                </a:lnTo>
                <a:lnTo>
                  <a:pt x="2293" y="1926"/>
                </a:lnTo>
                <a:lnTo>
                  <a:pt x="2287" y="1915"/>
                </a:lnTo>
                <a:lnTo>
                  <a:pt x="2280" y="1902"/>
                </a:lnTo>
                <a:lnTo>
                  <a:pt x="2277" y="1896"/>
                </a:lnTo>
                <a:lnTo>
                  <a:pt x="2272" y="1889"/>
                </a:lnTo>
                <a:lnTo>
                  <a:pt x="2266" y="1883"/>
                </a:lnTo>
                <a:lnTo>
                  <a:pt x="2259" y="1876"/>
                </a:lnTo>
                <a:lnTo>
                  <a:pt x="2245" y="1864"/>
                </a:lnTo>
                <a:lnTo>
                  <a:pt x="2231" y="1853"/>
                </a:lnTo>
                <a:lnTo>
                  <a:pt x="2218" y="1842"/>
                </a:lnTo>
                <a:lnTo>
                  <a:pt x="2203" y="1831"/>
                </a:lnTo>
                <a:lnTo>
                  <a:pt x="2190" y="1820"/>
                </a:lnTo>
                <a:lnTo>
                  <a:pt x="2180" y="1812"/>
                </a:lnTo>
                <a:lnTo>
                  <a:pt x="2177" y="1808"/>
                </a:lnTo>
                <a:lnTo>
                  <a:pt x="2176" y="1804"/>
                </a:lnTo>
                <a:lnTo>
                  <a:pt x="2176" y="1802"/>
                </a:lnTo>
                <a:lnTo>
                  <a:pt x="2176" y="1800"/>
                </a:lnTo>
                <a:lnTo>
                  <a:pt x="2177" y="1795"/>
                </a:lnTo>
                <a:lnTo>
                  <a:pt x="2180" y="1789"/>
                </a:lnTo>
                <a:lnTo>
                  <a:pt x="2182" y="1787"/>
                </a:lnTo>
                <a:lnTo>
                  <a:pt x="2180" y="1783"/>
                </a:lnTo>
                <a:lnTo>
                  <a:pt x="2179" y="1781"/>
                </a:lnTo>
                <a:lnTo>
                  <a:pt x="2178" y="1778"/>
                </a:lnTo>
                <a:lnTo>
                  <a:pt x="2172" y="1775"/>
                </a:lnTo>
                <a:lnTo>
                  <a:pt x="2164" y="1772"/>
                </a:lnTo>
                <a:lnTo>
                  <a:pt x="2153" y="1770"/>
                </a:lnTo>
                <a:lnTo>
                  <a:pt x="2142" y="1766"/>
                </a:lnTo>
                <a:lnTo>
                  <a:pt x="2136" y="1763"/>
                </a:lnTo>
                <a:lnTo>
                  <a:pt x="2132" y="1760"/>
                </a:lnTo>
                <a:lnTo>
                  <a:pt x="2126" y="1757"/>
                </a:lnTo>
                <a:lnTo>
                  <a:pt x="2121" y="1752"/>
                </a:lnTo>
                <a:lnTo>
                  <a:pt x="2117" y="1747"/>
                </a:lnTo>
                <a:lnTo>
                  <a:pt x="2115" y="1743"/>
                </a:lnTo>
                <a:lnTo>
                  <a:pt x="2113" y="1738"/>
                </a:lnTo>
                <a:lnTo>
                  <a:pt x="2111" y="1732"/>
                </a:lnTo>
                <a:lnTo>
                  <a:pt x="2108" y="1722"/>
                </a:lnTo>
                <a:lnTo>
                  <a:pt x="2103" y="1713"/>
                </a:lnTo>
                <a:lnTo>
                  <a:pt x="2100" y="1709"/>
                </a:lnTo>
                <a:lnTo>
                  <a:pt x="2096" y="1707"/>
                </a:lnTo>
                <a:lnTo>
                  <a:pt x="2091" y="1706"/>
                </a:lnTo>
                <a:lnTo>
                  <a:pt x="2088" y="1705"/>
                </a:lnTo>
                <a:lnTo>
                  <a:pt x="2083" y="1706"/>
                </a:lnTo>
                <a:lnTo>
                  <a:pt x="2078" y="1708"/>
                </a:lnTo>
                <a:lnTo>
                  <a:pt x="2073" y="1711"/>
                </a:lnTo>
                <a:lnTo>
                  <a:pt x="2069" y="1715"/>
                </a:lnTo>
                <a:lnTo>
                  <a:pt x="2059" y="1727"/>
                </a:lnTo>
                <a:lnTo>
                  <a:pt x="2048" y="1741"/>
                </a:lnTo>
                <a:lnTo>
                  <a:pt x="2038" y="1753"/>
                </a:lnTo>
                <a:lnTo>
                  <a:pt x="2028" y="1763"/>
                </a:lnTo>
                <a:lnTo>
                  <a:pt x="2023" y="1765"/>
                </a:lnTo>
                <a:lnTo>
                  <a:pt x="2019" y="1765"/>
                </a:lnTo>
                <a:lnTo>
                  <a:pt x="2013" y="1765"/>
                </a:lnTo>
                <a:lnTo>
                  <a:pt x="2006" y="1764"/>
                </a:lnTo>
                <a:lnTo>
                  <a:pt x="1994" y="1760"/>
                </a:lnTo>
                <a:lnTo>
                  <a:pt x="1983" y="1756"/>
                </a:lnTo>
                <a:lnTo>
                  <a:pt x="1979" y="1755"/>
                </a:lnTo>
                <a:lnTo>
                  <a:pt x="1977" y="1752"/>
                </a:lnTo>
                <a:lnTo>
                  <a:pt x="1975" y="1749"/>
                </a:lnTo>
                <a:lnTo>
                  <a:pt x="1974" y="1746"/>
                </a:lnTo>
                <a:lnTo>
                  <a:pt x="1972" y="1738"/>
                </a:lnTo>
                <a:lnTo>
                  <a:pt x="1972" y="1727"/>
                </a:lnTo>
                <a:lnTo>
                  <a:pt x="1971" y="1721"/>
                </a:lnTo>
                <a:lnTo>
                  <a:pt x="1968" y="1718"/>
                </a:lnTo>
                <a:lnTo>
                  <a:pt x="1963" y="1714"/>
                </a:lnTo>
                <a:lnTo>
                  <a:pt x="1957" y="1712"/>
                </a:lnTo>
                <a:lnTo>
                  <a:pt x="1950" y="1711"/>
                </a:lnTo>
                <a:lnTo>
                  <a:pt x="1944" y="1711"/>
                </a:lnTo>
                <a:lnTo>
                  <a:pt x="1937" y="1711"/>
                </a:lnTo>
                <a:lnTo>
                  <a:pt x="1932" y="1712"/>
                </a:lnTo>
                <a:lnTo>
                  <a:pt x="1927" y="1714"/>
                </a:lnTo>
                <a:lnTo>
                  <a:pt x="1925" y="1716"/>
                </a:lnTo>
                <a:lnTo>
                  <a:pt x="1922" y="1720"/>
                </a:lnTo>
                <a:lnTo>
                  <a:pt x="1922" y="1724"/>
                </a:lnTo>
                <a:lnTo>
                  <a:pt x="1922" y="1733"/>
                </a:lnTo>
                <a:lnTo>
                  <a:pt x="1922" y="1743"/>
                </a:lnTo>
                <a:lnTo>
                  <a:pt x="1921" y="1747"/>
                </a:lnTo>
                <a:lnTo>
                  <a:pt x="1920" y="1751"/>
                </a:lnTo>
                <a:lnTo>
                  <a:pt x="1916" y="1755"/>
                </a:lnTo>
                <a:lnTo>
                  <a:pt x="1912" y="1759"/>
                </a:lnTo>
                <a:lnTo>
                  <a:pt x="1899" y="1768"/>
                </a:lnTo>
                <a:lnTo>
                  <a:pt x="1883" y="1778"/>
                </a:lnTo>
                <a:lnTo>
                  <a:pt x="1876" y="1783"/>
                </a:lnTo>
                <a:lnTo>
                  <a:pt x="1870" y="1788"/>
                </a:lnTo>
                <a:lnTo>
                  <a:pt x="1867" y="1791"/>
                </a:lnTo>
                <a:lnTo>
                  <a:pt x="1864" y="1795"/>
                </a:lnTo>
                <a:lnTo>
                  <a:pt x="1863" y="1801"/>
                </a:lnTo>
                <a:lnTo>
                  <a:pt x="1861" y="1807"/>
                </a:lnTo>
                <a:lnTo>
                  <a:pt x="1858" y="1810"/>
                </a:lnTo>
                <a:lnTo>
                  <a:pt x="1856" y="1813"/>
                </a:lnTo>
                <a:lnTo>
                  <a:pt x="1853" y="1814"/>
                </a:lnTo>
                <a:lnTo>
                  <a:pt x="1852" y="1814"/>
                </a:lnTo>
                <a:lnTo>
                  <a:pt x="1850" y="1814"/>
                </a:lnTo>
                <a:lnTo>
                  <a:pt x="1848" y="1812"/>
                </a:lnTo>
                <a:lnTo>
                  <a:pt x="1845" y="1809"/>
                </a:lnTo>
                <a:lnTo>
                  <a:pt x="1843" y="1806"/>
                </a:lnTo>
                <a:lnTo>
                  <a:pt x="1839" y="1798"/>
                </a:lnTo>
                <a:lnTo>
                  <a:pt x="1834" y="1790"/>
                </a:lnTo>
                <a:lnTo>
                  <a:pt x="1830" y="1783"/>
                </a:lnTo>
                <a:lnTo>
                  <a:pt x="1821" y="1777"/>
                </a:lnTo>
                <a:lnTo>
                  <a:pt x="1812" y="1771"/>
                </a:lnTo>
                <a:lnTo>
                  <a:pt x="1802" y="1765"/>
                </a:lnTo>
                <a:lnTo>
                  <a:pt x="1793" y="1758"/>
                </a:lnTo>
                <a:lnTo>
                  <a:pt x="1783" y="1751"/>
                </a:lnTo>
                <a:lnTo>
                  <a:pt x="1774" y="1743"/>
                </a:lnTo>
                <a:lnTo>
                  <a:pt x="1763" y="1735"/>
                </a:lnTo>
                <a:lnTo>
                  <a:pt x="1757" y="1733"/>
                </a:lnTo>
                <a:lnTo>
                  <a:pt x="1751" y="1731"/>
                </a:lnTo>
                <a:lnTo>
                  <a:pt x="1746" y="1728"/>
                </a:lnTo>
                <a:lnTo>
                  <a:pt x="1742" y="1728"/>
                </a:lnTo>
                <a:lnTo>
                  <a:pt x="1737" y="1727"/>
                </a:lnTo>
                <a:lnTo>
                  <a:pt x="1735" y="1727"/>
                </a:lnTo>
                <a:lnTo>
                  <a:pt x="1732" y="1726"/>
                </a:lnTo>
                <a:lnTo>
                  <a:pt x="1730" y="1725"/>
                </a:lnTo>
                <a:lnTo>
                  <a:pt x="1729" y="1720"/>
                </a:lnTo>
                <a:lnTo>
                  <a:pt x="1729" y="1713"/>
                </a:lnTo>
                <a:lnTo>
                  <a:pt x="1727" y="1708"/>
                </a:lnTo>
                <a:lnTo>
                  <a:pt x="1725" y="1705"/>
                </a:lnTo>
                <a:lnTo>
                  <a:pt x="1723" y="1701"/>
                </a:lnTo>
                <a:lnTo>
                  <a:pt x="1719" y="1697"/>
                </a:lnTo>
                <a:lnTo>
                  <a:pt x="1710" y="1689"/>
                </a:lnTo>
                <a:lnTo>
                  <a:pt x="1700" y="1681"/>
                </a:lnTo>
                <a:lnTo>
                  <a:pt x="1692" y="1671"/>
                </a:lnTo>
                <a:lnTo>
                  <a:pt x="1681" y="1661"/>
                </a:lnTo>
                <a:lnTo>
                  <a:pt x="1672" y="1651"/>
                </a:lnTo>
                <a:lnTo>
                  <a:pt x="1663" y="1643"/>
                </a:lnTo>
                <a:lnTo>
                  <a:pt x="1657" y="1636"/>
                </a:lnTo>
                <a:lnTo>
                  <a:pt x="1651" y="1629"/>
                </a:lnTo>
                <a:lnTo>
                  <a:pt x="1647" y="1624"/>
                </a:lnTo>
                <a:lnTo>
                  <a:pt x="1641" y="1621"/>
                </a:lnTo>
                <a:lnTo>
                  <a:pt x="1636" y="1621"/>
                </a:lnTo>
                <a:lnTo>
                  <a:pt x="1632" y="1620"/>
                </a:lnTo>
                <a:lnTo>
                  <a:pt x="1628" y="1618"/>
                </a:lnTo>
                <a:lnTo>
                  <a:pt x="1623" y="1611"/>
                </a:lnTo>
                <a:lnTo>
                  <a:pt x="1619" y="1607"/>
                </a:lnTo>
                <a:lnTo>
                  <a:pt x="1613" y="1604"/>
                </a:lnTo>
                <a:lnTo>
                  <a:pt x="1606" y="1600"/>
                </a:lnTo>
                <a:lnTo>
                  <a:pt x="1599" y="1596"/>
                </a:lnTo>
                <a:lnTo>
                  <a:pt x="1582" y="1592"/>
                </a:lnTo>
                <a:lnTo>
                  <a:pt x="1568" y="1586"/>
                </a:lnTo>
                <a:lnTo>
                  <a:pt x="1561" y="1583"/>
                </a:lnTo>
                <a:lnTo>
                  <a:pt x="1554" y="1582"/>
                </a:lnTo>
                <a:lnTo>
                  <a:pt x="1547" y="1582"/>
                </a:lnTo>
                <a:lnTo>
                  <a:pt x="1538" y="1582"/>
                </a:lnTo>
                <a:lnTo>
                  <a:pt x="1530" y="1583"/>
                </a:lnTo>
                <a:lnTo>
                  <a:pt x="1523" y="1586"/>
                </a:lnTo>
                <a:lnTo>
                  <a:pt x="1516" y="1589"/>
                </a:lnTo>
                <a:lnTo>
                  <a:pt x="1510" y="1594"/>
                </a:lnTo>
                <a:lnTo>
                  <a:pt x="1505" y="1600"/>
                </a:lnTo>
                <a:lnTo>
                  <a:pt x="1500" y="1606"/>
                </a:lnTo>
                <a:lnTo>
                  <a:pt x="1497" y="1611"/>
                </a:lnTo>
                <a:lnTo>
                  <a:pt x="1494" y="1617"/>
                </a:lnTo>
                <a:lnTo>
                  <a:pt x="1493" y="1623"/>
                </a:lnTo>
                <a:lnTo>
                  <a:pt x="1493" y="1629"/>
                </a:lnTo>
                <a:lnTo>
                  <a:pt x="1494" y="1633"/>
                </a:lnTo>
                <a:lnTo>
                  <a:pt x="1496" y="1639"/>
                </a:lnTo>
                <a:lnTo>
                  <a:pt x="1498" y="1645"/>
                </a:lnTo>
                <a:lnTo>
                  <a:pt x="1500" y="1652"/>
                </a:lnTo>
                <a:lnTo>
                  <a:pt x="1502" y="1661"/>
                </a:lnTo>
                <a:lnTo>
                  <a:pt x="1502" y="1669"/>
                </a:lnTo>
                <a:lnTo>
                  <a:pt x="1502" y="1677"/>
                </a:lnTo>
                <a:lnTo>
                  <a:pt x="1500" y="1684"/>
                </a:lnTo>
                <a:lnTo>
                  <a:pt x="1499" y="1692"/>
                </a:lnTo>
                <a:lnTo>
                  <a:pt x="1497" y="1699"/>
                </a:lnTo>
                <a:lnTo>
                  <a:pt x="1494" y="1705"/>
                </a:lnTo>
                <a:lnTo>
                  <a:pt x="1492" y="1713"/>
                </a:lnTo>
                <a:lnTo>
                  <a:pt x="1491" y="1721"/>
                </a:lnTo>
                <a:lnTo>
                  <a:pt x="1491" y="1732"/>
                </a:lnTo>
                <a:lnTo>
                  <a:pt x="1491" y="1752"/>
                </a:lnTo>
                <a:lnTo>
                  <a:pt x="1492" y="1772"/>
                </a:lnTo>
                <a:lnTo>
                  <a:pt x="1492" y="1788"/>
                </a:lnTo>
                <a:lnTo>
                  <a:pt x="1494" y="1800"/>
                </a:lnTo>
                <a:lnTo>
                  <a:pt x="1498" y="1812"/>
                </a:lnTo>
                <a:lnTo>
                  <a:pt x="1502" y="1825"/>
                </a:lnTo>
                <a:lnTo>
                  <a:pt x="1503" y="1833"/>
                </a:lnTo>
                <a:lnTo>
                  <a:pt x="1503" y="1842"/>
                </a:lnTo>
                <a:lnTo>
                  <a:pt x="1500" y="1851"/>
                </a:lnTo>
                <a:lnTo>
                  <a:pt x="1497" y="1858"/>
                </a:lnTo>
                <a:lnTo>
                  <a:pt x="1493" y="1860"/>
                </a:lnTo>
                <a:lnTo>
                  <a:pt x="1491" y="1864"/>
                </a:lnTo>
                <a:lnTo>
                  <a:pt x="1487" y="1866"/>
                </a:lnTo>
                <a:lnTo>
                  <a:pt x="1484" y="1867"/>
                </a:lnTo>
                <a:lnTo>
                  <a:pt x="1480" y="1869"/>
                </a:lnTo>
                <a:lnTo>
                  <a:pt x="1475" y="1870"/>
                </a:lnTo>
                <a:lnTo>
                  <a:pt x="1471" y="1870"/>
                </a:lnTo>
                <a:lnTo>
                  <a:pt x="1466" y="1869"/>
                </a:lnTo>
                <a:lnTo>
                  <a:pt x="1450" y="1861"/>
                </a:lnTo>
                <a:lnTo>
                  <a:pt x="1434" y="1851"/>
                </a:lnTo>
                <a:lnTo>
                  <a:pt x="1426" y="1845"/>
                </a:lnTo>
                <a:lnTo>
                  <a:pt x="1417" y="1841"/>
                </a:lnTo>
                <a:lnTo>
                  <a:pt x="1414" y="1840"/>
                </a:lnTo>
                <a:lnTo>
                  <a:pt x="1410" y="1840"/>
                </a:lnTo>
                <a:lnTo>
                  <a:pt x="1408" y="1840"/>
                </a:lnTo>
                <a:lnTo>
                  <a:pt x="1405" y="1841"/>
                </a:lnTo>
                <a:lnTo>
                  <a:pt x="1401" y="1845"/>
                </a:lnTo>
                <a:lnTo>
                  <a:pt x="1398" y="1851"/>
                </a:lnTo>
                <a:lnTo>
                  <a:pt x="1397" y="1858"/>
                </a:lnTo>
                <a:lnTo>
                  <a:pt x="1395" y="1865"/>
                </a:lnTo>
                <a:lnTo>
                  <a:pt x="1393" y="1872"/>
                </a:lnTo>
                <a:lnTo>
                  <a:pt x="1392" y="1878"/>
                </a:lnTo>
                <a:lnTo>
                  <a:pt x="1391" y="1881"/>
                </a:lnTo>
                <a:lnTo>
                  <a:pt x="1389" y="1883"/>
                </a:lnTo>
                <a:lnTo>
                  <a:pt x="1387" y="1884"/>
                </a:lnTo>
                <a:lnTo>
                  <a:pt x="1385" y="1885"/>
                </a:lnTo>
                <a:lnTo>
                  <a:pt x="1377" y="1886"/>
                </a:lnTo>
                <a:lnTo>
                  <a:pt x="1371" y="1888"/>
                </a:lnTo>
                <a:lnTo>
                  <a:pt x="1368" y="1888"/>
                </a:lnTo>
                <a:lnTo>
                  <a:pt x="1367" y="1889"/>
                </a:lnTo>
                <a:lnTo>
                  <a:pt x="1366" y="1891"/>
                </a:lnTo>
                <a:lnTo>
                  <a:pt x="1365" y="1895"/>
                </a:lnTo>
                <a:lnTo>
                  <a:pt x="1366" y="1903"/>
                </a:lnTo>
                <a:lnTo>
                  <a:pt x="1367" y="1911"/>
                </a:lnTo>
                <a:lnTo>
                  <a:pt x="1368" y="1915"/>
                </a:lnTo>
                <a:lnTo>
                  <a:pt x="1367" y="1920"/>
                </a:lnTo>
                <a:lnTo>
                  <a:pt x="1366" y="1926"/>
                </a:lnTo>
                <a:lnTo>
                  <a:pt x="1363" y="1932"/>
                </a:lnTo>
                <a:lnTo>
                  <a:pt x="1358" y="1938"/>
                </a:lnTo>
                <a:lnTo>
                  <a:pt x="1355" y="1944"/>
                </a:lnTo>
                <a:lnTo>
                  <a:pt x="1353" y="1948"/>
                </a:lnTo>
                <a:lnTo>
                  <a:pt x="1353" y="1952"/>
                </a:lnTo>
                <a:lnTo>
                  <a:pt x="1352" y="1960"/>
                </a:lnTo>
                <a:lnTo>
                  <a:pt x="1353" y="1967"/>
                </a:lnTo>
                <a:lnTo>
                  <a:pt x="1353" y="1978"/>
                </a:lnTo>
                <a:lnTo>
                  <a:pt x="1352" y="1991"/>
                </a:lnTo>
                <a:lnTo>
                  <a:pt x="1349" y="1998"/>
                </a:lnTo>
                <a:lnTo>
                  <a:pt x="1347" y="2004"/>
                </a:lnTo>
                <a:lnTo>
                  <a:pt x="1346" y="2006"/>
                </a:lnTo>
                <a:lnTo>
                  <a:pt x="1343" y="2008"/>
                </a:lnTo>
                <a:lnTo>
                  <a:pt x="1342" y="2009"/>
                </a:lnTo>
                <a:lnTo>
                  <a:pt x="1340" y="2009"/>
                </a:lnTo>
                <a:lnTo>
                  <a:pt x="1330" y="2009"/>
                </a:lnTo>
                <a:lnTo>
                  <a:pt x="1324" y="2009"/>
                </a:lnTo>
                <a:lnTo>
                  <a:pt x="1320" y="2006"/>
                </a:lnTo>
                <a:lnTo>
                  <a:pt x="1313" y="2001"/>
                </a:lnTo>
                <a:lnTo>
                  <a:pt x="1303" y="1991"/>
                </a:lnTo>
                <a:lnTo>
                  <a:pt x="1290" y="1983"/>
                </a:lnTo>
                <a:lnTo>
                  <a:pt x="1283" y="1979"/>
                </a:lnTo>
                <a:lnTo>
                  <a:pt x="1277" y="1976"/>
                </a:lnTo>
                <a:lnTo>
                  <a:pt x="1271" y="1974"/>
                </a:lnTo>
                <a:lnTo>
                  <a:pt x="1265" y="1973"/>
                </a:lnTo>
                <a:lnTo>
                  <a:pt x="1260" y="1974"/>
                </a:lnTo>
                <a:lnTo>
                  <a:pt x="1258" y="1976"/>
                </a:lnTo>
                <a:lnTo>
                  <a:pt x="1254" y="1978"/>
                </a:lnTo>
                <a:lnTo>
                  <a:pt x="1252" y="1982"/>
                </a:lnTo>
                <a:lnTo>
                  <a:pt x="1247" y="1991"/>
                </a:lnTo>
                <a:lnTo>
                  <a:pt x="1238" y="2005"/>
                </a:lnTo>
                <a:lnTo>
                  <a:pt x="1232" y="2011"/>
                </a:lnTo>
                <a:lnTo>
                  <a:pt x="1226" y="2015"/>
                </a:lnTo>
                <a:lnTo>
                  <a:pt x="1221" y="2017"/>
                </a:lnTo>
                <a:lnTo>
                  <a:pt x="1216" y="2017"/>
                </a:lnTo>
                <a:lnTo>
                  <a:pt x="1207" y="2012"/>
                </a:lnTo>
                <a:lnTo>
                  <a:pt x="1198" y="2008"/>
                </a:lnTo>
                <a:lnTo>
                  <a:pt x="1189" y="2003"/>
                </a:lnTo>
                <a:lnTo>
                  <a:pt x="1179" y="1997"/>
                </a:lnTo>
                <a:lnTo>
                  <a:pt x="1170" y="1992"/>
                </a:lnTo>
                <a:lnTo>
                  <a:pt x="1162" y="1989"/>
                </a:lnTo>
                <a:lnTo>
                  <a:pt x="1153" y="1985"/>
                </a:lnTo>
                <a:lnTo>
                  <a:pt x="1144" y="1980"/>
                </a:lnTo>
                <a:lnTo>
                  <a:pt x="1133" y="1973"/>
                </a:lnTo>
                <a:lnTo>
                  <a:pt x="1122" y="1965"/>
                </a:lnTo>
                <a:lnTo>
                  <a:pt x="1116" y="1960"/>
                </a:lnTo>
                <a:lnTo>
                  <a:pt x="1114" y="1955"/>
                </a:lnTo>
                <a:lnTo>
                  <a:pt x="1112" y="1949"/>
                </a:lnTo>
                <a:lnTo>
                  <a:pt x="1111" y="1945"/>
                </a:lnTo>
                <a:lnTo>
                  <a:pt x="1109" y="1940"/>
                </a:lnTo>
                <a:lnTo>
                  <a:pt x="1108" y="1935"/>
                </a:lnTo>
                <a:lnTo>
                  <a:pt x="1106" y="1929"/>
                </a:lnTo>
                <a:lnTo>
                  <a:pt x="1102" y="1923"/>
                </a:lnTo>
                <a:lnTo>
                  <a:pt x="1094" y="1913"/>
                </a:lnTo>
                <a:lnTo>
                  <a:pt x="1083" y="1902"/>
                </a:lnTo>
                <a:lnTo>
                  <a:pt x="1077" y="1898"/>
                </a:lnTo>
                <a:lnTo>
                  <a:pt x="1071" y="1894"/>
                </a:lnTo>
                <a:lnTo>
                  <a:pt x="1064" y="1891"/>
                </a:lnTo>
                <a:lnTo>
                  <a:pt x="1056" y="1888"/>
                </a:lnTo>
                <a:lnTo>
                  <a:pt x="1051" y="1888"/>
                </a:lnTo>
                <a:lnTo>
                  <a:pt x="1047" y="1888"/>
                </a:lnTo>
                <a:lnTo>
                  <a:pt x="1043" y="1889"/>
                </a:lnTo>
                <a:lnTo>
                  <a:pt x="1038" y="1891"/>
                </a:lnTo>
                <a:lnTo>
                  <a:pt x="1028" y="1896"/>
                </a:lnTo>
                <a:lnTo>
                  <a:pt x="1019" y="1903"/>
                </a:lnTo>
                <a:lnTo>
                  <a:pt x="1009" y="1910"/>
                </a:lnTo>
                <a:lnTo>
                  <a:pt x="1000" y="1916"/>
                </a:lnTo>
                <a:lnTo>
                  <a:pt x="995" y="1919"/>
                </a:lnTo>
                <a:lnTo>
                  <a:pt x="990" y="1921"/>
                </a:lnTo>
                <a:lnTo>
                  <a:pt x="986" y="1922"/>
                </a:lnTo>
                <a:lnTo>
                  <a:pt x="981" y="1922"/>
                </a:lnTo>
                <a:lnTo>
                  <a:pt x="971" y="1921"/>
                </a:lnTo>
                <a:lnTo>
                  <a:pt x="962" y="1917"/>
                </a:lnTo>
                <a:lnTo>
                  <a:pt x="954" y="1914"/>
                </a:lnTo>
                <a:lnTo>
                  <a:pt x="945" y="1910"/>
                </a:lnTo>
                <a:lnTo>
                  <a:pt x="937" y="1907"/>
                </a:lnTo>
                <a:lnTo>
                  <a:pt x="929" y="1904"/>
                </a:lnTo>
                <a:lnTo>
                  <a:pt x="925" y="1904"/>
                </a:lnTo>
                <a:lnTo>
                  <a:pt x="920" y="1905"/>
                </a:lnTo>
                <a:lnTo>
                  <a:pt x="917" y="1907"/>
                </a:lnTo>
                <a:lnTo>
                  <a:pt x="912" y="1909"/>
                </a:lnTo>
                <a:lnTo>
                  <a:pt x="908" y="1911"/>
                </a:lnTo>
                <a:lnTo>
                  <a:pt x="905" y="1911"/>
                </a:lnTo>
                <a:lnTo>
                  <a:pt x="901" y="1911"/>
                </a:lnTo>
                <a:lnTo>
                  <a:pt x="899" y="1909"/>
                </a:lnTo>
                <a:lnTo>
                  <a:pt x="893" y="1902"/>
                </a:lnTo>
                <a:lnTo>
                  <a:pt x="887" y="1892"/>
                </a:lnTo>
                <a:lnTo>
                  <a:pt x="879" y="1872"/>
                </a:lnTo>
                <a:lnTo>
                  <a:pt x="872" y="1859"/>
                </a:lnTo>
                <a:lnTo>
                  <a:pt x="860" y="1852"/>
                </a:lnTo>
                <a:lnTo>
                  <a:pt x="839" y="1844"/>
                </a:lnTo>
                <a:lnTo>
                  <a:pt x="818" y="1837"/>
                </a:lnTo>
                <a:lnTo>
                  <a:pt x="803" y="1832"/>
                </a:lnTo>
                <a:lnTo>
                  <a:pt x="798" y="1832"/>
                </a:lnTo>
                <a:lnTo>
                  <a:pt x="794" y="1834"/>
                </a:lnTo>
                <a:lnTo>
                  <a:pt x="791" y="1837"/>
                </a:lnTo>
                <a:lnTo>
                  <a:pt x="786" y="1840"/>
                </a:lnTo>
                <a:lnTo>
                  <a:pt x="782" y="1845"/>
                </a:lnTo>
                <a:lnTo>
                  <a:pt x="776" y="1847"/>
                </a:lnTo>
                <a:lnTo>
                  <a:pt x="771" y="1850"/>
                </a:lnTo>
                <a:lnTo>
                  <a:pt x="762" y="1850"/>
                </a:lnTo>
                <a:lnTo>
                  <a:pt x="741" y="1847"/>
                </a:lnTo>
                <a:lnTo>
                  <a:pt x="713" y="1845"/>
                </a:lnTo>
                <a:lnTo>
                  <a:pt x="700" y="1844"/>
                </a:lnTo>
                <a:lnTo>
                  <a:pt x="688" y="1842"/>
                </a:lnTo>
                <a:lnTo>
                  <a:pt x="678" y="1840"/>
                </a:lnTo>
                <a:lnTo>
                  <a:pt x="669" y="1839"/>
                </a:lnTo>
                <a:lnTo>
                  <a:pt x="666" y="1837"/>
                </a:lnTo>
                <a:lnTo>
                  <a:pt x="664" y="1833"/>
                </a:lnTo>
                <a:lnTo>
                  <a:pt x="660" y="1828"/>
                </a:lnTo>
                <a:lnTo>
                  <a:pt x="658" y="1822"/>
                </a:lnTo>
                <a:lnTo>
                  <a:pt x="654" y="1808"/>
                </a:lnTo>
                <a:lnTo>
                  <a:pt x="652" y="1791"/>
                </a:lnTo>
                <a:lnTo>
                  <a:pt x="646" y="1760"/>
                </a:lnTo>
                <a:lnTo>
                  <a:pt x="641" y="1738"/>
                </a:lnTo>
                <a:lnTo>
                  <a:pt x="639" y="1731"/>
                </a:lnTo>
                <a:lnTo>
                  <a:pt x="639" y="1720"/>
                </a:lnTo>
                <a:lnTo>
                  <a:pt x="639" y="1708"/>
                </a:lnTo>
                <a:lnTo>
                  <a:pt x="639" y="1695"/>
                </a:lnTo>
                <a:lnTo>
                  <a:pt x="639" y="1683"/>
                </a:lnTo>
                <a:lnTo>
                  <a:pt x="639" y="1673"/>
                </a:lnTo>
                <a:lnTo>
                  <a:pt x="637" y="1668"/>
                </a:lnTo>
                <a:lnTo>
                  <a:pt x="637" y="1664"/>
                </a:lnTo>
                <a:lnTo>
                  <a:pt x="636" y="1662"/>
                </a:lnTo>
                <a:lnTo>
                  <a:pt x="634" y="1661"/>
                </a:lnTo>
                <a:lnTo>
                  <a:pt x="627" y="1658"/>
                </a:lnTo>
                <a:lnTo>
                  <a:pt x="615" y="1656"/>
                </a:lnTo>
                <a:lnTo>
                  <a:pt x="601" y="1655"/>
                </a:lnTo>
                <a:lnTo>
                  <a:pt x="584" y="1653"/>
                </a:lnTo>
                <a:lnTo>
                  <a:pt x="564" y="1653"/>
                </a:lnTo>
                <a:lnTo>
                  <a:pt x="539" y="1655"/>
                </a:lnTo>
                <a:lnTo>
                  <a:pt x="511" y="1656"/>
                </a:lnTo>
                <a:lnTo>
                  <a:pt x="480" y="1658"/>
                </a:lnTo>
                <a:lnTo>
                  <a:pt x="476" y="1658"/>
                </a:lnTo>
                <a:lnTo>
                  <a:pt x="470" y="1658"/>
                </a:lnTo>
                <a:lnTo>
                  <a:pt x="465" y="1656"/>
                </a:lnTo>
                <a:lnTo>
                  <a:pt x="460" y="1655"/>
                </a:lnTo>
                <a:lnTo>
                  <a:pt x="451" y="1649"/>
                </a:lnTo>
                <a:lnTo>
                  <a:pt x="444" y="1642"/>
                </a:lnTo>
                <a:lnTo>
                  <a:pt x="436" y="1633"/>
                </a:lnTo>
                <a:lnTo>
                  <a:pt x="432" y="1626"/>
                </a:lnTo>
                <a:lnTo>
                  <a:pt x="429" y="1619"/>
                </a:lnTo>
                <a:lnTo>
                  <a:pt x="428" y="1615"/>
                </a:lnTo>
                <a:lnTo>
                  <a:pt x="428" y="1611"/>
                </a:lnTo>
                <a:lnTo>
                  <a:pt x="432" y="1607"/>
                </a:lnTo>
                <a:lnTo>
                  <a:pt x="435" y="1604"/>
                </a:lnTo>
                <a:lnTo>
                  <a:pt x="440" y="1602"/>
                </a:lnTo>
                <a:lnTo>
                  <a:pt x="452" y="1601"/>
                </a:lnTo>
                <a:lnTo>
                  <a:pt x="464" y="1599"/>
                </a:lnTo>
                <a:lnTo>
                  <a:pt x="467" y="1598"/>
                </a:lnTo>
                <a:lnTo>
                  <a:pt x="471" y="1596"/>
                </a:lnTo>
                <a:lnTo>
                  <a:pt x="473" y="1594"/>
                </a:lnTo>
                <a:lnTo>
                  <a:pt x="475" y="1592"/>
                </a:lnTo>
                <a:lnTo>
                  <a:pt x="477" y="1587"/>
                </a:lnTo>
                <a:lnTo>
                  <a:pt x="477" y="1582"/>
                </a:lnTo>
                <a:lnTo>
                  <a:pt x="475" y="1577"/>
                </a:lnTo>
                <a:lnTo>
                  <a:pt x="471" y="1573"/>
                </a:lnTo>
                <a:lnTo>
                  <a:pt x="467" y="1569"/>
                </a:lnTo>
                <a:lnTo>
                  <a:pt x="463" y="1566"/>
                </a:lnTo>
                <a:lnTo>
                  <a:pt x="453" y="1561"/>
                </a:lnTo>
                <a:lnTo>
                  <a:pt x="444" y="1555"/>
                </a:lnTo>
                <a:lnTo>
                  <a:pt x="428" y="1550"/>
                </a:lnTo>
                <a:lnTo>
                  <a:pt x="407" y="1543"/>
                </a:lnTo>
                <a:lnTo>
                  <a:pt x="382" y="1537"/>
                </a:lnTo>
                <a:lnTo>
                  <a:pt x="363" y="1533"/>
                </a:lnTo>
                <a:lnTo>
                  <a:pt x="341" y="1532"/>
                </a:lnTo>
                <a:lnTo>
                  <a:pt x="314" y="1531"/>
                </a:lnTo>
                <a:lnTo>
                  <a:pt x="301" y="1530"/>
                </a:lnTo>
                <a:lnTo>
                  <a:pt x="288" y="1529"/>
                </a:lnTo>
                <a:lnTo>
                  <a:pt x="277" y="1526"/>
                </a:lnTo>
                <a:lnTo>
                  <a:pt x="269" y="1524"/>
                </a:lnTo>
                <a:lnTo>
                  <a:pt x="263" y="1520"/>
                </a:lnTo>
                <a:lnTo>
                  <a:pt x="259" y="1517"/>
                </a:lnTo>
                <a:lnTo>
                  <a:pt x="258" y="1512"/>
                </a:lnTo>
                <a:lnTo>
                  <a:pt x="258" y="1507"/>
                </a:lnTo>
                <a:lnTo>
                  <a:pt x="261" y="1494"/>
                </a:lnTo>
                <a:lnTo>
                  <a:pt x="263" y="1478"/>
                </a:lnTo>
                <a:lnTo>
                  <a:pt x="264" y="1459"/>
                </a:lnTo>
                <a:lnTo>
                  <a:pt x="265" y="1444"/>
                </a:lnTo>
                <a:lnTo>
                  <a:pt x="265" y="1437"/>
                </a:lnTo>
                <a:lnTo>
                  <a:pt x="264" y="1431"/>
                </a:lnTo>
                <a:lnTo>
                  <a:pt x="263" y="1426"/>
                </a:lnTo>
                <a:lnTo>
                  <a:pt x="261" y="1422"/>
                </a:lnTo>
                <a:lnTo>
                  <a:pt x="257" y="1417"/>
                </a:lnTo>
                <a:lnTo>
                  <a:pt x="253" y="1413"/>
                </a:lnTo>
                <a:lnTo>
                  <a:pt x="247" y="1411"/>
                </a:lnTo>
                <a:lnTo>
                  <a:pt x="242" y="1407"/>
                </a:lnTo>
                <a:lnTo>
                  <a:pt x="236" y="1406"/>
                </a:lnTo>
                <a:lnTo>
                  <a:pt x="228" y="1405"/>
                </a:lnTo>
                <a:lnTo>
                  <a:pt x="223" y="1405"/>
                </a:lnTo>
                <a:lnTo>
                  <a:pt x="217" y="1405"/>
                </a:lnTo>
                <a:lnTo>
                  <a:pt x="212" y="1405"/>
                </a:lnTo>
                <a:lnTo>
                  <a:pt x="207" y="1405"/>
                </a:lnTo>
                <a:lnTo>
                  <a:pt x="202" y="1403"/>
                </a:lnTo>
                <a:lnTo>
                  <a:pt x="198" y="1402"/>
                </a:lnTo>
                <a:lnTo>
                  <a:pt x="183" y="1400"/>
                </a:lnTo>
                <a:lnTo>
                  <a:pt x="152" y="1398"/>
                </a:lnTo>
                <a:lnTo>
                  <a:pt x="114" y="1397"/>
                </a:lnTo>
                <a:lnTo>
                  <a:pt x="80" y="1397"/>
                </a:lnTo>
                <a:lnTo>
                  <a:pt x="66" y="1397"/>
                </a:lnTo>
                <a:lnTo>
                  <a:pt x="51" y="1399"/>
                </a:lnTo>
                <a:lnTo>
                  <a:pt x="38" y="1402"/>
                </a:lnTo>
                <a:lnTo>
                  <a:pt x="28" y="1405"/>
                </a:lnTo>
                <a:lnTo>
                  <a:pt x="11" y="1410"/>
                </a:lnTo>
                <a:lnTo>
                  <a:pt x="4" y="1411"/>
                </a:lnTo>
                <a:lnTo>
                  <a:pt x="3" y="1402"/>
                </a:lnTo>
                <a:lnTo>
                  <a:pt x="1" y="1390"/>
                </a:lnTo>
                <a:lnTo>
                  <a:pt x="0" y="1377"/>
                </a:lnTo>
                <a:lnTo>
                  <a:pt x="0" y="1363"/>
                </a:lnTo>
                <a:lnTo>
                  <a:pt x="1" y="1350"/>
                </a:lnTo>
                <a:lnTo>
                  <a:pt x="3" y="1340"/>
                </a:lnTo>
                <a:lnTo>
                  <a:pt x="4" y="1335"/>
                </a:lnTo>
                <a:lnTo>
                  <a:pt x="5" y="1331"/>
                </a:lnTo>
                <a:lnTo>
                  <a:pt x="6" y="1329"/>
                </a:lnTo>
                <a:lnTo>
                  <a:pt x="9" y="1329"/>
                </a:lnTo>
                <a:lnTo>
                  <a:pt x="23" y="1323"/>
                </a:lnTo>
                <a:lnTo>
                  <a:pt x="41" y="1314"/>
                </a:lnTo>
                <a:lnTo>
                  <a:pt x="60" y="1302"/>
                </a:lnTo>
                <a:lnTo>
                  <a:pt x="75" y="1289"/>
                </a:lnTo>
                <a:lnTo>
                  <a:pt x="82" y="1280"/>
                </a:lnTo>
                <a:lnTo>
                  <a:pt x="91" y="1268"/>
                </a:lnTo>
                <a:lnTo>
                  <a:pt x="99" y="1255"/>
                </a:lnTo>
                <a:lnTo>
                  <a:pt x="107" y="1240"/>
                </a:lnTo>
                <a:lnTo>
                  <a:pt x="124" y="1209"/>
                </a:lnTo>
                <a:lnTo>
                  <a:pt x="140" y="1184"/>
                </a:lnTo>
                <a:lnTo>
                  <a:pt x="148" y="1173"/>
                </a:lnTo>
                <a:lnTo>
                  <a:pt x="152" y="1161"/>
                </a:lnTo>
                <a:lnTo>
                  <a:pt x="157" y="1150"/>
                </a:lnTo>
                <a:lnTo>
                  <a:pt x="161" y="1136"/>
                </a:lnTo>
                <a:lnTo>
                  <a:pt x="167" y="1113"/>
                </a:lnTo>
                <a:lnTo>
                  <a:pt x="171" y="1095"/>
                </a:lnTo>
                <a:lnTo>
                  <a:pt x="174" y="1087"/>
                </a:lnTo>
                <a:lnTo>
                  <a:pt x="175" y="1077"/>
                </a:lnTo>
                <a:lnTo>
                  <a:pt x="175" y="1066"/>
                </a:lnTo>
                <a:lnTo>
                  <a:pt x="176" y="1056"/>
                </a:lnTo>
                <a:lnTo>
                  <a:pt x="176" y="1044"/>
                </a:lnTo>
                <a:lnTo>
                  <a:pt x="177" y="1033"/>
                </a:lnTo>
                <a:lnTo>
                  <a:pt x="181" y="1024"/>
                </a:lnTo>
                <a:lnTo>
                  <a:pt x="184" y="1015"/>
                </a:lnTo>
                <a:lnTo>
                  <a:pt x="188" y="1008"/>
                </a:lnTo>
                <a:lnTo>
                  <a:pt x="192" y="1000"/>
                </a:lnTo>
                <a:lnTo>
                  <a:pt x="194" y="991"/>
                </a:lnTo>
                <a:lnTo>
                  <a:pt x="196" y="982"/>
                </a:lnTo>
                <a:lnTo>
                  <a:pt x="199" y="964"/>
                </a:lnTo>
                <a:lnTo>
                  <a:pt x="202" y="951"/>
                </a:lnTo>
                <a:lnTo>
                  <a:pt x="206" y="946"/>
                </a:lnTo>
                <a:lnTo>
                  <a:pt x="213" y="940"/>
                </a:lnTo>
                <a:lnTo>
                  <a:pt x="223" y="936"/>
                </a:lnTo>
                <a:lnTo>
                  <a:pt x="233" y="930"/>
                </a:lnTo>
                <a:lnTo>
                  <a:pt x="243" y="924"/>
                </a:lnTo>
                <a:lnTo>
                  <a:pt x="252" y="918"/>
                </a:lnTo>
                <a:lnTo>
                  <a:pt x="256" y="915"/>
                </a:lnTo>
                <a:lnTo>
                  <a:pt x="258" y="912"/>
                </a:lnTo>
                <a:lnTo>
                  <a:pt x="261" y="908"/>
                </a:lnTo>
                <a:lnTo>
                  <a:pt x="262" y="906"/>
                </a:lnTo>
                <a:lnTo>
                  <a:pt x="264" y="888"/>
                </a:lnTo>
                <a:lnTo>
                  <a:pt x="268" y="867"/>
                </a:lnTo>
                <a:lnTo>
                  <a:pt x="270" y="844"/>
                </a:lnTo>
                <a:lnTo>
                  <a:pt x="272" y="829"/>
                </a:lnTo>
                <a:lnTo>
                  <a:pt x="272" y="816"/>
                </a:lnTo>
                <a:lnTo>
                  <a:pt x="272" y="800"/>
                </a:lnTo>
                <a:lnTo>
                  <a:pt x="274" y="793"/>
                </a:lnTo>
                <a:lnTo>
                  <a:pt x="276" y="788"/>
                </a:lnTo>
                <a:lnTo>
                  <a:pt x="277" y="786"/>
                </a:lnTo>
                <a:lnTo>
                  <a:pt x="281" y="785"/>
                </a:lnTo>
                <a:lnTo>
                  <a:pt x="283" y="785"/>
                </a:lnTo>
                <a:lnTo>
                  <a:pt x="287" y="785"/>
                </a:lnTo>
                <a:lnTo>
                  <a:pt x="303" y="785"/>
                </a:lnTo>
                <a:lnTo>
                  <a:pt x="319" y="785"/>
                </a:lnTo>
                <a:lnTo>
                  <a:pt x="335" y="785"/>
                </a:lnTo>
                <a:lnTo>
                  <a:pt x="354" y="785"/>
                </a:lnTo>
                <a:lnTo>
                  <a:pt x="373" y="786"/>
                </a:lnTo>
                <a:lnTo>
                  <a:pt x="390" y="786"/>
                </a:lnTo>
                <a:lnTo>
                  <a:pt x="408" y="787"/>
                </a:lnTo>
                <a:lnTo>
                  <a:pt x="425" y="786"/>
                </a:lnTo>
                <a:lnTo>
                  <a:pt x="442" y="785"/>
                </a:lnTo>
                <a:lnTo>
                  <a:pt x="461" y="786"/>
                </a:lnTo>
                <a:lnTo>
                  <a:pt x="482" y="789"/>
                </a:lnTo>
                <a:lnTo>
                  <a:pt x="501" y="793"/>
                </a:lnTo>
                <a:lnTo>
                  <a:pt x="517" y="799"/>
                </a:lnTo>
                <a:lnTo>
                  <a:pt x="533" y="802"/>
                </a:lnTo>
                <a:lnTo>
                  <a:pt x="540" y="802"/>
                </a:lnTo>
                <a:lnTo>
                  <a:pt x="547" y="801"/>
                </a:lnTo>
                <a:lnTo>
                  <a:pt x="553" y="799"/>
                </a:lnTo>
                <a:lnTo>
                  <a:pt x="559" y="793"/>
                </a:lnTo>
                <a:lnTo>
                  <a:pt x="561" y="789"/>
                </a:lnTo>
                <a:lnTo>
                  <a:pt x="564" y="785"/>
                </a:lnTo>
                <a:lnTo>
                  <a:pt x="566" y="780"/>
                </a:lnTo>
                <a:lnTo>
                  <a:pt x="567" y="774"/>
                </a:lnTo>
                <a:lnTo>
                  <a:pt x="570" y="762"/>
                </a:lnTo>
                <a:lnTo>
                  <a:pt x="571" y="749"/>
                </a:lnTo>
                <a:lnTo>
                  <a:pt x="573" y="736"/>
                </a:lnTo>
                <a:lnTo>
                  <a:pt x="576" y="723"/>
                </a:lnTo>
                <a:lnTo>
                  <a:pt x="578" y="717"/>
                </a:lnTo>
                <a:lnTo>
                  <a:pt x="580" y="711"/>
                </a:lnTo>
                <a:lnTo>
                  <a:pt x="583" y="705"/>
                </a:lnTo>
                <a:lnTo>
                  <a:pt x="586" y="700"/>
                </a:lnTo>
                <a:lnTo>
                  <a:pt x="599" y="687"/>
                </a:lnTo>
                <a:lnTo>
                  <a:pt x="609" y="678"/>
                </a:lnTo>
                <a:lnTo>
                  <a:pt x="620" y="671"/>
                </a:lnTo>
                <a:lnTo>
                  <a:pt x="633" y="661"/>
                </a:lnTo>
                <a:lnTo>
                  <a:pt x="645" y="650"/>
                </a:lnTo>
                <a:lnTo>
                  <a:pt x="654" y="641"/>
                </a:lnTo>
                <a:lnTo>
                  <a:pt x="656" y="637"/>
                </a:lnTo>
                <a:lnTo>
                  <a:pt x="659" y="632"/>
                </a:lnTo>
                <a:lnTo>
                  <a:pt x="661" y="629"/>
                </a:lnTo>
                <a:lnTo>
                  <a:pt x="662" y="624"/>
                </a:lnTo>
                <a:lnTo>
                  <a:pt x="665" y="619"/>
                </a:lnTo>
                <a:lnTo>
                  <a:pt x="668" y="613"/>
                </a:lnTo>
                <a:lnTo>
                  <a:pt x="673" y="608"/>
                </a:lnTo>
                <a:lnTo>
                  <a:pt x="680" y="600"/>
                </a:lnTo>
                <a:lnTo>
                  <a:pt x="694" y="589"/>
                </a:lnTo>
                <a:lnTo>
                  <a:pt x="710" y="577"/>
                </a:lnTo>
                <a:lnTo>
                  <a:pt x="729" y="561"/>
                </a:lnTo>
                <a:lnTo>
                  <a:pt x="754" y="542"/>
                </a:lnTo>
                <a:lnTo>
                  <a:pt x="780" y="522"/>
                </a:lnTo>
                <a:lnTo>
                  <a:pt x="804" y="504"/>
                </a:lnTo>
                <a:lnTo>
                  <a:pt x="826" y="489"/>
                </a:lnTo>
                <a:lnTo>
                  <a:pt x="850" y="472"/>
                </a:lnTo>
                <a:lnTo>
                  <a:pt x="873" y="458"/>
                </a:lnTo>
                <a:lnTo>
                  <a:pt x="889" y="448"/>
                </a:lnTo>
                <a:lnTo>
                  <a:pt x="893" y="447"/>
                </a:lnTo>
                <a:lnTo>
                  <a:pt x="897" y="447"/>
                </a:lnTo>
                <a:lnTo>
                  <a:pt x="901" y="448"/>
                </a:lnTo>
                <a:lnTo>
                  <a:pt x="907" y="451"/>
                </a:lnTo>
                <a:lnTo>
                  <a:pt x="920" y="458"/>
                </a:lnTo>
                <a:lnTo>
                  <a:pt x="936" y="465"/>
                </a:lnTo>
                <a:lnTo>
                  <a:pt x="951" y="472"/>
                </a:lnTo>
                <a:lnTo>
                  <a:pt x="968" y="478"/>
                </a:lnTo>
                <a:lnTo>
                  <a:pt x="976" y="480"/>
                </a:lnTo>
                <a:lnTo>
                  <a:pt x="983" y="480"/>
                </a:lnTo>
                <a:lnTo>
                  <a:pt x="990" y="480"/>
                </a:lnTo>
                <a:lnTo>
                  <a:pt x="998" y="478"/>
                </a:lnTo>
                <a:lnTo>
                  <a:pt x="1005" y="476"/>
                </a:lnTo>
                <a:lnTo>
                  <a:pt x="1011" y="471"/>
                </a:lnTo>
                <a:lnTo>
                  <a:pt x="1018" y="464"/>
                </a:lnTo>
                <a:lnTo>
                  <a:pt x="1024" y="457"/>
                </a:lnTo>
                <a:lnTo>
                  <a:pt x="1036" y="441"/>
                </a:lnTo>
                <a:lnTo>
                  <a:pt x="1047" y="423"/>
                </a:lnTo>
                <a:lnTo>
                  <a:pt x="1059" y="405"/>
                </a:lnTo>
                <a:lnTo>
                  <a:pt x="1070" y="390"/>
                </a:lnTo>
                <a:lnTo>
                  <a:pt x="1075" y="384"/>
                </a:lnTo>
                <a:lnTo>
                  <a:pt x="1081" y="379"/>
                </a:lnTo>
                <a:lnTo>
                  <a:pt x="1086" y="376"/>
                </a:lnTo>
                <a:lnTo>
                  <a:pt x="1090" y="373"/>
                </a:lnTo>
                <a:lnTo>
                  <a:pt x="1109" y="370"/>
                </a:lnTo>
                <a:lnTo>
                  <a:pt x="1128" y="367"/>
                </a:lnTo>
                <a:lnTo>
                  <a:pt x="1149" y="365"/>
                </a:lnTo>
                <a:lnTo>
                  <a:pt x="1169" y="363"/>
                </a:lnTo>
                <a:lnTo>
                  <a:pt x="1184" y="360"/>
                </a:lnTo>
                <a:lnTo>
                  <a:pt x="1195" y="360"/>
                </a:lnTo>
                <a:lnTo>
                  <a:pt x="1206" y="360"/>
                </a:lnTo>
                <a:lnTo>
                  <a:pt x="1217" y="363"/>
                </a:lnTo>
                <a:lnTo>
                  <a:pt x="1235" y="370"/>
                </a:lnTo>
                <a:lnTo>
                  <a:pt x="1246" y="375"/>
                </a:lnTo>
                <a:lnTo>
                  <a:pt x="1258" y="376"/>
                </a:lnTo>
                <a:lnTo>
                  <a:pt x="1279" y="376"/>
                </a:lnTo>
                <a:lnTo>
                  <a:pt x="1302" y="373"/>
                </a:lnTo>
                <a:lnTo>
                  <a:pt x="1323" y="370"/>
                </a:lnTo>
                <a:lnTo>
                  <a:pt x="1333" y="367"/>
                </a:lnTo>
                <a:lnTo>
                  <a:pt x="1341" y="365"/>
                </a:lnTo>
                <a:lnTo>
                  <a:pt x="1351" y="361"/>
                </a:lnTo>
                <a:lnTo>
                  <a:pt x="1359" y="357"/>
                </a:lnTo>
                <a:lnTo>
                  <a:pt x="1366" y="352"/>
                </a:lnTo>
                <a:lnTo>
                  <a:pt x="1373" y="346"/>
                </a:lnTo>
                <a:lnTo>
                  <a:pt x="1378" y="340"/>
                </a:lnTo>
                <a:lnTo>
                  <a:pt x="1380" y="334"/>
                </a:lnTo>
                <a:lnTo>
                  <a:pt x="1384" y="310"/>
                </a:lnTo>
                <a:lnTo>
                  <a:pt x="1389" y="276"/>
                </a:lnTo>
                <a:lnTo>
                  <a:pt x="1393" y="239"/>
                </a:lnTo>
                <a:lnTo>
                  <a:pt x="1397" y="211"/>
                </a:lnTo>
                <a:lnTo>
                  <a:pt x="1399" y="183"/>
                </a:lnTo>
                <a:lnTo>
                  <a:pt x="1403" y="149"/>
                </a:lnTo>
                <a:lnTo>
                  <a:pt x="1406" y="118"/>
                </a:lnTo>
                <a:lnTo>
                  <a:pt x="1409" y="95"/>
                </a:lnTo>
                <a:lnTo>
                  <a:pt x="1409" y="87"/>
                </a:lnTo>
                <a:lnTo>
                  <a:pt x="1409" y="77"/>
                </a:lnTo>
                <a:lnTo>
                  <a:pt x="1410" y="68"/>
                </a:lnTo>
                <a:lnTo>
                  <a:pt x="1414" y="61"/>
                </a:lnTo>
                <a:lnTo>
                  <a:pt x="1417" y="56"/>
                </a:lnTo>
                <a:lnTo>
                  <a:pt x="1423" y="54"/>
                </a:lnTo>
                <a:lnTo>
                  <a:pt x="1430" y="51"/>
                </a:lnTo>
                <a:lnTo>
                  <a:pt x="1437" y="49"/>
                </a:lnTo>
                <a:lnTo>
                  <a:pt x="1453" y="42"/>
                </a:lnTo>
                <a:lnTo>
                  <a:pt x="1470" y="35"/>
                </a:lnTo>
                <a:lnTo>
                  <a:pt x="1486" y="30"/>
                </a:lnTo>
                <a:lnTo>
                  <a:pt x="1499" y="25"/>
                </a:lnTo>
                <a:lnTo>
                  <a:pt x="1522" y="20"/>
                </a:lnTo>
                <a:lnTo>
                  <a:pt x="1540" y="17"/>
                </a:lnTo>
                <a:lnTo>
                  <a:pt x="1557" y="16"/>
                </a:lnTo>
                <a:lnTo>
                  <a:pt x="1584" y="14"/>
                </a:lnTo>
                <a:lnTo>
                  <a:pt x="1603" y="14"/>
                </a:lnTo>
                <a:lnTo>
                  <a:pt x="1628" y="16"/>
                </a:lnTo>
                <a:lnTo>
                  <a:pt x="1655" y="17"/>
                </a:lnTo>
                <a:lnTo>
                  <a:pt x="1685" y="18"/>
                </a:lnTo>
                <a:lnTo>
                  <a:pt x="1702" y="18"/>
                </a:lnTo>
                <a:lnTo>
                  <a:pt x="1718" y="16"/>
                </a:lnTo>
                <a:lnTo>
                  <a:pt x="1726" y="14"/>
                </a:lnTo>
                <a:lnTo>
                  <a:pt x="1733" y="12"/>
                </a:lnTo>
                <a:lnTo>
                  <a:pt x="1741" y="10"/>
                </a:lnTo>
                <a:lnTo>
                  <a:pt x="1746" y="6"/>
                </a:lnTo>
                <a:lnTo>
                  <a:pt x="1751" y="4"/>
                </a:lnTo>
                <a:lnTo>
                  <a:pt x="1756" y="1"/>
                </a:lnTo>
                <a:lnTo>
                  <a:pt x="1760" y="0"/>
                </a:lnTo>
                <a:lnTo>
                  <a:pt x="1763" y="0"/>
                </a:lnTo>
                <a:lnTo>
                  <a:pt x="1766" y="1"/>
                </a:lnTo>
                <a:lnTo>
                  <a:pt x="1767" y="3"/>
                </a:lnTo>
                <a:lnTo>
                  <a:pt x="1769" y="5"/>
                </a:lnTo>
                <a:lnTo>
                  <a:pt x="1770" y="8"/>
                </a:lnTo>
                <a:lnTo>
                  <a:pt x="1774" y="25"/>
                </a:lnTo>
                <a:lnTo>
                  <a:pt x="1777" y="47"/>
                </a:lnTo>
                <a:lnTo>
                  <a:pt x="1783" y="70"/>
                </a:lnTo>
                <a:lnTo>
                  <a:pt x="1794" y="111"/>
                </a:lnTo>
                <a:lnTo>
                  <a:pt x="1805" y="153"/>
                </a:lnTo>
                <a:lnTo>
                  <a:pt x="1812" y="181"/>
                </a:lnTo>
                <a:lnTo>
                  <a:pt x="1821" y="212"/>
                </a:lnTo>
                <a:lnTo>
                  <a:pt x="1836" y="259"/>
                </a:lnTo>
                <a:lnTo>
                  <a:pt x="1850" y="306"/>
                </a:lnTo>
                <a:lnTo>
                  <a:pt x="1859" y="335"/>
                </a:lnTo>
                <a:lnTo>
                  <a:pt x="1868" y="359"/>
                </a:lnTo>
                <a:lnTo>
                  <a:pt x="1880" y="394"/>
                </a:lnTo>
                <a:lnTo>
                  <a:pt x="1890" y="428"/>
                </a:lnTo>
                <a:lnTo>
                  <a:pt x="1897" y="452"/>
                </a:lnTo>
                <a:lnTo>
                  <a:pt x="1905" y="471"/>
                </a:lnTo>
                <a:lnTo>
                  <a:pt x="1914" y="496"/>
                </a:lnTo>
                <a:lnTo>
                  <a:pt x="1918" y="509"/>
                </a:lnTo>
                <a:lnTo>
                  <a:pt x="1921" y="520"/>
                </a:lnTo>
                <a:lnTo>
                  <a:pt x="1924" y="530"/>
                </a:lnTo>
                <a:lnTo>
                  <a:pt x="1925" y="537"/>
                </a:lnTo>
                <a:lnTo>
                  <a:pt x="1924" y="543"/>
                </a:lnTo>
                <a:lnTo>
                  <a:pt x="1922" y="547"/>
                </a:lnTo>
                <a:lnTo>
                  <a:pt x="1920" y="550"/>
                </a:lnTo>
                <a:lnTo>
                  <a:pt x="1916" y="553"/>
                </a:lnTo>
                <a:lnTo>
                  <a:pt x="1909" y="558"/>
                </a:lnTo>
                <a:lnTo>
                  <a:pt x="1900" y="564"/>
                </a:lnTo>
                <a:lnTo>
                  <a:pt x="1889" y="572"/>
                </a:lnTo>
                <a:lnTo>
                  <a:pt x="1878" y="583"/>
                </a:lnTo>
                <a:lnTo>
                  <a:pt x="1865" y="593"/>
                </a:lnTo>
                <a:lnTo>
                  <a:pt x="1852" y="606"/>
                </a:lnTo>
                <a:lnTo>
                  <a:pt x="1842" y="617"/>
                </a:lnTo>
                <a:lnTo>
                  <a:pt x="1836" y="624"/>
                </a:lnTo>
                <a:lnTo>
                  <a:pt x="1834" y="627"/>
                </a:lnTo>
                <a:lnTo>
                  <a:pt x="1836" y="629"/>
                </a:lnTo>
                <a:lnTo>
                  <a:pt x="1837" y="632"/>
                </a:lnTo>
                <a:lnTo>
                  <a:pt x="1839" y="635"/>
                </a:lnTo>
                <a:lnTo>
                  <a:pt x="1846" y="643"/>
                </a:lnTo>
                <a:lnTo>
                  <a:pt x="1855" y="653"/>
                </a:lnTo>
                <a:lnTo>
                  <a:pt x="1864" y="666"/>
                </a:lnTo>
                <a:lnTo>
                  <a:pt x="1872" y="680"/>
                </a:lnTo>
                <a:lnTo>
                  <a:pt x="1883" y="699"/>
                </a:lnTo>
                <a:lnTo>
                  <a:pt x="1896" y="723"/>
                </a:lnTo>
                <a:lnTo>
                  <a:pt x="1909" y="748"/>
                </a:lnTo>
                <a:lnTo>
                  <a:pt x="1919" y="766"/>
                </a:lnTo>
                <a:lnTo>
                  <a:pt x="1925" y="779"/>
                </a:lnTo>
                <a:lnTo>
                  <a:pt x="1932" y="789"/>
                </a:lnTo>
                <a:lnTo>
                  <a:pt x="1934" y="794"/>
                </a:lnTo>
                <a:lnTo>
                  <a:pt x="1938" y="797"/>
                </a:lnTo>
                <a:lnTo>
                  <a:pt x="1941" y="799"/>
                </a:lnTo>
                <a:lnTo>
                  <a:pt x="1945" y="798"/>
                </a:lnTo>
                <a:lnTo>
                  <a:pt x="1947" y="798"/>
                </a:lnTo>
                <a:lnTo>
                  <a:pt x="1951" y="797"/>
                </a:lnTo>
                <a:lnTo>
                  <a:pt x="1953" y="797"/>
                </a:lnTo>
                <a:lnTo>
                  <a:pt x="1956" y="798"/>
                </a:lnTo>
                <a:lnTo>
                  <a:pt x="1960" y="801"/>
                </a:lnTo>
                <a:lnTo>
                  <a:pt x="1966" y="808"/>
                </a:lnTo>
                <a:lnTo>
                  <a:pt x="1975" y="818"/>
                </a:lnTo>
                <a:lnTo>
                  <a:pt x="1987" y="831"/>
                </a:lnTo>
                <a:lnTo>
                  <a:pt x="1998" y="844"/>
                </a:lnTo>
                <a:lnTo>
                  <a:pt x="2009" y="855"/>
                </a:lnTo>
                <a:lnTo>
                  <a:pt x="2021" y="864"/>
                </a:lnTo>
                <a:lnTo>
                  <a:pt x="2033" y="875"/>
                </a:lnTo>
                <a:lnTo>
                  <a:pt x="2038" y="881"/>
                </a:lnTo>
                <a:lnTo>
                  <a:pt x="2042" y="887"/>
                </a:lnTo>
                <a:lnTo>
                  <a:pt x="2047" y="894"/>
                </a:lnTo>
                <a:lnTo>
                  <a:pt x="2050" y="901"/>
                </a:lnTo>
                <a:lnTo>
                  <a:pt x="2051" y="909"/>
                </a:lnTo>
                <a:lnTo>
                  <a:pt x="2050" y="919"/>
                </a:lnTo>
                <a:lnTo>
                  <a:pt x="2048" y="930"/>
                </a:lnTo>
                <a:lnTo>
                  <a:pt x="2047" y="939"/>
                </a:lnTo>
                <a:lnTo>
                  <a:pt x="2042" y="959"/>
                </a:lnTo>
                <a:lnTo>
                  <a:pt x="2039" y="976"/>
                </a:lnTo>
                <a:lnTo>
                  <a:pt x="2039" y="989"/>
                </a:lnTo>
                <a:lnTo>
                  <a:pt x="2040" y="1003"/>
                </a:lnTo>
                <a:lnTo>
                  <a:pt x="2040" y="1010"/>
                </a:lnTo>
                <a:lnTo>
                  <a:pt x="2041" y="1016"/>
                </a:lnTo>
                <a:lnTo>
                  <a:pt x="2040" y="1021"/>
                </a:lnTo>
                <a:lnTo>
                  <a:pt x="2039" y="1026"/>
                </a:lnTo>
                <a:lnTo>
                  <a:pt x="2037" y="1034"/>
                </a:lnTo>
                <a:lnTo>
                  <a:pt x="2035" y="1041"/>
                </a:lnTo>
                <a:lnTo>
                  <a:pt x="2037" y="1044"/>
                </a:lnTo>
                <a:lnTo>
                  <a:pt x="2039" y="1045"/>
                </a:lnTo>
                <a:lnTo>
                  <a:pt x="2042" y="1045"/>
                </a:lnTo>
                <a:lnTo>
                  <a:pt x="2047" y="1044"/>
                </a:lnTo>
                <a:lnTo>
                  <a:pt x="2059" y="1040"/>
                </a:lnTo>
                <a:lnTo>
                  <a:pt x="2071" y="1037"/>
                </a:lnTo>
                <a:lnTo>
                  <a:pt x="2082" y="1033"/>
                </a:lnTo>
                <a:lnTo>
                  <a:pt x="2091" y="1027"/>
                </a:lnTo>
                <a:lnTo>
                  <a:pt x="2104" y="1021"/>
                </a:lnTo>
                <a:lnTo>
                  <a:pt x="2115" y="1015"/>
                </a:lnTo>
                <a:lnTo>
                  <a:pt x="2117" y="1014"/>
                </a:lnTo>
                <a:lnTo>
                  <a:pt x="2117" y="1013"/>
                </a:lnTo>
                <a:lnTo>
                  <a:pt x="2117" y="1010"/>
                </a:lnTo>
                <a:lnTo>
                  <a:pt x="2117" y="1007"/>
                </a:lnTo>
                <a:lnTo>
                  <a:pt x="2115" y="1001"/>
                </a:lnTo>
                <a:lnTo>
                  <a:pt x="2111" y="994"/>
                </a:lnTo>
                <a:lnTo>
                  <a:pt x="2108" y="987"/>
                </a:lnTo>
                <a:lnTo>
                  <a:pt x="2104" y="981"/>
                </a:lnTo>
                <a:lnTo>
                  <a:pt x="2102" y="975"/>
                </a:lnTo>
                <a:lnTo>
                  <a:pt x="2102" y="972"/>
                </a:lnTo>
                <a:lnTo>
                  <a:pt x="2105" y="969"/>
                </a:lnTo>
                <a:lnTo>
                  <a:pt x="2109" y="966"/>
                </a:lnTo>
                <a:lnTo>
                  <a:pt x="2114" y="964"/>
                </a:lnTo>
                <a:lnTo>
                  <a:pt x="2119" y="963"/>
                </a:lnTo>
                <a:lnTo>
                  <a:pt x="2128" y="962"/>
                </a:lnTo>
                <a:lnTo>
                  <a:pt x="2134" y="962"/>
                </a:lnTo>
                <a:lnTo>
                  <a:pt x="2138" y="965"/>
                </a:lnTo>
                <a:lnTo>
                  <a:pt x="2141" y="972"/>
                </a:lnTo>
                <a:lnTo>
                  <a:pt x="2146" y="982"/>
                </a:lnTo>
                <a:lnTo>
                  <a:pt x="2151" y="993"/>
                </a:lnTo>
                <a:lnTo>
                  <a:pt x="2155" y="1003"/>
                </a:lnTo>
                <a:lnTo>
                  <a:pt x="2159" y="1012"/>
                </a:lnTo>
                <a:lnTo>
                  <a:pt x="2161" y="1014"/>
                </a:lnTo>
                <a:lnTo>
                  <a:pt x="2164" y="1016"/>
                </a:lnTo>
                <a:lnTo>
                  <a:pt x="2165" y="1016"/>
                </a:lnTo>
                <a:lnTo>
                  <a:pt x="2167" y="1015"/>
                </a:lnTo>
                <a:lnTo>
                  <a:pt x="2174" y="1007"/>
                </a:lnTo>
                <a:lnTo>
                  <a:pt x="2182" y="1000"/>
                </a:lnTo>
                <a:lnTo>
                  <a:pt x="2189" y="994"/>
                </a:lnTo>
                <a:lnTo>
                  <a:pt x="2197" y="989"/>
                </a:lnTo>
                <a:lnTo>
                  <a:pt x="2211" y="981"/>
                </a:lnTo>
                <a:lnTo>
                  <a:pt x="2227" y="975"/>
                </a:lnTo>
                <a:lnTo>
                  <a:pt x="2243" y="969"/>
                </a:lnTo>
                <a:lnTo>
                  <a:pt x="2261" y="962"/>
                </a:lnTo>
                <a:lnTo>
                  <a:pt x="2279" y="956"/>
                </a:lnTo>
                <a:lnTo>
                  <a:pt x="2296" y="949"/>
                </a:lnTo>
                <a:lnTo>
                  <a:pt x="2304" y="946"/>
                </a:lnTo>
                <a:lnTo>
                  <a:pt x="2311" y="945"/>
                </a:lnTo>
                <a:lnTo>
                  <a:pt x="2317" y="945"/>
                </a:lnTo>
                <a:lnTo>
                  <a:pt x="2323" y="945"/>
                </a:lnTo>
                <a:lnTo>
                  <a:pt x="2334" y="949"/>
                </a:lnTo>
                <a:lnTo>
                  <a:pt x="2346" y="953"/>
                </a:lnTo>
                <a:lnTo>
                  <a:pt x="2362" y="958"/>
                </a:lnTo>
                <a:lnTo>
                  <a:pt x="2381" y="963"/>
                </a:lnTo>
                <a:lnTo>
                  <a:pt x="2391" y="964"/>
                </a:lnTo>
                <a:lnTo>
                  <a:pt x="2400" y="965"/>
                </a:lnTo>
                <a:lnTo>
                  <a:pt x="2410" y="965"/>
                </a:lnTo>
                <a:lnTo>
                  <a:pt x="2418" y="965"/>
                </a:lnTo>
                <a:lnTo>
                  <a:pt x="2425" y="963"/>
                </a:lnTo>
                <a:lnTo>
                  <a:pt x="2431" y="961"/>
                </a:lnTo>
                <a:lnTo>
                  <a:pt x="2436" y="958"/>
                </a:lnTo>
                <a:lnTo>
                  <a:pt x="2441" y="955"/>
                </a:lnTo>
                <a:lnTo>
                  <a:pt x="2447" y="946"/>
                </a:lnTo>
                <a:lnTo>
                  <a:pt x="2453" y="936"/>
                </a:lnTo>
                <a:lnTo>
                  <a:pt x="2455" y="931"/>
                </a:lnTo>
                <a:lnTo>
                  <a:pt x="2460" y="928"/>
                </a:lnTo>
                <a:lnTo>
                  <a:pt x="2463" y="927"/>
                </a:lnTo>
                <a:lnTo>
                  <a:pt x="2468" y="927"/>
                </a:lnTo>
                <a:lnTo>
                  <a:pt x="2479" y="931"/>
                </a:lnTo>
                <a:lnTo>
                  <a:pt x="2488" y="934"/>
                </a:lnTo>
                <a:lnTo>
                  <a:pt x="2503" y="938"/>
                </a:lnTo>
                <a:lnTo>
                  <a:pt x="2523" y="943"/>
                </a:lnTo>
                <a:lnTo>
                  <a:pt x="2545" y="949"/>
                </a:lnTo>
                <a:lnTo>
                  <a:pt x="2564" y="953"/>
                </a:lnTo>
                <a:lnTo>
                  <a:pt x="2582" y="958"/>
                </a:lnTo>
                <a:lnTo>
                  <a:pt x="2600" y="964"/>
                </a:lnTo>
                <a:lnTo>
                  <a:pt x="2607" y="968"/>
                </a:lnTo>
                <a:lnTo>
                  <a:pt x="2613" y="971"/>
                </a:lnTo>
                <a:lnTo>
                  <a:pt x="2619" y="976"/>
                </a:lnTo>
                <a:lnTo>
                  <a:pt x="2623" y="980"/>
                </a:lnTo>
                <a:lnTo>
                  <a:pt x="2630" y="995"/>
                </a:lnTo>
                <a:lnTo>
                  <a:pt x="2638" y="1019"/>
                </a:lnTo>
                <a:lnTo>
                  <a:pt x="2642" y="1032"/>
                </a:lnTo>
                <a:lnTo>
                  <a:pt x="2644" y="1044"/>
                </a:lnTo>
                <a:lnTo>
                  <a:pt x="2645" y="1056"/>
                </a:lnTo>
                <a:lnTo>
                  <a:pt x="2645" y="1065"/>
                </a:lnTo>
                <a:lnTo>
                  <a:pt x="2644" y="1073"/>
                </a:lnTo>
                <a:lnTo>
                  <a:pt x="2642" y="1082"/>
                </a:lnTo>
                <a:lnTo>
                  <a:pt x="2638" y="1091"/>
                </a:lnTo>
                <a:lnTo>
                  <a:pt x="2633" y="1101"/>
                </a:lnTo>
                <a:lnTo>
                  <a:pt x="2629" y="1110"/>
                </a:lnTo>
                <a:lnTo>
                  <a:pt x="2621" y="1119"/>
                </a:lnTo>
                <a:lnTo>
                  <a:pt x="2614" y="1127"/>
                </a:lnTo>
                <a:lnTo>
                  <a:pt x="2606" y="1134"/>
                </a:lnTo>
                <a:lnTo>
                  <a:pt x="2602" y="1138"/>
                </a:lnTo>
                <a:lnTo>
                  <a:pt x="2599" y="1142"/>
                </a:lnTo>
                <a:lnTo>
                  <a:pt x="2595" y="1146"/>
                </a:lnTo>
                <a:lnTo>
                  <a:pt x="2594" y="1151"/>
                </a:lnTo>
                <a:lnTo>
                  <a:pt x="2590" y="1159"/>
                </a:lnTo>
                <a:lnTo>
                  <a:pt x="2589" y="1167"/>
                </a:lnTo>
                <a:lnTo>
                  <a:pt x="2589" y="1176"/>
                </a:lnTo>
                <a:lnTo>
                  <a:pt x="2588" y="1184"/>
                </a:lnTo>
                <a:lnTo>
                  <a:pt x="2588" y="1192"/>
                </a:lnTo>
                <a:lnTo>
                  <a:pt x="2586" y="1199"/>
                </a:lnTo>
                <a:lnTo>
                  <a:pt x="2580" y="1211"/>
                </a:lnTo>
                <a:lnTo>
                  <a:pt x="2576" y="1224"/>
                </a:lnTo>
                <a:lnTo>
                  <a:pt x="2573" y="1237"/>
                </a:lnTo>
                <a:lnTo>
                  <a:pt x="2568" y="1248"/>
                </a:lnTo>
                <a:lnTo>
                  <a:pt x="2557" y="1264"/>
                </a:lnTo>
                <a:lnTo>
                  <a:pt x="2542" y="1285"/>
                </a:lnTo>
                <a:lnTo>
                  <a:pt x="2533" y="1297"/>
                </a:lnTo>
                <a:lnTo>
                  <a:pt x="2526" y="1306"/>
                </a:lnTo>
                <a:lnTo>
                  <a:pt x="2518" y="1314"/>
                </a:lnTo>
                <a:lnTo>
                  <a:pt x="2512" y="1319"/>
                </a:lnTo>
                <a:lnTo>
                  <a:pt x="2499" y="1327"/>
                </a:lnTo>
                <a:lnTo>
                  <a:pt x="2479" y="1336"/>
                </a:lnTo>
                <a:lnTo>
                  <a:pt x="2457" y="1344"/>
                </a:lnTo>
                <a:lnTo>
                  <a:pt x="2438" y="1354"/>
                </a:lnTo>
                <a:lnTo>
                  <a:pt x="2422" y="1361"/>
                </a:lnTo>
                <a:lnTo>
                  <a:pt x="2406" y="1365"/>
                </a:lnTo>
                <a:lnTo>
                  <a:pt x="2393" y="1369"/>
                </a:lnTo>
                <a:lnTo>
                  <a:pt x="2380" y="1374"/>
                </a:lnTo>
                <a:lnTo>
                  <a:pt x="2369" y="1379"/>
                </a:lnTo>
                <a:lnTo>
                  <a:pt x="2365" y="1382"/>
                </a:lnTo>
                <a:lnTo>
                  <a:pt x="2363" y="1384"/>
                </a:lnTo>
                <a:lnTo>
                  <a:pt x="2363" y="1385"/>
                </a:lnTo>
                <a:lnTo>
                  <a:pt x="2365" y="1386"/>
                </a:lnTo>
                <a:lnTo>
                  <a:pt x="2367" y="1387"/>
                </a:lnTo>
                <a:lnTo>
                  <a:pt x="2382" y="1386"/>
                </a:lnTo>
                <a:lnTo>
                  <a:pt x="2403" y="1384"/>
                </a:lnTo>
                <a:lnTo>
                  <a:pt x="2412" y="1381"/>
                </a:lnTo>
                <a:lnTo>
                  <a:pt x="2421" y="1380"/>
                </a:lnTo>
                <a:lnTo>
                  <a:pt x="2431" y="1379"/>
                </a:lnTo>
                <a:lnTo>
                  <a:pt x="2443" y="1380"/>
                </a:lnTo>
                <a:lnTo>
                  <a:pt x="2450" y="1382"/>
                </a:lnTo>
                <a:lnTo>
                  <a:pt x="2457" y="1388"/>
                </a:lnTo>
                <a:lnTo>
                  <a:pt x="2464" y="1397"/>
                </a:lnTo>
                <a:lnTo>
                  <a:pt x="2473" y="1406"/>
                </a:lnTo>
                <a:lnTo>
                  <a:pt x="2486" y="1426"/>
                </a:lnTo>
                <a:lnTo>
                  <a:pt x="2498" y="1441"/>
                </a:lnTo>
                <a:lnTo>
                  <a:pt x="2503" y="1445"/>
                </a:lnTo>
                <a:lnTo>
                  <a:pt x="2511" y="1450"/>
                </a:lnTo>
                <a:lnTo>
                  <a:pt x="2520" y="1456"/>
                </a:lnTo>
                <a:lnTo>
                  <a:pt x="2530" y="1462"/>
                </a:lnTo>
                <a:lnTo>
                  <a:pt x="2541" y="1467"/>
                </a:lnTo>
                <a:lnTo>
                  <a:pt x="2551" y="1472"/>
                </a:lnTo>
                <a:lnTo>
                  <a:pt x="2561" y="1475"/>
                </a:lnTo>
                <a:lnTo>
                  <a:pt x="2570" y="1478"/>
                </a:lnTo>
                <a:lnTo>
                  <a:pt x="2577" y="1479"/>
                </a:lnTo>
                <a:lnTo>
                  <a:pt x="2585" y="1481"/>
                </a:lnTo>
                <a:lnTo>
                  <a:pt x="2590" y="1484"/>
                </a:lnTo>
                <a:lnTo>
                  <a:pt x="2595" y="1486"/>
                </a:lnTo>
                <a:lnTo>
                  <a:pt x="2601" y="1491"/>
                </a:lnTo>
                <a:lnTo>
                  <a:pt x="2606" y="1495"/>
                </a:lnTo>
                <a:lnTo>
                  <a:pt x="2611" y="1501"/>
                </a:lnTo>
                <a:lnTo>
                  <a:pt x="2615" y="1510"/>
                </a:lnTo>
                <a:lnTo>
                  <a:pt x="2619" y="1519"/>
                </a:lnTo>
                <a:lnTo>
                  <a:pt x="2621" y="1527"/>
                </a:lnTo>
                <a:lnTo>
                  <a:pt x="2623" y="1535"/>
                </a:lnTo>
                <a:lnTo>
                  <a:pt x="2624" y="1542"/>
                </a:lnTo>
                <a:lnTo>
                  <a:pt x="2624" y="1556"/>
                </a:lnTo>
                <a:lnTo>
                  <a:pt x="2625" y="1569"/>
                </a:lnTo>
                <a:lnTo>
                  <a:pt x="2626" y="1575"/>
                </a:lnTo>
                <a:lnTo>
                  <a:pt x="2630" y="1580"/>
                </a:lnTo>
                <a:lnTo>
                  <a:pt x="2633" y="1582"/>
                </a:lnTo>
                <a:lnTo>
                  <a:pt x="2638" y="1585"/>
                </a:lnTo>
                <a:lnTo>
                  <a:pt x="2650" y="1586"/>
                </a:lnTo>
                <a:lnTo>
                  <a:pt x="2661" y="1586"/>
                </a:lnTo>
                <a:lnTo>
                  <a:pt x="2665" y="1587"/>
                </a:lnTo>
                <a:lnTo>
                  <a:pt x="2668" y="1588"/>
                </a:lnTo>
                <a:lnTo>
                  <a:pt x="2670" y="1590"/>
                </a:lnTo>
                <a:lnTo>
                  <a:pt x="2673" y="1594"/>
                </a:lnTo>
                <a:lnTo>
                  <a:pt x="2674" y="1602"/>
                </a:lnTo>
                <a:lnTo>
                  <a:pt x="2676" y="1613"/>
                </a:lnTo>
                <a:lnTo>
                  <a:pt x="2678" y="1618"/>
                </a:lnTo>
                <a:lnTo>
                  <a:pt x="2682" y="1623"/>
                </a:lnTo>
                <a:lnTo>
                  <a:pt x="2686" y="1625"/>
                </a:lnTo>
                <a:lnTo>
                  <a:pt x="2690" y="1627"/>
                </a:lnTo>
                <a:lnTo>
                  <a:pt x="2702" y="1629"/>
                </a:lnTo>
                <a:lnTo>
                  <a:pt x="2714" y="1630"/>
                </a:lnTo>
                <a:lnTo>
                  <a:pt x="2732" y="1631"/>
                </a:lnTo>
                <a:lnTo>
                  <a:pt x="2758" y="1632"/>
                </a:lnTo>
                <a:lnTo>
                  <a:pt x="2781" y="1633"/>
                </a:lnTo>
                <a:lnTo>
                  <a:pt x="2794" y="1634"/>
                </a:lnTo>
                <a:lnTo>
                  <a:pt x="2795" y="1636"/>
                </a:lnTo>
                <a:lnTo>
                  <a:pt x="2795" y="1639"/>
                </a:lnTo>
                <a:lnTo>
                  <a:pt x="2795" y="1645"/>
                </a:lnTo>
                <a:lnTo>
                  <a:pt x="2793" y="1652"/>
                </a:lnTo>
                <a:lnTo>
                  <a:pt x="2789" y="1670"/>
                </a:lnTo>
                <a:lnTo>
                  <a:pt x="2787" y="1687"/>
                </a:lnTo>
                <a:lnTo>
                  <a:pt x="2787" y="1706"/>
                </a:lnTo>
                <a:lnTo>
                  <a:pt x="2787" y="1732"/>
                </a:lnTo>
                <a:lnTo>
                  <a:pt x="2789" y="1757"/>
                </a:lnTo>
                <a:lnTo>
                  <a:pt x="2791" y="1777"/>
                </a:lnTo>
                <a:lnTo>
                  <a:pt x="2797" y="1795"/>
                </a:lnTo>
                <a:lnTo>
                  <a:pt x="2807" y="1815"/>
                </a:lnTo>
                <a:lnTo>
                  <a:pt x="2810" y="1825"/>
                </a:lnTo>
                <a:lnTo>
                  <a:pt x="2815" y="1833"/>
                </a:lnTo>
                <a:lnTo>
                  <a:pt x="2820" y="1840"/>
                </a:lnTo>
                <a:lnTo>
                  <a:pt x="2823" y="1844"/>
                </a:lnTo>
                <a:lnTo>
                  <a:pt x="2827" y="1845"/>
                </a:lnTo>
                <a:lnTo>
                  <a:pt x="2832" y="1845"/>
                </a:lnTo>
                <a:lnTo>
                  <a:pt x="2837" y="1845"/>
                </a:lnTo>
                <a:lnTo>
                  <a:pt x="2843" y="1844"/>
                </a:lnTo>
                <a:lnTo>
                  <a:pt x="2854" y="1840"/>
                </a:lnTo>
                <a:lnTo>
                  <a:pt x="2865" y="1837"/>
                </a:lnTo>
                <a:lnTo>
                  <a:pt x="2871" y="1835"/>
                </a:lnTo>
                <a:lnTo>
                  <a:pt x="2877" y="1835"/>
                </a:lnTo>
                <a:lnTo>
                  <a:pt x="2882" y="1837"/>
                </a:lnTo>
                <a:lnTo>
                  <a:pt x="2886" y="1839"/>
                </a:lnTo>
                <a:lnTo>
                  <a:pt x="2891" y="1841"/>
                </a:lnTo>
                <a:lnTo>
                  <a:pt x="2895" y="1845"/>
                </a:lnTo>
                <a:lnTo>
                  <a:pt x="2897" y="1848"/>
                </a:lnTo>
                <a:lnTo>
                  <a:pt x="2900" y="1852"/>
                </a:lnTo>
                <a:lnTo>
                  <a:pt x="2902" y="1861"/>
                </a:lnTo>
                <a:lnTo>
                  <a:pt x="2906" y="1872"/>
                </a:lnTo>
                <a:lnTo>
                  <a:pt x="2907" y="1877"/>
                </a:lnTo>
                <a:lnTo>
                  <a:pt x="2909" y="1882"/>
                </a:lnTo>
                <a:lnTo>
                  <a:pt x="2911" y="1885"/>
                </a:lnTo>
                <a:lnTo>
                  <a:pt x="2915" y="1886"/>
                </a:lnTo>
                <a:lnTo>
                  <a:pt x="2921" y="1889"/>
                </a:lnTo>
                <a:lnTo>
                  <a:pt x="2926" y="1894"/>
                </a:lnTo>
                <a:lnTo>
                  <a:pt x="2927" y="1896"/>
                </a:lnTo>
                <a:lnTo>
                  <a:pt x="2928" y="1900"/>
                </a:lnTo>
                <a:lnTo>
                  <a:pt x="2928" y="1904"/>
                </a:lnTo>
                <a:lnTo>
                  <a:pt x="2928" y="1910"/>
                </a:lnTo>
                <a:lnTo>
                  <a:pt x="2927" y="1915"/>
                </a:lnTo>
                <a:lnTo>
                  <a:pt x="2927" y="1920"/>
                </a:lnTo>
                <a:lnTo>
                  <a:pt x="2929" y="1923"/>
                </a:lnTo>
                <a:lnTo>
                  <a:pt x="2930" y="1926"/>
                </a:lnTo>
                <a:lnTo>
                  <a:pt x="2938" y="1930"/>
                </a:lnTo>
                <a:lnTo>
                  <a:pt x="2948" y="1935"/>
                </a:lnTo>
                <a:lnTo>
                  <a:pt x="2963" y="1941"/>
                </a:lnTo>
                <a:lnTo>
                  <a:pt x="2978" y="1949"/>
                </a:lnTo>
                <a:lnTo>
                  <a:pt x="2985" y="1954"/>
                </a:lnTo>
                <a:lnTo>
                  <a:pt x="2992" y="1959"/>
                </a:lnTo>
                <a:lnTo>
                  <a:pt x="2999" y="1964"/>
                </a:lnTo>
                <a:lnTo>
                  <a:pt x="3004" y="1968"/>
                </a:lnTo>
                <a:lnTo>
                  <a:pt x="3011" y="1977"/>
                </a:lnTo>
                <a:lnTo>
                  <a:pt x="3018" y="1983"/>
                </a:lnTo>
                <a:lnTo>
                  <a:pt x="3022" y="1984"/>
                </a:lnTo>
                <a:lnTo>
                  <a:pt x="3026" y="1985"/>
                </a:lnTo>
                <a:lnTo>
                  <a:pt x="3029" y="1985"/>
                </a:lnTo>
                <a:lnTo>
                  <a:pt x="3034" y="1985"/>
                </a:lnTo>
                <a:lnTo>
                  <a:pt x="3045" y="1984"/>
                </a:lnTo>
                <a:lnTo>
                  <a:pt x="3055" y="1983"/>
                </a:lnTo>
                <a:lnTo>
                  <a:pt x="3066" y="1984"/>
                </a:lnTo>
                <a:lnTo>
                  <a:pt x="3074" y="1985"/>
                </a:lnTo>
                <a:lnTo>
                  <a:pt x="3084" y="1986"/>
                </a:lnTo>
                <a:lnTo>
                  <a:pt x="3095" y="1986"/>
                </a:lnTo>
                <a:lnTo>
                  <a:pt x="3100" y="1984"/>
                </a:lnTo>
                <a:lnTo>
                  <a:pt x="3106" y="1982"/>
                </a:lnTo>
                <a:lnTo>
                  <a:pt x="3111" y="1977"/>
                </a:lnTo>
                <a:lnTo>
                  <a:pt x="3116" y="1971"/>
                </a:lnTo>
                <a:lnTo>
                  <a:pt x="3124" y="1959"/>
                </a:lnTo>
                <a:lnTo>
                  <a:pt x="3133" y="1947"/>
                </a:lnTo>
                <a:lnTo>
                  <a:pt x="3140" y="1938"/>
                </a:lnTo>
                <a:lnTo>
                  <a:pt x="3149" y="1929"/>
                </a:lnTo>
                <a:lnTo>
                  <a:pt x="3159" y="1921"/>
                </a:lnTo>
                <a:lnTo>
                  <a:pt x="3169" y="1913"/>
                </a:lnTo>
                <a:lnTo>
                  <a:pt x="3174" y="1909"/>
                </a:lnTo>
                <a:lnTo>
                  <a:pt x="3178" y="1904"/>
                </a:lnTo>
                <a:lnTo>
                  <a:pt x="3180" y="1901"/>
                </a:lnTo>
                <a:lnTo>
                  <a:pt x="3181" y="1897"/>
                </a:lnTo>
                <a:lnTo>
                  <a:pt x="3181" y="1894"/>
                </a:lnTo>
                <a:lnTo>
                  <a:pt x="3181" y="1891"/>
                </a:lnTo>
                <a:lnTo>
                  <a:pt x="3179" y="1888"/>
                </a:lnTo>
                <a:lnTo>
                  <a:pt x="3177" y="1884"/>
                </a:lnTo>
                <a:lnTo>
                  <a:pt x="3171" y="1877"/>
                </a:lnTo>
                <a:lnTo>
                  <a:pt x="3162" y="1869"/>
                </a:lnTo>
                <a:lnTo>
                  <a:pt x="3150" y="1856"/>
                </a:lnTo>
                <a:lnTo>
                  <a:pt x="3135" y="1839"/>
                </a:lnTo>
                <a:lnTo>
                  <a:pt x="3121" y="1821"/>
                </a:lnTo>
                <a:lnTo>
                  <a:pt x="3110" y="1806"/>
                </a:lnTo>
                <a:lnTo>
                  <a:pt x="3108" y="1801"/>
                </a:lnTo>
                <a:lnTo>
                  <a:pt x="3106" y="1797"/>
                </a:lnTo>
                <a:lnTo>
                  <a:pt x="3108" y="1794"/>
                </a:lnTo>
                <a:lnTo>
                  <a:pt x="3109" y="1791"/>
                </a:lnTo>
                <a:lnTo>
                  <a:pt x="3116" y="1789"/>
                </a:lnTo>
                <a:lnTo>
                  <a:pt x="3131" y="1785"/>
                </a:lnTo>
                <a:lnTo>
                  <a:pt x="3150" y="1782"/>
                </a:lnTo>
                <a:lnTo>
                  <a:pt x="3172" y="1778"/>
                </a:lnTo>
                <a:lnTo>
                  <a:pt x="3194" y="1775"/>
                </a:lnTo>
                <a:lnTo>
                  <a:pt x="3218" y="1770"/>
                </a:lnTo>
                <a:lnTo>
                  <a:pt x="3238" y="1766"/>
                </a:lnTo>
                <a:lnTo>
                  <a:pt x="3255" y="1763"/>
                </a:lnTo>
                <a:lnTo>
                  <a:pt x="3272" y="1759"/>
                </a:lnTo>
                <a:lnTo>
                  <a:pt x="3292" y="1755"/>
                </a:lnTo>
                <a:lnTo>
                  <a:pt x="3303" y="1752"/>
                </a:lnTo>
                <a:lnTo>
                  <a:pt x="3311" y="1751"/>
                </a:lnTo>
                <a:lnTo>
                  <a:pt x="3317" y="1751"/>
                </a:lnTo>
                <a:lnTo>
                  <a:pt x="3323" y="1752"/>
                </a:lnTo>
                <a:lnTo>
                  <a:pt x="3332" y="1758"/>
                </a:lnTo>
                <a:lnTo>
                  <a:pt x="3343" y="1765"/>
                </a:lnTo>
                <a:lnTo>
                  <a:pt x="3358" y="1776"/>
                </a:lnTo>
                <a:lnTo>
                  <a:pt x="3381" y="1789"/>
                </a:lnTo>
                <a:lnTo>
                  <a:pt x="3406" y="1801"/>
                </a:lnTo>
                <a:lnTo>
                  <a:pt x="3429" y="1810"/>
                </a:lnTo>
                <a:lnTo>
                  <a:pt x="3449" y="1818"/>
                </a:lnTo>
                <a:lnTo>
                  <a:pt x="3468" y="1821"/>
                </a:lnTo>
                <a:lnTo>
                  <a:pt x="3477" y="1822"/>
                </a:lnTo>
                <a:lnTo>
                  <a:pt x="3486" y="1822"/>
                </a:lnTo>
                <a:lnTo>
                  <a:pt x="3493" y="1822"/>
                </a:lnTo>
                <a:lnTo>
                  <a:pt x="3499" y="1820"/>
                </a:lnTo>
                <a:lnTo>
                  <a:pt x="3508" y="1814"/>
                </a:lnTo>
                <a:lnTo>
                  <a:pt x="3518" y="1807"/>
                </a:lnTo>
                <a:lnTo>
                  <a:pt x="3527" y="1800"/>
                </a:lnTo>
                <a:lnTo>
                  <a:pt x="3537" y="1793"/>
                </a:lnTo>
                <a:lnTo>
                  <a:pt x="3550" y="1785"/>
                </a:lnTo>
                <a:lnTo>
                  <a:pt x="3565" y="1779"/>
                </a:lnTo>
                <a:lnTo>
                  <a:pt x="3574" y="1776"/>
                </a:lnTo>
                <a:lnTo>
                  <a:pt x="3582" y="1771"/>
                </a:lnTo>
                <a:lnTo>
                  <a:pt x="3589" y="1765"/>
                </a:lnTo>
                <a:lnTo>
                  <a:pt x="3596" y="1759"/>
                </a:lnTo>
                <a:lnTo>
                  <a:pt x="3608" y="1746"/>
                </a:lnTo>
                <a:lnTo>
                  <a:pt x="3620" y="1735"/>
                </a:lnTo>
                <a:lnTo>
                  <a:pt x="3634" y="1726"/>
                </a:lnTo>
                <a:lnTo>
                  <a:pt x="3651" y="1718"/>
                </a:lnTo>
                <a:lnTo>
                  <a:pt x="3671" y="1709"/>
                </a:lnTo>
                <a:lnTo>
                  <a:pt x="3691" y="1705"/>
                </a:lnTo>
                <a:lnTo>
                  <a:pt x="3713" y="1700"/>
                </a:lnTo>
                <a:lnTo>
                  <a:pt x="3736" y="1697"/>
                </a:lnTo>
                <a:lnTo>
                  <a:pt x="3761" y="1696"/>
                </a:lnTo>
                <a:lnTo>
                  <a:pt x="3788" y="1696"/>
                </a:lnTo>
                <a:lnTo>
                  <a:pt x="3798" y="1696"/>
                </a:lnTo>
                <a:lnTo>
                  <a:pt x="3809" y="1697"/>
                </a:lnTo>
                <a:lnTo>
                  <a:pt x="3818" y="1700"/>
                </a:lnTo>
                <a:lnTo>
                  <a:pt x="3826" y="1702"/>
                </a:lnTo>
                <a:lnTo>
                  <a:pt x="3836" y="1708"/>
                </a:lnTo>
                <a:lnTo>
                  <a:pt x="3843" y="1713"/>
                </a:lnTo>
                <a:lnTo>
                  <a:pt x="3845" y="1716"/>
                </a:lnTo>
                <a:lnTo>
                  <a:pt x="3846" y="1720"/>
                </a:lnTo>
                <a:lnTo>
                  <a:pt x="3845" y="1725"/>
                </a:lnTo>
                <a:lnTo>
                  <a:pt x="3842" y="1730"/>
                </a:lnTo>
                <a:lnTo>
                  <a:pt x="3836" y="1743"/>
                </a:lnTo>
                <a:lnTo>
                  <a:pt x="3832" y="1757"/>
                </a:lnTo>
                <a:lnTo>
                  <a:pt x="3829" y="1764"/>
                </a:lnTo>
                <a:lnTo>
                  <a:pt x="3829" y="1770"/>
                </a:lnTo>
                <a:lnTo>
                  <a:pt x="3830" y="1776"/>
                </a:lnTo>
                <a:lnTo>
                  <a:pt x="3833" y="1781"/>
                </a:lnTo>
                <a:lnTo>
                  <a:pt x="3841" y="1793"/>
                </a:lnTo>
                <a:lnTo>
                  <a:pt x="3853" y="1806"/>
                </a:lnTo>
                <a:lnTo>
                  <a:pt x="3864" y="1821"/>
                </a:lnTo>
                <a:lnTo>
                  <a:pt x="3873" y="1835"/>
                </a:lnTo>
                <a:lnTo>
                  <a:pt x="3876" y="1842"/>
                </a:lnTo>
                <a:lnTo>
                  <a:pt x="3878" y="1851"/>
                </a:lnTo>
                <a:lnTo>
                  <a:pt x="3879" y="1860"/>
                </a:lnTo>
                <a:lnTo>
                  <a:pt x="3878" y="1871"/>
                </a:lnTo>
                <a:lnTo>
                  <a:pt x="3877" y="1882"/>
                </a:lnTo>
                <a:lnTo>
                  <a:pt x="3876" y="1892"/>
                </a:lnTo>
                <a:lnTo>
                  <a:pt x="3872" y="1902"/>
                </a:lnTo>
                <a:lnTo>
                  <a:pt x="3868" y="1911"/>
                </a:lnTo>
                <a:lnTo>
                  <a:pt x="3864" y="1920"/>
                </a:lnTo>
                <a:lnTo>
                  <a:pt x="3859" y="1926"/>
                </a:lnTo>
                <a:lnTo>
                  <a:pt x="3853" y="1929"/>
                </a:lnTo>
                <a:lnTo>
                  <a:pt x="3847" y="1933"/>
                </a:lnTo>
                <a:lnTo>
                  <a:pt x="3841" y="1935"/>
                </a:lnTo>
                <a:lnTo>
                  <a:pt x="3834" y="1939"/>
                </a:lnTo>
                <a:lnTo>
                  <a:pt x="3828" y="1942"/>
                </a:lnTo>
                <a:lnTo>
                  <a:pt x="3822" y="1947"/>
                </a:lnTo>
                <a:lnTo>
                  <a:pt x="3815" y="1954"/>
                </a:lnTo>
                <a:lnTo>
                  <a:pt x="3809" y="1965"/>
                </a:lnTo>
                <a:lnTo>
                  <a:pt x="3803" y="1977"/>
                </a:lnTo>
                <a:lnTo>
                  <a:pt x="3796" y="1990"/>
                </a:lnTo>
                <a:lnTo>
                  <a:pt x="3784" y="2016"/>
                </a:lnTo>
                <a:lnTo>
                  <a:pt x="3774" y="2040"/>
                </a:lnTo>
                <a:lnTo>
                  <a:pt x="3767" y="2048"/>
                </a:lnTo>
                <a:lnTo>
                  <a:pt x="3759" y="2058"/>
                </a:lnTo>
                <a:lnTo>
                  <a:pt x="3748" y="2066"/>
                </a:lnTo>
                <a:lnTo>
                  <a:pt x="3736" y="2074"/>
                </a:lnTo>
                <a:lnTo>
                  <a:pt x="3713" y="2089"/>
                </a:lnTo>
                <a:lnTo>
                  <a:pt x="3692" y="2099"/>
                </a:lnTo>
                <a:lnTo>
                  <a:pt x="3676" y="2109"/>
                </a:lnTo>
                <a:lnTo>
                  <a:pt x="3659" y="2119"/>
                </a:lnTo>
                <a:lnTo>
                  <a:pt x="3651" y="2125"/>
                </a:lnTo>
                <a:lnTo>
                  <a:pt x="3643" y="2129"/>
                </a:lnTo>
                <a:lnTo>
                  <a:pt x="3635" y="2132"/>
                </a:lnTo>
                <a:lnTo>
                  <a:pt x="3629" y="2135"/>
                </a:lnTo>
                <a:lnTo>
                  <a:pt x="3624" y="2136"/>
                </a:lnTo>
                <a:lnTo>
                  <a:pt x="3618" y="2138"/>
                </a:lnTo>
                <a:lnTo>
                  <a:pt x="3614" y="2142"/>
                </a:lnTo>
                <a:lnTo>
                  <a:pt x="3610" y="2146"/>
                </a:lnTo>
                <a:lnTo>
                  <a:pt x="3609" y="2149"/>
                </a:lnTo>
                <a:lnTo>
                  <a:pt x="3609" y="2153"/>
                </a:lnTo>
                <a:lnTo>
                  <a:pt x="3610" y="2156"/>
                </a:lnTo>
                <a:lnTo>
                  <a:pt x="3614" y="2160"/>
                </a:lnTo>
                <a:lnTo>
                  <a:pt x="3618" y="2163"/>
                </a:lnTo>
                <a:lnTo>
                  <a:pt x="3621" y="2167"/>
                </a:lnTo>
                <a:lnTo>
                  <a:pt x="3624" y="2171"/>
                </a:lnTo>
                <a:lnTo>
                  <a:pt x="3625" y="2174"/>
                </a:lnTo>
                <a:lnTo>
                  <a:pt x="3627" y="2184"/>
                </a:lnTo>
                <a:lnTo>
                  <a:pt x="3628" y="2194"/>
                </a:lnTo>
                <a:lnTo>
                  <a:pt x="3631" y="2206"/>
                </a:lnTo>
                <a:lnTo>
                  <a:pt x="3637" y="2218"/>
                </a:lnTo>
                <a:lnTo>
                  <a:pt x="3641" y="2230"/>
                </a:lnTo>
                <a:lnTo>
                  <a:pt x="3645" y="2242"/>
                </a:lnTo>
                <a:lnTo>
                  <a:pt x="3645" y="2248"/>
                </a:lnTo>
                <a:lnTo>
                  <a:pt x="3644" y="2253"/>
                </a:lnTo>
                <a:lnTo>
                  <a:pt x="3641" y="2255"/>
                </a:lnTo>
                <a:lnTo>
                  <a:pt x="3638" y="2257"/>
                </a:lnTo>
                <a:lnTo>
                  <a:pt x="3626" y="2262"/>
                </a:lnTo>
                <a:lnTo>
                  <a:pt x="3607" y="2267"/>
                </a:lnTo>
                <a:lnTo>
                  <a:pt x="3602" y="2269"/>
                </a:lnTo>
                <a:lnTo>
                  <a:pt x="3597" y="2272"/>
                </a:lnTo>
                <a:lnTo>
                  <a:pt x="3593" y="2274"/>
                </a:lnTo>
                <a:lnTo>
                  <a:pt x="3589" y="2277"/>
                </a:lnTo>
                <a:lnTo>
                  <a:pt x="3583" y="2286"/>
                </a:lnTo>
                <a:lnTo>
                  <a:pt x="3580" y="2295"/>
                </a:lnTo>
                <a:lnTo>
                  <a:pt x="3577" y="2307"/>
                </a:lnTo>
                <a:lnTo>
                  <a:pt x="3576" y="2319"/>
                </a:lnTo>
                <a:lnTo>
                  <a:pt x="3576" y="2332"/>
                </a:lnTo>
                <a:lnTo>
                  <a:pt x="3576" y="2345"/>
                </a:lnTo>
                <a:lnTo>
                  <a:pt x="3577" y="2358"/>
                </a:lnTo>
                <a:lnTo>
                  <a:pt x="3578" y="2369"/>
                </a:lnTo>
                <a:lnTo>
                  <a:pt x="3580" y="2379"/>
                </a:lnTo>
                <a:lnTo>
                  <a:pt x="3583" y="2386"/>
                </a:lnTo>
                <a:lnTo>
                  <a:pt x="3587" y="2392"/>
                </a:lnTo>
                <a:lnTo>
                  <a:pt x="3590" y="2396"/>
                </a:lnTo>
                <a:lnTo>
                  <a:pt x="3596" y="2400"/>
                </a:lnTo>
                <a:lnTo>
                  <a:pt x="3602" y="2401"/>
                </a:lnTo>
                <a:lnTo>
                  <a:pt x="3616" y="2405"/>
                </a:lnTo>
                <a:lnTo>
                  <a:pt x="3633" y="2409"/>
                </a:lnTo>
                <a:lnTo>
                  <a:pt x="3650" y="2415"/>
                </a:lnTo>
                <a:lnTo>
                  <a:pt x="3668" y="2423"/>
                </a:lnTo>
                <a:lnTo>
                  <a:pt x="3676" y="2426"/>
                </a:lnTo>
                <a:lnTo>
                  <a:pt x="3682" y="2430"/>
                </a:lnTo>
                <a:lnTo>
                  <a:pt x="3688" y="2433"/>
                </a:lnTo>
                <a:lnTo>
                  <a:pt x="3691" y="2438"/>
                </a:lnTo>
                <a:lnTo>
                  <a:pt x="3698" y="2449"/>
                </a:lnTo>
                <a:lnTo>
                  <a:pt x="3704" y="2459"/>
                </a:lnTo>
                <a:lnTo>
                  <a:pt x="3713" y="2474"/>
                </a:lnTo>
                <a:lnTo>
                  <a:pt x="3725" y="2491"/>
                </a:lnTo>
                <a:lnTo>
                  <a:pt x="3739" y="2509"/>
                </a:lnTo>
                <a:lnTo>
                  <a:pt x="3752" y="2525"/>
                </a:lnTo>
                <a:lnTo>
                  <a:pt x="3767" y="2539"/>
                </a:lnTo>
                <a:lnTo>
                  <a:pt x="3784" y="2556"/>
                </a:lnTo>
                <a:lnTo>
                  <a:pt x="3794" y="2563"/>
                </a:lnTo>
                <a:lnTo>
                  <a:pt x="3803" y="2570"/>
                </a:lnTo>
                <a:lnTo>
                  <a:pt x="3811" y="2576"/>
                </a:lnTo>
                <a:lnTo>
                  <a:pt x="3820" y="2579"/>
                </a:lnTo>
                <a:lnTo>
                  <a:pt x="3836" y="2584"/>
                </a:lnTo>
                <a:lnTo>
                  <a:pt x="3852" y="2588"/>
                </a:lnTo>
                <a:lnTo>
                  <a:pt x="3867" y="2589"/>
                </a:lnTo>
                <a:lnTo>
                  <a:pt x="3883" y="2590"/>
                </a:lnTo>
                <a:lnTo>
                  <a:pt x="3899" y="2591"/>
                </a:lnTo>
                <a:lnTo>
                  <a:pt x="3918" y="2591"/>
                </a:lnTo>
                <a:lnTo>
                  <a:pt x="3928" y="2591"/>
                </a:lnTo>
                <a:lnTo>
                  <a:pt x="3937" y="2591"/>
                </a:lnTo>
                <a:lnTo>
                  <a:pt x="3946" y="2592"/>
                </a:lnTo>
                <a:lnTo>
                  <a:pt x="3953" y="2595"/>
                </a:lnTo>
                <a:lnTo>
                  <a:pt x="3968" y="2598"/>
                </a:lnTo>
                <a:lnTo>
                  <a:pt x="3984" y="2600"/>
                </a:lnTo>
                <a:lnTo>
                  <a:pt x="3997" y="2600"/>
                </a:lnTo>
                <a:lnTo>
                  <a:pt x="4009" y="2600"/>
                </a:lnTo>
                <a:lnTo>
                  <a:pt x="4015" y="2598"/>
                </a:lnTo>
                <a:lnTo>
                  <a:pt x="4021" y="2598"/>
                </a:lnTo>
                <a:lnTo>
                  <a:pt x="4025" y="2600"/>
                </a:lnTo>
                <a:lnTo>
                  <a:pt x="4029" y="2601"/>
                </a:lnTo>
                <a:lnTo>
                  <a:pt x="4030" y="2606"/>
                </a:lnTo>
                <a:lnTo>
                  <a:pt x="4031" y="2610"/>
                </a:lnTo>
                <a:lnTo>
                  <a:pt x="4031" y="2614"/>
                </a:lnTo>
                <a:lnTo>
                  <a:pt x="4031" y="2616"/>
                </a:lnTo>
                <a:lnTo>
                  <a:pt x="4030" y="2620"/>
                </a:lnTo>
                <a:lnTo>
                  <a:pt x="4028" y="2621"/>
                </a:lnTo>
                <a:lnTo>
                  <a:pt x="4016" y="2631"/>
                </a:lnTo>
                <a:lnTo>
                  <a:pt x="4006" y="2639"/>
                </a:lnTo>
                <a:lnTo>
                  <a:pt x="3992" y="2648"/>
                </a:lnTo>
                <a:lnTo>
                  <a:pt x="3978" y="2657"/>
                </a:lnTo>
                <a:lnTo>
                  <a:pt x="3975" y="2659"/>
                </a:lnTo>
                <a:lnTo>
                  <a:pt x="3973" y="2660"/>
                </a:lnTo>
                <a:lnTo>
                  <a:pt x="3972" y="2663"/>
                </a:lnTo>
                <a:lnTo>
                  <a:pt x="3973" y="2665"/>
                </a:lnTo>
                <a:lnTo>
                  <a:pt x="3975" y="2669"/>
                </a:lnTo>
                <a:lnTo>
                  <a:pt x="3980" y="2673"/>
                </a:lnTo>
                <a:lnTo>
                  <a:pt x="3986" y="2683"/>
                </a:lnTo>
                <a:lnTo>
                  <a:pt x="3993" y="2692"/>
                </a:lnTo>
                <a:lnTo>
                  <a:pt x="3998" y="2696"/>
                </a:lnTo>
                <a:lnTo>
                  <a:pt x="4002" y="2697"/>
                </a:lnTo>
                <a:lnTo>
                  <a:pt x="4004" y="2698"/>
                </a:lnTo>
                <a:lnTo>
                  <a:pt x="4007" y="2697"/>
                </a:lnTo>
                <a:lnTo>
                  <a:pt x="4015" y="2694"/>
                </a:lnTo>
                <a:lnTo>
                  <a:pt x="4022" y="2688"/>
                </a:lnTo>
                <a:lnTo>
                  <a:pt x="4030" y="2683"/>
                </a:lnTo>
                <a:lnTo>
                  <a:pt x="4038" y="2679"/>
                </a:lnTo>
                <a:lnTo>
                  <a:pt x="4043" y="2679"/>
                </a:lnTo>
                <a:lnTo>
                  <a:pt x="4048" y="2680"/>
                </a:lnTo>
                <a:lnTo>
                  <a:pt x="4053" y="2683"/>
                </a:lnTo>
                <a:lnTo>
                  <a:pt x="4056" y="2688"/>
                </a:lnTo>
                <a:lnTo>
                  <a:pt x="4065" y="2701"/>
                </a:lnTo>
                <a:lnTo>
                  <a:pt x="4073" y="2717"/>
                </a:lnTo>
                <a:lnTo>
                  <a:pt x="4076" y="2726"/>
                </a:lnTo>
                <a:lnTo>
                  <a:pt x="4081" y="2734"/>
                </a:lnTo>
                <a:lnTo>
                  <a:pt x="4086" y="2741"/>
                </a:lnTo>
                <a:lnTo>
                  <a:pt x="4092" y="2748"/>
                </a:lnTo>
                <a:lnTo>
                  <a:pt x="4099" y="2755"/>
                </a:lnTo>
                <a:lnTo>
                  <a:pt x="4107" y="2761"/>
                </a:lnTo>
                <a:lnTo>
                  <a:pt x="4117" y="2767"/>
                </a:lnTo>
                <a:lnTo>
                  <a:pt x="4128" y="2773"/>
                </a:lnTo>
                <a:lnTo>
                  <a:pt x="4137" y="2779"/>
                </a:lnTo>
                <a:lnTo>
                  <a:pt x="4145" y="2785"/>
                </a:lnTo>
                <a:lnTo>
                  <a:pt x="4151" y="2790"/>
                </a:lnTo>
                <a:lnTo>
                  <a:pt x="4155" y="2795"/>
                </a:lnTo>
                <a:lnTo>
                  <a:pt x="4158" y="2803"/>
                </a:lnTo>
                <a:lnTo>
                  <a:pt x="4161" y="2812"/>
                </a:lnTo>
                <a:lnTo>
                  <a:pt x="4162" y="2817"/>
                </a:lnTo>
                <a:lnTo>
                  <a:pt x="4164" y="2823"/>
                </a:lnTo>
                <a:lnTo>
                  <a:pt x="4167" y="2829"/>
                </a:lnTo>
                <a:lnTo>
                  <a:pt x="4172" y="2835"/>
                </a:lnTo>
                <a:lnTo>
                  <a:pt x="4182" y="2843"/>
                </a:lnTo>
                <a:lnTo>
                  <a:pt x="4192" y="2850"/>
                </a:lnTo>
                <a:lnTo>
                  <a:pt x="4196" y="2854"/>
                </a:lnTo>
                <a:lnTo>
                  <a:pt x="4201" y="2858"/>
                </a:lnTo>
                <a:lnTo>
                  <a:pt x="4206" y="2862"/>
                </a:lnTo>
                <a:lnTo>
                  <a:pt x="4210" y="2868"/>
                </a:lnTo>
                <a:lnTo>
                  <a:pt x="4212" y="2875"/>
                </a:lnTo>
                <a:lnTo>
                  <a:pt x="4214" y="2881"/>
                </a:lnTo>
                <a:lnTo>
                  <a:pt x="4216" y="2887"/>
                </a:lnTo>
                <a:lnTo>
                  <a:pt x="4216" y="2892"/>
                </a:lnTo>
                <a:lnTo>
                  <a:pt x="4214" y="2896"/>
                </a:lnTo>
                <a:lnTo>
                  <a:pt x="4212" y="2900"/>
                </a:lnTo>
                <a:lnTo>
                  <a:pt x="4208" y="2904"/>
                </a:lnTo>
                <a:lnTo>
                  <a:pt x="4205" y="2907"/>
                </a:lnTo>
                <a:lnTo>
                  <a:pt x="4193" y="2913"/>
                </a:lnTo>
                <a:lnTo>
                  <a:pt x="4181" y="2918"/>
                </a:lnTo>
                <a:lnTo>
                  <a:pt x="4175" y="2921"/>
                </a:lnTo>
                <a:lnTo>
                  <a:pt x="4172" y="2924"/>
                </a:lnTo>
                <a:lnTo>
                  <a:pt x="4168" y="2929"/>
                </a:lnTo>
                <a:lnTo>
                  <a:pt x="4168" y="2936"/>
                </a:lnTo>
                <a:lnTo>
                  <a:pt x="4168" y="2943"/>
                </a:lnTo>
                <a:lnTo>
                  <a:pt x="4169" y="2949"/>
                </a:lnTo>
                <a:lnTo>
                  <a:pt x="4172" y="2955"/>
                </a:lnTo>
                <a:lnTo>
                  <a:pt x="4174" y="2960"/>
                </a:lnTo>
                <a:lnTo>
                  <a:pt x="4180" y="2970"/>
                </a:lnTo>
                <a:lnTo>
                  <a:pt x="4185" y="2982"/>
                </a:lnTo>
                <a:lnTo>
                  <a:pt x="4187" y="2988"/>
                </a:lnTo>
                <a:lnTo>
                  <a:pt x="4192" y="2994"/>
                </a:lnTo>
                <a:lnTo>
                  <a:pt x="4198" y="3000"/>
                </a:lnTo>
                <a:lnTo>
                  <a:pt x="4205" y="3005"/>
                </a:lnTo>
                <a:lnTo>
                  <a:pt x="4212" y="3011"/>
                </a:lnTo>
                <a:lnTo>
                  <a:pt x="4218" y="3016"/>
                </a:lnTo>
                <a:lnTo>
                  <a:pt x="4223" y="3020"/>
                </a:lnTo>
                <a:lnTo>
                  <a:pt x="4226" y="3026"/>
                </a:lnTo>
                <a:lnTo>
                  <a:pt x="4231" y="3039"/>
                </a:lnTo>
                <a:lnTo>
                  <a:pt x="4237" y="3056"/>
                </a:lnTo>
                <a:lnTo>
                  <a:pt x="4243" y="3074"/>
                </a:lnTo>
                <a:lnTo>
                  <a:pt x="4248" y="3087"/>
                </a:lnTo>
                <a:lnTo>
                  <a:pt x="4252" y="3095"/>
                </a:lnTo>
                <a:lnTo>
                  <a:pt x="4254" y="3102"/>
                </a:lnTo>
                <a:lnTo>
                  <a:pt x="4255" y="3110"/>
                </a:lnTo>
                <a:lnTo>
                  <a:pt x="4252" y="3119"/>
                </a:lnTo>
                <a:lnTo>
                  <a:pt x="4249" y="3130"/>
                </a:lnTo>
                <a:lnTo>
                  <a:pt x="4249" y="3137"/>
                </a:lnTo>
                <a:lnTo>
                  <a:pt x="4249" y="3140"/>
                </a:lnTo>
                <a:lnTo>
                  <a:pt x="4250" y="3144"/>
                </a:lnTo>
                <a:lnTo>
                  <a:pt x="4252" y="3146"/>
                </a:lnTo>
                <a:lnTo>
                  <a:pt x="4256" y="3149"/>
                </a:lnTo>
                <a:lnTo>
                  <a:pt x="4259" y="3152"/>
                </a:lnTo>
                <a:lnTo>
                  <a:pt x="4262" y="3156"/>
                </a:lnTo>
                <a:lnTo>
                  <a:pt x="4264" y="3161"/>
                </a:lnTo>
                <a:lnTo>
                  <a:pt x="4264" y="3167"/>
                </a:lnTo>
                <a:lnTo>
                  <a:pt x="4264" y="3173"/>
                </a:lnTo>
                <a:lnTo>
                  <a:pt x="4263" y="3178"/>
                </a:lnTo>
                <a:lnTo>
                  <a:pt x="4261" y="3183"/>
                </a:lnTo>
                <a:lnTo>
                  <a:pt x="4258" y="3187"/>
                </a:lnTo>
                <a:lnTo>
                  <a:pt x="4251" y="3194"/>
                </a:lnTo>
                <a:lnTo>
                  <a:pt x="4243" y="3202"/>
                </a:lnTo>
                <a:lnTo>
                  <a:pt x="4238" y="3206"/>
                </a:lnTo>
                <a:lnTo>
                  <a:pt x="4233" y="3208"/>
                </a:lnTo>
                <a:lnTo>
                  <a:pt x="4226" y="3212"/>
                </a:lnTo>
                <a:lnTo>
                  <a:pt x="4219" y="3214"/>
                </a:lnTo>
                <a:lnTo>
                  <a:pt x="4212" y="3216"/>
                </a:lnTo>
                <a:lnTo>
                  <a:pt x="4207" y="3219"/>
                </a:lnTo>
                <a:lnTo>
                  <a:pt x="4202" y="3221"/>
                </a:lnTo>
                <a:lnTo>
                  <a:pt x="4199" y="3225"/>
                </a:lnTo>
                <a:lnTo>
                  <a:pt x="4195" y="3228"/>
                </a:lnTo>
                <a:lnTo>
                  <a:pt x="4194" y="3233"/>
                </a:lnTo>
                <a:lnTo>
                  <a:pt x="4193" y="3239"/>
                </a:lnTo>
                <a:lnTo>
                  <a:pt x="4193" y="3246"/>
                </a:lnTo>
                <a:lnTo>
                  <a:pt x="4194" y="3262"/>
                </a:lnTo>
                <a:lnTo>
                  <a:pt x="4196" y="3278"/>
                </a:lnTo>
                <a:lnTo>
                  <a:pt x="4200" y="3295"/>
                </a:lnTo>
                <a:lnTo>
                  <a:pt x="4202" y="3309"/>
                </a:lnTo>
                <a:lnTo>
                  <a:pt x="4204" y="3315"/>
                </a:lnTo>
                <a:lnTo>
                  <a:pt x="4205" y="3321"/>
                </a:lnTo>
                <a:lnTo>
                  <a:pt x="4206" y="3325"/>
                </a:lnTo>
                <a:lnTo>
                  <a:pt x="4207" y="3327"/>
                </a:lnTo>
                <a:lnTo>
                  <a:pt x="4210" y="3328"/>
                </a:lnTo>
                <a:lnTo>
                  <a:pt x="4212" y="3329"/>
                </a:lnTo>
                <a:lnTo>
                  <a:pt x="4216" y="3329"/>
                </a:lnTo>
                <a:lnTo>
                  <a:pt x="4220" y="3328"/>
                </a:lnTo>
                <a:lnTo>
                  <a:pt x="4224" y="3327"/>
                </a:lnTo>
                <a:lnTo>
                  <a:pt x="4227" y="3326"/>
                </a:lnTo>
                <a:lnTo>
                  <a:pt x="4231" y="3327"/>
                </a:lnTo>
                <a:lnTo>
                  <a:pt x="4233" y="3327"/>
                </a:lnTo>
                <a:lnTo>
                  <a:pt x="4236" y="3329"/>
                </a:lnTo>
                <a:lnTo>
                  <a:pt x="4237" y="3332"/>
                </a:lnTo>
                <a:lnTo>
                  <a:pt x="4239" y="3337"/>
                </a:lnTo>
                <a:lnTo>
                  <a:pt x="4240" y="3342"/>
                </a:lnTo>
                <a:lnTo>
                  <a:pt x="4242" y="3348"/>
                </a:lnTo>
                <a:lnTo>
                  <a:pt x="4244" y="3353"/>
                </a:lnTo>
                <a:lnTo>
                  <a:pt x="4246" y="3358"/>
                </a:lnTo>
                <a:lnTo>
                  <a:pt x="4250" y="3361"/>
                </a:lnTo>
                <a:lnTo>
                  <a:pt x="4254" y="3365"/>
                </a:lnTo>
                <a:lnTo>
                  <a:pt x="4257" y="3367"/>
                </a:lnTo>
                <a:lnTo>
                  <a:pt x="4261" y="3370"/>
                </a:lnTo>
                <a:lnTo>
                  <a:pt x="4265" y="3371"/>
                </a:lnTo>
                <a:lnTo>
                  <a:pt x="4269" y="3371"/>
                </a:lnTo>
                <a:lnTo>
                  <a:pt x="4274" y="3371"/>
                </a:lnTo>
                <a:lnTo>
                  <a:pt x="4277" y="3370"/>
                </a:lnTo>
                <a:lnTo>
                  <a:pt x="4281" y="3367"/>
                </a:lnTo>
                <a:lnTo>
                  <a:pt x="4292" y="3364"/>
                </a:lnTo>
                <a:lnTo>
                  <a:pt x="4307" y="3360"/>
                </a:lnTo>
                <a:lnTo>
                  <a:pt x="4323" y="3359"/>
                </a:lnTo>
                <a:lnTo>
                  <a:pt x="4332" y="3359"/>
                </a:lnTo>
                <a:lnTo>
                  <a:pt x="4336" y="3360"/>
                </a:lnTo>
                <a:lnTo>
                  <a:pt x="4338" y="3361"/>
                </a:lnTo>
                <a:lnTo>
                  <a:pt x="4340" y="3364"/>
                </a:lnTo>
                <a:lnTo>
                  <a:pt x="4342" y="3366"/>
                </a:lnTo>
                <a:lnTo>
                  <a:pt x="4344" y="3371"/>
                </a:lnTo>
                <a:lnTo>
                  <a:pt x="4344" y="3373"/>
                </a:lnTo>
                <a:lnTo>
                  <a:pt x="4342" y="3376"/>
                </a:lnTo>
                <a:lnTo>
                  <a:pt x="4337" y="3376"/>
                </a:lnTo>
                <a:lnTo>
                  <a:pt x="4331" y="3377"/>
                </a:lnTo>
                <a:lnTo>
                  <a:pt x="4326" y="3379"/>
                </a:lnTo>
                <a:lnTo>
                  <a:pt x="4325" y="3382"/>
                </a:lnTo>
                <a:lnTo>
                  <a:pt x="4324" y="3384"/>
                </a:lnTo>
                <a:lnTo>
                  <a:pt x="4325" y="3386"/>
                </a:lnTo>
                <a:lnTo>
                  <a:pt x="4327" y="3390"/>
                </a:lnTo>
                <a:lnTo>
                  <a:pt x="4332" y="3398"/>
                </a:lnTo>
                <a:lnTo>
                  <a:pt x="4339" y="3407"/>
                </a:lnTo>
                <a:lnTo>
                  <a:pt x="4347" y="3417"/>
                </a:lnTo>
                <a:lnTo>
                  <a:pt x="4356" y="3429"/>
                </a:lnTo>
                <a:lnTo>
                  <a:pt x="4362" y="3440"/>
                </a:lnTo>
                <a:lnTo>
                  <a:pt x="4364" y="3446"/>
                </a:lnTo>
                <a:lnTo>
                  <a:pt x="4365" y="3451"/>
                </a:lnTo>
                <a:lnTo>
                  <a:pt x="4366" y="3455"/>
                </a:lnTo>
                <a:lnTo>
                  <a:pt x="4366" y="3459"/>
                </a:lnTo>
                <a:lnTo>
                  <a:pt x="4368" y="3461"/>
                </a:lnTo>
                <a:lnTo>
                  <a:pt x="4369" y="3463"/>
                </a:lnTo>
                <a:lnTo>
                  <a:pt x="4371" y="3463"/>
                </a:lnTo>
                <a:lnTo>
                  <a:pt x="4376" y="3461"/>
                </a:lnTo>
                <a:lnTo>
                  <a:pt x="4382" y="3457"/>
                </a:lnTo>
                <a:lnTo>
                  <a:pt x="4387" y="3452"/>
                </a:lnTo>
                <a:lnTo>
                  <a:pt x="4390" y="3448"/>
                </a:lnTo>
                <a:lnTo>
                  <a:pt x="4393" y="3447"/>
                </a:lnTo>
                <a:lnTo>
                  <a:pt x="4395" y="3448"/>
                </a:lnTo>
                <a:lnTo>
                  <a:pt x="4400" y="3449"/>
                </a:lnTo>
                <a:lnTo>
                  <a:pt x="4407" y="3452"/>
                </a:lnTo>
                <a:lnTo>
                  <a:pt x="4419" y="3457"/>
                </a:lnTo>
                <a:lnTo>
                  <a:pt x="4424" y="3461"/>
                </a:lnTo>
                <a:lnTo>
                  <a:pt x="4425" y="3463"/>
                </a:lnTo>
                <a:lnTo>
                  <a:pt x="4425" y="3465"/>
                </a:lnTo>
                <a:lnTo>
                  <a:pt x="4425" y="3467"/>
                </a:lnTo>
                <a:lnTo>
                  <a:pt x="4422" y="3470"/>
                </a:lnTo>
                <a:lnTo>
                  <a:pt x="4410" y="3480"/>
                </a:lnTo>
                <a:lnTo>
                  <a:pt x="4396" y="3493"/>
                </a:lnTo>
                <a:lnTo>
                  <a:pt x="4395" y="3496"/>
                </a:lnTo>
                <a:lnTo>
                  <a:pt x="4394" y="3499"/>
                </a:lnTo>
                <a:lnTo>
                  <a:pt x="4394" y="3502"/>
                </a:lnTo>
                <a:lnTo>
                  <a:pt x="4395" y="3503"/>
                </a:lnTo>
                <a:lnTo>
                  <a:pt x="4397" y="3504"/>
                </a:lnTo>
                <a:lnTo>
                  <a:pt x="4401" y="3504"/>
                </a:lnTo>
                <a:lnTo>
                  <a:pt x="4405" y="3504"/>
                </a:lnTo>
                <a:lnTo>
                  <a:pt x="4409" y="3503"/>
                </a:lnTo>
                <a:lnTo>
                  <a:pt x="4426" y="3495"/>
                </a:lnTo>
                <a:lnTo>
                  <a:pt x="4438" y="3486"/>
                </a:lnTo>
                <a:lnTo>
                  <a:pt x="4440" y="3485"/>
                </a:lnTo>
                <a:lnTo>
                  <a:pt x="4443" y="3485"/>
                </a:lnTo>
                <a:lnTo>
                  <a:pt x="4444" y="3486"/>
                </a:lnTo>
                <a:lnTo>
                  <a:pt x="4446" y="3487"/>
                </a:lnTo>
                <a:lnTo>
                  <a:pt x="4447" y="3492"/>
                </a:lnTo>
                <a:lnTo>
                  <a:pt x="4447" y="3501"/>
                </a:lnTo>
                <a:lnTo>
                  <a:pt x="4449" y="3504"/>
                </a:lnTo>
                <a:lnTo>
                  <a:pt x="4450" y="3509"/>
                </a:lnTo>
                <a:lnTo>
                  <a:pt x="4452" y="3512"/>
                </a:lnTo>
                <a:lnTo>
                  <a:pt x="4454" y="3516"/>
                </a:lnTo>
                <a:lnTo>
                  <a:pt x="4459" y="3523"/>
                </a:lnTo>
                <a:lnTo>
                  <a:pt x="4464" y="3527"/>
                </a:lnTo>
                <a:lnTo>
                  <a:pt x="4466" y="3528"/>
                </a:lnTo>
                <a:lnTo>
                  <a:pt x="4469" y="3528"/>
                </a:lnTo>
                <a:lnTo>
                  <a:pt x="4470" y="3527"/>
                </a:lnTo>
                <a:lnTo>
                  <a:pt x="4472" y="3526"/>
                </a:lnTo>
                <a:lnTo>
                  <a:pt x="4477" y="3520"/>
                </a:lnTo>
                <a:lnTo>
                  <a:pt x="4482" y="3512"/>
                </a:lnTo>
                <a:lnTo>
                  <a:pt x="4484" y="3509"/>
                </a:lnTo>
                <a:lnTo>
                  <a:pt x="4488" y="3506"/>
                </a:lnTo>
                <a:lnTo>
                  <a:pt x="4492" y="3504"/>
                </a:lnTo>
                <a:lnTo>
                  <a:pt x="4496" y="3504"/>
                </a:lnTo>
                <a:lnTo>
                  <a:pt x="4501" y="3505"/>
                </a:lnTo>
                <a:lnTo>
                  <a:pt x="4506" y="3508"/>
                </a:lnTo>
                <a:lnTo>
                  <a:pt x="4508" y="3510"/>
                </a:lnTo>
                <a:lnTo>
                  <a:pt x="4509" y="3516"/>
                </a:lnTo>
                <a:lnTo>
                  <a:pt x="4512" y="3526"/>
                </a:lnTo>
                <a:lnTo>
                  <a:pt x="4514" y="3536"/>
                </a:lnTo>
                <a:lnTo>
                  <a:pt x="4517" y="3546"/>
                </a:lnTo>
                <a:lnTo>
                  <a:pt x="4525" y="3558"/>
                </a:lnTo>
                <a:lnTo>
                  <a:pt x="4532" y="3569"/>
                </a:lnTo>
                <a:lnTo>
                  <a:pt x="4538" y="3579"/>
                </a:lnTo>
                <a:lnTo>
                  <a:pt x="4542" y="3586"/>
                </a:lnTo>
                <a:lnTo>
                  <a:pt x="4547" y="3590"/>
                </a:lnTo>
                <a:lnTo>
                  <a:pt x="4550" y="3591"/>
                </a:lnTo>
                <a:lnTo>
                  <a:pt x="4553" y="3590"/>
                </a:lnTo>
                <a:lnTo>
                  <a:pt x="4558" y="3589"/>
                </a:lnTo>
                <a:lnTo>
                  <a:pt x="4561" y="3586"/>
                </a:lnTo>
                <a:lnTo>
                  <a:pt x="4571" y="3579"/>
                </a:lnTo>
                <a:lnTo>
                  <a:pt x="4579" y="3572"/>
                </a:lnTo>
                <a:lnTo>
                  <a:pt x="4583" y="3568"/>
                </a:lnTo>
                <a:lnTo>
                  <a:pt x="4586" y="3562"/>
                </a:lnTo>
                <a:lnTo>
                  <a:pt x="4589" y="3556"/>
                </a:lnTo>
                <a:lnTo>
                  <a:pt x="4591" y="3549"/>
                </a:lnTo>
                <a:lnTo>
                  <a:pt x="4595" y="3533"/>
                </a:lnTo>
                <a:lnTo>
                  <a:pt x="4598" y="3516"/>
                </a:lnTo>
                <a:lnTo>
                  <a:pt x="4598" y="3506"/>
                </a:lnTo>
                <a:lnTo>
                  <a:pt x="4598" y="3499"/>
                </a:lnTo>
                <a:lnTo>
                  <a:pt x="4597" y="3492"/>
                </a:lnTo>
                <a:lnTo>
                  <a:pt x="4596" y="3485"/>
                </a:lnTo>
                <a:lnTo>
                  <a:pt x="4592" y="3473"/>
                </a:lnTo>
                <a:lnTo>
                  <a:pt x="4591" y="3461"/>
                </a:lnTo>
                <a:lnTo>
                  <a:pt x="4591" y="3448"/>
                </a:lnTo>
                <a:lnTo>
                  <a:pt x="4592" y="3435"/>
                </a:lnTo>
                <a:lnTo>
                  <a:pt x="4594" y="3423"/>
                </a:lnTo>
                <a:lnTo>
                  <a:pt x="4592" y="3414"/>
                </a:lnTo>
                <a:lnTo>
                  <a:pt x="4589" y="3405"/>
                </a:lnTo>
                <a:lnTo>
                  <a:pt x="4586" y="3396"/>
                </a:lnTo>
                <a:lnTo>
                  <a:pt x="4585" y="3391"/>
                </a:lnTo>
                <a:lnTo>
                  <a:pt x="4585" y="3386"/>
                </a:lnTo>
                <a:lnTo>
                  <a:pt x="4585" y="3382"/>
                </a:lnTo>
                <a:lnTo>
                  <a:pt x="4588" y="3376"/>
                </a:lnTo>
                <a:lnTo>
                  <a:pt x="4590" y="3371"/>
                </a:lnTo>
                <a:lnTo>
                  <a:pt x="4595" y="3367"/>
                </a:lnTo>
                <a:lnTo>
                  <a:pt x="4601" y="3365"/>
                </a:lnTo>
                <a:lnTo>
                  <a:pt x="4607" y="3363"/>
                </a:lnTo>
                <a:lnTo>
                  <a:pt x="4613" y="3363"/>
                </a:lnTo>
                <a:lnTo>
                  <a:pt x="4619" y="3364"/>
                </a:lnTo>
                <a:lnTo>
                  <a:pt x="4623" y="3366"/>
                </a:lnTo>
                <a:lnTo>
                  <a:pt x="4628" y="3370"/>
                </a:lnTo>
                <a:lnTo>
                  <a:pt x="4635" y="3378"/>
                </a:lnTo>
                <a:lnTo>
                  <a:pt x="4643" y="3385"/>
                </a:lnTo>
                <a:lnTo>
                  <a:pt x="4647" y="3388"/>
                </a:lnTo>
                <a:lnTo>
                  <a:pt x="4652" y="3390"/>
                </a:lnTo>
                <a:lnTo>
                  <a:pt x="4658" y="3391"/>
                </a:lnTo>
                <a:lnTo>
                  <a:pt x="4664" y="3392"/>
                </a:lnTo>
                <a:lnTo>
                  <a:pt x="4668" y="3392"/>
                </a:lnTo>
                <a:lnTo>
                  <a:pt x="4672" y="3392"/>
                </a:lnTo>
                <a:lnTo>
                  <a:pt x="4676" y="3391"/>
                </a:lnTo>
                <a:lnTo>
                  <a:pt x="4678" y="3389"/>
                </a:lnTo>
                <a:lnTo>
                  <a:pt x="4679" y="3384"/>
                </a:lnTo>
                <a:lnTo>
                  <a:pt x="4682" y="3378"/>
                </a:lnTo>
                <a:lnTo>
                  <a:pt x="4684" y="3375"/>
                </a:lnTo>
                <a:lnTo>
                  <a:pt x="4687" y="3371"/>
                </a:lnTo>
                <a:lnTo>
                  <a:pt x="4693" y="3370"/>
                </a:lnTo>
                <a:lnTo>
                  <a:pt x="4701" y="3370"/>
                </a:lnTo>
                <a:lnTo>
                  <a:pt x="4710" y="3371"/>
                </a:lnTo>
                <a:lnTo>
                  <a:pt x="4721" y="3370"/>
                </a:lnTo>
                <a:lnTo>
                  <a:pt x="4725" y="3369"/>
                </a:lnTo>
                <a:lnTo>
                  <a:pt x="4729" y="3366"/>
                </a:lnTo>
                <a:lnTo>
                  <a:pt x="4733" y="3363"/>
                </a:lnTo>
                <a:lnTo>
                  <a:pt x="4736" y="3357"/>
                </a:lnTo>
                <a:lnTo>
                  <a:pt x="4739" y="3352"/>
                </a:lnTo>
                <a:lnTo>
                  <a:pt x="4737" y="3346"/>
                </a:lnTo>
                <a:lnTo>
                  <a:pt x="4736" y="3341"/>
                </a:lnTo>
                <a:lnTo>
                  <a:pt x="4734" y="3337"/>
                </a:lnTo>
                <a:lnTo>
                  <a:pt x="4727" y="3328"/>
                </a:lnTo>
                <a:lnTo>
                  <a:pt x="4721" y="3320"/>
                </a:lnTo>
                <a:lnTo>
                  <a:pt x="4718" y="3318"/>
                </a:lnTo>
                <a:lnTo>
                  <a:pt x="4717" y="3314"/>
                </a:lnTo>
                <a:lnTo>
                  <a:pt x="4717" y="3312"/>
                </a:lnTo>
                <a:lnTo>
                  <a:pt x="4717" y="3308"/>
                </a:lnTo>
                <a:lnTo>
                  <a:pt x="4721" y="3302"/>
                </a:lnTo>
                <a:lnTo>
                  <a:pt x="4728" y="3296"/>
                </a:lnTo>
                <a:lnTo>
                  <a:pt x="4735" y="3290"/>
                </a:lnTo>
                <a:lnTo>
                  <a:pt x="4740" y="3283"/>
                </a:lnTo>
                <a:lnTo>
                  <a:pt x="4742" y="3275"/>
                </a:lnTo>
                <a:lnTo>
                  <a:pt x="4747" y="3260"/>
                </a:lnTo>
                <a:lnTo>
                  <a:pt x="4750" y="3245"/>
                </a:lnTo>
                <a:lnTo>
                  <a:pt x="4752" y="3228"/>
                </a:lnTo>
                <a:lnTo>
                  <a:pt x="4752" y="3221"/>
                </a:lnTo>
                <a:lnTo>
                  <a:pt x="4752" y="3214"/>
                </a:lnTo>
                <a:lnTo>
                  <a:pt x="4749" y="3207"/>
                </a:lnTo>
                <a:lnTo>
                  <a:pt x="4747" y="3201"/>
                </a:lnTo>
                <a:lnTo>
                  <a:pt x="4740" y="3188"/>
                </a:lnTo>
                <a:lnTo>
                  <a:pt x="4733" y="3177"/>
                </a:lnTo>
                <a:lnTo>
                  <a:pt x="4728" y="3173"/>
                </a:lnTo>
                <a:lnTo>
                  <a:pt x="4724" y="3168"/>
                </a:lnTo>
                <a:lnTo>
                  <a:pt x="4721" y="3165"/>
                </a:lnTo>
                <a:lnTo>
                  <a:pt x="4717" y="3163"/>
                </a:lnTo>
                <a:lnTo>
                  <a:pt x="4709" y="3161"/>
                </a:lnTo>
                <a:lnTo>
                  <a:pt x="4697" y="3157"/>
                </a:lnTo>
                <a:lnTo>
                  <a:pt x="4684" y="3153"/>
                </a:lnTo>
                <a:lnTo>
                  <a:pt x="4671" y="3149"/>
                </a:lnTo>
                <a:lnTo>
                  <a:pt x="4659" y="3142"/>
                </a:lnTo>
                <a:lnTo>
                  <a:pt x="4648" y="3134"/>
                </a:lnTo>
                <a:lnTo>
                  <a:pt x="4642" y="3131"/>
                </a:lnTo>
                <a:lnTo>
                  <a:pt x="4638" y="3129"/>
                </a:lnTo>
                <a:lnTo>
                  <a:pt x="4634" y="3127"/>
                </a:lnTo>
                <a:lnTo>
                  <a:pt x="4630" y="3126"/>
                </a:lnTo>
                <a:lnTo>
                  <a:pt x="4624" y="3126"/>
                </a:lnTo>
                <a:lnTo>
                  <a:pt x="4620" y="3127"/>
                </a:lnTo>
                <a:lnTo>
                  <a:pt x="4617" y="3129"/>
                </a:lnTo>
                <a:lnTo>
                  <a:pt x="4614" y="3131"/>
                </a:lnTo>
                <a:lnTo>
                  <a:pt x="4609" y="3133"/>
                </a:lnTo>
                <a:lnTo>
                  <a:pt x="4607" y="3133"/>
                </a:lnTo>
                <a:lnTo>
                  <a:pt x="4605" y="3131"/>
                </a:lnTo>
                <a:lnTo>
                  <a:pt x="4604" y="3129"/>
                </a:lnTo>
                <a:lnTo>
                  <a:pt x="4604" y="3124"/>
                </a:lnTo>
                <a:lnTo>
                  <a:pt x="4604" y="3118"/>
                </a:lnTo>
                <a:lnTo>
                  <a:pt x="4607" y="3102"/>
                </a:lnTo>
                <a:lnTo>
                  <a:pt x="4609" y="3088"/>
                </a:lnTo>
                <a:lnTo>
                  <a:pt x="4611" y="3074"/>
                </a:lnTo>
                <a:lnTo>
                  <a:pt x="4613" y="3061"/>
                </a:lnTo>
                <a:lnTo>
                  <a:pt x="4613" y="3055"/>
                </a:lnTo>
                <a:lnTo>
                  <a:pt x="4613" y="3050"/>
                </a:lnTo>
                <a:lnTo>
                  <a:pt x="4611" y="3045"/>
                </a:lnTo>
                <a:lnTo>
                  <a:pt x="4609" y="3041"/>
                </a:lnTo>
                <a:lnTo>
                  <a:pt x="4607" y="3037"/>
                </a:lnTo>
                <a:lnTo>
                  <a:pt x="4603" y="3033"/>
                </a:lnTo>
                <a:lnTo>
                  <a:pt x="4598" y="3030"/>
                </a:lnTo>
                <a:lnTo>
                  <a:pt x="4591" y="3025"/>
                </a:lnTo>
                <a:lnTo>
                  <a:pt x="4578" y="3018"/>
                </a:lnTo>
                <a:lnTo>
                  <a:pt x="4570" y="3011"/>
                </a:lnTo>
                <a:lnTo>
                  <a:pt x="4569" y="3008"/>
                </a:lnTo>
                <a:lnTo>
                  <a:pt x="4569" y="3006"/>
                </a:lnTo>
                <a:lnTo>
                  <a:pt x="4570" y="3005"/>
                </a:lnTo>
                <a:lnTo>
                  <a:pt x="4575" y="3004"/>
                </a:lnTo>
                <a:lnTo>
                  <a:pt x="4585" y="3004"/>
                </a:lnTo>
                <a:lnTo>
                  <a:pt x="4595" y="3003"/>
                </a:lnTo>
                <a:lnTo>
                  <a:pt x="4598" y="3001"/>
                </a:lnTo>
                <a:lnTo>
                  <a:pt x="4602" y="3000"/>
                </a:lnTo>
                <a:lnTo>
                  <a:pt x="4604" y="2997"/>
                </a:lnTo>
                <a:lnTo>
                  <a:pt x="4604" y="2993"/>
                </a:lnTo>
                <a:lnTo>
                  <a:pt x="4604" y="2980"/>
                </a:lnTo>
                <a:lnTo>
                  <a:pt x="4603" y="2964"/>
                </a:lnTo>
                <a:lnTo>
                  <a:pt x="4603" y="2957"/>
                </a:lnTo>
                <a:lnTo>
                  <a:pt x="4604" y="2949"/>
                </a:lnTo>
                <a:lnTo>
                  <a:pt x="4605" y="2943"/>
                </a:lnTo>
                <a:lnTo>
                  <a:pt x="4608" y="2937"/>
                </a:lnTo>
                <a:lnTo>
                  <a:pt x="4611" y="2932"/>
                </a:lnTo>
                <a:lnTo>
                  <a:pt x="4615" y="2930"/>
                </a:lnTo>
                <a:lnTo>
                  <a:pt x="4620" y="2928"/>
                </a:lnTo>
                <a:lnTo>
                  <a:pt x="4624" y="2928"/>
                </a:lnTo>
                <a:lnTo>
                  <a:pt x="4633" y="2926"/>
                </a:lnTo>
                <a:lnTo>
                  <a:pt x="4641" y="2926"/>
                </a:lnTo>
                <a:lnTo>
                  <a:pt x="4648" y="2925"/>
                </a:lnTo>
                <a:lnTo>
                  <a:pt x="4652" y="2924"/>
                </a:lnTo>
                <a:lnTo>
                  <a:pt x="4654" y="2919"/>
                </a:lnTo>
                <a:lnTo>
                  <a:pt x="4654" y="2912"/>
                </a:lnTo>
                <a:lnTo>
                  <a:pt x="4655" y="2904"/>
                </a:lnTo>
                <a:lnTo>
                  <a:pt x="4655" y="2896"/>
                </a:lnTo>
                <a:lnTo>
                  <a:pt x="4658" y="2888"/>
                </a:lnTo>
                <a:lnTo>
                  <a:pt x="4661" y="2882"/>
                </a:lnTo>
                <a:lnTo>
                  <a:pt x="4664" y="2880"/>
                </a:lnTo>
                <a:lnTo>
                  <a:pt x="4665" y="2875"/>
                </a:lnTo>
                <a:lnTo>
                  <a:pt x="4665" y="2872"/>
                </a:lnTo>
                <a:lnTo>
                  <a:pt x="4665" y="2867"/>
                </a:lnTo>
                <a:lnTo>
                  <a:pt x="4665" y="2862"/>
                </a:lnTo>
                <a:lnTo>
                  <a:pt x="4664" y="2859"/>
                </a:lnTo>
                <a:lnTo>
                  <a:pt x="4662" y="2855"/>
                </a:lnTo>
                <a:lnTo>
                  <a:pt x="4660" y="2853"/>
                </a:lnTo>
                <a:lnTo>
                  <a:pt x="4653" y="2850"/>
                </a:lnTo>
                <a:lnTo>
                  <a:pt x="4643" y="2848"/>
                </a:lnTo>
                <a:lnTo>
                  <a:pt x="4639" y="2847"/>
                </a:lnTo>
                <a:lnTo>
                  <a:pt x="4634" y="2844"/>
                </a:lnTo>
                <a:lnTo>
                  <a:pt x="4632" y="2842"/>
                </a:lnTo>
                <a:lnTo>
                  <a:pt x="4629" y="2839"/>
                </a:lnTo>
                <a:lnTo>
                  <a:pt x="4628" y="2834"/>
                </a:lnTo>
                <a:lnTo>
                  <a:pt x="4627" y="2830"/>
                </a:lnTo>
                <a:lnTo>
                  <a:pt x="4628" y="2825"/>
                </a:lnTo>
                <a:lnTo>
                  <a:pt x="4629" y="2821"/>
                </a:lnTo>
                <a:lnTo>
                  <a:pt x="4630" y="2817"/>
                </a:lnTo>
                <a:lnTo>
                  <a:pt x="4633" y="2816"/>
                </a:lnTo>
                <a:lnTo>
                  <a:pt x="4635" y="2816"/>
                </a:lnTo>
                <a:lnTo>
                  <a:pt x="4639" y="2818"/>
                </a:lnTo>
                <a:lnTo>
                  <a:pt x="4642" y="2821"/>
                </a:lnTo>
                <a:lnTo>
                  <a:pt x="4646" y="2822"/>
                </a:lnTo>
                <a:lnTo>
                  <a:pt x="4648" y="2823"/>
                </a:lnTo>
                <a:lnTo>
                  <a:pt x="4652" y="2822"/>
                </a:lnTo>
                <a:lnTo>
                  <a:pt x="4654" y="2821"/>
                </a:lnTo>
                <a:lnTo>
                  <a:pt x="4657" y="2818"/>
                </a:lnTo>
                <a:lnTo>
                  <a:pt x="4659" y="2814"/>
                </a:lnTo>
                <a:lnTo>
                  <a:pt x="4660" y="2809"/>
                </a:lnTo>
                <a:lnTo>
                  <a:pt x="4661" y="2804"/>
                </a:lnTo>
                <a:lnTo>
                  <a:pt x="4662" y="2798"/>
                </a:lnTo>
                <a:lnTo>
                  <a:pt x="4661" y="2792"/>
                </a:lnTo>
                <a:lnTo>
                  <a:pt x="4661" y="2787"/>
                </a:lnTo>
                <a:lnTo>
                  <a:pt x="4659" y="2777"/>
                </a:lnTo>
                <a:lnTo>
                  <a:pt x="4657" y="2767"/>
                </a:lnTo>
                <a:lnTo>
                  <a:pt x="4655" y="2762"/>
                </a:lnTo>
                <a:lnTo>
                  <a:pt x="4655" y="2760"/>
                </a:lnTo>
                <a:lnTo>
                  <a:pt x="4657" y="2758"/>
                </a:lnTo>
                <a:lnTo>
                  <a:pt x="4658" y="2755"/>
                </a:lnTo>
                <a:lnTo>
                  <a:pt x="4662" y="2754"/>
                </a:lnTo>
                <a:lnTo>
                  <a:pt x="4671" y="2755"/>
                </a:lnTo>
                <a:lnTo>
                  <a:pt x="4680" y="2756"/>
                </a:lnTo>
                <a:lnTo>
                  <a:pt x="4686" y="2756"/>
                </a:lnTo>
                <a:lnTo>
                  <a:pt x="4691" y="2756"/>
                </a:lnTo>
                <a:lnTo>
                  <a:pt x="4697" y="2753"/>
                </a:lnTo>
                <a:lnTo>
                  <a:pt x="4703" y="2747"/>
                </a:lnTo>
                <a:lnTo>
                  <a:pt x="4710" y="2743"/>
                </a:lnTo>
                <a:lnTo>
                  <a:pt x="4715" y="2742"/>
                </a:lnTo>
                <a:lnTo>
                  <a:pt x="4718" y="2742"/>
                </a:lnTo>
                <a:lnTo>
                  <a:pt x="4723" y="2743"/>
                </a:lnTo>
                <a:lnTo>
                  <a:pt x="4727" y="2747"/>
                </a:lnTo>
                <a:lnTo>
                  <a:pt x="4735" y="2753"/>
                </a:lnTo>
                <a:lnTo>
                  <a:pt x="4745" y="2758"/>
                </a:lnTo>
                <a:lnTo>
                  <a:pt x="4754" y="2761"/>
                </a:lnTo>
                <a:lnTo>
                  <a:pt x="4766" y="2762"/>
                </a:lnTo>
                <a:lnTo>
                  <a:pt x="4774" y="2762"/>
                </a:lnTo>
                <a:lnTo>
                  <a:pt x="4783" y="2762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39" name="四川"/>
          <p:cNvSpPr/>
          <p:nvPr/>
        </p:nvSpPr>
        <p:spPr bwMode="auto">
          <a:xfrm>
            <a:off x="4376420" y="3677920"/>
            <a:ext cx="1649095" cy="1530350"/>
          </a:xfrm>
          <a:custGeom>
            <a:avLst/>
            <a:gdLst>
              <a:gd name="T0" fmla="*/ 3666 w 4006"/>
              <a:gd name="T1" fmla="*/ 1742 h 3723"/>
              <a:gd name="T2" fmla="*/ 3823 w 4006"/>
              <a:gd name="T3" fmla="*/ 1601 h 3723"/>
              <a:gd name="T4" fmla="*/ 3955 w 4006"/>
              <a:gd name="T5" fmla="*/ 1338 h 3723"/>
              <a:gd name="T6" fmla="*/ 3994 w 4006"/>
              <a:gd name="T7" fmla="*/ 1152 h 3723"/>
              <a:gd name="T8" fmla="*/ 3670 w 4006"/>
              <a:gd name="T9" fmla="*/ 1062 h 3723"/>
              <a:gd name="T10" fmla="*/ 3471 w 4006"/>
              <a:gd name="T11" fmla="*/ 1017 h 3723"/>
              <a:gd name="T12" fmla="*/ 3203 w 4006"/>
              <a:gd name="T13" fmla="*/ 929 h 3723"/>
              <a:gd name="T14" fmla="*/ 3003 w 4006"/>
              <a:gd name="T15" fmla="*/ 892 h 3723"/>
              <a:gd name="T16" fmla="*/ 2846 w 4006"/>
              <a:gd name="T17" fmla="*/ 922 h 3723"/>
              <a:gd name="T18" fmla="*/ 2611 w 4006"/>
              <a:gd name="T19" fmla="*/ 912 h 3723"/>
              <a:gd name="T20" fmla="*/ 2522 w 4006"/>
              <a:gd name="T21" fmla="*/ 721 h 3723"/>
              <a:gd name="T22" fmla="*/ 2442 w 4006"/>
              <a:gd name="T23" fmla="*/ 463 h 3723"/>
              <a:gd name="T24" fmla="*/ 2206 w 4006"/>
              <a:gd name="T25" fmla="*/ 399 h 3723"/>
              <a:gd name="T26" fmla="*/ 2064 w 4006"/>
              <a:gd name="T27" fmla="*/ 192 h 3723"/>
              <a:gd name="T28" fmla="*/ 1864 w 4006"/>
              <a:gd name="T29" fmla="*/ 238 h 3723"/>
              <a:gd name="T30" fmla="*/ 1815 w 4006"/>
              <a:gd name="T31" fmla="*/ 430 h 3723"/>
              <a:gd name="T32" fmla="*/ 1712 w 4006"/>
              <a:gd name="T33" fmla="*/ 569 h 3723"/>
              <a:gd name="T34" fmla="*/ 1667 w 4006"/>
              <a:gd name="T35" fmla="*/ 495 h 3723"/>
              <a:gd name="T36" fmla="*/ 1565 w 4006"/>
              <a:gd name="T37" fmla="*/ 556 h 3723"/>
              <a:gd name="T38" fmla="*/ 1396 w 4006"/>
              <a:gd name="T39" fmla="*/ 590 h 3723"/>
              <a:gd name="T40" fmla="*/ 1269 w 4006"/>
              <a:gd name="T41" fmla="*/ 824 h 3723"/>
              <a:gd name="T42" fmla="*/ 1097 w 4006"/>
              <a:gd name="T43" fmla="*/ 880 h 3723"/>
              <a:gd name="T44" fmla="*/ 995 w 4006"/>
              <a:gd name="T45" fmla="*/ 800 h 3723"/>
              <a:gd name="T46" fmla="*/ 904 w 4006"/>
              <a:gd name="T47" fmla="*/ 630 h 3723"/>
              <a:gd name="T48" fmla="*/ 677 w 4006"/>
              <a:gd name="T49" fmla="*/ 592 h 3723"/>
              <a:gd name="T50" fmla="*/ 508 w 4006"/>
              <a:gd name="T51" fmla="*/ 306 h 3723"/>
              <a:gd name="T52" fmla="*/ 310 w 4006"/>
              <a:gd name="T53" fmla="*/ 43 h 3723"/>
              <a:gd name="T54" fmla="*/ 145 w 4006"/>
              <a:gd name="T55" fmla="*/ 131 h 3723"/>
              <a:gd name="T56" fmla="*/ 120 w 4006"/>
              <a:gd name="T57" fmla="*/ 326 h 3723"/>
              <a:gd name="T58" fmla="*/ 79 w 4006"/>
              <a:gd name="T59" fmla="*/ 523 h 3723"/>
              <a:gd name="T60" fmla="*/ 213 w 4006"/>
              <a:gd name="T61" fmla="*/ 791 h 3723"/>
              <a:gd name="T62" fmla="*/ 373 w 4006"/>
              <a:gd name="T63" fmla="*/ 1130 h 3723"/>
              <a:gd name="T64" fmla="*/ 400 w 4006"/>
              <a:gd name="T65" fmla="*/ 1380 h 3723"/>
              <a:gd name="T66" fmla="*/ 471 w 4006"/>
              <a:gd name="T67" fmla="*/ 1697 h 3723"/>
              <a:gd name="T68" fmla="*/ 461 w 4006"/>
              <a:gd name="T69" fmla="*/ 2216 h 3723"/>
              <a:gd name="T70" fmla="*/ 490 w 4006"/>
              <a:gd name="T71" fmla="*/ 2674 h 3723"/>
              <a:gd name="T72" fmla="*/ 605 w 4006"/>
              <a:gd name="T73" fmla="*/ 2482 h 3723"/>
              <a:gd name="T74" fmla="*/ 759 w 4006"/>
              <a:gd name="T75" fmla="*/ 2583 h 3723"/>
              <a:gd name="T76" fmla="*/ 804 w 4006"/>
              <a:gd name="T77" fmla="*/ 2832 h 3723"/>
              <a:gd name="T78" fmla="*/ 914 w 4006"/>
              <a:gd name="T79" fmla="*/ 2880 h 3723"/>
              <a:gd name="T80" fmla="*/ 1075 w 4006"/>
              <a:gd name="T81" fmla="*/ 3085 h 3723"/>
              <a:gd name="T82" fmla="*/ 1182 w 4006"/>
              <a:gd name="T83" fmla="*/ 3336 h 3723"/>
              <a:gd name="T84" fmla="*/ 1221 w 4006"/>
              <a:gd name="T85" fmla="*/ 3479 h 3723"/>
              <a:gd name="T86" fmla="*/ 1314 w 4006"/>
              <a:gd name="T87" fmla="*/ 3648 h 3723"/>
              <a:gd name="T88" fmla="*/ 1579 w 4006"/>
              <a:gd name="T89" fmla="*/ 3648 h 3723"/>
              <a:gd name="T90" fmla="*/ 1814 w 4006"/>
              <a:gd name="T91" fmla="*/ 3629 h 3723"/>
              <a:gd name="T92" fmla="*/ 1804 w 4006"/>
              <a:gd name="T93" fmla="*/ 3357 h 3723"/>
              <a:gd name="T94" fmla="*/ 1953 w 4006"/>
              <a:gd name="T95" fmla="*/ 3099 h 3723"/>
              <a:gd name="T96" fmla="*/ 2164 w 4006"/>
              <a:gd name="T97" fmla="*/ 2835 h 3723"/>
              <a:gd name="T98" fmla="*/ 2340 w 4006"/>
              <a:gd name="T99" fmla="*/ 2664 h 3723"/>
              <a:gd name="T100" fmla="*/ 2399 w 4006"/>
              <a:gd name="T101" fmla="*/ 2794 h 3723"/>
              <a:gd name="T102" fmla="*/ 2444 w 4006"/>
              <a:gd name="T103" fmla="*/ 2992 h 3723"/>
              <a:gd name="T104" fmla="*/ 2714 w 4006"/>
              <a:gd name="T105" fmla="*/ 2961 h 3723"/>
              <a:gd name="T106" fmla="*/ 2820 w 4006"/>
              <a:gd name="T107" fmla="*/ 3062 h 3723"/>
              <a:gd name="T108" fmla="*/ 3140 w 4006"/>
              <a:gd name="T109" fmla="*/ 3063 h 3723"/>
              <a:gd name="T110" fmla="*/ 2965 w 4006"/>
              <a:gd name="T111" fmla="*/ 2892 h 3723"/>
              <a:gd name="T112" fmla="*/ 2959 w 4006"/>
              <a:gd name="T113" fmla="*/ 2708 h 3723"/>
              <a:gd name="T114" fmla="*/ 3169 w 4006"/>
              <a:gd name="T115" fmla="*/ 2771 h 3723"/>
              <a:gd name="T116" fmla="*/ 2979 w 4006"/>
              <a:gd name="T117" fmla="*/ 2527 h 3723"/>
              <a:gd name="T118" fmla="*/ 2841 w 4006"/>
              <a:gd name="T119" fmla="*/ 2302 h 3723"/>
              <a:gd name="T120" fmla="*/ 2898 w 4006"/>
              <a:gd name="T121" fmla="*/ 2039 h 3723"/>
              <a:gd name="T122" fmla="*/ 3080 w 4006"/>
              <a:gd name="T123" fmla="*/ 1935 h 3723"/>
              <a:gd name="T124" fmla="*/ 3371 w 4006"/>
              <a:gd name="T125" fmla="*/ 2085 h 3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006" h="3723">
                <a:moveTo>
                  <a:pt x="3509" y="1987"/>
                </a:moveTo>
                <a:lnTo>
                  <a:pt x="3516" y="1975"/>
                </a:lnTo>
                <a:lnTo>
                  <a:pt x="3525" y="1965"/>
                </a:lnTo>
                <a:lnTo>
                  <a:pt x="3532" y="1954"/>
                </a:lnTo>
                <a:lnTo>
                  <a:pt x="3540" y="1943"/>
                </a:lnTo>
                <a:lnTo>
                  <a:pt x="3549" y="1928"/>
                </a:lnTo>
                <a:lnTo>
                  <a:pt x="3557" y="1914"/>
                </a:lnTo>
                <a:lnTo>
                  <a:pt x="3568" y="1900"/>
                </a:lnTo>
                <a:lnTo>
                  <a:pt x="3582" y="1882"/>
                </a:lnTo>
                <a:lnTo>
                  <a:pt x="3589" y="1872"/>
                </a:lnTo>
                <a:lnTo>
                  <a:pt x="3595" y="1863"/>
                </a:lnTo>
                <a:lnTo>
                  <a:pt x="3601" y="1853"/>
                </a:lnTo>
                <a:lnTo>
                  <a:pt x="3603" y="1845"/>
                </a:lnTo>
                <a:lnTo>
                  <a:pt x="3604" y="1838"/>
                </a:lnTo>
                <a:lnTo>
                  <a:pt x="3602" y="1832"/>
                </a:lnTo>
                <a:lnTo>
                  <a:pt x="3600" y="1826"/>
                </a:lnTo>
                <a:lnTo>
                  <a:pt x="3596" y="1820"/>
                </a:lnTo>
                <a:lnTo>
                  <a:pt x="3593" y="1815"/>
                </a:lnTo>
                <a:lnTo>
                  <a:pt x="3590" y="1809"/>
                </a:lnTo>
                <a:lnTo>
                  <a:pt x="3588" y="1805"/>
                </a:lnTo>
                <a:lnTo>
                  <a:pt x="3587" y="1799"/>
                </a:lnTo>
                <a:lnTo>
                  <a:pt x="3587" y="1796"/>
                </a:lnTo>
                <a:lnTo>
                  <a:pt x="3588" y="1794"/>
                </a:lnTo>
                <a:lnTo>
                  <a:pt x="3588" y="1790"/>
                </a:lnTo>
                <a:lnTo>
                  <a:pt x="3590" y="1788"/>
                </a:lnTo>
                <a:lnTo>
                  <a:pt x="3593" y="1787"/>
                </a:lnTo>
                <a:lnTo>
                  <a:pt x="3595" y="1786"/>
                </a:lnTo>
                <a:lnTo>
                  <a:pt x="3600" y="1782"/>
                </a:lnTo>
                <a:lnTo>
                  <a:pt x="3602" y="1777"/>
                </a:lnTo>
                <a:lnTo>
                  <a:pt x="3602" y="1762"/>
                </a:lnTo>
                <a:lnTo>
                  <a:pt x="3601" y="1745"/>
                </a:lnTo>
                <a:lnTo>
                  <a:pt x="3601" y="1743"/>
                </a:lnTo>
                <a:lnTo>
                  <a:pt x="3601" y="1741"/>
                </a:lnTo>
                <a:lnTo>
                  <a:pt x="3601" y="1738"/>
                </a:lnTo>
                <a:lnTo>
                  <a:pt x="3602" y="1735"/>
                </a:lnTo>
                <a:lnTo>
                  <a:pt x="3604" y="1731"/>
                </a:lnTo>
                <a:lnTo>
                  <a:pt x="3608" y="1730"/>
                </a:lnTo>
                <a:lnTo>
                  <a:pt x="3610" y="1729"/>
                </a:lnTo>
                <a:lnTo>
                  <a:pt x="3614" y="1729"/>
                </a:lnTo>
                <a:lnTo>
                  <a:pt x="3626" y="1736"/>
                </a:lnTo>
                <a:lnTo>
                  <a:pt x="3639" y="1745"/>
                </a:lnTo>
                <a:lnTo>
                  <a:pt x="3643" y="1748"/>
                </a:lnTo>
                <a:lnTo>
                  <a:pt x="3648" y="1751"/>
                </a:lnTo>
                <a:lnTo>
                  <a:pt x="3653" y="1751"/>
                </a:lnTo>
                <a:lnTo>
                  <a:pt x="3657" y="1750"/>
                </a:lnTo>
                <a:lnTo>
                  <a:pt x="3666" y="1742"/>
                </a:lnTo>
                <a:lnTo>
                  <a:pt x="3675" y="1732"/>
                </a:lnTo>
                <a:lnTo>
                  <a:pt x="3677" y="1731"/>
                </a:lnTo>
                <a:lnTo>
                  <a:pt x="3679" y="1731"/>
                </a:lnTo>
                <a:lnTo>
                  <a:pt x="3682" y="1732"/>
                </a:lnTo>
                <a:lnTo>
                  <a:pt x="3683" y="1735"/>
                </a:lnTo>
                <a:lnTo>
                  <a:pt x="3685" y="1739"/>
                </a:lnTo>
                <a:lnTo>
                  <a:pt x="3686" y="1746"/>
                </a:lnTo>
                <a:lnTo>
                  <a:pt x="3688" y="1751"/>
                </a:lnTo>
                <a:lnTo>
                  <a:pt x="3690" y="1756"/>
                </a:lnTo>
                <a:lnTo>
                  <a:pt x="3692" y="1760"/>
                </a:lnTo>
                <a:lnTo>
                  <a:pt x="3695" y="1763"/>
                </a:lnTo>
                <a:lnTo>
                  <a:pt x="3700" y="1765"/>
                </a:lnTo>
                <a:lnTo>
                  <a:pt x="3704" y="1769"/>
                </a:lnTo>
                <a:lnTo>
                  <a:pt x="3709" y="1770"/>
                </a:lnTo>
                <a:lnTo>
                  <a:pt x="3714" y="1771"/>
                </a:lnTo>
                <a:lnTo>
                  <a:pt x="3720" y="1771"/>
                </a:lnTo>
                <a:lnTo>
                  <a:pt x="3725" y="1771"/>
                </a:lnTo>
                <a:lnTo>
                  <a:pt x="3729" y="1770"/>
                </a:lnTo>
                <a:lnTo>
                  <a:pt x="3734" y="1768"/>
                </a:lnTo>
                <a:lnTo>
                  <a:pt x="3738" y="1765"/>
                </a:lnTo>
                <a:lnTo>
                  <a:pt x="3741" y="1761"/>
                </a:lnTo>
                <a:lnTo>
                  <a:pt x="3742" y="1755"/>
                </a:lnTo>
                <a:lnTo>
                  <a:pt x="3744" y="1749"/>
                </a:lnTo>
                <a:lnTo>
                  <a:pt x="3745" y="1743"/>
                </a:lnTo>
                <a:lnTo>
                  <a:pt x="3745" y="1737"/>
                </a:lnTo>
                <a:lnTo>
                  <a:pt x="3746" y="1729"/>
                </a:lnTo>
                <a:lnTo>
                  <a:pt x="3748" y="1720"/>
                </a:lnTo>
                <a:lnTo>
                  <a:pt x="3753" y="1713"/>
                </a:lnTo>
                <a:lnTo>
                  <a:pt x="3757" y="1707"/>
                </a:lnTo>
                <a:lnTo>
                  <a:pt x="3761" y="1701"/>
                </a:lnTo>
                <a:lnTo>
                  <a:pt x="3765" y="1699"/>
                </a:lnTo>
                <a:lnTo>
                  <a:pt x="3777" y="1692"/>
                </a:lnTo>
                <a:lnTo>
                  <a:pt x="3788" y="1683"/>
                </a:lnTo>
                <a:lnTo>
                  <a:pt x="3791" y="1679"/>
                </a:lnTo>
                <a:lnTo>
                  <a:pt x="3795" y="1675"/>
                </a:lnTo>
                <a:lnTo>
                  <a:pt x="3797" y="1670"/>
                </a:lnTo>
                <a:lnTo>
                  <a:pt x="3799" y="1666"/>
                </a:lnTo>
                <a:lnTo>
                  <a:pt x="3796" y="1651"/>
                </a:lnTo>
                <a:lnTo>
                  <a:pt x="3793" y="1637"/>
                </a:lnTo>
                <a:lnTo>
                  <a:pt x="3796" y="1632"/>
                </a:lnTo>
                <a:lnTo>
                  <a:pt x="3801" y="1628"/>
                </a:lnTo>
                <a:lnTo>
                  <a:pt x="3807" y="1624"/>
                </a:lnTo>
                <a:lnTo>
                  <a:pt x="3812" y="1619"/>
                </a:lnTo>
                <a:lnTo>
                  <a:pt x="3820" y="1612"/>
                </a:lnTo>
                <a:lnTo>
                  <a:pt x="3823" y="1606"/>
                </a:lnTo>
                <a:lnTo>
                  <a:pt x="3823" y="1601"/>
                </a:lnTo>
                <a:lnTo>
                  <a:pt x="3821" y="1598"/>
                </a:lnTo>
                <a:lnTo>
                  <a:pt x="3818" y="1593"/>
                </a:lnTo>
                <a:lnTo>
                  <a:pt x="3816" y="1590"/>
                </a:lnTo>
                <a:lnTo>
                  <a:pt x="3815" y="1586"/>
                </a:lnTo>
                <a:lnTo>
                  <a:pt x="3815" y="1581"/>
                </a:lnTo>
                <a:lnTo>
                  <a:pt x="3817" y="1578"/>
                </a:lnTo>
                <a:lnTo>
                  <a:pt x="3818" y="1575"/>
                </a:lnTo>
                <a:lnTo>
                  <a:pt x="3834" y="1560"/>
                </a:lnTo>
                <a:lnTo>
                  <a:pt x="3847" y="1544"/>
                </a:lnTo>
                <a:lnTo>
                  <a:pt x="3853" y="1535"/>
                </a:lnTo>
                <a:lnTo>
                  <a:pt x="3859" y="1525"/>
                </a:lnTo>
                <a:lnTo>
                  <a:pt x="3866" y="1511"/>
                </a:lnTo>
                <a:lnTo>
                  <a:pt x="3871" y="1494"/>
                </a:lnTo>
                <a:lnTo>
                  <a:pt x="3873" y="1490"/>
                </a:lnTo>
                <a:lnTo>
                  <a:pt x="3875" y="1485"/>
                </a:lnTo>
                <a:lnTo>
                  <a:pt x="3879" y="1480"/>
                </a:lnTo>
                <a:lnTo>
                  <a:pt x="3883" y="1475"/>
                </a:lnTo>
                <a:lnTo>
                  <a:pt x="3891" y="1468"/>
                </a:lnTo>
                <a:lnTo>
                  <a:pt x="3900" y="1459"/>
                </a:lnTo>
                <a:lnTo>
                  <a:pt x="3909" y="1443"/>
                </a:lnTo>
                <a:lnTo>
                  <a:pt x="3918" y="1428"/>
                </a:lnTo>
                <a:lnTo>
                  <a:pt x="3924" y="1423"/>
                </a:lnTo>
                <a:lnTo>
                  <a:pt x="3933" y="1420"/>
                </a:lnTo>
                <a:lnTo>
                  <a:pt x="3942" y="1416"/>
                </a:lnTo>
                <a:lnTo>
                  <a:pt x="3953" y="1412"/>
                </a:lnTo>
                <a:lnTo>
                  <a:pt x="3963" y="1409"/>
                </a:lnTo>
                <a:lnTo>
                  <a:pt x="3973" y="1405"/>
                </a:lnTo>
                <a:lnTo>
                  <a:pt x="3980" y="1401"/>
                </a:lnTo>
                <a:lnTo>
                  <a:pt x="3985" y="1395"/>
                </a:lnTo>
                <a:lnTo>
                  <a:pt x="3988" y="1390"/>
                </a:lnTo>
                <a:lnTo>
                  <a:pt x="3991" y="1382"/>
                </a:lnTo>
                <a:lnTo>
                  <a:pt x="3992" y="1373"/>
                </a:lnTo>
                <a:lnTo>
                  <a:pt x="3993" y="1365"/>
                </a:lnTo>
                <a:lnTo>
                  <a:pt x="3994" y="1357"/>
                </a:lnTo>
                <a:lnTo>
                  <a:pt x="3994" y="1351"/>
                </a:lnTo>
                <a:lnTo>
                  <a:pt x="3992" y="1349"/>
                </a:lnTo>
                <a:lnTo>
                  <a:pt x="3990" y="1348"/>
                </a:lnTo>
                <a:lnTo>
                  <a:pt x="3987" y="1348"/>
                </a:lnTo>
                <a:lnTo>
                  <a:pt x="3985" y="1348"/>
                </a:lnTo>
                <a:lnTo>
                  <a:pt x="3979" y="1349"/>
                </a:lnTo>
                <a:lnTo>
                  <a:pt x="3973" y="1351"/>
                </a:lnTo>
                <a:lnTo>
                  <a:pt x="3968" y="1351"/>
                </a:lnTo>
                <a:lnTo>
                  <a:pt x="3965" y="1351"/>
                </a:lnTo>
                <a:lnTo>
                  <a:pt x="3962" y="1349"/>
                </a:lnTo>
                <a:lnTo>
                  <a:pt x="3961" y="1348"/>
                </a:lnTo>
                <a:lnTo>
                  <a:pt x="3955" y="1338"/>
                </a:lnTo>
                <a:lnTo>
                  <a:pt x="3949" y="1329"/>
                </a:lnTo>
                <a:lnTo>
                  <a:pt x="3941" y="1321"/>
                </a:lnTo>
                <a:lnTo>
                  <a:pt x="3930" y="1313"/>
                </a:lnTo>
                <a:lnTo>
                  <a:pt x="3922" y="1304"/>
                </a:lnTo>
                <a:lnTo>
                  <a:pt x="3911" y="1297"/>
                </a:lnTo>
                <a:lnTo>
                  <a:pt x="3902" y="1290"/>
                </a:lnTo>
                <a:lnTo>
                  <a:pt x="3895" y="1282"/>
                </a:lnTo>
                <a:lnTo>
                  <a:pt x="3890" y="1275"/>
                </a:lnTo>
                <a:lnTo>
                  <a:pt x="3887" y="1266"/>
                </a:lnTo>
                <a:lnTo>
                  <a:pt x="3887" y="1260"/>
                </a:lnTo>
                <a:lnTo>
                  <a:pt x="3887" y="1254"/>
                </a:lnTo>
                <a:lnTo>
                  <a:pt x="3889" y="1251"/>
                </a:lnTo>
                <a:lnTo>
                  <a:pt x="3892" y="1243"/>
                </a:lnTo>
                <a:lnTo>
                  <a:pt x="3897" y="1237"/>
                </a:lnTo>
                <a:lnTo>
                  <a:pt x="3900" y="1232"/>
                </a:lnTo>
                <a:lnTo>
                  <a:pt x="3904" y="1228"/>
                </a:lnTo>
                <a:lnTo>
                  <a:pt x="3910" y="1223"/>
                </a:lnTo>
                <a:lnTo>
                  <a:pt x="3914" y="1223"/>
                </a:lnTo>
                <a:lnTo>
                  <a:pt x="3918" y="1222"/>
                </a:lnTo>
                <a:lnTo>
                  <a:pt x="3924" y="1222"/>
                </a:lnTo>
                <a:lnTo>
                  <a:pt x="3930" y="1222"/>
                </a:lnTo>
                <a:lnTo>
                  <a:pt x="3934" y="1221"/>
                </a:lnTo>
                <a:lnTo>
                  <a:pt x="3937" y="1221"/>
                </a:lnTo>
                <a:lnTo>
                  <a:pt x="3943" y="1219"/>
                </a:lnTo>
                <a:lnTo>
                  <a:pt x="3949" y="1215"/>
                </a:lnTo>
                <a:lnTo>
                  <a:pt x="3954" y="1210"/>
                </a:lnTo>
                <a:lnTo>
                  <a:pt x="3958" y="1207"/>
                </a:lnTo>
                <a:lnTo>
                  <a:pt x="3961" y="1203"/>
                </a:lnTo>
                <a:lnTo>
                  <a:pt x="3963" y="1200"/>
                </a:lnTo>
                <a:lnTo>
                  <a:pt x="3967" y="1195"/>
                </a:lnTo>
                <a:lnTo>
                  <a:pt x="3968" y="1190"/>
                </a:lnTo>
                <a:lnTo>
                  <a:pt x="3968" y="1182"/>
                </a:lnTo>
                <a:lnTo>
                  <a:pt x="3968" y="1175"/>
                </a:lnTo>
                <a:lnTo>
                  <a:pt x="3968" y="1174"/>
                </a:lnTo>
                <a:lnTo>
                  <a:pt x="3969" y="1171"/>
                </a:lnTo>
                <a:lnTo>
                  <a:pt x="3972" y="1170"/>
                </a:lnTo>
                <a:lnTo>
                  <a:pt x="3975" y="1170"/>
                </a:lnTo>
                <a:lnTo>
                  <a:pt x="3985" y="1171"/>
                </a:lnTo>
                <a:lnTo>
                  <a:pt x="3998" y="1175"/>
                </a:lnTo>
                <a:lnTo>
                  <a:pt x="4004" y="1176"/>
                </a:lnTo>
                <a:lnTo>
                  <a:pt x="4006" y="1177"/>
                </a:lnTo>
                <a:lnTo>
                  <a:pt x="4006" y="1175"/>
                </a:lnTo>
                <a:lnTo>
                  <a:pt x="4006" y="1172"/>
                </a:lnTo>
                <a:lnTo>
                  <a:pt x="4004" y="1166"/>
                </a:lnTo>
                <a:lnTo>
                  <a:pt x="4000" y="1160"/>
                </a:lnTo>
                <a:lnTo>
                  <a:pt x="3994" y="1152"/>
                </a:lnTo>
                <a:lnTo>
                  <a:pt x="3987" y="1145"/>
                </a:lnTo>
                <a:lnTo>
                  <a:pt x="3979" y="1138"/>
                </a:lnTo>
                <a:lnTo>
                  <a:pt x="3973" y="1134"/>
                </a:lnTo>
                <a:lnTo>
                  <a:pt x="3966" y="1132"/>
                </a:lnTo>
                <a:lnTo>
                  <a:pt x="3956" y="1132"/>
                </a:lnTo>
                <a:lnTo>
                  <a:pt x="3942" y="1136"/>
                </a:lnTo>
                <a:lnTo>
                  <a:pt x="3930" y="1137"/>
                </a:lnTo>
                <a:lnTo>
                  <a:pt x="3919" y="1131"/>
                </a:lnTo>
                <a:lnTo>
                  <a:pt x="3909" y="1127"/>
                </a:lnTo>
                <a:lnTo>
                  <a:pt x="3897" y="1131"/>
                </a:lnTo>
                <a:lnTo>
                  <a:pt x="3886" y="1137"/>
                </a:lnTo>
                <a:lnTo>
                  <a:pt x="3875" y="1143"/>
                </a:lnTo>
                <a:lnTo>
                  <a:pt x="3865" y="1146"/>
                </a:lnTo>
                <a:lnTo>
                  <a:pt x="3854" y="1146"/>
                </a:lnTo>
                <a:lnTo>
                  <a:pt x="3840" y="1145"/>
                </a:lnTo>
                <a:lnTo>
                  <a:pt x="3832" y="1145"/>
                </a:lnTo>
                <a:lnTo>
                  <a:pt x="3824" y="1145"/>
                </a:lnTo>
                <a:lnTo>
                  <a:pt x="3818" y="1146"/>
                </a:lnTo>
                <a:lnTo>
                  <a:pt x="3812" y="1150"/>
                </a:lnTo>
                <a:lnTo>
                  <a:pt x="3809" y="1153"/>
                </a:lnTo>
                <a:lnTo>
                  <a:pt x="3807" y="1159"/>
                </a:lnTo>
                <a:lnTo>
                  <a:pt x="3805" y="1164"/>
                </a:lnTo>
                <a:lnTo>
                  <a:pt x="3804" y="1170"/>
                </a:lnTo>
                <a:lnTo>
                  <a:pt x="3802" y="1176"/>
                </a:lnTo>
                <a:lnTo>
                  <a:pt x="3798" y="1181"/>
                </a:lnTo>
                <a:lnTo>
                  <a:pt x="3797" y="1182"/>
                </a:lnTo>
                <a:lnTo>
                  <a:pt x="3795" y="1181"/>
                </a:lnTo>
                <a:lnTo>
                  <a:pt x="3792" y="1180"/>
                </a:lnTo>
                <a:lnTo>
                  <a:pt x="3789" y="1178"/>
                </a:lnTo>
                <a:lnTo>
                  <a:pt x="3778" y="1171"/>
                </a:lnTo>
                <a:lnTo>
                  <a:pt x="3766" y="1163"/>
                </a:lnTo>
                <a:lnTo>
                  <a:pt x="3755" y="1153"/>
                </a:lnTo>
                <a:lnTo>
                  <a:pt x="3744" y="1143"/>
                </a:lnTo>
                <a:lnTo>
                  <a:pt x="3735" y="1133"/>
                </a:lnTo>
                <a:lnTo>
                  <a:pt x="3726" y="1121"/>
                </a:lnTo>
                <a:lnTo>
                  <a:pt x="3722" y="1117"/>
                </a:lnTo>
                <a:lnTo>
                  <a:pt x="3715" y="1108"/>
                </a:lnTo>
                <a:lnTo>
                  <a:pt x="3704" y="1098"/>
                </a:lnTo>
                <a:lnTo>
                  <a:pt x="3696" y="1087"/>
                </a:lnTo>
                <a:lnTo>
                  <a:pt x="3692" y="1080"/>
                </a:lnTo>
                <a:lnTo>
                  <a:pt x="3690" y="1073"/>
                </a:lnTo>
                <a:lnTo>
                  <a:pt x="3688" y="1070"/>
                </a:lnTo>
                <a:lnTo>
                  <a:pt x="3685" y="1067"/>
                </a:lnTo>
                <a:lnTo>
                  <a:pt x="3683" y="1064"/>
                </a:lnTo>
                <a:lnTo>
                  <a:pt x="3681" y="1063"/>
                </a:lnTo>
                <a:lnTo>
                  <a:pt x="3670" y="1062"/>
                </a:lnTo>
                <a:lnTo>
                  <a:pt x="3658" y="1063"/>
                </a:lnTo>
                <a:lnTo>
                  <a:pt x="3646" y="1065"/>
                </a:lnTo>
                <a:lnTo>
                  <a:pt x="3634" y="1068"/>
                </a:lnTo>
                <a:lnTo>
                  <a:pt x="3626" y="1068"/>
                </a:lnTo>
                <a:lnTo>
                  <a:pt x="3619" y="1068"/>
                </a:lnTo>
                <a:lnTo>
                  <a:pt x="3612" y="1065"/>
                </a:lnTo>
                <a:lnTo>
                  <a:pt x="3604" y="1063"/>
                </a:lnTo>
                <a:lnTo>
                  <a:pt x="3603" y="1062"/>
                </a:lnTo>
                <a:lnTo>
                  <a:pt x="3601" y="1059"/>
                </a:lnTo>
                <a:lnTo>
                  <a:pt x="3599" y="1056"/>
                </a:lnTo>
                <a:lnTo>
                  <a:pt x="3596" y="1051"/>
                </a:lnTo>
                <a:lnTo>
                  <a:pt x="3597" y="1042"/>
                </a:lnTo>
                <a:lnTo>
                  <a:pt x="3600" y="1030"/>
                </a:lnTo>
                <a:lnTo>
                  <a:pt x="3602" y="1019"/>
                </a:lnTo>
                <a:lnTo>
                  <a:pt x="3603" y="1010"/>
                </a:lnTo>
                <a:lnTo>
                  <a:pt x="3602" y="1008"/>
                </a:lnTo>
                <a:lnTo>
                  <a:pt x="3601" y="1007"/>
                </a:lnTo>
                <a:lnTo>
                  <a:pt x="3599" y="1006"/>
                </a:lnTo>
                <a:lnTo>
                  <a:pt x="3597" y="1006"/>
                </a:lnTo>
                <a:lnTo>
                  <a:pt x="3593" y="1006"/>
                </a:lnTo>
                <a:lnTo>
                  <a:pt x="3589" y="1006"/>
                </a:lnTo>
                <a:lnTo>
                  <a:pt x="3584" y="1007"/>
                </a:lnTo>
                <a:lnTo>
                  <a:pt x="3577" y="1010"/>
                </a:lnTo>
                <a:lnTo>
                  <a:pt x="3570" y="1014"/>
                </a:lnTo>
                <a:lnTo>
                  <a:pt x="3563" y="1020"/>
                </a:lnTo>
                <a:lnTo>
                  <a:pt x="3555" y="1031"/>
                </a:lnTo>
                <a:lnTo>
                  <a:pt x="3549" y="1043"/>
                </a:lnTo>
                <a:lnTo>
                  <a:pt x="3541" y="1049"/>
                </a:lnTo>
                <a:lnTo>
                  <a:pt x="3538" y="1052"/>
                </a:lnTo>
                <a:lnTo>
                  <a:pt x="3530" y="1055"/>
                </a:lnTo>
                <a:lnTo>
                  <a:pt x="3524" y="1055"/>
                </a:lnTo>
                <a:lnTo>
                  <a:pt x="3520" y="1055"/>
                </a:lnTo>
                <a:lnTo>
                  <a:pt x="3512" y="1055"/>
                </a:lnTo>
                <a:lnTo>
                  <a:pt x="3507" y="1054"/>
                </a:lnTo>
                <a:lnTo>
                  <a:pt x="3503" y="1050"/>
                </a:lnTo>
                <a:lnTo>
                  <a:pt x="3501" y="1045"/>
                </a:lnTo>
                <a:lnTo>
                  <a:pt x="3500" y="1039"/>
                </a:lnTo>
                <a:lnTo>
                  <a:pt x="3500" y="1036"/>
                </a:lnTo>
                <a:lnTo>
                  <a:pt x="3499" y="1033"/>
                </a:lnTo>
                <a:lnTo>
                  <a:pt x="3496" y="1031"/>
                </a:lnTo>
                <a:lnTo>
                  <a:pt x="3495" y="1030"/>
                </a:lnTo>
                <a:lnTo>
                  <a:pt x="3490" y="1027"/>
                </a:lnTo>
                <a:lnTo>
                  <a:pt x="3486" y="1026"/>
                </a:lnTo>
                <a:lnTo>
                  <a:pt x="3481" y="1024"/>
                </a:lnTo>
                <a:lnTo>
                  <a:pt x="3476" y="1021"/>
                </a:lnTo>
                <a:lnTo>
                  <a:pt x="3471" y="1017"/>
                </a:lnTo>
                <a:lnTo>
                  <a:pt x="3469" y="1012"/>
                </a:lnTo>
                <a:lnTo>
                  <a:pt x="3469" y="1011"/>
                </a:lnTo>
                <a:lnTo>
                  <a:pt x="3469" y="1010"/>
                </a:lnTo>
                <a:lnTo>
                  <a:pt x="3470" y="996"/>
                </a:lnTo>
                <a:lnTo>
                  <a:pt x="3473" y="976"/>
                </a:lnTo>
                <a:lnTo>
                  <a:pt x="3474" y="963"/>
                </a:lnTo>
                <a:lnTo>
                  <a:pt x="3473" y="951"/>
                </a:lnTo>
                <a:lnTo>
                  <a:pt x="3471" y="945"/>
                </a:lnTo>
                <a:lnTo>
                  <a:pt x="3469" y="941"/>
                </a:lnTo>
                <a:lnTo>
                  <a:pt x="3467" y="937"/>
                </a:lnTo>
                <a:lnTo>
                  <a:pt x="3463" y="933"/>
                </a:lnTo>
                <a:lnTo>
                  <a:pt x="3453" y="929"/>
                </a:lnTo>
                <a:lnTo>
                  <a:pt x="3439" y="925"/>
                </a:lnTo>
                <a:lnTo>
                  <a:pt x="3423" y="923"/>
                </a:lnTo>
                <a:lnTo>
                  <a:pt x="3405" y="923"/>
                </a:lnTo>
                <a:lnTo>
                  <a:pt x="3396" y="922"/>
                </a:lnTo>
                <a:lnTo>
                  <a:pt x="3389" y="923"/>
                </a:lnTo>
                <a:lnTo>
                  <a:pt x="3381" y="923"/>
                </a:lnTo>
                <a:lnTo>
                  <a:pt x="3375" y="922"/>
                </a:lnTo>
                <a:lnTo>
                  <a:pt x="3371" y="920"/>
                </a:lnTo>
                <a:lnTo>
                  <a:pt x="3368" y="919"/>
                </a:lnTo>
                <a:lnTo>
                  <a:pt x="3364" y="914"/>
                </a:lnTo>
                <a:lnTo>
                  <a:pt x="3357" y="912"/>
                </a:lnTo>
                <a:lnTo>
                  <a:pt x="3354" y="912"/>
                </a:lnTo>
                <a:lnTo>
                  <a:pt x="3349" y="912"/>
                </a:lnTo>
                <a:lnTo>
                  <a:pt x="3345" y="913"/>
                </a:lnTo>
                <a:lnTo>
                  <a:pt x="3342" y="914"/>
                </a:lnTo>
                <a:lnTo>
                  <a:pt x="3335" y="920"/>
                </a:lnTo>
                <a:lnTo>
                  <a:pt x="3326" y="928"/>
                </a:lnTo>
                <a:lnTo>
                  <a:pt x="3325" y="928"/>
                </a:lnTo>
                <a:lnTo>
                  <a:pt x="3324" y="929"/>
                </a:lnTo>
                <a:lnTo>
                  <a:pt x="3314" y="933"/>
                </a:lnTo>
                <a:lnTo>
                  <a:pt x="3305" y="936"/>
                </a:lnTo>
                <a:lnTo>
                  <a:pt x="3295" y="937"/>
                </a:lnTo>
                <a:lnTo>
                  <a:pt x="3287" y="937"/>
                </a:lnTo>
                <a:lnTo>
                  <a:pt x="3279" y="937"/>
                </a:lnTo>
                <a:lnTo>
                  <a:pt x="3273" y="939"/>
                </a:lnTo>
                <a:lnTo>
                  <a:pt x="3268" y="942"/>
                </a:lnTo>
                <a:lnTo>
                  <a:pt x="3264" y="947"/>
                </a:lnTo>
                <a:lnTo>
                  <a:pt x="3261" y="950"/>
                </a:lnTo>
                <a:lnTo>
                  <a:pt x="3257" y="952"/>
                </a:lnTo>
                <a:lnTo>
                  <a:pt x="3253" y="954"/>
                </a:lnTo>
                <a:lnTo>
                  <a:pt x="3249" y="954"/>
                </a:lnTo>
                <a:lnTo>
                  <a:pt x="3238" y="945"/>
                </a:lnTo>
                <a:lnTo>
                  <a:pt x="3217" y="933"/>
                </a:lnTo>
                <a:lnTo>
                  <a:pt x="3203" y="929"/>
                </a:lnTo>
                <a:lnTo>
                  <a:pt x="3188" y="924"/>
                </a:lnTo>
                <a:lnTo>
                  <a:pt x="3175" y="920"/>
                </a:lnTo>
                <a:lnTo>
                  <a:pt x="3161" y="917"/>
                </a:lnTo>
                <a:lnTo>
                  <a:pt x="3154" y="913"/>
                </a:lnTo>
                <a:lnTo>
                  <a:pt x="3148" y="909"/>
                </a:lnTo>
                <a:lnTo>
                  <a:pt x="3143" y="903"/>
                </a:lnTo>
                <a:lnTo>
                  <a:pt x="3138" y="897"/>
                </a:lnTo>
                <a:lnTo>
                  <a:pt x="3136" y="891"/>
                </a:lnTo>
                <a:lnTo>
                  <a:pt x="3134" y="885"/>
                </a:lnTo>
                <a:lnTo>
                  <a:pt x="3135" y="880"/>
                </a:lnTo>
                <a:lnTo>
                  <a:pt x="3136" y="876"/>
                </a:lnTo>
                <a:lnTo>
                  <a:pt x="3140" y="870"/>
                </a:lnTo>
                <a:lnTo>
                  <a:pt x="3141" y="866"/>
                </a:lnTo>
                <a:lnTo>
                  <a:pt x="3140" y="860"/>
                </a:lnTo>
                <a:lnTo>
                  <a:pt x="3138" y="854"/>
                </a:lnTo>
                <a:lnTo>
                  <a:pt x="3136" y="851"/>
                </a:lnTo>
                <a:lnTo>
                  <a:pt x="3134" y="849"/>
                </a:lnTo>
                <a:lnTo>
                  <a:pt x="3131" y="848"/>
                </a:lnTo>
                <a:lnTo>
                  <a:pt x="3128" y="848"/>
                </a:lnTo>
                <a:lnTo>
                  <a:pt x="3123" y="848"/>
                </a:lnTo>
                <a:lnTo>
                  <a:pt x="3118" y="849"/>
                </a:lnTo>
                <a:lnTo>
                  <a:pt x="3112" y="853"/>
                </a:lnTo>
                <a:lnTo>
                  <a:pt x="3105" y="856"/>
                </a:lnTo>
                <a:lnTo>
                  <a:pt x="3098" y="860"/>
                </a:lnTo>
                <a:lnTo>
                  <a:pt x="3092" y="863"/>
                </a:lnTo>
                <a:lnTo>
                  <a:pt x="3086" y="865"/>
                </a:lnTo>
                <a:lnTo>
                  <a:pt x="3080" y="865"/>
                </a:lnTo>
                <a:lnTo>
                  <a:pt x="3070" y="865"/>
                </a:lnTo>
                <a:lnTo>
                  <a:pt x="3059" y="863"/>
                </a:lnTo>
                <a:lnTo>
                  <a:pt x="3053" y="863"/>
                </a:lnTo>
                <a:lnTo>
                  <a:pt x="3048" y="865"/>
                </a:lnTo>
                <a:lnTo>
                  <a:pt x="3045" y="866"/>
                </a:lnTo>
                <a:lnTo>
                  <a:pt x="3041" y="868"/>
                </a:lnTo>
                <a:lnTo>
                  <a:pt x="3039" y="870"/>
                </a:lnTo>
                <a:lnTo>
                  <a:pt x="3036" y="874"/>
                </a:lnTo>
                <a:lnTo>
                  <a:pt x="3035" y="878"/>
                </a:lnTo>
                <a:lnTo>
                  <a:pt x="3034" y="882"/>
                </a:lnTo>
                <a:lnTo>
                  <a:pt x="3033" y="887"/>
                </a:lnTo>
                <a:lnTo>
                  <a:pt x="3030" y="891"/>
                </a:lnTo>
                <a:lnTo>
                  <a:pt x="3028" y="893"/>
                </a:lnTo>
                <a:lnTo>
                  <a:pt x="3026" y="894"/>
                </a:lnTo>
                <a:lnTo>
                  <a:pt x="3022" y="895"/>
                </a:lnTo>
                <a:lnTo>
                  <a:pt x="3018" y="895"/>
                </a:lnTo>
                <a:lnTo>
                  <a:pt x="3014" y="894"/>
                </a:lnTo>
                <a:lnTo>
                  <a:pt x="3008" y="893"/>
                </a:lnTo>
                <a:lnTo>
                  <a:pt x="3003" y="892"/>
                </a:lnTo>
                <a:lnTo>
                  <a:pt x="2997" y="892"/>
                </a:lnTo>
                <a:lnTo>
                  <a:pt x="2992" y="894"/>
                </a:lnTo>
                <a:lnTo>
                  <a:pt x="2989" y="895"/>
                </a:lnTo>
                <a:lnTo>
                  <a:pt x="2980" y="903"/>
                </a:lnTo>
                <a:lnTo>
                  <a:pt x="2972" y="910"/>
                </a:lnTo>
                <a:lnTo>
                  <a:pt x="2968" y="913"/>
                </a:lnTo>
                <a:lnTo>
                  <a:pt x="2963" y="914"/>
                </a:lnTo>
                <a:lnTo>
                  <a:pt x="2957" y="914"/>
                </a:lnTo>
                <a:lnTo>
                  <a:pt x="2951" y="912"/>
                </a:lnTo>
                <a:lnTo>
                  <a:pt x="2946" y="910"/>
                </a:lnTo>
                <a:lnTo>
                  <a:pt x="2941" y="906"/>
                </a:lnTo>
                <a:lnTo>
                  <a:pt x="2936" y="903"/>
                </a:lnTo>
                <a:lnTo>
                  <a:pt x="2935" y="898"/>
                </a:lnTo>
                <a:lnTo>
                  <a:pt x="2932" y="886"/>
                </a:lnTo>
                <a:lnTo>
                  <a:pt x="2929" y="874"/>
                </a:lnTo>
                <a:lnTo>
                  <a:pt x="2927" y="862"/>
                </a:lnTo>
                <a:lnTo>
                  <a:pt x="2923" y="851"/>
                </a:lnTo>
                <a:lnTo>
                  <a:pt x="2921" y="838"/>
                </a:lnTo>
                <a:lnTo>
                  <a:pt x="2921" y="825"/>
                </a:lnTo>
                <a:lnTo>
                  <a:pt x="2921" y="819"/>
                </a:lnTo>
                <a:lnTo>
                  <a:pt x="2919" y="816"/>
                </a:lnTo>
                <a:lnTo>
                  <a:pt x="2915" y="813"/>
                </a:lnTo>
                <a:lnTo>
                  <a:pt x="2908" y="813"/>
                </a:lnTo>
                <a:lnTo>
                  <a:pt x="2902" y="813"/>
                </a:lnTo>
                <a:lnTo>
                  <a:pt x="2897" y="816"/>
                </a:lnTo>
                <a:lnTo>
                  <a:pt x="2892" y="818"/>
                </a:lnTo>
                <a:lnTo>
                  <a:pt x="2888" y="823"/>
                </a:lnTo>
                <a:lnTo>
                  <a:pt x="2883" y="829"/>
                </a:lnTo>
                <a:lnTo>
                  <a:pt x="2879" y="835"/>
                </a:lnTo>
                <a:lnTo>
                  <a:pt x="2878" y="842"/>
                </a:lnTo>
                <a:lnTo>
                  <a:pt x="2877" y="849"/>
                </a:lnTo>
                <a:lnTo>
                  <a:pt x="2878" y="856"/>
                </a:lnTo>
                <a:lnTo>
                  <a:pt x="2879" y="863"/>
                </a:lnTo>
                <a:lnTo>
                  <a:pt x="2883" y="869"/>
                </a:lnTo>
                <a:lnTo>
                  <a:pt x="2885" y="875"/>
                </a:lnTo>
                <a:lnTo>
                  <a:pt x="2888" y="881"/>
                </a:lnTo>
                <a:lnTo>
                  <a:pt x="2890" y="886"/>
                </a:lnTo>
                <a:lnTo>
                  <a:pt x="2891" y="892"/>
                </a:lnTo>
                <a:lnTo>
                  <a:pt x="2890" y="897"/>
                </a:lnTo>
                <a:lnTo>
                  <a:pt x="2888" y="900"/>
                </a:lnTo>
                <a:lnTo>
                  <a:pt x="2884" y="903"/>
                </a:lnTo>
                <a:lnTo>
                  <a:pt x="2881" y="905"/>
                </a:lnTo>
                <a:lnTo>
                  <a:pt x="2876" y="907"/>
                </a:lnTo>
                <a:lnTo>
                  <a:pt x="2866" y="912"/>
                </a:lnTo>
                <a:lnTo>
                  <a:pt x="2858" y="916"/>
                </a:lnTo>
                <a:lnTo>
                  <a:pt x="2846" y="922"/>
                </a:lnTo>
                <a:lnTo>
                  <a:pt x="2835" y="929"/>
                </a:lnTo>
                <a:lnTo>
                  <a:pt x="2829" y="931"/>
                </a:lnTo>
                <a:lnTo>
                  <a:pt x="2826" y="932"/>
                </a:lnTo>
                <a:lnTo>
                  <a:pt x="2821" y="932"/>
                </a:lnTo>
                <a:lnTo>
                  <a:pt x="2818" y="930"/>
                </a:lnTo>
                <a:lnTo>
                  <a:pt x="2815" y="928"/>
                </a:lnTo>
                <a:lnTo>
                  <a:pt x="2813" y="925"/>
                </a:lnTo>
                <a:lnTo>
                  <a:pt x="2810" y="925"/>
                </a:lnTo>
                <a:lnTo>
                  <a:pt x="2808" y="925"/>
                </a:lnTo>
                <a:lnTo>
                  <a:pt x="2804" y="929"/>
                </a:lnTo>
                <a:lnTo>
                  <a:pt x="2798" y="936"/>
                </a:lnTo>
                <a:lnTo>
                  <a:pt x="2795" y="942"/>
                </a:lnTo>
                <a:lnTo>
                  <a:pt x="2790" y="947"/>
                </a:lnTo>
                <a:lnTo>
                  <a:pt x="2785" y="949"/>
                </a:lnTo>
                <a:lnTo>
                  <a:pt x="2777" y="952"/>
                </a:lnTo>
                <a:lnTo>
                  <a:pt x="2774" y="952"/>
                </a:lnTo>
                <a:lnTo>
                  <a:pt x="2770" y="952"/>
                </a:lnTo>
                <a:lnTo>
                  <a:pt x="2766" y="950"/>
                </a:lnTo>
                <a:lnTo>
                  <a:pt x="2764" y="948"/>
                </a:lnTo>
                <a:lnTo>
                  <a:pt x="2759" y="942"/>
                </a:lnTo>
                <a:lnTo>
                  <a:pt x="2755" y="933"/>
                </a:lnTo>
                <a:lnTo>
                  <a:pt x="2751" y="930"/>
                </a:lnTo>
                <a:lnTo>
                  <a:pt x="2747" y="928"/>
                </a:lnTo>
                <a:lnTo>
                  <a:pt x="2741" y="928"/>
                </a:lnTo>
                <a:lnTo>
                  <a:pt x="2735" y="928"/>
                </a:lnTo>
                <a:lnTo>
                  <a:pt x="2724" y="930"/>
                </a:lnTo>
                <a:lnTo>
                  <a:pt x="2713" y="935"/>
                </a:lnTo>
                <a:lnTo>
                  <a:pt x="2709" y="937"/>
                </a:lnTo>
                <a:lnTo>
                  <a:pt x="2706" y="938"/>
                </a:lnTo>
                <a:lnTo>
                  <a:pt x="2702" y="939"/>
                </a:lnTo>
                <a:lnTo>
                  <a:pt x="2700" y="938"/>
                </a:lnTo>
                <a:lnTo>
                  <a:pt x="2696" y="938"/>
                </a:lnTo>
                <a:lnTo>
                  <a:pt x="2694" y="936"/>
                </a:lnTo>
                <a:lnTo>
                  <a:pt x="2692" y="932"/>
                </a:lnTo>
                <a:lnTo>
                  <a:pt x="2688" y="929"/>
                </a:lnTo>
                <a:lnTo>
                  <a:pt x="2684" y="925"/>
                </a:lnTo>
                <a:lnTo>
                  <a:pt x="2682" y="923"/>
                </a:lnTo>
                <a:lnTo>
                  <a:pt x="2677" y="920"/>
                </a:lnTo>
                <a:lnTo>
                  <a:pt x="2674" y="920"/>
                </a:lnTo>
                <a:lnTo>
                  <a:pt x="2667" y="920"/>
                </a:lnTo>
                <a:lnTo>
                  <a:pt x="2658" y="922"/>
                </a:lnTo>
                <a:lnTo>
                  <a:pt x="2650" y="922"/>
                </a:lnTo>
                <a:lnTo>
                  <a:pt x="2640" y="922"/>
                </a:lnTo>
                <a:lnTo>
                  <a:pt x="2630" y="920"/>
                </a:lnTo>
                <a:lnTo>
                  <a:pt x="2620" y="917"/>
                </a:lnTo>
                <a:lnTo>
                  <a:pt x="2611" y="912"/>
                </a:lnTo>
                <a:lnTo>
                  <a:pt x="2602" y="906"/>
                </a:lnTo>
                <a:lnTo>
                  <a:pt x="2599" y="903"/>
                </a:lnTo>
                <a:lnTo>
                  <a:pt x="2595" y="898"/>
                </a:lnTo>
                <a:lnTo>
                  <a:pt x="2592" y="893"/>
                </a:lnTo>
                <a:lnTo>
                  <a:pt x="2589" y="887"/>
                </a:lnTo>
                <a:lnTo>
                  <a:pt x="2587" y="882"/>
                </a:lnTo>
                <a:lnTo>
                  <a:pt x="2583" y="879"/>
                </a:lnTo>
                <a:lnTo>
                  <a:pt x="2580" y="876"/>
                </a:lnTo>
                <a:lnTo>
                  <a:pt x="2576" y="874"/>
                </a:lnTo>
                <a:lnTo>
                  <a:pt x="2568" y="873"/>
                </a:lnTo>
                <a:lnTo>
                  <a:pt x="2558" y="872"/>
                </a:lnTo>
                <a:lnTo>
                  <a:pt x="2550" y="869"/>
                </a:lnTo>
                <a:lnTo>
                  <a:pt x="2542" y="866"/>
                </a:lnTo>
                <a:lnTo>
                  <a:pt x="2532" y="859"/>
                </a:lnTo>
                <a:lnTo>
                  <a:pt x="2522" y="849"/>
                </a:lnTo>
                <a:lnTo>
                  <a:pt x="2508" y="837"/>
                </a:lnTo>
                <a:lnTo>
                  <a:pt x="2498" y="828"/>
                </a:lnTo>
                <a:lnTo>
                  <a:pt x="2493" y="823"/>
                </a:lnTo>
                <a:lnTo>
                  <a:pt x="2491" y="817"/>
                </a:lnTo>
                <a:lnTo>
                  <a:pt x="2488" y="812"/>
                </a:lnTo>
                <a:lnTo>
                  <a:pt x="2487" y="806"/>
                </a:lnTo>
                <a:lnTo>
                  <a:pt x="2487" y="800"/>
                </a:lnTo>
                <a:lnTo>
                  <a:pt x="2487" y="796"/>
                </a:lnTo>
                <a:lnTo>
                  <a:pt x="2488" y="792"/>
                </a:lnTo>
                <a:lnTo>
                  <a:pt x="2489" y="790"/>
                </a:lnTo>
                <a:lnTo>
                  <a:pt x="2494" y="785"/>
                </a:lnTo>
                <a:lnTo>
                  <a:pt x="2501" y="781"/>
                </a:lnTo>
                <a:lnTo>
                  <a:pt x="2508" y="779"/>
                </a:lnTo>
                <a:lnTo>
                  <a:pt x="2516" y="775"/>
                </a:lnTo>
                <a:lnTo>
                  <a:pt x="2524" y="771"/>
                </a:lnTo>
                <a:lnTo>
                  <a:pt x="2531" y="764"/>
                </a:lnTo>
                <a:lnTo>
                  <a:pt x="2533" y="759"/>
                </a:lnTo>
                <a:lnTo>
                  <a:pt x="2536" y="756"/>
                </a:lnTo>
                <a:lnTo>
                  <a:pt x="2537" y="753"/>
                </a:lnTo>
                <a:lnTo>
                  <a:pt x="2537" y="750"/>
                </a:lnTo>
                <a:lnTo>
                  <a:pt x="2536" y="748"/>
                </a:lnTo>
                <a:lnTo>
                  <a:pt x="2535" y="746"/>
                </a:lnTo>
                <a:lnTo>
                  <a:pt x="2532" y="744"/>
                </a:lnTo>
                <a:lnTo>
                  <a:pt x="2529" y="743"/>
                </a:lnTo>
                <a:lnTo>
                  <a:pt x="2523" y="742"/>
                </a:lnTo>
                <a:lnTo>
                  <a:pt x="2519" y="739"/>
                </a:lnTo>
                <a:lnTo>
                  <a:pt x="2518" y="736"/>
                </a:lnTo>
                <a:lnTo>
                  <a:pt x="2517" y="734"/>
                </a:lnTo>
                <a:lnTo>
                  <a:pt x="2518" y="731"/>
                </a:lnTo>
                <a:lnTo>
                  <a:pt x="2519" y="727"/>
                </a:lnTo>
                <a:lnTo>
                  <a:pt x="2522" y="721"/>
                </a:lnTo>
                <a:lnTo>
                  <a:pt x="2523" y="716"/>
                </a:lnTo>
                <a:lnTo>
                  <a:pt x="2524" y="710"/>
                </a:lnTo>
                <a:lnTo>
                  <a:pt x="2523" y="701"/>
                </a:lnTo>
                <a:lnTo>
                  <a:pt x="2520" y="686"/>
                </a:lnTo>
                <a:lnTo>
                  <a:pt x="2516" y="671"/>
                </a:lnTo>
                <a:lnTo>
                  <a:pt x="2511" y="655"/>
                </a:lnTo>
                <a:lnTo>
                  <a:pt x="2507" y="641"/>
                </a:lnTo>
                <a:lnTo>
                  <a:pt x="2507" y="635"/>
                </a:lnTo>
                <a:lnTo>
                  <a:pt x="2507" y="632"/>
                </a:lnTo>
                <a:lnTo>
                  <a:pt x="2507" y="628"/>
                </a:lnTo>
                <a:lnTo>
                  <a:pt x="2508" y="627"/>
                </a:lnTo>
                <a:lnTo>
                  <a:pt x="2514" y="624"/>
                </a:lnTo>
                <a:lnTo>
                  <a:pt x="2522" y="626"/>
                </a:lnTo>
                <a:lnTo>
                  <a:pt x="2530" y="626"/>
                </a:lnTo>
                <a:lnTo>
                  <a:pt x="2537" y="626"/>
                </a:lnTo>
                <a:lnTo>
                  <a:pt x="2539" y="626"/>
                </a:lnTo>
                <a:lnTo>
                  <a:pt x="2542" y="624"/>
                </a:lnTo>
                <a:lnTo>
                  <a:pt x="2544" y="622"/>
                </a:lnTo>
                <a:lnTo>
                  <a:pt x="2544" y="620"/>
                </a:lnTo>
                <a:lnTo>
                  <a:pt x="2543" y="617"/>
                </a:lnTo>
                <a:lnTo>
                  <a:pt x="2543" y="615"/>
                </a:lnTo>
                <a:lnTo>
                  <a:pt x="2542" y="613"/>
                </a:lnTo>
                <a:lnTo>
                  <a:pt x="2539" y="611"/>
                </a:lnTo>
                <a:lnTo>
                  <a:pt x="2533" y="609"/>
                </a:lnTo>
                <a:lnTo>
                  <a:pt x="2525" y="608"/>
                </a:lnTo>
                <a:lnTo>
                  <a:pt x="2516" y="605"/>
                </a:lnTo>
                <a:lnTo>
                  <a:pt x="2508" y="603"/>
                </a:lnTo>
                <a:lnTo>
                  <a:pt x="2502" y="599"/>
                </a:lnTo>
                <a:lnTo>
                  <a:pt x="2497" y="592"/>
                </a:lnTo>
                <a:lnTo>
                  <a:pt x="2488" y="585"/>
                </a:lnTo>
                <a:lnTo>
                  <a:pt x="2480" y="576"/>
                </a:lnTo>
                <a:lnTo>
                  <a:pt x="2475" y="571"/>
                </a:lnTo>
                <a:lnTo>
                  <a:pt x="2472" y="564"/>
                </a:lnTo>
                <a:lnTo>
                  <a:pt x="2467" y="557"/>
                </a:lnTo>
                <a:lnTo>
                  <a:pt x="2463" y="547"/>
                </a:lnTo>
                <a:lnTo>
                  <a:pt x="2460" y="538"/>
                </a:lnTo>
                <a:lnTo>
                  <a:pt x="2459" y="531"/>
                </a:lnTo>
                <a:lnTo>
                  <a:pt x="2457" y="523"/>
                </a:lnTo>
                <a:lnTo>
                  <a:pt x="2457" y="517"/>
                </a:lnTo>
                <a:lnTo>
                  <a:pt x="2459" y="506"/>
                </a:lnTo>
                <a:lnTo>
                  <a:pt x="2460" y="495"/>
                </a:lnTo>
                <a:lnTo>
                  <a:pt x="2459" y="488"/>
                </a:lnTo>
                <a:lnTo>
                  <a:pt x="2456" y="482"/>
                </a:lnTo>
                <a:lnTo>
                  <a:pt x="2453" y="475"/>
                </a:lnTo>
                <a:lnTo>
                  <a:pt x="2448" y="469"/>
                </a:lnTo>
                <a:lnTo>
                  <a:pt x="2442" y="463"/>
                </a:lnTo>
                <a:lnTo>
                  <a:pt x="2435" y="457"/>
                </a:lnTo>
                <a:lnTo>
                  <a:pt x="2426" y="453"/>
                </a:lnTo>
                <a:lnTo>
                  <a:pt x="2418" y="450"/>
                </a:lnTo>
                <a:lnTo>
                  <a:pt x="2409" y="447"/>
                </a:lnTo>
                <a:lnTo>
                  <a:pt x="2400" y="446"/>
                </a:lnTo>
                <a:lnTo>
                  <a:pt x="2391" y="446"/>
                </a:lnTo>
                <a:lnTo>
                  <a:pt x="2381" y="446"/>
                </a:lnTo>
                <a:lnTo>
                  <a:pt x="2362" y="449"/>
                </a:lnTo>
                <a:lnTo>
                  <a:pt x="2347" y="450"/>
                </a:lnTo>
                <a:lnTo>
                  <a:pt x="2331" y="450"/>
                </a:lnTo>
                <a:lnTo>
                  <a:pt x="2315" y="450"/>
                </a:lnTo>
                <a:lnTo>
                  <a:pt x="2308" y="449"/>
                </a:lnTo>
                <a:lnTo>
                  <a:pt x="2300" y="446"/>
                </a:lnTo>
                <a:lnTo>
                  <a:pt x="2294" y="444"/>
                </a:lnTo>
                <a:lnTo>
                  <a:pt x="2291" y="440"/>
                </a:lnTo>
                <a:lnTo>
                  <a:pt x="2287" y="437"/>
                </a:lnTo>
                <a:lnTo>
                  <a:pt x="2283" y="434"/>
                </a:lnTo>
                <a:lnTo>
                  <a:pt x="2279" y="433"/>
                </a:lnTo>
                <a:lnTo>
                  <a:pt x="2275" y="432"/>
                </a:lnTo>
                <a:lnTo>
                  <a:pt x="2271" y="431"/>
                </a:lnTo>
                <a:lnTo>
                  <a:pt x="2267" y="432"/>
                </a:lnTo>
                <a:lnTo>
                  <a:pt x="2264" y="432"/>
                </a:lnTo>
                <a:lnTo>
                  <a:pt x="2260" y="434"/>
                </a:lnTo>
                <a:lnTo>
                  <a:pt x="2254" y="437"/>
                </a:lnTo>
                <a:lnTo>
                  <a:pt x="2246" y="439"/>
                </a:lnTo>
                <a:lnTo>
                  <a:pt x="2241" y="438"/>
                </a:lnTo>
                <a:lnTo>
                  <a:pt x="2237" y="438"/>
                </a:lnTo>
                <a:lnTo>
                  <a:pt x="2234" y="435"/>
                </a:lnTo>
                <a:lnTo>
                  <a:pt x="2231" y="433"/>
                </a:lnTo>
                <a:lnTo>
                  <a:pt x="2229" y="428"/>
                </a:lnTo>
                <a:lnTo>
                  <a:pt x="2228" y="425"/>
                </a:lnTo>
                <a:lnTo>
                  <a:pt x="2228" y="420"/>
                </a:lnTo>
                <a:lnTo>
                  <a:pt x="2229" y="415"/>
                </a:lnTo>
                <a:lnTo>
                  <a:pt x="2231" y="405"/>
                </a:lnTo>
                <a:lnTo>
                  <a:pt x="2235" y="394"/>
                </a:lnTo>
                <a:lnTo>
                  <a:pt x="2237" y="389"/>
                </a:lnTo>
                <a:lnTo>
                  <a:pt x="2237" y="386"/>
                </a:lnTo>
                <a:lnTo>
                  <a:pt x="2237" y="383"/>
                </a:lnTo>
                <a:lnTo>
                  <a:pt x="2236" y="382"/>
                </a:lnTo>
                <a:lnTo>
                  <a:pt x="2234" y="381"/>
                </a:lnTo>
                <a:lnTo>
                  <a:pt x="2231" y="382"/>
                </a:lnTo>
                <a:lnTo>
                  <a:pt x="2228" y="383"/>
                </a:lnTo>
                <a:lnTo>
                  <a:pt x="2224" y="386"/>
                </a:lnTo>
                <a:lnTo>
                  <a:pt x="2217" y="393"/>
                </a:lnTo>
                <a:lnTo>
                  <a:pt x="2210" y="397"/>
                </a:lnTo>
                <a:lnTo>
                  <a:pt x="2206" y="399"/>
                </a:lnTo>
                <a:lnTo>
                  <a:pt x="2203" y="400"/>
                </a:lnTo>
                <a:lnTo>
                  <a:pt x="2197" y="401"/>
                </a:lnTo>
                <a:lnTo>
                  <a:pt x="2191" y="402"/>
                </a:lnTo>
                <a:lnTo>
                  <a:pt x="2183" y="402"/>
                </a:lnTo>
                <a:lnTo>
                  <a:pt x="2173" y="401"/>
                </a:lnTo>
                <a:lnTo>
                  <a:pt x="2164" y="399"/>
                </a:lnTo>
                <a:lnTo>
                  <a:pt x="2153" y="395"/>
                </a:lnTo>
                <a:lnTo>
                  <a:pt x="2142" y="391"/>
                </a:lnTo>
                <a:lnTo>
                  <a:pt x="2133" y="388"/>
                </a:lnTo>
                <a:lnTo>
                  <a:pt x="2124" y="384"/>
                </a:lnTo>
                <a:lnTo>
                  <a:pt x="2120" y="381"/>
                </a:lnTo>
                <a:lnTo>
                  <a:pt x="2116" y="376"/>
                </a:lnTo>
                <a:lnTo>
                  <a:pt x="2114" y="372"/>
                </a:lnTo>
                <a:lnTo>
                  <a:pt x="2113" y="368"/>
                </a:lnTo>
                <a:lnTo>
                  <a:pt x="2113" y="363"/>
                </a:lnTo>
                <a:lnTo>
                  <a:pt x="2114" y="352"/>
                </a:lnTo>
                <a:lnTo>
                  <a:pt x="2116" y="343"/>
                </a:lnTo>
                <a:lnTo>
                  <a:pt x="2117" y="339"/>
                </a:lnTo>
                <a:lnTo>
                  <a:pt x="2117" y="336"/>
                </a:lnTo>
                <a:lnTo>
                  <a:pt x="2117" y="332"/>
                </a:lnTo>
                <a:lnTo>
                  <a:pt x="2116" y="328"/>
                </a:lnTo>
                <a:lnTo>
                  <a:pt x="2110" y="320"/>
                </a:lnTo>
                <a:lnTo>
                  <a:pt x="2104" y="311"/>
                </a:lnTo>
                <a:lnTo>
                  <a:pt x="2101" y="306"/>
                </a:lnTo>
                <a:lnTo>
                  <a:pt x="2100" y="301"/>
                </a:lnTo>
                <a:lnTo>
                  <a:pt x="2098" y="296"/>
                </a:lnTo>
                <a:lnTo>
                  <a:pt x="2100" y="292"/>
                </a:lnTo>
                <a:lnTo>
                  <a:pt x="2101" y="287"/>
                </a:lnTo>
                <a:lnTo>
                  <a:pt x="2102" y="283"/>
                </a:lnTo>
                <a:lnTo>
                  <a:pt x="2105" y="279"/>
                </a:lnTo>
                <a:lnTo>
                  <a:pt x="2109" y="275"/>
                </a:lnTo>
                <a:lnTo>
                  <a:pt x="2111" y="271"/>
                </a:lnTo>
                <a:lnTo>
                  <a:pt x="2114" y="268"/>
                </a:lnTo>
                <a:lnTo>
                  <a:pt x="2115" y="264"/>
                </a:lnTo>
                <a:lnTo>
                  <a:pt x="2116" y="261"/>
                </a:lnTo>
                <a:lnTo>
                  <a:pt x="2115" y="251"/>
                </a:lnTo>
                <a:lnTo>
                  <a:pt x="2114" y="238"/>
                </a:lnTo>
                <a:lnTo>
                  <a:pt x="2113" y="230"/>
                </a:lnTo>
                <a:lnTo>
                  <a:pt x="2110" y="224"/>
                </a:lnTo>
                <a:lnTo>
                  <a:pt x="2105" y="220"/>
                </a:lnTo>
                <a:lnTo>
                  <a:pt x="2102" y="217"/>
                </a:lnTo>
                <a:lnTo>
                  <a:pt x="2090" y="211"/>
                </a:lnTo>
                <a:lnTo>
                  <a:pt x="2078" y="204"/>
                </a:lnTo>
                <a:lnTo>
                  <a:pt x="2072" y="200"/>
                </a:lnTo>
                <a:lnTo>
                  <a:pt x="2067" y="195"/>
                </a:lnTo>
                <a:lnTo>
                  <a:pt x="2064" y="192"/>
                </a:lnTo>
                <a:lnTo>
                  <a:pt x="2061" y="188"/>
                </a:lnTo>
                <a:lnTo>
                  <a:pt x="2058" y="179"/>
                </a:lnTo>
                <a:lnTo>
                  <a:pt x="2054" y="167"/>
                </a:lnTo>
                <a:lnTo>
                  <a:pt x="2052" y="161"/>
                </a:lnTo>
                <a:lnTo>
                  <a:pt x="2048" y="155"/>
                </a:lnTo>
                <a:lnTo>
                  <a:pt x="2042" y="149"/>
                </a:lnTo>
                <a:lnTo>
                  <a:pt x="2038" y="144"/>
                </a:lnTo>
                <a:lnTo>
                  <a:pt x="2032" y="141"/>
                </a:lnTo>
                <a:lnTo>
                  <a:pt x="2027" y="138"/>
                </a:lnTo>
                <a:lnTo>
                  <a:pt x="2023" y="138"/>
                </a:lnTo>
                <a:lnTo>
                  <a:pt x="2022" y="138"/>
                </a:lnTo>
                <a:lnTo>
                  <a:pt x="2020" y="140"/>
                </a:lnTo>
                <a:lnTo>
                  <a:pt x="2017" y="141"/>
                </a:lnTo>
                <a:lnTo>
                  <a:pt x="2013" y="147"/>
                </a:lnTo>
                <a:lnTo>
                  <a:pt x="2010" y="153"/>
                </a:lnTo>
                <a:lnTo>
                  <a:pt x="2008" y="155"/>
                </a:lnTo>
                <a:lnTo>
                  <a:pt x="2006" y="156"/>
                </a:lnTo>
                <a:lnTo>
                  <a:pt x="2002" y="156"/>
                </a:lnTo>
                <a:lnTo>
                  <a:pt x="1998" y="155"/>
                </a:lnTo>
                <a:lnTo>
                  <a:pt x="1993" y="155"/>
                </a:lnTo>
                <a:lnTo>
                  <a:pt x="1989" y="155"/>
                </a:lnTo>
                <a:lnTo>
                  <a:pt x="1985" y="156"/>
                </a:lnTo>
                <a:lnTo>
                  <a:pt x="1982" y="159"/>
                </a:lnTo>
                <a:lnTo>
                  <a:pt x="1975" y="168"/>
                </a:lnTo>
                <a:lnTo>
                  <a:pt x="1966" y="183"/>
                </a:lnTo>
                <a:lnTo>
                  <a:pt x="1960" y="191"/>
                </a:lnTo>
                <a:lnTo>
                  <a:pt x="1954" y="195"/>
                </a:lnTo>
                <a:lnTo>
                  <a:pt x="1949" y="198"/>
                </a:lnTo>
                <a:lnTo>
                  <a:pt x="1944" y="200"/>
                </a:lnTo>
                <a:lnTo>
                  <a:pt x="1939" y="201"/>
                </a:lnTo>
                <a:lnTo>
                  <a:pt x="1935" y="204"/>
                </a:lnTo>
                <a:lnTo>
                  <a:pt x="1933" y="206"/>
                </a:lnTo>
                <a:lnTo>
                  <a:pt x="1932" y="211"/>
                </a:lnTo>
                <a:lnTo>
                  <a:pt x="1931" y="217"/>
                </a:lnTo>
                <a:lnTo>
                  <a:pt x="1928" y="222"/>
                </a:lnTo>
                <a:lnTo>
                  <a:pt x="1925" y="226"/>
                </a:lnTo>
                <a:lnTo>
                  <a:pt x="1921" y="230"/>
                </a:lnTo>
                <a:lnTo>
                  <a:pt x="1915" y="232"/>
                </a:lnTo>
                <a:lnTo>
                  <a:pt x="1909" y="233"/>
                </a:lnTo>
                <a:lnTo>
                  <a:pt x="1902" y="233"/>
                </a:lnTo>
                <a:lnTo>
                  <a:pt x="1894" y="232"/>
                </a:lnTo>
                <a:lnTo>
                  <a:pt x="1887" y="231"/>
                </a:lnTo>
                <a:lnTo>
                  <a:pt x="1880" y="231"/>
                </a:lnTo>
                <a:lnTo>
                  <a:pt x="1874" y="232"/>
                </a:lnTo>
                <a:lnTo>
                  <a:pt x="1869" y="235"/>
                </a:lnTo>
                <a:lnTo>
                  <a:pt x="1864" y="238"/>
                </a:lnTo>
                <a:lnTo>
                  <a:pt x="1861" y="243"/>
                </a:lnTo>
                <a:lnTo>
                  <a:pt x="1857" y="249"/>
                </a:lnTo>
                <a:lnTo>
                  <a:pt x="1855" y="255"/>
                </a:lnTo>
                <a:lnTo>
                  <a:pt x="1852" y="261"/>
                </a:lnTo>
                <a:lnTo>
                  <a:pt x="1850" y="265"/>
                </a:lnTo>
                <a:lnTo>
                  <a:pt x="1846" y="268"/>
                </a:lnTo>
                <a:lnTo>
                  <a:pt x="1842" y="270"/>
                </a:lnTo>
                <a:lnTo>
                  <a:pt x="1837" y="270"/>
                </a:lnTo>
                <a:lnTo>
                  <a:pt x="1830" y="270"/>
                </a:lnTo>
                <a:lnTo>
                  <a:pt x="1821" y="268"/>
                </a:lnTo>
                <a:lnTo>
                  <a:pt x="1812" y="264"/>
                </a:lnTo>
                <a:lnTo>
                  <a:pt x="1798" y="261"/>
                </a:lnTo>
                <a:lnTo>
                  <a:pt x="1782" y="258"/>
                </a:lnTo>
                <a:lnTo>
                  <a:pt x="1768" y="258"/>
                </a:lnTo>
                <a:lnTo>
                  <a:pt x="1755" y="260"/>
                </a:lnTo>
                <a:lnTo>
                  <a:pt x="1746" y="261"/>
                </a:lnTo>
                <a:lnTo>
                  <a:pt x="1743" y="262"/>
                </a:lnTo>
                <a:lnTo>
                  <a:pt x="1741" y="264"/>
                </a:lnTo>
                <a:lnTo>
                  <a:pt x="1741" y="267"/>
                </a:lnTo>
                <a:lnTo>
                  <a:pt x="1742" y="270"/>
                </a:lnTo>
                <a:lnTo>
                  <a:pt x="1745" y="273"/>
                </a:lnTo>
                <a:lnTo>
                  <a:pt x="1749" y="274"/>
                </a:lnTo>
                <a:lnTo>
                  <a:pt x="1752" y="276"/>
                </a:lnTo>
                <a:lnTo>
                  <a:pt x="1761" y="282"/>
                </a:lnTo>
                <a:lnTo>
                  <a:pt x="1770" y="293"/>
                </a:lnTo>
                <a:lnTo>
                  <a:pt x="1777" y="304"/>
                </a:lnTo>
                <a:lnTo>
                  <a:pt x="1783" y="317"/>
                </a:lnTo>
                <a:lnTo>
                  <a:pt x="1788" y="327"/>
                </a:lnTo>
                <a:lnTo>
                  <a:pt x="1790" y="337"/>
                </a:lnTo>
                <a:lnTo>
                  <a:pt x="1790" y="344"/>
                </a:lnTo>
                <a:lnTo>
                  <a:pt x="1793" y="350"/>
                </a:lnTo>
                <a:lnTo>
                  <a:pt x="1795" y="353"/>
                </a:lnTo>
                <a:lnTo>
                  <a:pt x="1798" y="357"/>
                </a:lnTo>
                <a:lnTo>
                  <a:pt x="1800" y="359"/>
                </a:lnTo>
                <a:lnTo>
                  <a:pt x="1805" y="361"/>
                </a:lnTo>
                <a:lnTo>
                  <a:pt x="1806" y="363"/>
                </a:lnTo>
                <a:lnTo>
                  <a:pt x="1808" y="364"/>
                </a:lnTo>
                <a:lnTo>
                  <a:pt x="1809" y="367"/>
                </a:lnTo>
                <a:lnTo>
                  <a:pt x="1811" y="370"/>
                </a:lnTo>
                <a:lnTo>
                  <a:pt x="1812" y="378"/>
                </a:lnTo>
                <a:lnTo>
                  <a:pt x="1812" y="387"/>
                </a:lnTo>
                <a:lnTo>
                  <a:pt x="1812" y="405"/>
                </a:lnTo>
                <a:lnTo>
                  <a:pt x="1811" y="418"/>
                </a:lnTo>
                <a:lnTo>
                  <a:pt x="1811" y="422"/>
                </a:lnTo>
                <a:lnTo>
                  <a:pt x="1813" y="426"/>
                </a:lnTo>
                <a:lnTo>
                  <a:pt x="1815" y="430"/>
                </a:lnTo>
                <a:lnTo>
                  <a:pt x="1820" y="433"/>
                </a:lnTo>
                <a:lnTo>
                  <a:pt x="1830" y="438"/>
                </a:lnTo>
                <a:lnTo>
                  <a:pt x="1843" y="444"/>
                </a:lnTo>
                <a:lnTo>
                  <a:pt x="1847" y="447"/>
                </a:lnTo>
                <a:lnTo>
                  <a:pt x="1851" y="451"/>
                </a:lnTo>
                <a:lnTo>
                  <a:pt x="1855" y="454"/>
                </a:lnTo>
                <a:lnTo>
                  <a:pt x="1856" y="459"/>
                </a:lnTo>
                <a:lnTo>
                  <a:pt x="1856" y="468"/>
                </a:lnTo>
                <a:lnTo>
                  <a:pt x="1853" y="476"/>
                </a:lnTo>
                <a:lnTo>
                  <a:pt x="1851" y="487"/>
                </a:lnTo>
                <a:lnTo>
                  <a:pt x="1846" y="497"/>
                </a:lnTo>
                <a:lnTo>
                  <a:pt x="1842" y="508"/>
                </a:lnTo>
                <a:lnTo>
                  <a:pt x="1838" y="516"/>
                </a:lnTo>
                <a:lnTo>
                  <a:pt x="1836" y="520"/>
                </a:lnTo>
                <a:lnTo>
                  <a:pt x="1831" y="521"/>
                </a:lnTo>
                <a:lnTo>
                  <a:pt x="1826" y="522"/>
                </a:lnTo>
                <a:lnTo>
                  <a:pt x="1820" y="523"/>
                </a:lnTo>
                <a:lnTo>
                  <a:pt x="1806" y="523"/>
                </a:lnTo>
                <a:lnTo>
                  <a:pt x="1790" y="522"/>
                </a:lnTo>
                <a:lnTo>
                  <a:pt x="1784" y="522"/>
                </a:lnTo>
                <a:lnTo>
                  <a:pt x="1780" y="523"/>
                </a:lnTo>
                <a:lnTo>
                  <a:pt x="1776" y="525"/>
                </a:lnTo>
                <a:lnTo>
                  <a:pt x="1774" y="526"/>
                </a:lnTo>
                <a:lnTo>
                  <a:pt x="1769" y="529"/>
                </a:lnTo>
                <a:lnTo>
                  <a:pt x="1764" y="533"/>
                </a:lnTo>
                <a:lnTo>
                  <a:pt x="1762" y="535"/>
                </a:lnTo>
                <a:lnTo>
                  <a:pt x="1761" y="539"/>
                </a:lnTo>
                <a:lnTo>
                  <a:pt x="1760" y="541"/>
                </a:lnTo>
                <a:lnTo>
                  <a:pt x="1760" y="545"/>
                </a:lnTo>
                <a:lnTo>
                  <a:pt x="1760" y="551"/>
                </a:lnTo>
                <a:lnTo>
                  <a:pt x="1760" y="557"/>
                </a:lnTo>
                <a:lnTo>
                  <a:pt x="1760" y="578"/>
                </a:lnTo>
                <a:lnTo>
                  <a:pt x="1757" y="591"/>
                </a:lnTo>
                <a:lnTo>
                  <a:pt x="1755" y="594"/>
                </a:lnTo>
                <a:lnTo>
                  <a:pt x="1751" y="594"/>
                </a:lnTo>
                <a:lnTo>
                  <a:pt x="1746" y="591"/>
                </a:lnTo>
                <a:lnTo>
                  <a:pt x="1743" y="588"/>
                </a:lnTo>
                <a:lnTo>
                  <a:pt x="1735" y="578"/>
                </a:lnTo>
                <a:lnTo>
                  <a:pt x="1727" y="569"/>
                </a:lnTo>
                <a:lnTo>
                  <a:pt x="1724" y="564"/>
                </a:lnTo>
                <a:lnTo>
                  <a:pt x="1721" y="561"/>
                </a:lnTo>
                <a:lnTo>
                  <a:pt x="1719" y="560"/>
                </a:lnTo>
                <a:lnTo>
                  <a:pt x="1717" y="561"/>
                </a:lnTo>
                <a:lnTo>
                  <a:pt x="1714" y="563"/>
                </a:lnTo>
                <a:lnTo>
                  <a:pt x="1713" y="566"/>
                </a:lnTo>
                <a:lnTo>
                  <a:pt x="1712" y="569"/>
                </a:lnTo>
                <a:lnTo>
                  <a:pt x="1712" y="573"/>
                </a:lnTo>
                <a:lnTo>
                  <a:pt x="1712" y="582"/>
                </a:lnTo>
                <a:lnTo>
                  <a:pt x="1711" y="591"/>
                </a:lnTo>
                <a:lnTo>
                  <a:pt x="1708" y="599"/>
                </a:lnTo>
                <a:lnTo>
                  <a:pt x="1706" y="607"/>
                </a:lnTo>
                <a:lnTo>
                  <a:pt x="1704" y="608"/>
                </a:lnTo>
                <a:lnTo>
                  <a:pt x="1701" y="609"/>
                </a:lnTo>
                <a:lnTo>
                  <a:pt x="1699" y="609"/>
                </a:lnTo>
                <a:lnTo>
                  <a:pt x="1697" y="610"/>
                </a:lnTo>
                <a:lnTo>
                  <a:pt x="1687" y="610"/>
                </a:lnTo>
                <a:lnTo>
                  <a:pt x="1672" y="614"/>
                </a:lnTo>
                <a:lnTo>
                  <a:pt x="1664" y="616"/>
                </a:lnTo>
                <a:lnTo>
                  <a:pt x="1657" y="621"/>
                </a:lnTo>
                <a:lnTo>
                  <a:pt x="1651" y="624"/>
                </a:lnTo>
                <a:lnTo>
                  <a:pt x="1648" y="629"/>
                </a:lnTo>
                <a:lnTo>
                  <a:pt x="1644" y="634"/>
                </a:lnTo>
                <a:lnTo>
                  <a:pt x="1641" y="638"/>
                </a:lnTo>
                <a:lnTo>
                  <a:pt x="1637" y="640"/>
                </a:lnTo>
                <a:lnTo>
                  <a:pt x="1634" y="640"/>
                </a:lnTo>
                <a:lnTo>
                  <a:pt x="1631" y="640"/>
                </a:lnTo>
                <a:lnTo>
                  <a:pt x="1629" y="639"/>
                </a:lnTo>
                <a:lnTo>
                  <a:pt x="1628" y="638"/>
                </a:lnTo>
                <a:lnTo>
                  <a:pt x="1626" y="635"/>
                </a:lnTo>
                <a:lnTo>
                  <a:pt x="1626" y="629"/>
                </a:lnTo>
                <a:lnTo>
                  <a:pt x="1628" y="619"/>
                </a:lnTo>
                <a:lnTo>
                  <a:pt x="1628" y="613"/>
                </a:lnTo>
                <a:lnTo>
                  <a:pt x="1628" y="608"/>
                </a:lnTo>
                <a:lnTo>
                  <a:pt x="1625" y="603"/>
                </a:lnTo>
                <a:lnTo>
                  <a:pt x="1623" y="599"/>
                </a:lnTo>
                <a:lnTo>
                  <a:pt x="1617" y="592"/>
                </a:lnTo>
                <a:lnTo>
                  <a:pt x="1611" y="586"/>
                </a:lnTo>
                <a:lnTo>
                  <a:pt x="1607" y="584"/>
                </a:lnTo>
                <a:lnTo>
                  <a:pt x="1607" y="580"/>
                </a:lnTo>
                <a:lnTo>
                  <a:pt x="1607" y="578"/>
                </a:lnTo>
                <a:lnTo>
                  <a:pt x="1610" y="575"/>
                </a:lnTo>
                <a:lnTo>
                  <a:pt x="1617" y="569"/>
                </a:lnTo>
                <a:lnTo>
                  <a:pt x="1626" y="561"/>
                </a:lnTo>
                <a:lnTo>
                  <a:pt x="1635" y="553"/>
                </a:lnTo>
                <a:lnTo>
                  <a:pt x="1641" y="545"/>
                </a:lnTo>
                <a:lnTo>
                  <a:pt x="1644" y="535"/>
                </a:lnTo>
                <a:lnTo>
                  <a:pt x="1648" y="523"/>
                </a:lnTo>
                <a:lnTo>
                  <a:pt x="1650" y="516"/>
                </a:lnTo>
                <a:lnTo>
                  <a:pt x="1655" y="510"/>
                </a:lnTo>
                <a:lnTo>
                  <a:pt x="1658" y="504"/>
                </a:lnTo>
                <a:lnTo>
                  <a:pt x="1663" y="498"/>
                </a:lnTo>
                <a:lnTo>
                  <a:pt x="1667" y="495"/>
                </a:lnTo>
                <a:lnTo>
                  <a:pt x="1668" y="493"/>
                </a:lnTo>
                <a:lnTo>
                  <a:pt x="1667" y="490"/>
                </a:lnTo>
                <a:lnTo>
                  <a:pt x="1664" y="484"/>
                </a:lnTo>
                <a:lnTo>
                  <a:pt x="1661" y="470"/>
                </a:lnTo>
                <a:lnTo>
                  <a:pt x="1660" y="456"/>
                </a:lnTo>
                <a:lnTo>
                  <a:pt x="1658" y="450"/>
                </a:lnTo>
                <a:lnTo>
                  <a:pt x="1657" y="445"/>
                </a:lnTo>
                <a:lnTo>
                  <a:pt x="1655" y="440"/>
                </a:lnTo>
                <a:lnTo>
                  <a:pt x="1653" y="437"/>
                </a:lnTo>
                <a:lnTo>
                  <a:pt x="1648" y="428"/>
                </a:lnTo>
                <a:lnTo>
                  <a:pt x="1642" y="421"/>
                </a:lnTo>
                <a:lnTo>
                  <a:pt x="1639" y="416"/>
                </a:lnTo>
                <a:lnTo>
                  <a:pt x="1637" y="412"/>
                </a:lnTo>
                <a:lnTo>
                  <a:pt x="1636" y="411"/>
                </a:lnTo>
                <a:lnTo>
                  <a:pt x="1635" y="411"/>
                </a:lnTo>
                <a:lnTo>
                  <a:pt x="1634" y="412"/>
                </a:lnTo>
                <a:lnTo>
                  <a:pt x="1632" y="414"/>
                </a:lnTo>
                <a:lnTo>
                  <a:pt x="1628" y="422"/>
                </a:lnTo>
                <a:lnTo>
                  <a:pt x="1623" y="428"/>
                </a:lnTo>
                <a:lnTo>
                  <a:pt x="1620" y="431"/>
                </a:lnTo>
                <a:lnTo>
                  <a:pt x="1618" y="434"/>
                </a:lnTo>
                <a:lnTo>
                  <a:pt x="1617" y="439"/>
                </a:lnTo>
                <a:lnTo>
                  <a:pt x="1617" y="446"/>
                </a:lnTo>
                <a:lnTo>
                  <a:pt x="1617" y="464"/>
                </a:lnTo>
                <a:lnTo>
                  <a:pt x="1617" y="479"/>
                </a:lnTo>
                <a:lnTo>
                  <a:pt x="1616" y="483"/>
                </a:lnTo>
                <a:lnTo>
                  <a:pt x="1616" y="488"/>
                </a:lnTo>
                <a:lnTo>
                  <a:pt x="1613" y="490"/>
                </a:lnTo>
                <a:lnTo>
                  <a:pt x="1611" y="494"/>
                </a:lnTo>
                <a:lnTo>
                  <a:pt x="1609" y="496"/>
                </a:lnTo>
                <a:lnTo>
                  <a:pt x="1604" y="498"/>
                </a:lnTo>
                <a:lnTo>
                  <a:pt x="1599" y="501"/>
                </a:lnTo>
                <a:lnTo>
                  <a:pt x="1593" y="502"/>
                </a:lnTo>
                <a:lnTo>
                  <a:pt x="1587" y="503"/>
                </a:lnTo>
                <a:lnTo>
                  <a:pt x="1581" y="506"/>
                </a:lnTo>
                <a:lnTo>
                  <a:pt x="1576" y="509"/>
                </a:lnTo>
                <a:lnTo>
                  <a:pt x="1572" y="513"/>
                </a:lnTo>
                <a:lnTo>
                  <a:pt x="1567" y="517"/>
                </a:lnTo>
                <a:lnTo>
                  <a:pt x="1563" y="522"/>
                </a:lnTo>
                <a:lnTo>
                  <a:pt x="1560" y="528"/>
                </a:lnTo>
                <a:lnTo>
                  <a:pt x="1556" y="534"/>
                </a:lnTo>
                <a:lnTo>
                  <a:pt x="1555" y="539"/>
                </a:lnTo>
                <a:lnTo>
                  <a:pt x="1555" y="544"/>
                </a:lnTo>
                <a:lnTo>
                  <a:pt x="1555" y="548"/>
                </a:lnTo>
                <a:lnTo>
                  <a:pt x="1557" y="551"/>
                </a:lnTo>
                <a:lnTo>
                  <a:pt x="1565" y="556"/>
                </a:lnTo>
                <a:lnTo>
                  <a:pt x="1572" y="560"/>
                </a:lnTo>
                <a:lnTo>
                  <a:pt x="1575" y="563"/>
                </a:lnTo>
                <a:lnTo>
                  <a:pt x="1578" y="567"/>
                </a:lnTo>
                <a:lnTo>
                  <a:pt x="1579" y="572"/>
                </a:lnTo>
                <a:lnTo>
                  <a:pt x="1579" y="578"/>
                </a:lnTo>
                <a:lnTo>
                  <a:pt x="1578" y="584"/>
                </a:lnTo>
                <a:lnTo>
                  <a:pt x="1576" y="590"/>
                </a:lnTo>
                <a:lnTo>
                  <a:pt x="1574" y="596"/>
                </a:lnTo>
                <a:lnTo>
                  <a:pt x="1571" y="601"/>
                </a:lnTo>
                <a:lnTo>
                  <a:pt x="1563" y="609"/>
                </a:lnTo>
                <a:lnTo>
                  <a:pt x="1557" y="619"/>
                </a:lnTo>
                <a:lnTo>
                  <a:pt x="1555" y="622"/>
                </a:lnTo>
                <a:lnTo>
                  <a:pt x="1553" y="626"/>
                </a:lnTo>
                <a:lnTo>
                  <a:pt x="1549" y="627"/>
                </a:lnTo>
                <a:lnTo>
                  <a:pt x="1547" y="628"/>
                </a:lnTo>
                <a:lnTo>
                  <a:pt x="1544" y="627"/>
                </a:lnTo>
                <a:lnTo>
                  <a:pt x="1541" y="626"/>
                </a:lnTo>
                <a:lnTo>
                  <a:pt x="1537" y="622"/>
                </a:lnTo>
                <a:lnTo>
                  <a:pt x="1534" y="619"/>
                </a:lnTo>
                <a:lnTo>
                  <a:pt x="1525" y="610"/>
                </a:lnTo>
                <a:lnTo>
                  <a:pt x="1517" y="599"/>
                </a:lnTo>
                <a:lnTo>
                  <a:pt x="1509" y="589"/>
                </a:lnTo>
                <a:lnTo>
                  <a:pt x="1499" y="582"/>
                </a:lnTo>
                <a:lnTo>
                  <a:pt x="1494" y="578"/>
                </a:lnTo>
                <a:lnTo>
                  <a:pt x="1490" y="577"/>
                </a:lnTo>
                <a:lnTo>
                  <a:pt x="1485" y="576"/>
                </a:lnTo>
                <a:lnTo>
                  <a:pt x="1480" y="575"/>
                </a:lnTo>
                <a:lnTo>
                  <a:pt x="1477" y="575"/>
                </a:lnTo>
                <a:lnTo>
                  <a:pt x="1473" y="576"/>
                </a:lnTo>
                <a:lnTo>
                  <a:pt x="1469" y="578"/>
                </a:lnTo>
                <a:lnTo>
                  <a:pt x="1467" y="580"/>
                </a:lnTo>
                <a:lnTo>
                  <a:pt x="1465" y="588"/>
                </a:lnTo>
                <a:lnTo>
                  <a:pt x="1462" y="596"/>
                </a:lnTo>
                <a:lnTo>
                  <a:pt x="1462" y="599"/>
                </a:lnTo>
                <a:lnTo>
                  <a:pt x="1461" y="601"/>
                </a:lnTo>
                <a:lnTo>
                  <a:pt x="1460" y="602"/>
                </a:lnTo>
                <a:lnTo>
                  <a:pt x="1458" y="602"/>
                </a:lnTo>
                <a:lnTo>
                  <a:pt x="1454" y="598"/>
                </a:lnTo>
                <a:lnTo>
                  <a:pt x="1449" y="592"/>
                </a:lnTo>
                <a:lnTo>
                  <a:pt x="1447" y="589"/>
                </a:lnTo>
                <a:lnTo>
                  <a:pt x="1443" y="586"/>
                </a:lnTo>
                <a:lnTo>
                  <a:pt x="1439" y="585"/>
                </a:lnTo>
                <a:lnTo>
                  <a:pt x="1434" y="585"/>
                </a:lnTo>
                <a:lnTo>
                  <a:pt x="1421" y="585"/>
                </a:lnTo>
                <a:lnTo>
                  <a:pt x="1404" y="588"/>
                </a:lnTo>
                <a:lnTo>
                  <a:pt x="1396" y="590"/>
                </a:lnTo>
                <a:lnTo>
                  <a:pt x="1390" y="591"/>
                </a:lnTo>
                <a:lnTo>
                  <a:pt x="1385" y="594"/>
                </a:lnTo>
                <a:lnTo>
                  <a:pt x="1380" y="597"/>
                </a:lnTo>
                <a:lnTo>
                  <a:pt x="1377" y="601"/>
                </a:lnTo>
                <a:lnTo>
                  <a:pt x="1373" y="605"/>
                </a:lnTo>
                <a:lnTo>
                  <a:pt x="1371" y="610"/>
                </a:lnTo>
                <a:lnTo>
                  <a:pt x="1368" y="617"/>
                </a:lnTo>
                <a:lnTo>
                  <a:pt x="1362" y="635"/>
                </a:lnTo>
                <a:lnTo>
                  <a:pt x="1358" y="657"/>
                </a:lnTo>
                <a:lnTo>
                  <a:pt x="1355" y="667"/>
                </a:lnTo>
                <a:lnTo>
                  <a:pt x="1354" y="677"/>
                </a:lnTo>
                <a:lnTo>
                  <a:pt x="1354" y="685"/>
                </a:lnTo>
                <a:lnTo>
                  <a:pt x="1355" y="693"/>
                </a:lnTo>
                <a:lnTo>
                  <a:pt x="1358" y="699"/>
                </a:lnTo>
                <a:lnTo>
                  <a:pt x="1360" y="705"/>
                </a:lnTo>
                <a:lnTo>
                  <a:pt x="1365" y="710"/>
                </a:lnTo>
                <a:lnTo>
                  <a:pt x="1370" y="716"/>
                </a:lnTo>
                <a:lnTo>
                  <a:pt x="1379" y="725"/>
                </a:lnTo>
                <a:lnTo>
                  <a:pt x="1387" y="734"/>
                </a:lnTo>
                <a:lnTo>
                  <a:pt x="1391" y="739"/>
                </a:lnTo>
                <a:lnTo>
                  <a:pt x="1392" y="744"/>
                </a:lnTo>
                <a:lnTo>
                  <a:pt x="1392" y="750"/>
                </a:lnTo>
                <a:lnTo>
                  <a:pt x="1392" y="758"/>
                </a:lnTo>
                <a:lnTo>
                  <a:pt x="1391" y="764"/>
                </a:lnTo>
                <a:lnTo>
                  <a:pt x="1389" y="769"/>
                </a:lnTo>
                <a:lnTo>
                  <a:pt x="1386" y="775"/>
                </a:lnTo>
                <a:lnTo>
                  <a:pt x="1384" y="780"/>
                </a:lnTo>
                <a:lnTo>
                  <a:pt x="1376" y="790"/>
                </a:lnTo>
                <a:lnTo>
                  <a:pt x="1367" y="799"/>
                </a:lnTo>
                <a:lnTo>
                  <a:pt x="1360" y="807"/>
                </a:lnTo>
                <a:lnTo>
                  <a:pt x="1355" y="811"/>
                </a:lnTo>
                <a:lnTo>
                  <a:pt x="1353" y="812"/>
                </a:lnTo>
                <a:lnTo>
                  <a:pt x="1351" y="812"/>
                </a:lnTo>
                <a:lnTo>
                  <a:pt x="1348" y="810"/>
                </a:lnTo>
                <a:lnTo>
                  <a:pt x="1343" y="807"/>
                </a:lnTo>
                <a:lnTo>
                  <a:pt x="1340" y="806"/>
                </a:lnTo>
                <a:lnTo>
                  <a:pt x="1336" y="806"/>
                </a:lnTo>
                <a:lnTo>
                  <a:pt x="1332" y="806"/>
                </a:lnTo>
                <a:lnTo>
                  <a:pt x="1326" y="807"/>
                </a:lnTo>
                <a:lnTo>
                  <a:pt x="1314" y="810"/>
                </a:lnTo>
                <a:lnTo>
                  <a:pt x="1302" y="815"/>
                </a:lnTo>
                <a:lnTo>
                  <a:pt x="1296" y="818"/>
                </a:lnTo>
                <a:lnTo>
                  <a:pt x="1286" y="823"/>
                </a:lnTo>
                <a:lnTo>
                  <a:pt x="1279" y="825"/>
                </a:lnTo>
                <a:lnTo>
                  <a:pt x="1273" y="827"/>
                </a:lnTo>
                <a:lnTo>
                  <a:pt x="1269" y="824"/>
                </a:lnTo>
                <a:lnTo>
                  <a:pt x="1264" y="819"/>
                </a:lnTo>
                <a:lnTo>
                  <a:pt x="1258" y="815"/>
                </a:lnTo>
                <a:lnTo>
                  <a:pt x="1251" y="811"/>
                </a:lnTo>
                <a:lnTo>
                  <a:pt x="1242" y="809"/>
                </a:lnTo>
                <a:lnTo>
                  <a:pt x="1235" y="809"/>
                </a:lnTo>
                <a:lnTo>
                  <a:pt x="1228" y="806"/>
                </a:lnTo>
                <a:lnTo>
                  <a:pt x="1220" y="802"/>
                </a:lnTo>
                <a:lnTo>
                  <a:pt x="1210" y="796"/>
                </a:lnTo>
                <a:lnTo>
                  <a:pt x="1200" y="791"/>
                </a:lnTo>
                <a:lnTo>
                  <a:pt x="1195" y="790"/>
                </a:lnTo>
                <a:lnTo>
                  <a:pt x="1190" y="788"/>
                </a:lnTo>
                <a:lnTo>
                  <a:pt x="1188" y="788"/>
                </a:lnTo>
                <a:lnTo>
                  <a:pt x="1185" y="788"/>
                </a:lnTo>
                <a:lnTo>
                  <a:pt x="1185" y="791"/>
                </a:lnTo>
                <a:lnTo>
                  <a:pt x="1185" y="793"/>
                </a:lnTo>
                <a:lnTo>
                  <a:pt x="1187" y="796"/>
                </a:lnTo>
                <a:lnTo>
                  <a:pt x="1188" y="800"/>
                </a:lnTo>
                <a:lnTo>
                  <a:pt x="1190" y="804"/>
                </a:lnTo>
                <a:lnTo>
                  <a:pt x="1191" y="807"/>
                </a:lnTo>
                <a:lnTo>
                  <a:pt x="1191" y="811"/>
                </a:lnTo>
                <a:lnTo>
                  <a:pt x="1191" y="813"/>
                </a:lnTo>
                <a:lnTo>
                  <a:pt x="1190" y="816"/>
                </a:lnTo>
                <a:lnTo>
                  <a:pt x="1189" y="818"/>
                </a:lnTo>
                <a:lnTo>
                  <a:pt x="1187" y="821"/>
                </a:lnTo>
                <a:lnTo>
                  <a:pt x="1184" y="822"/>
                </a:lnTo>
                <a:lnTo>
                  <a:pt x="1181" y="824"/>
                </a:lnTo>
                <a:lnTo>
                  <a:pt x="1179" y="828"/>
                </a:lnTo>
                <a:lnTo>
                  <a:pt x="1178" y="831"/>
                </a:lnTo>
                <a:lnTo>
                  <a:pt x="1177" y="836"/>
                </a:lnTo>
                <a:lnTo>
                  <a:pt x="1175" y="847"/>
                </a:lnTo>
                <a:lnTo>
                  <a:pt x="1170" y="859"/>
                </a:lnTo>
                <a:lnTo>
                  <a:pt x="1162" y="872"/>
                </a:lnTo>
                <a:lnTo>
                  <a:pt x="1153" y="884"/>
                </a:lnTo>
                <a:lnTo>
                  <a:pt x="1147" y="890"/>
                </a:lnTo>
                <a:lnTo>
                  <a:pt x="1143" y="894"/>
                </a:lnTo>
                <a:lnTo>
                  <a:pt x="1138" y="898"/>
                </a:lnTo>
                <a:lnTo>
                  <a:pt x="1132" y="900"/>
                </a:lnTo>
                <a:lnTo>
                  <a:pt x="1127" y="903"/>
                </a:lnTo>
                <a:lnTo>
                  <a:pt x="1121" y="903"/>
                </a:lnTo>
                <a:lnTo>
                  <a:pt x="1116" y="901"/>
                </a:lnTo>
                <a:lnTo>
                  <a:pt x="1112" y="899"/>
                </a:lnTo>
                <a:lnTo>
                  <a:pt x="1107" y="897"/>
                </a:lnTo>
                <a:lnTo>
                  <a:pt x="1103" y="893"/>
                </a:lnTo>
                <a:lnTo>
                  <a:pt x="1100" y="890"/>
                </a:lnTo>
                <a:lnTo>
                  <a:pt x="1099" y="885"/>
                </a:lnTo>
                <a:lnTo>
                  <a:pt x="1097" y="880"/>
                </a:lnTo>
                <a:lnTo>
                  <a:pt x="1097" y="875"/>
                </a:lnTo>
                <a:lnTo>
                  <a:pt x="1099" y="872"/>
                </a:lnTo>
                <a:lnTo>
                  <a:pt x="1100" y="868"/>
                </a:lnTo>
                <a:lnTo>
                  <a:pt x="1103" y="861"/>
                </a:lnTo>
                <a:lnTo>
                  <a:pt x="1109" y="856"/>
                </a:lnTo>
                <a:lnTo>
                  <a:pt x="1121" y="848"/>
                </a:lnTo>
                <a:lnTo>
                  <a:pt x="1135" y="837"/>
                </a:lnTo>
                <a:lnTo>
                  <a:pt x="1139" y="835"/>
                </a:lnTo>
                <a:lnTo>
                  <a:pt x="1141" y="834"/>
                </a:lnTo>
                <a:lnTo>
                  <a:pt x="1141" y="831"/>
                </a:lnTo>
                <a:lnTo>
                  <a:pt x="1141" y="829"/>
                </a:lnTo>
                <a:lnTo>
                  <a:pt x="1137" y="819"/>
                </a:lnTo>
                <a:lnTo>
                  <a:pt x="1128" y="806"/>
                </a:lnTo>
                <a:lnTo>
                  <a:pt x="1121" y="793"/>
                </a:lnTo>
                <a:lnTo>
                  <a:pt x="1115" y="777"/>
                </a:lnTo>
                <a:lnTo>
                  <a:pt x="1112" y="771"/>
                </a:lnTo>
                <a:lnTo>
                  <a:pt x="1106" y="765"/>
                </a:lnTo>
                <a:lnTo>
                  <a:pt x="1100" y="759"/>
                </a:lnTo>
                <a:lnTo>
                  <a:pt x="1094" y="755"/>
                </a:lnTo>
                <a:lnTo>
                  <a:pt x="1090" y="753"/>
                </a:lnTo>
                <a:lnTo>
                  <a:pt x="1087" y="753"/>
                </a:lnTo>
                <a:lnTo>
                  <a:pt x="1082" y="755"/>
                </a:lnTo>
                <a:lnTo>
                  <a:pt x="1076" y="758"/>
                </a:lnTo>
                <a:lnTo>
                  <a:pt x="1068" y="760"/>
                </a:lnTo>
                <a:lnTo>
                  <a:pt x="1059" y="760"/>
                </a:lnTo>
                <a:lnTo>
                  <a:pt x="1053" y="759"/>
                </a:lnTo>
                <a:lnTo>
                  <a:pt x="1047" y="755"/>
                </a:lnTo>
                <a:lnTo>
                  <a:pt x="1044" y="754"/>
                </a:lnTo>
                <a:lnTo>
                  <a:pt x="1040" y="753"/>
                </a:lnTo>
                <a:lnTo>
                  <a:pt x="1038" y="753"/>
                </a:lnTo>
                <a:lnTo>
                  <a:pt x="1037" y="753"/>
                </a:lnTo>
                <a:lnTo>
                  <a:pt x="1034" y="754"/>
                </a:lnTo>
                <a:lnTo>
                  <a:pt x="1033" y="758"/>
                </a:lnTo>
                <a:lnTo>
                  <a:pt x="1033" y="760"/>
                </a:lnTo>
                <a:lnTo>
                  <a:pt x="1032" y="765"/>
                </a:lnTo>
                <a:lnTo>
                  <a:pt x="1032" y="775"/>
                </a:lnTo>
                <a:lnTo>
                  <a:pt x="1031" y="785"/>
                </a:lnTo>
                <a:lnTo>
                  <a:pt x="1031" y="790"/>
                </a:lnTo>
                <a:lnTo>
                  <a:pt x="1028" y="793"/>
                </a:lnTo>
                <a:lnTo>
                  <a:pt x="1026" y="797"/>
                </a:lnTo>
                <a:lnTo>
                  <a:pt x="1022" y="800"/>
                </a:lnTo>
                <a:lnTo>
                  <a:pt x="1018" y="802"/>
                </a:lnTo>
                <a:lnTo>
                  <a:pt x="1013" y="803"/>
                </a:lnTo>
                <a:lnTo>
                  <a:pt x="1007" y="803"/>
                </a:lnTo>
                <a:lnTo>
                  <a:pt x="1001" y="803"/>
                </a:lnTo>
                <a:lnTo>
                  <a:pt x="995" y="800"/>
                </a:lnTo>
                <a:lnTo>
                  <a:pt x="990" y="798"/>
                </a:lnTo>
                <a:lnTo>
                  <a:pt x="986" y="794"/>
                </a:lnTo>
                <a:lnTo>
                  <a:pt x="982" y="791"/>
                </a:lnTo>
                <a:lnTo>
                  <a:pt x="980" y="786"/>
                </a:lnTo>
                <a:lnTo>
                  <a:pt x="979" y="781"/>
                </a:lnTo>
                <a:lnTo>
                  <a:pt x="979" y="777"/>
                </a:lnTo>
                <a:lnTo>
                  <a:pt x="980" y="772"/>
                </a:lnTo>
                <a:lnTo>
                  <a:pt x="983" y="762"/>
                </a:lnTo>
                <a:lnTo>
                  <a:pt x="988" y="755"/>
                </a:lnTo>
                <a:lnTo>
                  <a:pt x="992" y="748"/>
                </a:lnTo>
                <a:lnTo>
                  <a:pt x="994" y="739"/>
                </a:lnTo>
                <a:lnTo>
                  <a:pt x="995" y="728"/>
                </a:lnTo>
                <a:lnTo>
                  <a:pt x="994" y="715"/>
                </a:lnTo>
                <a:lnTo>
                  <a:pt x="994" y="703"/>
                </a:lnTo>
                <a:lnTo>
                  <a:pt x="994" y="692"/>
                </a:lnTo>
                <a:lnTo>
                  <a:pt x="994" y="684"/>
                </a:lnTo>
                <a:lnTo>
                  <a:pt x="992" y="674"/>
                </a:lnTo>
                <a:lnTo>
                  <a:pt x="988" y="662"/>
                </a:lnTo>
                <a:lnTo>
                  <a:pt x="984" y="651"/>
                </a:lnTo>
                <a:lnTo>
                  <a:pt x="981" y="643"/>
                </a:lnTo>
                <a:lnTo>
                  <a:pt x="977" y="638"/>
                </a:lnTo>
                <a:lnTo>
                  <a:pt x="971" y="633"/>
                </a:lnTo>
                <a:lnTo>
                  <a:pt x="965" y="628"/>
                </a:lnTo>
                <a:lnTo>
                  <a:pt x="954" y="622"/>
                </a:lnTo>
                <a:lnTo>
                  <a:pt x="946" y="617"/>
                </a:lnTo>
                <a:lnTo>
                  <a:pt x="944" y="615"/>
                </a:lnTo>
                <a:lnTo>
                  <a:pt x="942" y="611"/>
                </a:lnTo>
                <a:lnTo>
                  <a:pt x="940" y="608"/>
                </a:lnTo>
                <a:lnTo>
                  <a:pt x="940" y="603"/>
                </a:lnTo>
                <a:lnTo>
                  <a:pt x="939" y="596"/>
                </a:lnTo>
                <a:lnTo>
                  <a:pt x="937" y="591"/>
                </a:lnTo>
                <a:lnTo>
                  <a:pt x="936" y="590"/>
                </a:lnTo>
                <a:lnTo>
                  <a:pt x="933" y="589"/>
                </a:lnTo>
                <a:lnTo>
                  <a:pt x="931" y="589"/>
                </a:lnTo>
                <a:lnTo>
                  <a:pt x="930" y="590"/>
                </a:lnTo>
                <a:lnTo>
                  <a:pt x="925" y="592"/>
                </a:lnTo>
                <a:lnTo>
                  <a:pt x="920" y="596"/>
                </a:lnTo>
                <a:lnTo>
                  <a:pt x="918" y="598"/>
                </a:lnTo>
                <a:lnTo>
                  <a:pt x="917" y="602"/>
                </a:lnTo>
                <a:lnTo>
                  <a:pt x="916" y="607"/>
                </a:lnTo>
                <a:lnTo>
                  <a:pt x="916" y="614"/>
                </a:lnTo>
                <a:lnTo>
                  <a:pt x="916" y="620"/>
                </a:lnTo>
                <a:lnTo>
                  <a:pt x="914" y="623"/>
                </a:lnTo>
                <a:lnTo>
                  <a:pt x="913" y="626"/>
                </a:lnTo>
                <a:lnTo>
                  <a:pt x="911" y="628"/>
                </a:lnTo>
                <a:lnTo>
                  <a:pt x="904" y="630"/>
                </a:lnTo>
                <a:lnTo>
                  <a:pt x="894" y="634"/>
                </a:lnTo>
                <a:lnTo>
                  <a:pt x="886" y="639"/>
                </a:lnTo>
                <a:lnTo>
                  <a:pt x="880" y="642"/>
                </a:lnTo>
                <a:lnTo>
                  <a:pt x="879" y="643"/>
                </a:lnTo>
                <a:lnTo>
                  <a:pt x="877" y="646"/>
                </a:lnTo>
                <a:lnTo>
                  <a:pt x="877" y="649"/>
                </a:lnTo>
                <a:lnTo>
                  <a:pt x="877" y="653"/>
                </a:lnTo>
                <a:lnTo>
                  <a:pt x="877" y="670"/>
                </a:lnTo>
                <a:lnTo>
                  <a:pt x="877" y="684"/>
                </a:lnTo>
                <a:lnTo>
                  <a:pt x="876" y="696"/>
                </a:lnTo>
                <a:lnTo>
                  <a:pt x="875" y="706"/>
                </a:lnTo>
                <a:lnTo>
                  <a:pt x="874" y="714"/>
                </a:lnTo>
                <a:lnTo>
                  <a:pt x="872" y="721"/>
                </a:lnTo>
                <a:lnTo>
                  <a:pt x="869" y="725"/>
                </a:lnTo>
                <a:lnTo>
                  <a:pt x="866" y="728"/>
                </a:lnTo>
                <a:lnTo>
                  <a:pt x="863" y="730"/>
                </a:lnTo>
                <a:lnTo>
                  <a:pt x="860" y="731"/>
                </a:lnTo>
                <a:lnTo>
                  <a:pt x="857" y="731"/>
                </a:lnTo>
                <a:lnTo>
                  <a:pt x="854" y="731"/>
                </a:lnTo>
                <a:lnTo>
                  <a:pt x="849" y="730"/>
                </a:lnTo>
                <a:lnTo>
                  <a:pt x="844" y="728"/>
                </a:lnTo>
                <a:lnTo>
                  <a:pt x="835" y="723"/>
                </a:lnTo>
                <a:lnTo>
                  <a:pt x="824" y="716"/>
                </a:lnTo>
                <a:lnTo>
                  <a:pt x="813" y="706"/>
                </a:lnTo>
                <a:lnTo>
                  <a:pt x="804" y="697"/>
                </a:lnTo>
                <a:lnTo>
                  <a:pt x="786" y="679"/>
                </a:lnTo>
                <a:lnTo>
                  <a:pt x="775" y="671"/>
                </a:lnTo>
                <a:lnTo>
                  <a:pt x="769" y="670"/>
                </a:lnTo>
                <a:lnTo>
                  <a:pt x="761" y="668"/>
                </a:lnTo>
                <a:lnTo>
                  <a:pt x="751" y="666"/>
                </a:lnTo>
                <a:lnTo>
                  <a:pt x="744" y="661"/>
                </a:lnTo>
                <a:lnTo>
                  <a:pt x="738" y="657"/>
                </a:lnTo>
                <a:lnTo>
                  <a:pt x="735" y="655"/>
                </a:lnTo>
                <a:lnTo>
                  <a:pt x="730" y="654"/>
                </a:lnTo>
                <a:lnTo>
                  <a:pt x="722" y="654"/>
                </a:lnTo>
                <a:lnTo>
                  <a:pt x="717" y="654"/>
                </a:lnTo>
                <a:lnTo>
                  <a:pt x="712" y="653"/>
                </a:lnTo>
                <a:lnTo>
                  <a:pt x="706" y="651"/>
                </a:lnTo>
                <a:lnTo>
                  <a:pt x="703" y="647"/>
                </a:lnTo>
                <a:lnTo>
                  <a:pt x="698" y="643"/>
                </a:lnTo>
                <a:lnTo>
                  <a:pt x="696" y="639"/>
                </a:lnTo>
                <a:lnTo>
                  <a:pt x="692" y="634"/>
                </a:lnTo>
                <a:lnTo>
                  <a:pt x="691" y="628"/>
                </a:lnTo>
                <a:lnTo>
                  <a:pt x="688" y="616"/>
                </a:lnTo>
                <a:lnTo>
                  <a:pt x="684" y="604"/>
                </a:lnTo>
                <a:lnTo>
                  <a:pt x="677" y="592"/>
                </a:lnTo>
                <a:lnTo>
                  <a:pt x="667" y="579"/>
                </a:lnTo>
                <a:lnTo>
                  <a:pt x="660" y="573"/>
                </a:lnTo>
                <a:lnTo>
                  <a:pt x="654" y="569"/>
                </a:lnTo>
                <a:lnTo>
                  <a:pt x="647" y="565"/>
                </a:lnTo>
                <a:lnTo>
                  <a:pt x="640" y="563"/>
                </a:lnTo>
                <a:lnTo>
                  <a:pt x="627" y="561"/>
                </a:lnTo>
                <a:lnTo>
                  <a:pt x="617" y="561"/>
                </a:lnTo>
                <a:lnTo>
                  <a:pt x="614" y="560"/>
                </a:lnTo>
                <a:lnTo>
                  <a:pt x="610" y="560"/>
                </a:lnTo>
                <a:lnTo>
                  <a:pt x="606" y="558"/>
                </a:lnTo>
                <a:lnTo>
                  <a:pt x="604" y="557"/>
                </a:lnTo>
                <a:lnTo>
                  <a:pt x="599" y="551"/>
                </a:lnTo>
                <a:lnTo>
                  <a:pt x="596" y="542"/>
                </a:lnTo>
                <a:lnTo>
                  <a:pt x="593" y="539"/>
                </a:lnTo>
                <a:lnTo>
                  <a:pt x="590" y="535"/>
                </a:lnTo>
                <a:lnTo>
                  <a:pt x="585" y="532"/>
                </a:lnTo>
                <a:lnTo>
                  <a:pt x="580" y="528"/>
                </a:lnTo>
                <a:lnTo>
                  <a:pt x="568" y="523"/>
                </a:lnTo>
                <a:lnTo>
                  <a:pt x="558" y="516"/>
                </a:lnTo>
                <a:lnTo>
                  <a:pt x="554" y="512"/>
                </a:lnTo>
                <a:lnTo>
                  <a:pt x="551" y="507"/>
                </a:lnTo>
                <a:lnTo>
                  <a:pt x="549" y="501"/>
                </a:lnTo>
                <a:lnTo>
                  <a:pt x="547" y="494"/>
                </a:lnTo>
                <a:lnTo>
                  <a:pt x="547" y="485"/>
                </a:lnTo>
                <a:lnTo>
                  <a:pt x="547" y="478"/>
                </a:lnTo>
                <a:lnTo>
                  <a:pt x="547" y="470"/>
                </a:lnTo>
                <a:lnTo>
                  <a:pt x="548" y="462"/>
                </a:lnTo>
                <a:lnTo>
                  <a:pt x="548" y="453"/>
                </a:lnTo>
                <a:lnTo>
                  <a:pt x="548" y="446"/>
                </a:lnTo>
                <a:lnTo>
                  <a:pt x="546" y="439"/>
                </a:lnTo>
                <a:lnTo>
                  <a:pt x="545" y="433"/>
                </a:lnTo>
                <a:lnTo>
                  <a:pt x="539" y="421"/>
                </a:lnTo>
                <a:lnTo>
                  <a:pt x="535" y="409"/>
                </a:lnTo>
                <a:lnTo>
                  <a:pt x="534" y="397"/>
                </a:lnTo>
                <a:lnTo>
                  <a:pt x="534" y="386"/>
                </a:lnTo>
                <a:lnTo>
                  <a:pt x="533" y="376"/>
                </a:lnTo>
                <a:lnTo>
                  <a:pt x="530" y="367"/>
                </a:lnTo>
                <a:lnTo>
                  <a:pt x="524" y="358"/>
                </a:lnTo>
                <a:lnTo>
                  <a:pt x="517" y="349"/>
                </a:lnTo>
                <a:lnTo>
                  <a:pt x="513" y="343"/>
                </a:lnTo>
                <a:lnTo>
                  <a:pt x="509" y="337"/>
                </a:lnTo>
                <a:lnTo>
                  <a:pt x="507" y="330"/>
                </a:lnTo>
                <a:lnTo>
                  <a:pt x="504" y="323"/>
                </a:lnTo>
                <a:lnTo>
                  <a:pt x="504" y="315"/>
                </a:lnTo>
                <a:lnTo>
                  <a:pt x="505" y="311"/>
                </a:lnTo>
                <a:lnTo>
                  <a:pt x="508" y="306"/>
                </a:lnTo>
                <a:lnTo>
                  <a:pt x="511" y="304"/>
                </a:lnTo>
                <a:lnTo>
                  <a:pt x="515" y="300"/>
                </a:lnTo>
                <a:lnTo>
                  <a:pt x="518" y="298"/>
                </a:lnTo>
                <a:lnTo>
                  <a:pt x="521" y="294"/>
                </a:lnTo>
                <a:lnTo>
                  <a:pt x="522" y="289"/>
                </a:lnTo>
                <a:lnTo>
                  <a:pt x="520" y="285"/>
                </a:lnTo>
                <a:lnTo>
                  <a:pt x="516" y="277"/>
                </a:lnTo>
                <a:lnTo>
                  <a:pt x="509" y="269"/>
                </a:lnTo>
                <a:lnTo>
                  <a:pt x="502" y="261"/>
                </a:lnTo>
                <a:lnTo>
                  <a:pt x="486" y="244"/>
                </a:lnTo>
                <a:lnTo>
                  <a:pt x="478" y="232"/>
                </a:lnTo>
                <a:lnTo>
                  <a:pt x="474" y="225"/>
                </a:lnTo>
                <a:lnTo>
                  <a:pt x="473" y="219"/>
                </a:lnTo>
                <a:lnTo>
                  <a:pt x="470" y="214"/>
                </a:lnTo>
                <a:lnTo>
                  <a:pt x="464" y="207"/>
                </a:lnTo>
                <a:lnTo>
                  <a:pt x="463" y="204"/>
                </a:lnTo>
                <a:lnTo>
                  <a:pt x="461" y="198"/>
                </a:lnTo>
                <a:lnTo>
                  <a:pt x="461" y="191"/>
                </a:lnTo>
                <a:lnTo>
                  <a:pt x="461" y="182"/>
                </a:lnTo>
                <a:lnTo>
                  <a:pt x="463" y="161"/>
                </a:lnTo>
                <a:lnTo>
                  <a:pt x="464" y="137"/>
                </a:lnTo>
                <a:lnTo>
                  <a:pt x="464" y="125"/>
                </a:lnTo>
                <a:lnTo>
                  <a:pt x="464" y="115"/>
                </a:lnTo>
                <a:lnTo>
                  <a:pt x="461" y="105"/>
                </a:lnTo>
                <a:lnTo>
                  <a:pt x="460" y="96"/>
                </a:lnTo>
                <a:lnTo>
                  <a:pt x="457" y="88"/>
                </a:lnTo>
                <a:lnTo>
                  <a:pt x="452" y="84"/>
                </a:lnTo>
                <a:lnTo>
                  <a:pt x="450" y="82"/>
                </a:lnTo>
                <a:lnTo>
                  <a:pt x="446" y="81"/>
                </a:lnTo>
                <a:lnTo>
                  <a:pt x="442" y="81"/>
                </a:lnTo>
                <a:lnTo>
                  <a:pt x="439" y="81"/>
                </a:lnTo>
                <a:lnTo>
                  <a:pt x="423" y="82"/>
                </a:lnTo>
                <a:lnTo>
                  <a:pt x="410" y="84"/>
                </a:lnTo>
                <a:lnTo>
                  <a:pt x="400" y="82"/>
                </a:lnTo>
                <a:lnTo>
                  <a:pt x="390" y="81"/>
                </a:lnTo>
                <a:lnTo>
                  <a:pt x="383" y="79"/>
                </a:lnTo>
                <a:lnTo>
                  <a:pt x="378" y="77"/>
                </a:lnTo>
                <a:lnTo>
                  <a:pt x="373" y="74"/>
                </a:lnTo>
                <a:lnTo>
                  <a:pt x="370" y="71"/>
                </a:lnTo>
                <a:lnTo>
                  <a:pt x="360" y="67"/>
                </a:lnTo>
                <a:lnTo>
                  <a:pt x="347" y="62"/>
                </a:lnTo>
                <a:lnTo>
                  <a:pt x="333" y="60"/>
                </a:lnTo>
                <a:lnTo>
                  <a:pt x="321" y="55"/>
                </a:lnTo>
                <a:lnTo>
                  <a:pt x="316" y="53"/>
                </a:lnTo>
                <a:lnTo>
                  <a:pt x="313" y="48"/>
                </a:lnTo>
                <a:lnTo>
                  <a:pt x="310" y="43"/>
                </a:lnTo>
                <a:lnTo>
                  <a:pt x="307" y="37"/>
                </a:lnTo>
                <a:lnTo>
                  <a:pt x="302" y="24"/>
                </a:lnTo>
                <a:lnTo>
                  <a:pt x="294" y="11"/>
                </a:lnTo>
                <a:lnTo>
                  <a:pt x="289" y="6"/>
                </a:lnTo>
                <a:lnTo>
                  <a:pt x="285" y="3"/>
                </a:lnTo>
                <a:lnTo>
                  <a:pt x="278" y="0"/>
                </a:lnTo>
                <a:lnTo>
                  <a:pt x="265" y="2"/>
                </a:lnTo>
                <a:lnTo>
                  <a:pt x="257" y="2"/>
                </a:lnTo>
                <a:lnTo>
                  <a:pt x="252" y="4"/>
                </a:lnTo>
                <a:lnTo>
                  <a:pt x="249" y="6"/>
                </a:lnTo>
                <a:lnTo>
                  <a:pt x="245" y="9"/>
                </a:lnTo>
                <a:lnTo>
                  <a:pt x="243" y="11"/>
                </a:lnTo>
                <a:lnTo>
                  <a:pt x="240" y="12"/>
                </a:lnTo>
                <a:lnTo>
                  <a:pt x="237" y="14"/>
                </a:lnTo>
                <a:lnTo>
                  <a:pt x="232" y="14"/>
                </a:lnTo>
                <a:lnTo>
                  <a:pt x="227" y="14"/>
                </a:lnTo>
                <a:lnTo>
                  <a:pt x="222" y="15"/>
                </a:lnTo>
                <a:lnTo>
                  <a:pt x="217" y="17"/>
                </a:lnTo>
                <a:lnTo>
                  <a:pt x="212" y="19"/>
                </a:lnTo>
                <a:lnTo>
                  <a:pt x="208" y="24"/>
                </a:lnTo>
                <a:lnTo>
                  <a:pt x="203" y="28"/>
                </a:lnTo>
                <a:lnTo>
                  <a:pt x="200" y="33"/>
                </a:lnTo>
                <a:lnTo>
                  <a:pt x="198" y="37"/>
                </a:lnTo>
                <a:lnTo>
                  <a:pt x="196" y="43"/>
                </a:lnTo>
                <a:lnTo>
                  <a:pt x="196" y="53"/>
                </a:lnTo>
                <a:lnTo>
                  <a:pt x="198" y="62"/>
                </a:lnTo>
                <a:lnTo>
                  <a:pt x="198" y="73"/>
                </a:lnTo>
                <a:lnTo>
                  <a:pt x="199" y="82"/>
                </a:lnTo>
                <a:lnTo>
                  <a:pt x="199" y="91"/>
                </a:lnTo>
                <a:lnTo>
                  <a:pt x="198" y="93"/>
                </a:lnTo>
                <a:lnTo>
                  <a:pt x="198" y="96"/>
                </a:lnTo>
                <a:lnTo>
                  <a:pt x="195" y="97"/>
                </a:lnTo>
                <a:lnTo>
                  <a:pt x="194" y="97"/>
                </a:lnTo>
                <a:lnTo>
                  <a:pt x="190" y="96"/>
                </a:lnTo>
                <a:lnTo>
                  <a:pt x="187" y="94"/>
                </a:lnTo>
                <a:lnTo>
                  <a:pt x="183" y="94"/>
                </a:lnTo>
                <a:lnTo>
                  <a:pt x="180" y="96"/>
                </a:lnTo>
                <a:lnTo>
                  <a:pt x="176" y="98"/>
                </a:lnTo>
                <a:lnTo>
                  <a:pt x="174" y="101"/>
                </a:lnTo>
                <a:lnTo>
                  <a:pt x="170" y="106"/>
                </a:lnTo>
                <a:lnTo>
                  <a:pt x="168" y="112"/>
                </a:lnTo>
                <a:lnTo>
                  <a:pt x="164" y="118"/>
                </a:lnTo>
                <a:lnTo>
                  <a:pt x="162" y="123"/>
                </a:lnTo>
                <a:lnTo>
                  <a:pt x="158" y="126"/>
                </a:lnTo>
                <a:lnTo>
                  <a:pt x="155" y="129"/>
                </a:lnTo>
                <a:lnTo>
                  <a:pt x="145" y="131"/>
                </a:lnTo>
                <a:lnTo>
                  <a:pt x="134" y="134"/>
                </a:lnTo>
                <a:lnTo>
                  <a:pt x="120" y="136"/>
                </a:lnTo>
                <a:lnTo>
                  <a:pt x="107" y="138"/>
                </a:lnTo>
                <a:lnTo>
                  <a:pt x="94" y="141"/>
                </a:lnTo>
                <a:lnTo>
                  <a:pt x="82" y="143"/>
                </a:lnTo>
                <a:lnTo>
                  <a:pt x="77" y="144"/>
                </a:lnTo>
                <a:lnTo>
                  <a:pt x="73" y="147"/>
                </a:lnTo>
                <a:lnTo>
                  <a:pt x="68" y="150"/>
                </a:lnTo>
                <a:lnTo>
                  <a:pt x="66" y="153"/>
                </a:lnTo>
                <a:lnTo>
                  <a:pt x="63" y="157"/>
                </a:lnTo>
                <a:lnTo>
                  <a:pt x="62" y="161"/>
                </a:lnTo>
                <a:lnTo>
                  <a:pt x="61" y="164"/>
                </a:lnTo>
                <a:lnTo>
                  <a:pt x="62" y="169"/>
                </a:lnTo>
                <a:lnTo>
                  <a:pt x="66" y="178"/>
                </a:lnTo>
                <a:lnTo>
                  <a:pt x="69" y="185"/>
                </a:lnTo>
                <a:lnTo>
                  <a:pt x="74" y="194"/>
                </a:lnTo>
                <a:lnTo>
                  <a:pt x="77" y="208"/>
                </a:lnTo>
                <a:lnTo>
                  <a:pt x="79" y="217"/>
                </a:lnTo>
                <a:lnTo>
                  <a:pt x="79" y="224"/>
                </a:lnTo>
                <a:lnTo>
                  <a:pt x="79" y="230"/>
                </a:lnTo>
                <a:lnTo>
                  <a:pt x="77" y="236"/>
                </a:lnTo>
                <a:lnTo>
                  <a:pt x="74" y="245"/>
                </a:lnTo>
                <a:lnTo>
                  <a:pt x="69" y="255"/>
                </a:lnTo>
                <a:lnTo>
                  <a:pt x="69" y="260"/>
                </a:lnTo>
                <a:lnTo>
                  <a:pt x="69" y="264"/>
                </a:lnTo>
                <a:lnTo>
                  <a:pt x="70" y="268"/>
                </a:lnTo>
                <a:lnTo>
                  <a:pt x="74" y="271"/>
                </a:lnTo>
                <a:lnTo>
                  <a:pt x="76" y="275"/>
                </a:lnTo>
                <a:lnTo>
                  <a:pt x="81" y="276"/>
                </a:lnTo>
                <a:lnTo>
                  <a:pt x="85" y="279"/>
                </a:lnTo>
                <a:lnTo>
                  <a:pt x="89" y="280"/>
                </a:lnTo>
                <a:lnTo>
                  <a:pt x="96" y="280"/>
                </a:lnTo>
                <a:lnTo>
                  <a:pt x="101" y="282"/>
                </a:lnTo>
                <a:lnTo>
                  <a:pt x="102" y="283"/>
                </a:lnTo>
                <a:lnTo>
                  <a:pt x="102" y="285"/>
                </a:lnTo>
                <a:lnTo>
                  <a:pt x="102" y="287"/>
                </a:lnTo>
                <a:lnTo>
                  <a:pt x="101" y="290"/>
                </a:lnTo>
                <a:lnTo>
                  <a:pt x="100" y="294"/>
                </a:lnTo>
                <a:lnTo>
                  <a:pt x="99" y="298"/>
                </a:lnTo>
                <a:lnTo>
                  <a:pt x="99" y="301"/>
                </a:lnTo>
                <a:lnTo>
                  <a:pt x="99" y="306"/>
                </a:lnTo>
                <a:lnTo>
                  <a:pt x="101" y="309"/>
                </a:lnTo>
                <a:lnTo>
                  <a:pt x="104" y="313"/>
                </a:lnTo>
                <a:lnTo>
                  <a:pt x="106" y="317"/>
                </a:lnTo>
                <a:lnTo>
                  <a:pt x="111" y="320"/>
                </a:lnTo>
                <a:lnTo>
                  <a:pt x="120" y="326"/>
                </a:lnTo>
                <a:lnTo>
                  <a:pt x="132" y="333"/>
                </a:lnTo>
                <a:lnTo>
                  <a:pt x="138" y="337"/>
                </a:lnTo>
                <a:lnTo>
                  <a:pt x="144" y="340"/>
                </a:lnTo>
                <a:lnTo>
                  <a:pt x="151" y="343"/>
                </a:lnTo>
                <a:lnTo>
                  <a:pt x="158" y="345"/>
                </a:lnTo>
                <a:lnTo>
                  <a:pt x="165" y="348"/>
                </a:lnTo>
                <a:lnTo>
                  <a:pt x="171" y="350"/>
                </a:lnTo>
                <a:lnTo>
                  <a:pt x="176" y="352"/>
                </a:lnTo>
                <a:lnTo>
                  <a:pt x="181" y="355"/>
                </a:lnTo>
                <a:lnTo>
                  <a:pt x="183" y="358"/>
                </a:lnTo>
                <a:lnTo>
                  <a:pt x="184" y="361"/>
                </a:lnTo>
                <a:lnTo>
                  <a:pt x="184" y="363"/>
                </a:lnTo>
                <a:lnTo>
                  <a:pt x="182" y="364"/>
                </a:lnTo>
                <a:lnTo>
                  <a:pt x="174" y="367"/>
                </a:lnTo>
                <a:lnTo>
                  <a:pt x="164" y="370"/>
                </a:lnTo>
                <a:lnTo>
                  <a:pt x="152" y="372"/>
                </a:lnTo>
                <a:lnTo>
                  <a:pt x="140" y="374"/>
                </a:lnTo>
                <a:lnTo>
                  <a:pt x="136" y="375"/>
                </a:lnTo>
                <a:lnTo>
                  <a:pt x="131" y="377"/>
                </a:lnTo>
                <a:lnTo>
                  <a:pt x="127" y="380"/>
                </a:lnTo>
                <a:lnTo>
                  <a:pt x="124" y="384"/>
                </a:lnTo>
                <a:lnTo>
                  <a:pt x="121" y="389"/>
                </a:lnTo>
                <a:lnTo>
                  <a:pt x="119" y="395"/>
                </a:lnTo>
                <a:lnTo>
                  <a:pt x="118" y="401"/>
                </a:lnTo>
                <a:lnTo>
                  <a:pt x="117" y="408"/>
                </a:lnTo>
                <a:lnTo>
                  <a:pt x="115" y="414"/>
                </a:lnTo>
                <a:lnTo>
                  <a:pt x="113" y="420"/>
                </a:lnTo>
                <a:lnTo>
                  <a:pt x="111" y="425"/>
                </a:lnTo>
                <a:lnTo>
                  <a:pt x="107" y="430"/>
                </a:lnTo>
                <a:lnTo>
                  <a:pt x="98" y="438"/>
                </a:lnTo>
                <a:lnTo>
                  <a:pt x="86" y="445"/>
                </a:lnTo>
                <a:lnTo>
                  <a:pt x="81" y="447"/>
                </a:lnTo>
                <a:lnTo>
                  <a:pt x="76" y="451"/>
                </a:lnTo>
                <a:lnTo>
                  <a:pt x="73" y="454"/>
                </a:lnTo>
                <a:lnTo>
                  <a:pt x="70" y="458"/>
                </a:lnTo>
                <a:lnTo>
                  <a:pt x="69" y="462"/>
                </a:lnTo>
                <a:lnTo>
                  <a:pt x="68" y="465"/>
                </a:lnTo>
                <a:lnTo>
                  <a:pt x="68" y="468"/>
                </a:lnTo>
                <a:lnTo>
                  <a:pt x="69" y="471"/>
                </a:lnTo>
                <a:lnTo>
                  <a:pt x="74" y="481"/>
                </a:lnTo>
                <a:lnTo>
                  <a:pt x="80" y="491"/>
                </a:lnTo>
                <a:lnTo>
                  <a:pt x="82" y="498"/>
                </a:lnTo>
                <a:lnTo>
                  <a:pt x="83" y="504"/>
                </a:lnTo>
                <a:lnTo>
                  <a:pt x="83" y="512"/>
                </a:lnTo>
                <a:lnTo>
                  <a:pt x="82" y="517"/>
                </a:lnTo>
                <a:lnTo>
                  <a:pt x="79" y="523"/>
                </a:lnTo>
                <a:lnTo>
                  <a:pt x="75" y="527"/>
                </a:lnTo>
                <a:lnTo>
                  <a:pt x="71" y="529"/>
                </a:lnTo>
                <a:lnTo>
                  <a:pt x="66" y="532"/>
                </a:lnTo>
                <a:lnTo>
                  <a:pt x="54" y="533"/>
                </a:lnTo>
                <a:lnTo>
                  <a:pt x="37" y="533"/>
                </a:lnTo>
                <a:lnTo>
                  <a:pt x="28" y="533"/>
                </a:lnTo>
                <a:lnTo>
                  <a:pt x="22" y="535"/>
                </a:lnTo>
                <a:lnTo>
                  <a:pt x="16" y="538"/>
                </a:lnTo>
                <a:lnTo>
                  <a:pt x="10" y="541"/>
                </a:lnTo>
                <a:lnTo>
                  <a:pt x="3" y="548"/>
                </a:lnTo>
                <a:lnTo>
                  <a:pt x="0" y="552"/>
                </a:lnTo>
                <a:lnTo>
                  <a:pt x="0" y="554"/>
                </a:lnTo>
                <a:lnTo>
                  <a:pt x="1" y="557"/>
                </a:lnTo>
                <a:lnTo>
                  <a:pt x="3" y="560"/>
                </a:lnTo>
                <a:lnTo>
                  <a:pt x="6" y="564"/>
                </a:lnTo>
                <a:lnTo>
                  <a:pt x="7" y="566"/>
                </a:lnTo>
                <a:lnTo>
                  <a:pt x="10" y="570"/>
                </a:lnTo>
                <a:lnTo>
                  <a:pt x="11" y="572"/>
                </a:lnTo>
                <a:lnTo>
                  <a:pt x="11" y="577"/>
                </a:lnTo>
                <a:lnTo>
                  <a:pt x="11" y="588"/>
                </a:lnTo>
                <a:lnTo>
                  <a:pt x="12" y="601"/>
                </a:lnTo>
                <a:lnTo>
                  <a:pt x="13" y="613"/>
                </a:lnTo>
                <a:lnTo>
                  <a:pt x="14" y="622"/>
                </a:lnTo>
                <a:lnTo>
                  <a:pt x="18" y="630"/>
                </a:lnTo>
                <a:lnTo>
                  <a:pt x="24" y="638"/>
                </a:lnTo>
                <a:lnTo>
                  <a:pt x="31" y="643"/>
                </a:lnTo>
                <a:lnTo>
                  <a:pt x="37" y="648"/>
                </a:lnTo>
                <a:lnTo>
                  <a:pt x="44" y="651"/>
                </a:lnTo>
                <a:lnTo>
                  <a:pt x="51" y="655"/>
                </a:lnTo>
                <a:lnTo>
                  <a:pt x="58" y="660"/>
                </a:lnTo>
                <a:lnTo>
                  <a:pt x="66" y="667"/>
                </a:lnTo>
                <a:lnTo>
                  <a:pt x="73" y="677"/>
                </a:lnTo>
                <a:lnTo>
                  <a:pt x="82" y="689"/>
                </a:lnTo>
                <a:lnTo>
                  <a:pt x="94" y="701"/>
                </a:lnTo>
                <a:lnTo>
                  <a:pt x="105" y="714"/>
                </a:lnTo>
                <a:lnTo>
                  <a:pt x="113" y="722"/>
                </a:lnTo>
                <a:lnTo>
                  <a:pt x="120" y="730"/>
                </a:lnTo>
                <a:lnTo>
                  <a:pt x="127" y="736"/>
                </a:lnTo>
                <a:lnTo>
                  <a:pt x="134" y="743"/>
                </a:lnTo>
                <a:lnTo>
                  <a:pt x="145" y="752"/>
                </a:lnTo>
                <a:lnTo>
                  <a:pt x="154" y="759"/>
                </a:lnTo>
                <a:lnTo>
                  <a:pt x="165" y="766"/>
                </a:lnTo>
                <a:lnTo>
                  <a:pt x="180" y="774"/>
                </a:lnTo>
                <a:lnTo>
                  <a:pt x="193" y="783"/>
                </a:lnTo>
                <a:lnTo>
                  <a:pt x="203" y="787"/>
                </a:lnTo>
                <a:lnTo>
                  <a:pt x="213" y="791"/>
                </a:lnTo>
                <a:lnTo>
                  <a:pt x="226" y="796"/>
                </a:lnTo>
                <a:lnTo>
                  <a:pt x="238" y="800"/>
                </a:lnTo>
                <a:lnTo>
                  <a:pt x="247" y="805"/>
                </a:lnTo>
                <a:lnTo>
                  <a:pt x="255" y="812"/>
                </a:lnTo>
                <a:lnTo>
                  <a:pt x="263" y="821"/>
                </a:lnTo>
                <a:lnTo>
                  <a:pt x="270" y="829"/>
                </a:lnTo>
                <a:lnTo>
                  <a:pt x="274" y="837"/>
                </a:lnTo>
                <a:lnTo>
                  <a:pt x="277" y="844"/>
                </a:lnTo>
                <a:lnTo>
                  <a:pt x="278" y="853"/>
                </a:lnTo>
                <a:lnTo>
                  <a:pt x="281" y="861"/>
                </a:lnTo>
                <a:lnTo>
                  <a:pt x="281" y="870"/>
                </a:lnTo>
                <a:lnTo>
                  <a:pt x="281" y="881"/>
                </a:lnTo>
                <a:lnTo>
                  <a:pt x="282" y="890"/>
                </a:lnTo>
                <a:lnTo>
                  <a:pt x="284" y="898"/>
                </a:lnTo>
                <a:lnTo>
                  <a:pt x="287" y="904"/>
                </a:lnTo>
                <a:lnTo>
                  <a:pt x="294" y="916"/>
                </a:lnTo>
                <a:lnTo>
                  <a:pt x="300" y="928"/>
                </a:lnTo>
                <a:lnTo>
                  <a:pt x="303" y="937"/>
                </a:lnTo>
                <a:lnTo>
                  <a:pt x="310" y="947"/>
                </a:lnTo>
                <a:lnTo>
                  <a:pt x="318" y="957"/>
                </a:lnTo>
                <a:lnTo>
                  <a:pt x="324" y="966"/>
                </a:lnTo>
                <a:lnTo>
                  <a:pt x="328" y="973"/>
                </a:lnTo>
                <a:lnTo>
                  <a:pt x="333" y="980"/>
                </a:lnTo>
                <a:lnTo>
                  <a:pt x="337" y="988"/>
                </a:lnTo>
                <a:lnTo>
                  <a:pt x="339" y="998"/>
                </a:lnTo>
                <a:lnTo>
                  <a:pt x="339" y="1008"/>
                </a:lnTo>
                <a:lnTo>
                  <a:pt x="338" y="1017"/>
                </a:lnTo>
                <a:lnTo>
                  <a:pt x="337" y="1025"/>
                </a:lnTo>
                <a:lnTo>
                  <a:pt x="334" y="1031"/>
                </a:lnTo>
                <a:lnTo>
                  <a:pt x="328" y="1038"/>
                </a:lnTo>
                <a:lnTo>
                  <a:pt x="325" y="1045"/>
                </a:lnTo>
                <a:lnTo>
                  <a:pt x="325" y="1049"/>
                </a:lnTo>
                <a:lnTo>
                  <a:pt x="326" y="1052"/>
                </a:lnTo>
                <a:lnTo>
                  <a:pt x="329" y="1057"/>
                </a:lnTo>
                <a:lnTo>
                  <a:pt x="333" y="1059"/>
                </a:lnTo>
                <a:lnTo>
                  <a:pt x="335" y="1063"/>
                </a:lnTo>
                <a:lnTo>
                  <a:pt x="338" y="1067"/>
                </a:lnTo>
                <a:lnTo>
                  <a:pt x="340" y="1071"/>
                </a:lnTo>
                <a:lnTo>
                  <a:pt x="341" y="1077"/>
                </a:lnTo>
                <a:lnTo>
                  <a:pt x="343" y="1086"/>
                </a:lnTo>
                <a:lnTo>
                  <a:pt x="346" y="1094"/>
                </a:lnTo>
                <a:lnTo>
                  <a:pt x="352" y="1102"/>
                </a:lnTo>
                <a:lnTo>
                  <a:pt x="357" y="1109"/>
                </a:lnTo>
                <a:lnTo>
                  <a:pt x="363" y="1117"/>
                </a:lnTo>
                <a:lnTo>
                  <a:pt x="369" y="1124"/>
                </a:lnTo>
                <a:lnTo>
                  <a:pt x="373" y="1130"/>
                </a:lnTo>
                <a:lnTo>
                  <a:pt x="376" y="1137"/>
                </a:lnTo>
                <a:lnTo>
                  <a:pt x="377" y="1146"/>
                </a:lnTo>
                <a:lnTo>
                  <a:pt x="381" y="1156"/>
                </a:lnTo>
                <a:lnTo>
                  <a:pt x="384" y="1165"/>
                </a:lnTo>
                <a:lnTo>
                  <a:pt x="390" y="1174"/>
                </a:lnTo>
                <a:lnTo>
                  <a:pt x="397" y="1183"/>
                </a:lnTo>
                <a:lnTo>
                  <a:pt x="409" y="1195"/>
                </a:lnTo>
                <a:lnTo>
                  <a:pt x="421" y="1208"/>
                </a:lnTo>
                <a:lnTo>
                  <a:pt x="430" y="1219"/>
                </a:lnTo>
                <a:lnTo>
                  <a:pt x="440" y="1229"/>
                </a:lnTo>
                <a:lnTo>
                  <a:pt x="452" y="1245"/>
                </a:lnTo>
                <a:lnTo>
                  <a:pt x="464" y="1258"/>
                </a:lnTo>
                <a:lnTo>
                  <a:pt x="471" y="1267"/>
                </a:lnTo>
                <a:lnTo>
                  <a:pt x="476" y="1273"/>
                </a:lnTo>
                <a:lnTo>
                  <a:pt x="479" y="1282"/>
                </a:lnTo>
                <a:lnTo>
                  <a:pt x="480" y="1285"/>
                </a:lnTo>
                <a:lnTo>
                  <a:pt x="480" y="1289"/>
                </a:lnTo>
                <a:lnTo>
                  <a:pt x="480" y="1292"/>
                </a:lnTo>
                <a:lnTo>
                  <a:pt x="479" y="1296"/>
                </a:lnTo>
                <a:lnTo>
                  <a:pt x="473" y="1302"/>
                </a:lnTo>
                <a:lnTo>
                  <a:pt x="463" y="1310"/>
                </a:lnTo>
                <a:lnTo>
                  <a:pt x="452" y="1317"/>
                </a:lnTo>
                <a:lnTo>
                  <a:pt x="445" y="1323"/>
                </a:lnTo>
                <a:lnTo>
                  <a:pt x="441" y="1325"/>
                </a:lnTo>
                <a:lnTo>
                  <a:pt x="438" y="1326"/>
                </a:lnTo>
                <a:lnTo>
                  <a:pt x="435" y="1326"/>
                </a:lnTo>
                <a:lnTo>
                  <a:pt x="432" y="1325"/>
                </a:lnTo>
                <a:lnTo>
                  <a:pt x="426" y="1321"/>
                </a:lnTo>
                <a:lnTo>
                  <a:pt x="421" y="1316"/>
                </a:lnTo>
                <a:lnTo>
                  <a:pt x="416" y="1309"/>
                </a:lnTo>
                <a:lnTo>
                  <a:pt x="411" y="1303"/>
                </a:lnTo>
                <a:lnTo>
                  <a:pt x="408" y="1298"/>
                </a:lnTo>
                <a:lnTo>
                  <a:pt x="403" y="1296"/>
                </a:lnTo>
                <a:lnTo>
                  <a:pt x="397" y="1297"/>
                </a:lnTo>
                <a:lnTo>
                  <a:pt x="391" y="1300"/>
                </a:lnTo>
                <a:lnTo>
                  <a:pt x="389" y="1302"/>
                </a:lnTo>
                <a:lnTo>
                  <a:pt x="387" y="1306"/>
                </a:lnTo>
                <a:lnTo>
                  <a:pt x="384" y="1309"/>
                </a:lnTo>
                <a:lnTo>
                  <a:pt x="382" y="1313"/>
                </a:lnTo>
                <a:lnTo>
                  <a:pt x="381" y="1325"/>
                </a:lnTo>
                <a:lnTo>
                  <a:pt x="381" y="1340"/>
                </a:lnTo>
                <a:lnTo>
                  <a:pt x="382" y="1347"/>
                </a:lnTo>
                <a:lnTo>
                  <a:pt x="383" y="1354"/>
                </a:lnTo>
                <a:lnTo>
                  <a:pt x="384" y="1361"/>
                </a:lnTo>
                <a:lnTo>
                  <a:pt x="388" y="1366"/>
                </a:lnTo>
                <a:lnTo>
                  <a:pt x="400" y="1380"/>
                </a:lnTo>
                <a:lnTo>
                  <a:pt x="410" y="1393"/>
                </a:lnTo>
                <a:lnTo>
                  <a:pt x="414" y="1398"/>
                </a:lnTo>
                <a:lnTo>
                  <a:pt x="415" y="1403"/>
                </a:lnTo>
                <a:lnTo>
                  <a:pt x="416" y="1408"/>
                </a:lnTo>
                <a:lnTo>
                  <a:pt x="416" y="1415"/>
                </a:lnTo>
                <a:lnTo>
                  <a:pt x="417" y="1422"/>
                </a:lnTo>
                <a:lnTo>
                  <a:pt x="419" y="1428"/>
                </a:lnTo>
                <a:lnTo>
                  <a:pt x="421" y="1434"/>
                </a:lnTo>
                <a:lnTo>
                  <a:pt x="426" y="1439"/>
                </a:lnTo>
                <a:lnTo>
                  <a:pt x="430" y="1443"/>
                </a:lnTo>
                <a:lnTo>
                  <a:pt x="434" y="1448"/>
                </a:lnTo>
                <a:lnTo>
                  <a:pt x="436" y="1454"/>
                </a:lnTo>
                <a:lnTo>
                  <a:pt x="438" y="1461"/>
                </a:lnTo>
                <a:lnTo>
                  <a:pt x="436" y="1472"/>
                </a:lnTo>
                <a:lnTo>
                  <a:pt x="435" y="1484"/>
                </a:lnTo>
                <a:lnTo>
                  <a:pt x="435" y="1490"/>
                </a:lnTo>
                <a:lnTo>
                  <a:pt x="435" y="1496"/>
                </a:lnTo>
                <a:lnTo>
                  <a:pt x="436" y="1500"/>
                </a:lnTo>
                <a:lnTo>
                  <a:pt x="439" y="1504"/>
                </a:lnTo>
                <a:lnTo>
                  <a:pt x="452" y="1519"/>
                </a:lnTo>
                <a:lnTo>
                  <a:pt x="470" y="1537"/>
                </a:lnTo>
                <a:lnTo>
                  <a:pt x="476" y="1547"/>
                </a:lnTo>
                <a:lnTo>
                  <a:pt x="479" y="1554"/>
                </a:lnTo>
                <a:lnTo>
                  <a:pt x="480" y="1560"/>
                </a:lnTo>
                <a:lnTo>
                  <a:pt x="480" y="1566"/>
                </a:lnTo>
                <a:lnTo>
                  <a:pt x="480" y="1572"/>
                </a:lnTo>
                <a:lnTo>
                  <a:pt x="478" y="1578"/>
                </a:lnTo>
                <a:lnTo>
                  <a:pt x="473" y="1582"/>
                </a:lnTo>
                <a:lnTo>
                  <a:pt x="470" y="1587"/>
                </a:lnTo>
                <a:lnTo>
                  <a:pt x="467" y="1591"/>
                </a:lnTo>
                <a:lnTo>
                  <a:pt x="467" y="1593"/>
                </a:lnTo>
                <a:lnTo>
                  <a:pt x="467" y="1597"/>
                </a:lnTo>
                <a:lnTo>
                  <a:pt x="470" y="1600"/>
                </a:lnTo>
                <a:lnTo>
                  <a:pt x="473" y="1607"/>
                </a:lnTo>
                <a:lnTo>
                  <a:pt x="477" y="1615"/>
                </a:lnTo>
                <a:lnTo>
                  <a:pt x="477" y="1618"/>
                </a:lnTo>
                <a:lnTo>
                  <a:pt x="476" y="1623"/>
                </a:lnTo>
                <a:lnTo>
                  <a:pt x="474" y="1626"/>
                </a:lnTo>
                <a:lnTo>
                  <a:pt x="473" y="1631"/>
                </a:lnTo>
                <a:lnTo>
                  <a:pt x="471" y="1636"/>
                </a:lnTo>
                <a:lnTo>
                  <a:pt x="469" y="1642"/>
                </a:lnTo>
                <a:lnTo>
                  <a:pt x="467" y="1648"/>
                </a:lnTo>
                <a:lnTo>
                  <a:pt x="467" y="1654"/>
                </a:lnTo>
                <a:lnTo>
                  <a:pt x="469" y="1669"/>
                </a:lnTo>
                <a:lnTo>
                  <a:pt x="470" y="1683"/>
                </a:lnTo>
                <a:lnTo>
                  <a:pt x="471" y="1697"/>
                </a:lnTo>
                <a:lnTo>
                  <a:pt x="472" y="1707"/>
                </a:lnTo>
                <a:lnTo>
                  <a:pt x="471" y="1718"/>
                </a:lnTo>
                <a:lnTo>
                  <a:pt x="470" y="1727"/>
                </a:lnTo>
                <a:lnTo>
                  <a:pt x="470" y="1738"/>
                </a:lnTo>
                <a:lnTo>
                  <a:pt x="469" y="1748"/>
                </a:lnTo>
                <a:lnTo>
                  <a:pt x="467" y="1760"/>
                </a:lnTo>
                <a:lnTo>
                  <a:pt x="466" y="1775"/>
                </a:lnTo>
                <a:lnTo>
                  <a:pt x="465" y="1790"/>
                </a:lnTo>
                <a:lnTo>
                  <a:pt x="464" y="1802"/>
                </a:lnTo>
                <a:lnTo>
                  <a:pt x="464" y="1812"/>
                </a:lnTo>
                <a:lnTo>
                  <a:pt x="465" y="1823"/>
                </a:lnTo>
                <a:lnTo>
                  <a:pt x="466" y="1833"/>
                </a:lnTo>
                <a:lnTo>
                  <a:pt x="469" y="1840"/>
                </a:lnTo>
                <a:lnTo>
                  <a:pt x="471" y="1848"/>
                </a:lnTo>
                <a:lnTo>
                  <a:pt x="473" y="1857"/>
                </a:lnTo>
                <a:lnTo>
                  <a:pt x="476" y="1869"/>
                </a:lnTo>
                <a:lnTo>
                  <a:pt x="478" y="1881"/>
                </a:lnTo>
                <a:lnTo>
                  <a:pt x="480" y="1893"/>
                </a:lnTo>
                <a:lnTo>
                  <a:pt x="482" y="1905"/>
                </a:lnTo>
                <a:lnTo>
                  <a:pt x="482" y="1918"/>
                </a:lnTo>
                <a:lnTo>
                  <a:pt x="482" y="1932"/>
                </a:lnTo>
                <a:lnTo>
                  <a:pt x="479" y="1946"/>
                </a:lnTo>
                <a:lnTo>
                  <a:pt x="477" y="1957"/>
                </a:lnTo>
                <a:lnTo>
                  <a:pt x="473" y="1966"/>
                </a:lnTo>
                <a:lnTo>
                  <a:pt x="469" y="1975"/>
                </a:lnTo>
                <a:lnTo>
                  <a:pt x="463" y="1982"/>
                </a:lnTo>
                <a:lnTo>
                  <a:pt x="459" y="1989"/>
                </a:lnTo>
                <a:lnTo>
                  <a:pt x="454" y="1996"/>
                </a:lnTo>
                <a:lnTo>
                  <a:pt x="452" y="2004"/>
                </a:lnTo>
                <a:lnTo>
                  <a:pt x="448" y="2015"/>
                </a:lnTo>
                <a:lnTo>
                  <a:pt x="446" y="2027"/>
                </a:lnTo>
                <a:lnTo>
                  <a:pt x="444" y="2040"/>
                </a:lnTo>
                <a:lnTo>
                  <a:pt x="445" y="2053"/>
                </a:lnTo>
                <a:lnTo>
                  <a:pt x="447" y="2066"/>
                </a:lnTo>
                <a:lnTo>
                  <a:pt x="452" y="2079"/>
                </a:lnTo>
                <a:lnTo>
                  <a:pt x="455" y="2091"/>
                </a:lnTo>
                <a:lnTo>
                  <a:pt x="457" y="2099"/>
                </a:lnTo>
                <a:lnTo>
                  <a:pt x="458" y="2110"/>
                </a:lnTo>
                <a:lnTo>
                  <a:pt x="457" y="2122"/>
                </a:lnTo>
                <a:lnTo>
                  <a:pt x="455" y="2136"/>
                </a:lnTo>
                <a:lnTo>
                  <a:pt x="454" y="2148"/>
                </a:lnTo>
                <a:lnTo>
                  <a:pt x="454" y="2161"/>
                </a:lnTo>
                <a:lnTo>
                  <a:pt x="454" y="2178"/>
                </a:lnTo>
                <a:lnTo>
                  <a:pt x="455" y="2196"/>
                </a:lnTo>
                <a:lnTo>
                  <a:pt x="458" y="2208"/>
                </a:lnTo>
                <a:lnTo>
                  <a:pt x="461" y="2216"/>
                </a:lnTo>
                <a:lnTo>
                  <a:pt x="464" y="2224"/>
                </a:lnTo>
                <a:lnTo>
                  <a:pt x="466" y="2233"/>
                </a:lnTo>
                <a:lnTo>
                  <a:pt x="467" y="2241"/>
                </a:lnTo>
                <a:lnTo>
                  <a:pt x="467" y="2248"/>
                </a:lnTo>
                <a:lnTo>
                  <a:pt x="467" y="2256"/>
                </a:lnTo>
                <a:lnTo>
                  <a:pt x="467" y="2277"/>
                </a:lnTo>
                <a:lnTo>
                  <a:pt x="466" y="2293"/>
                </a:lnTo>
                <a:lnTo>
                  <a:pt x="466" y="2306"/>
                </a:lnTo>
                <a:lnTo>
                  <a:pt x="466" y="2317"/>
                </a:lnTo>
                <a:lnTo>
                  <a:pt x="464" y="2327"/>
                </a:lnTo>
                <a:lnTo>
                  <a:pt x="460" y="2338"/>
                </a:lnTo>
                <a:lnTo>
                  <a:pt x="457" y="2350"/>
                </a:lnTo>
                <a:lnTo>
                  <a:pt x="454" y="2361"/>
                </a:lnTo>
                <a:lnTo>
                  <a:pt x="454" y="2380"/>
                </a:lnTo>
                <a:lnTo>
                  <a:pt x="452" y="2395"/>
                </a:lnTo>
                <a:lnTo>
                  <a:pt x="450" y="2403"/>
                </a:lnTo>
                <a:lnTo>
                  <a:pt x="447" y="2412"/>
                </a:lnTo>
                <a:lnTo>
                  <a:pt x="445" y="2424"/>
                </a:lnTo>
                <a:lnTo>
                  <a:pt x="444" y="2436"/>
                </a:lnTo>
                <a:lnTo>
                  <a:pt x="444" y="2449"/>
                </a:lnTo>
                <a:lnTo>
                  <a:pt x="446" y="2463"/>
                </a:lnTo>
                <a:lnTo>
                  <a:pt x="448" y="2476"/>
                </a:lnTo>
                <a:lnTo>
                  <a:pt x="451" y="2487"/>
                </a:lnTo>
                <a:lnTo>
                  <a:pt x="454" y="2498"/>
                </a:lnTo>
                <a:lnTo>
                  <a:pt x="458" y="2508"/>
                </a:lnTo>
                <a:lnTo>
                  <a:pt x="460" y="2519"/>
                </a:lnTo>
                <a:lnTo>
                  <a:pt x="463" y="2530"/>
                </a:lnTo>
                <a:lnTo>
                  <a:pt x="464" y="2539"/>
                </a:lnTo>
                <a:lnTo>
                  <a:pt x="464" y="2550"/>
                </a:lnTo>
                <a:lnTo>
                  <a:pt x="464" y="2559"/>
                </a:lnTo>
                <a:lnTo>
                  <a:pt x="461" y="2568"/>
                </a:lnTo>
                <a:lnTo>
                  <a:pt x="459" y="2573"/>
                </a:lnTo>
                <a:lnTo>
                  <a:pt x="455" y="2578"/>
                </a:lnTo>
                <a:lnTo>
                  <a:pt x="453" y="2586"/>
                </a:lnTo>
                <a:lnTo>
                  <a:pt x="452" y="2593"/>
                </a:lnTo>
                <a:lnTo>
                  <a:pt x="452" y="2602"/>
                </a:lnTo>
                <a:lnTo>
                  <a:pt x="455" y="2612"/>
                </a:lnTo>
                <a:lnTo>
                  <a:pt x="459" y="2620"/>
                </a:lnTo>
                <a:lnTo>
                  <a:pt x="464" y="2627"/>
                </a:lnTo>
                <a:lnTo>
                  <a:pt x="470" y="2634"/>
                </a:lnTo>
                <a:lnTo>
                  <a:pt x="477" y="2643"/>
                </a:lnTo>
                <a:lnTo>
                  <a:pt x="480" y="2647"/>
                </a:lnTo>
                <a:lnTo>
                  <a:pt x="484" y="2652"/>
                </a:lnTo>
                <a:lnTo>
                  <a:pt x="486" y="2658"/>
                </a:lnTo>
                <a:lnTo>
                  <a:pt x="488" y="2663"/>
                </a:lnTo>
                <a:lnTo>
                  <a:pt x="490" y="2674"/>
                </a:lnTo>
                <a:lnTo>
                  <a:pt x="494" y="2682"/>
                </a:lnTo>
                <a:lnTo>
                  <a:pt x="497" y="2690"/>
                </a:lnTo>
                <a:lnTo>
                  <a:pt x="502" y="2697"/>
                </a:lnTo>
                <a:lnTo>
                  <a:pt x="505" y="2702"/>
                </a:lnTo>
                <a:lnTo>
                  <a:pt x="508" y="2703"/>
                </a:lnTo>
                <a:lnTo>
                  <a:pt x="510" y="2704"/>
                </a:lnTo>
                <a:lnTo>
                  <a:pt x="511" y="2703"/>
                </a:lnTo>
                <a:lnTo>
                  <a:pt x="513" y="2699"/>
                </a:lnTo>
                <a:lnTo>
                  <a:pt x="514" y="2691"/>
                </a:lnTo>
                <a:lnTo>
                  <a:pt x="515" y="2684"/>
                </a:lnTo>
                <a:lnTo>
                  <a:pt x="517" y="2678"/>
                </a:lnTo>
                <a:lnTo>
                  <a:pt x="521" y="2674"/>
                </a:lnTo>
                <a:lnTo>
                  <a:pt x="523" y="2669"/>
                </a:lnTo>
                <a:lnTo>
                  <a:pt x="526" y="2665"/>
                </a:lnTo>
                <a:lnTo>
                  <a:pt x="528" y="2660"/>
                </a:lnTo>
                <a:lnTo>
                  <a:pt x="530" y="2653"/>
                </a:lnTo>
                <a:lnTo>
                  <a:pt x="533" y="2647"/>
                </a:lnTo>
                <a:lnTo>
                  <a:pt x="535" y="2632"/>
                </a:lnTo>
                <a:lnTo>
                  <a:pt x="535" y="2615"/>
                </a:lnTo>
                <a:lnTo>
                  <a:pt x="535" y="2600"/>
                </a:lnTo>
                <a:lnTo>
                  <a:pt x="533" y="2587"/>
                </a:lnTo>
                <a:lnTo>
                  <a:pt x="529" y="2576"/>
                </a:lnTo>
                <a:lnTo>
                  <a:pt x="526" y="2568"/>
                </a:lnTo>
                <a:lnTo>
                  <a:pt x="524" y="2564"/>
                </a:lnTo>
                <a:lnTo>
                  <a:pt x="524" y="2561"/>
                </a:lnTo>
                <a:lnTo>
                  <a:pt x="526" y="2556"/>
                </a:lnTo>
                <a:lnTo>
                  <a:pt x="528" y="2552"/>
                </a:lnTo>
                <a:lnTo>
                  <a:pt x="532" y="2549"/>
                </a:lnTo>
                <a:lnTo>
                  <a:pt x="535" y="2546"/>
                </a:lnTo>
                <a:lnTo>
                  <a:pt x="540" y="2544"/>
                </a:lnTo>
                <a:lnTo>
                  <a:pt x="546" y="2544"/>
                </a:lnTo>
                <a:lnTo>
                  <a:pt x="558" y="2544"/>
                </a:lnTo>
                <a:lnTo>
                  <a:pt x="570" y="2543"/>
                </a:lnTo>
                <a:lnTo>
                  <a:pt x="574" y="2542"/>
                </a:lnTo>
                <a:lnTo>
                  <a:pt x="579" y="2539"/>
                </a:lnTo>
                <a:lnTo>
                  <a:pt x="585" y="2537"/>
                </a:lnTo>
                <a:lnTo>
                  <a:pt x="590" y="2533"/>
                </a:lnTo>
                <a:lnTo>
                  <a:pt x="593" y="2529"/>
                </a:lnTo>
                <a:lnTo>
                  <a:pt x="597" y="2524"/>
                </a:lnTo>
                <a:lnTo>
                  <a:pt x="598" y="2520"/>
                </a:lnTo>
                <a:lnTo>
                  <a:pt x="599" y="2515"/>
                </a:lnTo>
                <a:lnTo>
                  <a:pt x="599" y="2506"/>
                </a:lnTo>
                <a:lnTo>
                  <a:pt x="599" y="2499"/>
                </a:lnTo>
                <a:lnTo>
                  <a:pt x="600" y="2491"/>
                </a:lnTo>
                <a:lnTo>
                  <a:pt x="603" y="2485"/>
                </a:lnTo>
                <a:lnTo>
                  <a:pt x="605" y="2482"/>
                </a:lnTo>
                <a:lnTo>
                  <a:pt x="609" y="2480"/>
                </a:lnTo>
                <a:lnTo>
                  <a:pt x="612" y="2477"/>
                </a:lnTo>
                <a:lnTo>
                  <a:pt x="617" y="2476"/>
                </a:lnTo>
                <a:lnTo>
                  <a:pt x="622" y="2475"/>
                </a:lnTo>
                <a:lnTo>
                  <a:pt x="625" y="2474"/>
                </a:lnTo>
                <a:lnTo>
                  <a:pt x="629" y="2472"/>
                </a:lnTo>
                <a:lnTo>
                  <a:pt x="631" y="2469"/>
                </a:lnTo>
                <a:lnTo>
                  <a:pt x="634" y="2463"/>
                </a:lnTo>
                <a:lnTo>
                  <a:pt x="635" y="2454"/>
                </a:lnTo>
                <a:lnTo>
                  <a:pt x="636" y="2449"/>
                </a:lnTo>
                <a:lnTo>
                  <a:pt x="639" y="2445"/>
                </a:lnTo>
                <a:lnTo>
                  <a:pt x="642" y="2441"/>
                </a:lnTo>
                <a:lnTo>
                  <a:pt x="646" y="2437"/>
                </a:lnTo>
                <a:lnTo>
                  <a:pt x="655" y="2432"/>
                </a:lnTo>
                <a:lnTo>
                  <a:pt x="666" y="2429"/>
                </a:lnTo>
                <a:lnTo>
                  <a:pt x="669" y="2428"/>
                </a:lnTo>
                <a:lnTo>
                  <a:pt x="673" y="2429"/>
                </a:lnTo>
                <a:lnTo>
                  <a:pt x="677" y="2430"/>
                </a:lnTo>
                <a:lnTo>
                  <a:pt x="678" y="2432"/>
                </a:lnTo>
                <a:lnTo>
                  <a:pt x="679" y="2436"/>
                </a:lnTo>
                <a:lnTo>
                  <a:pt x="679" y="2439"/>
                </a:lnTo>
                <a:lnTo>
                  <a:pt x="679" y="2444"/>
                </a:lnTo>
                <a:lnTo>
                  <a:pt x="677" y="2449"/>
                </a:lnTo>
                <a:lnTo>
                  <a:pt x="673" y="2458"/>
                </a:lnTo>
                <a:lnTo>
                  <a:pt x="672" y="2467"/>
                </a:lnTo>
                <a:lnTo>
                  <a:pt x="672" y="2470"/>
                </a:lnTo>
                <a:lnTo>
                  <a:pt x="673" y="2475"/>
                </a:lnTo>
                <a:lnTo>
                  <a:pt x="675" y="2479"/>
                </a:lnTo>
                <a:lnTo>
                  <a:pt x="679" y="2481"/>
                </a:lnTo>
                <a:lnTo>
                  <a:pt x="690" y="2488"/>
                </a:lnTo>
                <a:lnTo>
                  <a:pt x="705" y="2496"/>
                </a:lnTo>
                <a:lnTo>
                  <a:pt x="712" y="2501"/>
                </a:lnTo>
                <a:lnTo>
                  <a:pt x="719" y="2506"/>
                </a:lnTo>
                <a:lnTo>
                  <a:pt x="722" y="2508"/>
                </a:lnTo>
                <a:lnTo>
                  <a:pt x="723" y="2511"/>
                </a:lnTo>
                <a:lnTo>
                  <a:pt x="724" y="2513"/>
                </a:lnTo>
                <a:lnTo>
                  <a:pt x="725" y="2517"/>
                </a:lnTo>
                <a:lnTo>
                  <a:pt x="716" y="2536"/>
                </a:lnTo>
                <a:lnTo>
                  <a:pt x="711" y="2550"/>
                </a:lnTo>
                <a:lnTo>
                  <a:pt x="724" y="2549"/>
                </a:lnTo>
                <a:lnTo>
                  <a:pt x="742" y="2548"/>
                </a:lnTo>
                <a:lnTo>
                  <a:pt x="744" y="2551"/>
                </a:lnTo>
                <a:lnTo>
                  <a:pt x="748" y="2556"/>
                </a:lnTo>
                <a:lnTo>
                  <a:pt x="750" y="2562"/>
                </a:lnTo>
                <a:lnTo>
                  <a:pt x="753" y="2568"/>
                </a:lnTo>
                <a:lnTo>
                  <a:pt x="759" y="2583"/>
                </a:lnTo>
                <a:lnTo>
                  <a:pt x="765" y="2596"/>
                </a:lnTo>
                <a:lnTo>
                  <a:pt x="770" y="2607"/>
                </a:lnTo>
                <a:lnTo>
                  <a:pt x="776" y="2617"/>
                </a:lnTo>
                <a:lnTo>
                  <a:pt x="780" y="2625"/>
                </a:lnTo>
                <a:lnTo>
                  <a:pt x="782" y="2634"/>
                </a:lnTo>
                <a:lnTo>
                  <a:pt x="782" y="2643"/>
                </a:lnTo>
                <a:lnTo>
                  <a:pt x="784" y="2651"/>
                </a:lnTo>
                <a:lnTo>
                  <a:pt x="785" y="2655"/>
                </a:lnTo>
                <a:lnTo>
                  <a:pt x="787" y="2657"/>
                </a:lnTo>
                <a:lnTo>
                  <a:pt x="790" y="2660"/>
                </a:lnTo>
                <a:lnTo>
                  <a:pt x="793" y="2663"/>
                </a:lnTo>
                <a:lnTo>
                  <a:pt x="800" y="2666"/>
                </a:lnTo>
                <a:lnTo>
                  <a:pt x="809" y="2670"/>
                </a:lnTo>
                <a:lnTo>
                  <a:pt x="812" y="2672"/>
                </a:lnTo>
                <a:lnTo>
                  <a:pt x="813" y="2675"/>
                </a:lnTo>
                <a:lnTo>
                  <a:pt x="814" y="2678"/>
                </a:lnTo>
                <a:lnTo>
                  <a:pt x="814" y="2682"/>
                </a:lnTo>
                <a:lnTo>
                  <a:pt x="811" y="2689"/>
                </a:lnTo>
                <a:lnTo>
                  <a:pt x="807" y="2694"/>
                </a:lnTo>
                <a:lnTo>
                  <a:pt x="806" y="2695"/>
                </a:lnTo>
                <a:lnTo>
                  <a:pt x="806" y="2697"/>
                </a:lnTo>
                <a:lnTo>
                  <a:pt x="807" y="2700"/>
                </a:lnTo>
                <a:lnTo>
                  <a:pt x="809" y="2702"/>
                </a:lnTo>
                <a:lnTo>
                  <a:pt x="812" y="2708"/>
                </a:lnTo>
                <a:lnTo>
                  <a:pt x="813" y="2714"/>
                </a:lnTo>
                <a:lnTo>
                  <a:pt x="813" y="2720"/>
                </a:lnTo>
                <a:lnTo>
                  <a:pt x="811" y="2726"/>
                </a:lnTo>
                <a:lnTo>
                  <a:pt x="809" y="2728"/>
                </a:lnTo>
                <a:lnTo>
                  <a:pt x="806" y="2729"/>
                </a:lnTo>
                <a:lnTo>
                  <a:pt x="803" y="2731"/>
                </a:lnTo>
                <a:lnTo>
                  <a:pt x="798" y="2732"/>
                </a:lnTo>
                <a:lnTo>
                  <a:pt x="788" y="2733"/>
                </a:lnTo>
                <a:lnTo>
                  <a:pt x="779" y="2733"/>
                </a:lnTo>
                <a:lnTo>
                  <a:pt x="774" y="2733"/>
                </a:lnTo>
                <a:lnTo>
                  <a:pt x="769" y="2734"/>
                </a:lnTo>
                <a:lnTo>
                  <a:pt x="766" y="2737"/>
                </a:lnTo>
                <a:lnTo>
                  <a:pt x="762" y="2739"/>
                </a:lnTo>
                <a:lnTo>
                  <a:pt x="760" y="2743"/>
                </a:lnTo>
                <a:lnTo>
                  <a:pt x="759" y="2746"/>
                </a:lnTo>
                <a:lnTo>
                  <a:pt x="760" y="2751"/>
                </a:lnTo>
                <a:lnTo>
                  <a:pt x="761" y="2757"/>
                </a:lnTo>
                <a:lnTo>
                  <a:pt x="768" y="2771"/>
                </a:lnTo>
                <a:lnTo>
                  <a:pt x="778" y="2789"/>
                </a:lnTo>
                <a:lnTo>
                  <a:pt x="788" y="2807"/>
                </a:lnTo>
                <a:lnTo>
                  <a:pt x="797" y="2821"/>
                </a:lnTo>
                <a:lnTo>
                  <a:pt x="804" y="2832"/>
                </a:lnTo>
                <a:lnTo>
                  <a:pt x="810" y="2839"/>
                </a:lnTo>
                <a:lnTo>
                  <a:pt x="812" y="2841"/>
                </a:lnTo>
                <a:lnTo>
                  <a:pt x="812" y="2844"/>
                </a:lnTo>
                <a:lnTo>
                  <a:pt x="812" y="2846"/>
                </a:lnTo>
                <a:lnTo>
                  <a:pt x="810" y="2849"/>
                </a:lnTo>
                <a:lnTo>
                  <a:pt x="803" y="2855"/>
                </a:lnTo>
                <a:lnTo>
                  <a:pt x="799" y="2860"/>
                </a:lnTo>
                <a:lnTo>
                  <a:pt x="798" y="2864"/>
                </a:lnTo>
                <a:lnTo>
                  <a:pt x="799" y="2866"/>
                </a:lnTo>
                <a:lnTo>
                  <a:pt x="801" y="2869"/>
                </a:lnTo>
                <a:lnTo>
                  <a:pt x="806" y="2872"/>
                </a:lnTo>
                <a:lnTo>
                  <a:pt x="819" y="2877"/>
                </a:lnTo>
                <a:lnTo>
                  <a:pt x="831" y="2879"/>
                </a:lnTo>
                <a:lnTo>
                  <a:pt x="837" y="2882"/>
                </a:lnTo>
                <a:lnTo>
                  <a:pt x="842" y="2883"/>
                </a:lnTo>
                <a:lnTo>
                  <a:pt x="844" y="2886"/>
                </a:lnTo>
                <a:lnTo>
                  <a:pt x="847" y="2890"/>
                </a:lnTo>
                <a:lnTo>
                  <a:pt x="847" y="2893"/>
                </a:lnTo>
                <a:lnTo>
                  <a:pt x="847" y="2897"/>
                </a:lnTo>
                <a:lnTo>
                  <a:pt x="845" y="2901"/>
                </a:lnTo>
                <a:lnTo>
                  <a:pt x="844" y="2905"/>
                </a:lnTo>
                <a:lnTo>
                  <a:pt x="841" y="2915"/>
                </a:lnTo>
                <a:lnTo>
                  <a:pt x="839" y="2927"/>
                </a:lnTo>
                <a:lnTo>
                  <a:pt x="841" y="2934"/>
                </a:lnTo>
                <a:lnTo>
                  <a:pt x="842" y="2939"/>
                </a:lnTo>
                <a:lnTo>
                  <a:pt x="844" y="2940"/>
                </a:lnTo>
                <a:lnTo>
                  <a:pt x="847" y="2941"/>
                </a:lnTo>
                <a:lnTo>
                  <a:pt x="850" y="2941"/>
                </a:lnTo>
                <a:lnTo>
                  <a:pt x="854" y="2940"/>
                </a:lnTo>
                <a:lnTo>
                  <a:pt x="861" y="2939"/>
                </a:lnTo>
                <a:lnTo>
                  <a:pt x="867" y="2935"/>
                </a:lnTo>
                <a:lnTo>
                  <a:pt x="873" y="2933"/>
                </a:lnTo>
                <a:lnTo>
                  <a:pt x="879" y="2931"/>
                </a:lnTo>
                <a:lnTo>
                  <a:pt x="881" y="2931"/>
                </a:lnTo>
                <a:lnTo>
                  <a:pt x="882" y="2931"/>
                </a:lnTo>
                <a:lnTo>
                  <a:pt x="883" y="2930"/>
                </a:lnTo>
                <a:lnTo>
                  <a:pt x="885" y="2928"/>
                </a:lnTo>
                <a:lnTo>
                  <a:pt x="887" y="2918"/>
                </a:lnTo>
                <a:lnTo>
                  <a:pt x="891" y="2910"/>
                </a:lnTo>
                <a:lnTo>
                  <a:pt x="898" y="2897"/>
                </a:lnTo>
                <a:lnTo>
                  <a:pt x="906" y="2885"/>
                </a:lnTo>
                <a:lnTo>
                  <a:pt x="908" y="2882"/>
                </a:lnTo>
                <a:lnTo>
                  <a:pt x="911" y="2879"/>
                </a:lnTo>
                <a:lnTo>
                  <a:pt x="912" y="2878"/>
                </a:lnTo>
                <a:lnTo>
                  <a:pt x="913" y="2879"/>
                </a:lnTo>
                <a:lnTo>
                  <a:pt x="914" y="2880"/>
                </a:lnTo>
                <a:lnTo>
                  <a:pt x="916" y="2882"/>
                </a:lnTo>
                <a:lnTo>
                  <a:pt x="920" y="2895"/>
                </a:lnTo>
                <a:lnTo>
                  <a:pt x="926" y="2907"/>
                </a:lnTo>
                <a:lnTo>
                  <a:pt x="930" y="2909"/>
                </a:lnTo>
                <a:lnTo>
                  <a:pt x="935" y="2911"/>
                </a:lnTo>
                <a:lnTo>
                  <a:pt x="938" y="2911"/>
                </a:lnTo>
                <a:lnTo>
                  <a:pt x="943" y="2910"/>
                </a:lnTo>
                <a:lnTo>
                  <a:pt x="946" y="2908"/>
                </a:lnTo>
                <a:lnTo>
                  <a:pt x="951" y="2904"/>
                </a:lnTo>
                <a:lnTo>
                  <a:pt x="955" y="2899"/>
                </a:lnTo>
                <a:lnTo>
                  <a:pt x="957" y="2893"/>
                </a:lnTo>
                <a:lnTo>
                  <a:pt x="959" y="2888"/>
                </a:lnTo>
                <a:lnTo>
                  <a:pt x="963" y="2883"/>
                </a:lnTo>
                <a:lnTo>
                  <a:pt x="968" y="2878"/>
                </a:lnTo>
                <a:lnTo>
                  <a:pt x="973" y="2876"/>
                </a:lnTo>
                <a:lnTo>
                  <a:pt x="976" y="2874"/>
                </a:lnTo>
                <a:lnTo>
                  <a:pt x="981" y="2874"/>
                </a:lnTo>
                <a:lnTo>
                  <a:pt x="986" y="2876"/>
                </a:lnTo>
                <a:lnTo>
                  <a:pt x="989" y="2878"/>
                </a:lnTo>
                <a:lnTo>
                  <a:pt x="994" y="2885"/>
                </a:lnTo>
                <a:lnTo>
                  <a:pt x="998" y="2897"/>
                </a:lnTo>
                <a:lnTo>
                  <a:pt x="1002" y="2911"/>
                </a:lnTo>
                <a:lnTo>
                  <a:pt x="1006" y="2926"/>
                </a:lnTo>
                <a:lnTo>
                  <a:pt x="1007" y="2935"/>
                </a:lnTo>
                <a:lnTo>
                  <a:pt x="1008" y="2943"/>
                </a:lnTo>
                <a:lnTo>
                  <a:pt x="1012" y="2952"/>
                </a:lnTo>
                <a:lnTo>
                  <a:pt x="1017" y="2960"/>
                </a:lnTo>
                <a:lnTo>
                  <a:pt x="1028" y="2973"/>
                </a:lnTo>
                <a:lnTo>
                  <a:pt x="1040" y="2985"/>
                </a:lnTo>
                <a:lnTo>
                  <a:pt x="1044" y="2990"/>
                </a:lnTo>
                <a:lnTo>
                  <a:pt x="1046" y="2993"/>
                </a:lnTo>
                <a:lnTo>
                  <a:pt x="1049" y="2998"/>
                </a:lnTo>
                <a:lnTo>
                  <a:pt x="1050" y="3002"/>
                </a:lnTo>
                <a:lnTo>
                  <a:pt x="1051" y="3010"/>
                </a:lnTo>
                <a:lnTo>
                  <a:pt x="1051" y="3019"/>
                </a:lnTo>
                <a:lnTo>
                  <a:pt x="1051" y="3029"/>
                </a:lnTo>
                <a:lnTo>
                  <a:pt x="1051" y="3040"/>
                </a:lnTo>
                <a:lnTo>
                  <a:pt x="1051" y="3048"/>
                </a:lnTo>
                <a:lnTo>
                  <a:pt x="1051" y="3056"/>
                </a:lnTo>
                <a:lnTo>
                  <a:pt x="1051" y="3065"/>
                </a:lnTo>
                <a:lnTo>
                  <a:pt x="1052" y="3071"/>
                </a:lnTo>
                <a:lnTo>
                  <a:pt x="1056" y="3074"/>
                </a:lnTo>
                <a:lnTo>
                  <a:pt x="1061" y="3077"/>
                </a:lnTo>
                <a:lnTo>
                  <a:pt x="1066" y="3079"/>
                </a:lnTo>
                <a:lnTo>
                  <a:pt x="1072" y="3082"/>
                </a:lnTo>
                <a:lnTo>
                  <a:pt x="1075" y="3085"/>
                </a:lnTo>
                <a:lnTo>
                  <a:pt x="1077" y="3088"/>
                </a:lnTo>
                <a:lnTo>
                  <a:pt x="1078" y="3093"/>
                </a:lnTo>
                <a:lnTo>
                  <a:pt x="1080" y="3098"/>
                </a:lnTo>
                <a:lnTo>
                  <a:pt x="1080" y="3104"/>
                </a:lnTo>
                <a:lnTo>
                  <a:pt x="1082" y="3109"/>
                </a:lnTo>
                <a:lnTo>
                  <a:pt x="1084" y="3115"/>
                </a:lnTo>
                <a:lnTo>
                  <a:pt x="1088" y="3120"/>
                </a:lnTo>
                <a:lnTo>
                  <a:pt x="1095" y="3132"/>
                </a:lnTo>
                <a:lnTo>
                  <a:pt x="1102" y="3144"/>
                </a:lnTo>
                <a:lnTo>
                  <a:pt x="1106" y="3155"/>
                </a:lnTo>
                <a:lnTo>
                  <a:pt x="1108" y="3164"/>
                </a:lnTo>
                <a:lnTo>
                  <a:pt x="1109" y="3174"/>
                </a:lnTo>
                <a:lnTo>
                  <a:pt x="1108" y="3183"/>
                </a:lnTo>
                <a:lnTo>
                  <a:pt x="1108" y="3193"/>
                </a:lnTo>
                <a:lnTo>
                  <a:pt x="1109" y="3199"/>
                </a:lnTo>
                <a:lnTo>
                  <a:pt x="1112" y="3201"/>
                </a:lnTo>
                <a:lnTo>
                  <a:pt x="1114" y="3202"/>
                </a:lnTo>
                <a:lnTo>
                  <a:pt x="1119" y="3202"/>
                </a:lnTo>
                <a:lnTo>
                  <a:pt x="1125" y="3204"/>
                </a:lnTo>
                <a:lnTo>
                  <a:pt x="1131" y="3204"/>
                </a:lnTo>
                <a:lnTo>
                  <a:pt x="1137" y="3204"/>
                </a:lnTo>
                <a:lnTo>
                  <a:pt x="1141" y="3206"/>
                </a:lnTo>
                <a:lnTo>
                  <a:pt x="1146" y="3207"/>
                </a:lnTo>
                <a:lnTo>
                  <a:pt x="1149" y="3211"/>
                </a:lnTo>
                <a:lnTo>
                  <a:pt x="1151" y="3214"/>
                </a:lnTo>
                <a:lnTo>
                  <a:pt x="1151" y="3220"/>
                </a:lnTo>
                <a:lnTo>
                  <a:pt x="1151" y="3227"/>
                </a:lnTo>
                <a:lnTo>
                  <a:pt x="1146" y="3242"/>
                </a:lnTo>
                <a:lnTo>
                  <a:pt x="1143" y="3254"/>
                </a:lnTo>
                <a:lnTo>
                  <a:pt x="1141" y="3258"/>
                </a:lnTo>
                <a:lnTo>
                  <a:pt x="1140" y="3264"/>
                </a:lnTo>
                <a:lnTo>
                  <a:pt x="1140" y="3270"/>
                </a:lnTo>
                <a:lnTo>
                  <a:pt x="1143" y="3276"/>
                </a:lnTo>
                <a:lnTo>
                  <a:pt x="1145" y="3282"/>
                </a:lnTo>
                <a:lnTo>
                  <a:pt x="1149" y="3287"/>
                </a:lnTo>
                <a:lnTo>
                  <a:pt x="1152" y="3290"/>
                </a:lnTo>
                <a:lnTo>
                  <a:pt x="1156" y="3294"/>
                </a:lnTo>
                <a:lnTo>
                  <a:pt x="1164" y="3299"/>
                </a:lnTo>
                <a:lnTo>
                  <a:pt x="1170" y="3304"/>
                </a:lnTo>
                <a:lnTo>
                  <a:pt x="1175" y="3308"/>
                </a:lnTo>
                <a:lnTo>
                  <a:pt x="1178" y="3312"/>
                </a:lnTo>
                <a:lnTo>
                  <a:pt x="1179" y="3317"/>
                </a:lnTo>
                <a:lnTo>
                  <a:pt x="1181" y="3325"/>
                </a:lnTo>
                <a:lnTo>
                  <a:pt x="1181" y="3328"/>
                </a:lnTo>
                <a:lnTo>
                  <a:pt x="1181" y="3332"/>
                </a:lnTo>
                <a:lnTo>
                  <a:pt x="1182" y="3336"/>
                </a:lnTo>
                <a:lnTo>
                  <a:pt x="1184" y="3338"/>
                </a:lnTo>
                <a:lnTo>
                  <a:pt x="1188" y="3340"/>
                </a:lnTo>
                <a:lnTo>
                  <a:pt x="1194" y="3342"/>
                </a:lnTo>
                <a:lnTo>
                  <a:pt x="1202" y="3343"/>
                </a:lnTo>
                <a:lnTo>
                  <a:pt x="1210" y="3346"/>
                </a:lnTo>
                <a:lnTo>
                  <a:pt x="1215" y="3349"/>
                </a:lnTo>
                <a:lnTo>
                  <a:pt x="1219" y="3351"/>
                </a:lnTo>
                <a:lnTo>
                  <a:pt x="1221" y="3356"/>
                </a:lnTo>
                <a:lnTo>
                  <a:pt x="1223" y="3361"/>
                </a:lnTo>
                <a:lnTo>
                  <a:pt x="1223" y="3365"/>
                </a:lnTo>
                <a:lnTo>
                  <a:pt x="1223" y="3370"/>
                </a:lnTo>
                <a:lnTo>
                  <a:pt x="1222" y="3376"/>
                </a:lnTo>
                <a:lnTo>
                  <a:pt x="1221" y="3382"/>
                </a:lnTo>
                <a:lnTo>
                  <a:pt x="1219" y="3393"/>
                </a:lnTo>
                <a:lnTo>
                  <a:pt x="1216" y="3403"/>
                </a:lnTo>
                <a:lnTo>
                  <a:pt x="1217" y="3408"/>
                </a:lnTo>
                <a:lnTo>
                  <a:pt x="1219" y="3410"/>
                </a:lnTo>
                <a:lnTo>
                  <a:pt x="1221" y="3413"/>
                </a:lnTo>
                <a:lnTo>
                  <a:pt x="1223" y="3415"/>
                </a:lnTo>
                <a:lnTo>
                  <a:pt x="1227" y="3416"/>
                </a:lnTo>
                <a:lnTo>
                  <a:pt x="1231" y="3416"/>
                </a:lnTo>
                <a:lnTo>
                  <a:pt x="1234" y="3415"/>
                </a:lnTo>
                <a:lnTo>
                  <a:pt x="1238" y="3414"/>
                </a:lnTo>
                <a:lnTo>
                  <a:pt x="1245" y="3401"/>
                </a:lnTo>
                <a:lnTo>
                  <a:pt x="1252" y="3390"/>
                </a:lnTo>
                <a:lnTo>
                  <a:pt x="1257" y="3390"/>
                </a:lnTo>
                <a:lnTo>
                  <a:pt x="1260" y="3391"/>
                </a:lnTo>
                <a:lnTo>
                  <a:pt x="1264" y="3393"/>
                </a:lnTo>
                <a:lnTo>
                  <a:pt x="1267" y="3395"/>
                </a:lnTo>
                <a:lnTo>
                  <a:pt x="1270" y="3397"/>
                </a:lnTo>
                <a:lnTo>
                  <a:pt x="1271" y="3400"/>
                </a:lnTo>
                <a:lnTo>
                  <a:pt x="1272" y="3402"/>
                </a:lnTo>
                <a:lnTo>
                  <a:pt x="1272" y="3406"/>
                </a:lnTo>
                <a:lnTo>
                  <a:pt x="1269" y="3409"/>
                </a:lnTo>
                <a:lnTo>
                  <a:pt x="1264" y="3413"/>
                </a:lnTo>
                <a:lnTo>
                  <a:pt x="1260" y="3415"/>
                </a:lnTo>
                <a:lnTo>
                  <a:pt x="1258" y="3419"/>
                </a:lnTo>
                <a:lnTo>
                  <a:pt x="1255" y="3424"/>
                </a:lnTo>
                <a:lnTo>
                  <a:pt x="1252" y="3428"/>
                </a:lnTo>
                <a:lnTo>
                  <a:pt x="1247" y="3441"/>
                </a:lnTo>
                <a:lnTo>
                  <a:pt x="1242" y="3453"/>
                </a:lnTo>
                <a:lnTo>
                  <a:pt x="1239" y="3459"/>
                </a:lnTo>
                <a:lnTo>
                  <a:pt x="1235" y="3465"/>
                </a:lnTo>
                <a:lnTo>
                  <a:pt x="1231" y="3470"/>
                </a:lnTo>
                <a:lnTo>
                  <a:pt x="1226" y="3475"/>
                </a:lnTo>
                <a:lnTo>
                  <a:pt x="1221" y="3479"/>
                </a:lnTo>
                <a:lnTo>
                  <a:pt x="1219" y="3483"/>
                </a:lnTo>
                <a:lnTo>
                  <a:pt x="1216" y="3487"/>
                </a:lnTo>
                <a:lnTo>
                  <a:pt x="1216" y="3490"/>
                </a:lnTo>
                <a:lnTo>
                  <a:pt x="1217" y="3493"/>
                </a:lnTo>
                <a:lnTo>
                  <a:pt x="1220" y="3495"/>
                </a:lnTo>
                <a:lnTo>
                  <a:pt x="1223" y="3497"/>
                </a:lnTo>
                <a:lnTo>
                  <a:pt x="1228" y="3498"/>
                </a:lnTo>
                <a:lnTo>
                  <a:pt x="1234" y="3501"/>
                </a:lnTo>
                <a:lnTo>
                  <a:pt x="1239" y="3503"/>
                </a:lnTo>
                <a:lnTo>
                  <a:pt x="1241" y="3506"/>
                </a:lnTo>
                <a:lnTo>
                  <a:pt x="1242" y="3508"/>
                </a:lnTo>
                <a:lnTo>
                  <a:pt x="1242" y="3510"/>
                </a:lnTo>
                <a:lnTo>
                  <a:pt x="1244" y="3515"/>
                </a:lnTo>
                <a:lnTo>
                  <a:pt x="1244" y="3521"/>
                </a:lnTo>
                <a:lnTo>
                  <a:pt x="1246" y="3526"/>
                </a:lnTo>
                <a:lnTo>
                  <a:pt x="1248" y="3532"/>
                </a:lnTo>
                <a:lnTo>
                  <a:pt x="1253" y="3538"/>
                </a:lnTo>
                <a:lnTo>
                  <a:pt x="1263" y="3548"/>
                </a:lnTo>
                <a:lnTo>
                  <a:pt x="1271" y="3556"/>
                </a:lnTo>
                <a:lnTo>
                  <a:pt x="1283" y="3564"/>
                </a:lnTo>
                <a:lnTo>
                  <a:pt x="1294" y="3571"/>
                </a:lnTo>
                <a:lnTo>
                  <a:pt x="1297" y="3575"/>
                </a:lnTo>
                <a:lnTo>
                  <a:pt x="1301" y="3579"/>
                </a:lnTo>
                <a:lnTo>
                  <a:pt x="1303" y="3584"/>
                </a:lnTo>
                <a:lnTo>
                  <a:pt x="1305" y="3590"/>
                </a:lnTo>
                <a:lnTo>
                  <a:pt x="1305" y="3592"/>
                </a:lnTo>
                <a:lnTo>
                  <a:pt x="1305" y="3595"/>
                </a:lnTo>
                <a:lnTo>
                  <a:pt x="1304" y="3596"/>
                </a:lnTo>
                <a:lnTo>
                  <a:pt x="1303" y="3597"/>
                </a:lnTo>
                <a:lnTo>
                  <a:pt x="1301" y="3597"/>
                </a:lnTo>
                <a:lnTo>
                  <a:pt x="1296" y="3597"/>
                </a:lnTo>
                <a:lnTo>
                  <a:pt x="1285" y="3594"/>
                </a:lnTo>
                <a:lnTo>
                  <a:pt x="1276" y="3594"/>
                </a:lnTo>
                <a:lnTo>
                  <a:pt x="1272" y="3595"/>
                </a:lnTo>
                <a:lnTo>
                  <a:pt x="1270" y="3597"/>
                </a:lnTo>
                <a:lnTo>
                  <a:pt x="1267" y="3599"/>
                </a:lnTo>
                <a:lnTo>
                  <a:pt x="1267" y="3603"/>
                </a:lnTo>
                <a:lnTo>
                  <a:pt x="1269" y="3611"/>
                </a:lnTo>
                <a:lnTo>
                  <a:pt x="1272" y="3622"/>
                </a:lnTo>
                <a:lnTo>
                  <a:pt x="1276" y="3633"/>
                </a:lnTo>
                <a:lnTo>
                  <a:pt x="1280" y="3642"/>
                </a:lnTo>
                <a:lnTo>
                  <a:pt x="1284" y="3646"/>
                </a:lnTo>
                <a:lnTo>
                  <a:pt x="1289" y="3648"/>
                </a:lnTo>
                <a:lnTo>
                  <a:pt x="1294" y="3649"/>
                </a:lnTo>
                <a:lnTo>
                  <a:pt x="1301" y="3649"/>
                </a:lnTo>
                <a:lnTo>
                  <a:pt x="1314" y="3648"/>
                </a:lnTo>
                <a:lnTo>
                  <a:pt x="1324" y="3647"/>
                </a:lnTo>
                <a:lnTo>
                  <a:pt x="1328" y="3648"/>
                </a:lnTo>
                <a:lnTo>
                  <a:pt x="1332" y="3649"/>
                </a:lnTo>
                <a:lnTo>
                  <a:pt x="1334" y="3653"/>
                </a:lnTo>
                <a:lnTo>
                  <a:pt x="1338" y="3657"/>
                </a:lnTo>
                <a:lnTo>
                  <a:pt x="1342" y="3670"/>
                </a:lnTo>
                <a:lnTo>
                  <a:pt x="1348" y="3687"/>
                </a:lnTo>
                <a:lnTo>
                  <a:pt x="1352" y="3696"/>
                </a:lnTo>
                <a:lnTo>
                  <a:pt x="1355" y="3704"/>
                </a:lnTo>
                <a:lnTo>
                  <a:pt x="1359" y="3711"/>
                </a:lnTo>
                <a:lnTo>
                  <a:pt x="1362" y="3716"/>
                </a:lnTo>
                <a:lnTo>
                  <a:pt x="1367" y="3720"/>
                </a:lnTo>
                <a:lnTo>
                  <a:pt x="1371" y="3722"/>
                </a:lnTo>
                <a:lnTo>
                  <a:pt x="1374" y="3723"/>
                </a:lnTo>
                <a:lnTo>
                  <a:pt x="1379" y="3723"/>
                </a:lnTo>
                <a:lnTo>
                  <a:pt x="1383" y="3722"/>
                </a:lnTo>
                <a:lnTo>
                  <a:pt x="1386" y="3720"/>
                </a:lnTo>
                <a:lnTo>
                  <a:pt x="1390" y="3716"/>
                </a:lnTo>
                <a:lnTo>
                  <a:pt x="1393" y="3712"/>
                </a:lnTo>
                <a:lnTo>
                  <a:pt x="1396" y="3708"/>
                </a:lnTo>
                <a:lnTo>
                  <a:pt x="1401" y="3704"/>
                </a:lnTo>
                <a:lnTo>
                  <a:pt x="1404" y="3702"/>
                </a:lnTo>
                <a:lnTo>
                  <a:pt x="1409" y="3701"/>
                </a:lnTo>
                <a:lnTo>
                  <a:pt x="1414" y="3701"/>
                </a:lnTo>
                <a:lnTo>
                  <a:pt x="1420" y="3701"/>
                </a:lnTo>
                <a:lnTo>
                  <a:pt x="1424" y="3703"/>
                </a:lnTo>
                <a:lnTo>
                  <a:pt x="1430" y="3706"/>
                </a:lnTo>
                <a:lnTo>
                  <a:pt x="1439" y="3711"/>
                </a:lnTo>
                <a:lnTo>
                  <a:pt x="1446" y="3715"/>
                </a:lnTo>
                <a:lnTo>
                  <a:pt x="1455" y="3717"/>
                </a:lnTo>
                <a:lnTo>
                  <a:pt x="1464" y="3718"/>
                </a:lnTo>
                <a:lnTo>
                  <a:pt x="1469" y="3718"/>
                </a:lnTo>
                <a:lnTo>
                  <a:pt x="1474" y="3718"/>
                </a:lnTo>
                <a:lnTo>
                  <a:pt x="1478" y="3716"/>
                </a:lnTo>
                <a:lnTo>
                  <a:pt x="1480" y="3715"/>
                </a:lnTo>
                <a:lnTo>
                  <a:pt x="1484" y="3709"/>
                </a:lnTo>
                <a:lnTo>
                  <a:pt x="1490" y="3701"/>
                </a:lnTo>
                <a:lnTo>
                  <a:pt x="1500" y="3689"/>
                </a:lnTo>
                <a:lnTo>
                  <a:pt x="1515" y="3674"/>
                </a:lnTo>
                <a:lnTo>
                  <a:pt x="1523" y="3668"/>
                </a:lnTo>
                <a:lnTo>
                  <a:pt x="1530" y="3662"/>
                </a:lnTo>
                <a:lnTo>
                  <a:pt x="1538" y="3659"/>
                </a:lnTo>
                <a:lnTo>
                  <a:pt x="1546" y="3657"/>
                </a:lnTo>
                <a:lnTo>
                  <a:pt x="1557" y="3655"/>
                </a:lnTo>
                <a:lnTo>
                  <a:pt x="1568" y="3653"/>
                </a:lnTo>
                <a:lnTo>
                  <a:pt x="1579" y="3648"/>
                </a:lnTo>
                <a:lnTo>
                  <a:pt x="1591" y="3642"/>
                </a:lnTo>
                <a:lnTo>
                  <a:pt x="1606" y="3634"/>
                </a:lnTo>
                <a:lnTo>
                  <a:pt x="1623" y="3624"/>
                </a:lnTo>
                <a:lnTo>
                  <a:pt x="1637" y="3617"/>
                </a:lnTo>
                <a:lnTo>
                  <a:pt x="1649" y="3611"/>
                </a:lnTo>
                <a:lnTo>
                  <a:pt x="1657" y="3610"/>
                </a:lnTo>
                <a:lnTo>
                  <a:pt x="1666" y="3610"/>
                </a:lnTo>
                <a:lnTo>
                  <a:pt x="1669" y="3610"/>
                </a:lnTo>
                <a:lnTo>
                  <a:pt x="1673" y="3611"/>
                </a:lnTo>
                <a:lnTo>
                  <a:pt x="1675" y="3614"/>
                </a:lnTo>
                <a:lnTo>
                  <a:pt x="1676" y="3617"/>
                </a:lnTo>
                <a:lnTo>
                  <a:pt x="1677" y="3623"/>
                </a:lnTo>
                <a:lnTo>
                  <a:pt x="1677" y="3632"/>
                </a:lnTo>
                <a:lnTo>
                  <a:pt x="1676" y="3639"/>
                </a:lnTo>
                <a:lnTo>
                  <a:pt x="1675" y="3645"/>
                </a:lnTo>
                <a:lnTo>
                  <a:pt x="1674" y="3649"/>
                </a:lnTo>
                <a:lnTo>
                  <a:pt x="1675" y="3655"/>
                </a:lnTo>
                <a:lnTo>
                  <a:pt x="1676" y="3660"/>
                </a:lnTo>
                <a:lnTo>
                  <a:pt x="1681" y="3666"/>
                </a:lnTo>
                <a:lnTo>
                  <a:pt x="1688" y="3672"/>
                </a:lnTo>
                <a:lnTo>
                  <a:pt x="1695" y="3674"/>
                </a:lnTo>
                <a:lnTo>
                  <a:pt x="1699" y="3676"/>
                </a:lnTo>
                <a:lnTo>
                  <a:pt x="1702" y="3674"/>
                </a:lnTo>
                <a:lnTo>
                  <a:pt x="1706" y="3674"/>
                </a:lnTo>
                <a:lnTo>
                  <a:pt x="1710" y="3672"/>
                </a:lnTo>
                <a:lnTo>
                  <a:pt x="1716" y="3666"/>
                </a:lnTo>
                <a:lnTo>
                  <a:pt x="1723" y="3657"/>
                </a:lnTo>
                <a:lnTo>
                  <a:pt x="1727" y="3653"/>
                </a:lnTo>
                <a:lnTo>
                  <a:pt x="1731" y="3649"/>
                </a:lnTo>
                <a:lnTo>
                  <a:pt x="1736" y="3647"/>
                </a:lnTo>
                <a:lnTo>
                  <a:pt x="1739" y="3646"/>
                </a:lnTo>
                <a:lnTo>
                  <a:pt x="1746" y="3646"/>
                </a:lnTo>
                <a:lnTo>
                  <a:pt x="1754" y="3645"/>
                </a:lnTo>
                <a:lnTo>
                  <a:pt x="1757" y="3645"/>
                </a:lnTo>
                <a:lnTo>
                  <a:pt x="1761" y="3643"/>
                </a:lnTo>
                <a:lnTo>
                  <a:pt x="1763" y="3641"/>
                </a:lnTo>
                <a:lnTo>
                  <a:pt x="1767" y="3638"/>
                </a:lnTo>
                <a:lnTo>
                  <a:pt x="1774" y="3632"/>
                </a:lnTo>
                <a:lnTo>
                  <a:pt x="1781" y="3628"/>
                </a:lnTo>
                <a:lnTo>
                  <a:pt x="1784" y="3627"/>
                </a:lnTo>
                <a:lnTo>
                  <a:pt x="1788" y="3626"/>
                </a:lnTo>
                <a:lnTo>
                  <a:pt x="1792" y="3626"/>
                </a:lnTo>
                <a:lnTo>
                  <a:pt x="1795" y="3627"/>
                </a:lnTo>
                <a:lnTo>
                  <a:pt x="1804" y="3629"/>
                </a:lnTo>
                <a:lnTo>
                  <a:pt x="1811" y="3629"/>
                </a:lnTo>
                <a:lnTo>
                  <a:pt x="1814" y="3629"/>
                </a:lnTo>
                <a:lnTo>
                  <a:pt x="1818" y="3628"/>
                </a:lnTo>
                <a:lnTo>
                  <a:pt x="1820" y="3626"/>
                </a:lnTo>
                <a:lnTo>
                  <a:pt x="1823" y="3623"/>
                </a:lnTo>
                <a:lnTo>
                  <a:pt x="1826" y="3614"/>
                </a:lnTo>
                <a:lnTo>
                  <a:pt x="1828" y="3602"/>
                </a:lnTo>
                <a:lnTo>
                  <a:pt x="1828" y="3590"/>
                </a:lnTo>
                <a:lnTo>
                  <a:pt x="1830" y="3579"/>
                </a:lnTo>
                <a:lnTo>
                  <a:pt x="1830" y="3571"/>
                </a:lnTo>
                <a:lnTo>
                  <a:pt x="1831" y="3565"/>
                </a:lnTo>
                <a:lnTo>
                  <a:pt x="1832" y="3561"/>
                </a:lnTo>
                <a:lnTo>
                  <a:pt x="1834" y="3559"/>
                </a:lnTo>
                <a:lnTo>
                  <a:pt x="1837" y="3558"/>
                </a:lnTo>
                <a:lnTo>
                  <a:pt x="1839" y="3557"/>
                </a:lnTo>
                <a:lnTo>
                  <a:pt x="1845" y="3554"/>
                </a:lnTo>
                <a:lnTo>
                  <a:pt x="1850" y="3552"/>
                </a:lnTo>
                <a:lnTo>
                  <a:pt x="1851" y="3551"/>
                </a:lnTo>
                <a:lnTo>
                  <a:pt x="1852" y="3548"/>
                </a:lnTo>
                <a:lnTo>
                  <a:pt x="1853" y="3545"/>
                </a:lnTo>
                <a:lnTo>
                  <a:pt x="1855" y="3541"/>
                </a:lnTo>
                <a:lnTo>
                  <a:pt x="1853" y="3533"/>
                </a:lnTo>
                <a:lnTo>
                  <a:pt x="1851" y="3527"/>
                </a:lnTo>
                <a:lnTo>
                  <a:pt x="1847" y="3521"/>
                </a:lnTo>
                <a:lnTo>
                  <a:pt x="1843" y="3517"/>
                </a:lnTo>
                <a:lnTo>
                  <a:pt x="1840" y="3515"/>
                </a:lnTo>
                <a:lnTo>
                  <a:pt x="1838" y="3513"/>
                </a:lnTo>
                <a:lnTo>
                  <a:pt x="1836" y="3509"/>
                </a:lnTo>
                <a:lnTo>
                  <a:pt x="1834" y="3506"/>
                </a:lnTo>
                <a:lnTo>
                  <a:pt x="1833" y="3501"/>
                </a:lnTo>
                <a:lnTo>
                  <a:pt x="1833" y="3496"/>
                </a:lnTo>
                <a:lnTo>
                  <a:pt x="1833" y="3491"/>
                </a:lnTo>
                <a:lnTo>
                  <a:pt x="1833" y="3487"/>
                </a:lnTo>
                <a:lnTo>
                  <a:pt x="1836" y="3476"/>
                </a:lnTo>
                <a:lnTo>
                  <a:pt x="1837" y="3465"/>
                </a:lnTo>
                <a:lnTo>
                  <a:pt x="1839" y="3456"/>
                </a:lnTo>
                <a:lnTo>
                  <a:pt x="1839" y="3446"/>
                </a:lnTo>
                <a:lnTo>
                  <a:pt x="1838" y="3437"/>
                </a:lnTo>
                <a:lnTo>
                  <a:pt x="1836" y="3426"/>
                </a:lnTo>
                <a:lnTo>
                  <a:pt x="1831" y="3414"/>
                </a:lnTo>
                <a:lnTo>
                  <a:pt x="1824" y="3403"/>
                </a:lnTo>
                <a:lnTo>
                  <a:pt x="1817" y="3395"/>
                </a:lnTo>
                <a:lnTo>
                  <a:pt x="1811" y="3387"/>
                </a:lnTo>
                <a:lnTo>
                  <a:pt x="1808" y="3383"/>
                </a:lnTo>
                <a:lnTo>
                  <a:pt x="1807" y="3378"/>
                </a:lnTo>
                <a:lnTo>
                  <a:pt x="1805" y="3375"/>
                </a:lnTo>
                <a:lnTo>
                  <a:pt x="1805" y="3370"/>
                </a:lnTo>
                <a:lnTo>
                  <a:pt x="1804" y="3357"/>
                </a:lnTo>
                <a:lnTo>
                  <a:pt x="1804" y="3339"/>
                </a:lnTo>
                <a:lnTo>
                  <a:pt x="1805" y="3321"/>
                </a:lnTo>
                <a:lnTo>
                  <a:pt x="1807" y="3308"/>
                </a:lnTo>
                <a:lnTo>
                  <a:pt x="1811" y="3299"/>
                </a:lnTo>
                <a:lnTo>
                  <a:pt x="1814" y="3289"/>
                </a:lnTo>
                <a:lnTo>
                  <a:pt x="1818" y="3277"/>
                </a:lnTo>
                <a:lnTo>
                  <a:pt x="1819" y="3264"/>
                </a:lnTo>
                <a:lnTo>
                  <a:pt x="1819" y="3249"/>
                </a:lnTo>
                <a:lnTo>
                  <a:pt x="1819" y="3232"/>
                </a:lnTo>
                <a:lnTo>
                  <a:pt x="1819" y="3225"/>
                </a:lnTo>
                <a:lnTo>
                  <a:pt x="1820" y="3217"/>
                </a:lnTo>
                <a:lnTo>
                  <a:pt x="1821" y="3211"/>
                </a:lnTo>
                <a:lnTo>
                  <a:pt x="1823" y="3207"/>
                </a:lnTo>
                <a:lnTo>
                  <a:pt x="1827" y="3201"/>
                </a:lnTo>
                <a:lnTo>
                  <a:pt x="1830" y="3197"/>
                </a:lnTo>
                <a:lnTo>
                  <a:pt x="1832" y="3192"/>
                </a:lnTo>
                <a:lnTo>
                  <a:pt x="1834" y="3185"/>
                </a:lnTo>
                <a:lnTo>
                  <a:pt x="1836" y="3176"/>
                </a:lnTo>
                <a:lnTo>
                  <a:pt x="1837" y="3170"/>
                </a:lnTo>
                <a:lnTo>
                  <a:pt x="1839" y="3166"/>
                </a:lnTo>
                <a:lnTo>
                  <a:pt x="1843" y="3164"/>
                </a:lnTo>
                <a:lnTo>
                  <a:pt x="1846" y="3164"/>
                </a:lnTo>
                <a:lnTo>
                  <a:pt x="1850" y="3166"/>
                </a:lnTo>
                <a:lnTo>
                  <a:pt x="1853" y="3169"/>
                </a:lnTo>
                <a:lnTo>
                  <a:pt x="1857" y="3174"/>
                </a:lnTo>
                <a:lnTo>
                  <a:pt x="1861" y="3179"/>
                </a:lnTo>
                <a:lnTo>
                  <a:pt x="1865" y="3182"/>
                </a:lnTo>
                <a:lnTo>
                  <a:pt x="1868" y="3182"/>
                </a:lnTo>
                <a:lnTo>
                  <a:pt x="1869" y="3182"/>
                </a:lnTo>
                <a:lnTo>
                  <a:pt x="1871" y="3181"/>
                </a:lnTo>
                <a:lnTo>
                  <a:pt x="1875" y="3179"/>
                </a:lnTo>
                <a:lnTo>
                  <a:pt x="1880" y="3174"/>
                </a:lnTo>
                <a:lnTo>
                  <a:pt x="1884" y="3170"/>
                </a:lnTo>
                <a:lnTo>
                  <a:pt x="1890" y="3166"/>
                </a:lnTo>
                <a:lnTo>
                  <a:pt x="1896" y="3163"/>
                </a:lnTo>
                <a:lnTo>
                  <a:pt x="1905" y="3160"/>
                </a:lnTo>
                <a:lnTo>
                  <a:pt x="1910" y="3156"/>
                </a:lnTo>
                <a:lnTo>
                  <a:pt x="1916" y="3151"/>
                </a:lnTo>
                <a:lnTo>
                  <a:pt x="1922" y="3143"/>
                </a:lnTo>
                <a:lnTo>
                  <a:pt x="1926" y="3132"/>
                </a:lnTo>
                <a:lnTo>
                  <a:pt x="1931" y="3123"/>
                </a:lnTo>
                <a:lnTo>
                  <a:pt x="1932" y="3117"/>
                </a:lnTo>
                <a:lnTo>
                  <a:pt x="1935" y="3112"/>
                </a:lnTo>
                <a:lnTo>
                  <a:pt x="1939" y="3109"/>
                </a:lnTo>
                <a:lnTo>
                  <a:pt x="1943" y="3105"/>
                </a:lnTo>
                <a:lnTo>
                  <a:pt x="1953" y="3099"/>
                </a:lnTo>
                <a:lnTo>
                  <a:pt x="1964" y="3092"/>
                </a:lnTo>
                <a:lnTo>
                  <a:pt x="1975" y="3085"/>
                </a:lnTo>
                <a:lnTo>
                  <a:pt x="1985" y="3074"/>
                </a:lnTo>
                <a:lnTo>
                  <a:pt x="1996" y="3061"/>
                </a:lnTo>
                <a:lnTo>
                  <a:pt x="2004" y="3050"/>
                </a:lnTo>
                <a:lnTo>
                  <a:pt x="2014" y="3041"/>
                </a:lnTo>
                <a:lnTo>
                  <a:pt x="2026" y="3030"/>
                </a:lnTo>
                <a:lnTo>
                  <a:pt x="2039" y="3021"/>
                </a:lnTo>
                <a:lnTo>
                  <a:pt x="2051" y="3010"/>
                </a:lnTo>
                <a:lnTo>
                  <a:pt x="2056" y="3005"/>
                </a:lnTo>
                <a:lnTo>
                  <a:pt x="2059" y="3000"/>
                </a:lnTo>
                <a:lnTo>
                  <a:pt x="2061" y="2994"/>
                </a:lnTo>
                <a:lnTo>
                  <a:pt x="2064" y="2990"/>
                </a:lnTo>
                <a:lnTo>
                  <a:pt x="2067" y="2978"/>
                </a:lnTo>
                <a:lnTo>
                  <a:pt x="2070" y="2962"/>
                </a:lnTo>
                <a:lnTo>
                  <a:pt x="2073" y="2948"/>
                </a:lnTo>
                <a:lnTo>
                  <a:pt x="2076" y="2937"/>
                </a:lnTo>
                <a:lnTo>
                  <a:pt x="2077" y="2929"/>
                </a:lnTo>
                <a:lnTo>
                  <a:pt x="2077" y="2922"/>
                </a:lnTo>
                <a:lnTo>
                  <a:pt x="2077" y="2918"/>
                </a:lnTo>
                <a:lnTo>
                  <a:pt x="2075" y="2914"/>
                </a:lnTo>
                <a:lnTo>
                  <a:pt x="2072" y="2910"/>
                </a:lnTo>
                <a:lnTo>
                  <a:pt x="2069" y="2907"/>
                </a:lnTo>
                <a:lnTo>
                  <a:pt x="2061" y="2899"/>
                </a:lnTo>
                <a:lnTo>
                  <a:pt x="2056" y="2891"/>
                </a:lnTo>
                <a:lnTo>
                  <a:pt x="2052" y="2884"/>
                </a:lnTo>
                <a:lnTo>
                  <a:pt x="2050" y="2877"/>
                </a:lnTo>
                <a:lnTo>
                  <a:pt x="2050" y="2871"/>
                </a:lnTo>
                <a:lnTo>
                  <a:pt x="2052" y="2864"/>
                </a:lnTo>
                <a:lnTo>
                  <a:pt x="2057" y="2858"/>
                </a:lnTo>
                <a:lnTo>
                  <a:pt x="2063" y="2853"/>
                </a:lnTo>
                <a:lnTo>
                  <a:pt x="2079" y="2841"/>
                </a:lnTo>
                <a:lnTo>
                  <a:pt x="2098" y="2826"/>
                </a:lnTo>
                <a:lnTo>
                  <a:pt x="2105" y="2819"/>
                </a:lnTo>
                <a:lnTo>
                  <a:pt x="2111" y="2813"/>
                </a:lnTo>
                <a:lnTo>
                  <a:pt x="2115" y="2809"/>
                </a:lnTo>
                <a:lnTo>
                  <a:pt x="2121" y="2808"/>
                </a:lnTo>
                <a:lnTo>
                  <a:pt x="2126" y="2809"/>
                </a:lnTo>
                <a:lnTo>
                  <a:pt x="2130" y="2811"/>
                </a:lnTo>
                <a:lnTo>
                  <a:pt x="2135" y="2815"/>
                </a:lnTo>
                <a:lnTo>
                  <a:pt x="2140" y="2821"/>
                </a:lnTo>
                <a:lnTo>
                  <a:pt x="2145" y="2827"/>
                </a:lnTo>
                <a:lnTo>
                  <a:pt x="2149" y="2832"/>
                </a:lnTo>
                <a:lnTo>
                  <a:pt x="2154" y="2834"/>
                </a:lnTo>
                <a:lnTo>
                  <a:pt x="2159" y="2835"/>
                </a:lnTo>
                <a:lnTo>
                  <a:pt x="2164" y="2835"/>
                </a:lnTo>
                <a:lnTo>
                  <a:pt x="2170" y="2833"/>
                </a:lnTo>
                <a:lnTo>
                  <a:pt x="2174" y="2829"/>
                </a:lnTo>
                <a:lnTo>
                  <a:pt x="2180" y="2823"/>
                </a:lnTo>
                <a:lnTo>
                  <a:pt x="2191" y="2814"/>
                </a:lnTo>
                <a:lnTo>
                  <a:pt x="2202" y="2806"/>
                </a:lnTo>
                <a:lnTo>
                  <a:pt x="2209" y="2801"/>
                </a:lnTo>
                <a:lnTo>
                  <a:pt x="2214" y="2795"/>
                </a:lnTo>
                <a:lnTo>
                  <a:pt x="2217" y="2789"/>
                </a:lnTo>
                <a:lnTo>
                  <a:pt x="2220" y="2781"/>
                </a:lnTo>
                <a:lnTo>
                  <a:pt x="2220" y="2772"/>
                </a:lnTo>
                <a:lnTo>
                  <a:pt x="2218" y="2764"/>
                </a:lnTo>
                <a:lnTo>
                  <a:pt x="2216" y="2754"/>
                </a:lnTo>
                <a:lnTo>
                  <a:pt x="2211" y="2745"/>
                </a:lnTo>
                <a:lnTo>
                  <a:pt x="2208" y="2735"/>
                </a:lnTo>
                <a:lnTo>
                  <a:pt x="2203" y="2726"/>
                </a:lnTo>
                <a:lnTo>
                  <a:pt x="2199" y="2716"/>
                </a:lnTo>
                <a:lnTo>
                  <a:pt x="2196" y="2709"/>
                </a:lnTo>
                <a:lnTo>
                  <a:pt x="2195" y="2702"/>
                </a:lnTo>
                <a:lnTo>
                  <a:pt x="2195" y="2694"/>
                </a:lnTo>
                <a:lnTo>
                  <a:pt x="2196" y="2687"/>
                </a:lnTo>
                <a:lnTo>
                  <a:pt x="2199" y="2681"/>
                </a:lnTo>
                <a:lnTo>
                  <a:pt x="2204" y="2675"/>
                </a:lnTo>
                <a:lnTo>
                  <a:pt x="2206" y="2669"/>
                </a:lnTo>
                <a:lnTo>
                  <a:pt x="2210" y="2663"/>
                </a:lnTo>
                <a:lnTo>
                  <a:pt x="2211" y="2656"/>
                </a:lnTo>
                <a:lnTo>
                  <a:pt x="2212" y="2650"/>
                </a:lnTo>
                <a:lnTo>
                  <a:pt x="2215" y="2646"/>
                </a:lnTo>
                <a:lnTo>
                  <a:pt x="2218" y="2645"/>
                </a:lnTo>
                <a:lnTo>
                  <a:pt x="2222" y="2644"/>
                </a:lnTo>
                <a:lnTo>
                  <a:pt x="2226" y="2645"/>
                </a:lnTo>
                <a:lnTo>
                  <a:pt x="2229" y="2647"/>
                </a:lnTo>
                <a:lnTo>
                  <a:pt x="2233" y="2651"/>
                </a:lnTo>
                <a:lnTo>
                  <a:pt x="2235" y="2655"/>
                </a:lnTo>
                <a:lnTo>
                  <a:pt x="2239" y="2659"/>
                </a:lnTo>
                <a:lnTo>
                  <a:pt x="2243" y="2662"/>
                </a:lnTo>
                <a:lnTo>
                  <a:pt x="2250" y="2664"/>
                </a:lnTo>
                <a:lnTo>
                  <a:pt x="2258" y="2664"/>
                </a:lnTo>
                <a:lnTo>
                  <a:pt x="2267" y="2663"/>
                </a:lnTo>
                <a:lnTo>
                  <a:pt x="2275" y="2662"/>
                </a:lnTo>
                <a:lnTo>
                  <a:pt x="2284" y="2663"/>
                </a:lnTo>
                <a:lnTo>
                  <a:pt x="2291" y="2665"/>
                </a:lnTo>
                <a:lnTo>
                  <a:pt x="2298" y="2668"/>
                </a:lnTo>
                <a:lnTo>
                  <a:pt x="2308" y="2669"/>
                </a:lnTo>
                <a:lnTo>
                  <a:pt x="2318" y="2669"/>
                </a:lnTo>
                <a:lnTo>
                  <a:pt x="2329" y="2666"/>
                </a:lnTo>
                <a:lnTo>
                  <a:pt x="2340" y="2664"/>
                </a:lnTo>
                <a:lnTo>
                  <a:pt x="2349" y="2659"/>
                </a:lnTo>
                <a:lnTo>
                  <a:pt x="2359" y="2656"/>
                </a:lnTo>
                <a:lnTo>
                  <a:pt x="2367" y="2653"/>
                </a:lnTo>
                <a:lnTo>
                  <a:pt x="2374" y="2653"/>
                </a:lnTo>
                <a:lnTo>
                  <a:pt x="2380" y="2653"/>
                </a:lnTo>
                <a:lnTo>
                  <a:pt x="2386" y="2656"/>
                </a:lnTo>
                <a:lnTo>
                  <a:pt x="2391" y="2658"/>
                </a:lnTo>
                <a:lnTo>
                  <a:pt x="2394" y="2659"/>
                </a:lnTo>
                <a:lnTo>
                  <a:pt x="2400" y="2660"/>
                </a:lnTo>
                <a:lnTo>
                  <a:pt x="2406" y="2660"/>
                </a:lnTo>
                <a:lnTo>
                  <a:pt x="2412" y="2660"/>
                </a:lnTo>
                <a:lnTo>
                  <a:pt x="2420" y="2660"/>
                </a:lnTo>
                <a:lnTo>
                  <a:pt x="2429" y="2660"/>
                </a:lnTo>
                <a:lnTo>
                  <a:pt x="2432" y="2662"/>
                </a:lnTo>
                <a:lnTo>
                  <a:pt x="2436" y="2663"/>
                </a:lnTo>
                <a:lnTo>
                  <a:pt x="2438" y="2664"/>
                </a:lnTo>
                <a:lnTo>
                  <a:pt x="2439" y="2665"/>
                </a:lnTo>
                <a:lnTo>
                  <a:pt x="2438" y="2666"/>
                </a:lnTo>
                <a:lnTo>
                  <a:pt x="2435" y="2670"/>
                </a:lnTo>
                <a:lnTo>
                  <a:pt x="2426" y="2677"/>
                </a:lnTo>
                <a:lnTo>
                  <a:pt x="2417" y="2683"/>
                </a:lnTo>
                <a:lnTo>
                  <a:pt x="2406" y="2689"/>
                </a:lnTo>
                <a:lnTo>
                  <a:pt x="2396" y="2695"/>
                </a:lnTo>
                <a:lnTo>
                  <a:pt x="2390" y="2699"/>
                </a:lnTo>
                <a:lnTo>
                  <a:pt x="2384" y="2704"/>
                </a:lnTo>
                <a:lnTo>
                  <a:pt x="2379" y="2710"/>
                </a:lnTo>
                <a:lnTo>
                  <a:pt x="2375" y="2716"/>
                </a:lnTo>
                <a:lnTo>
                  <a:pt x="2372" y="2725"/>
                </a:lnTo>
                <a:lnTo>
                  <a:pt x="2369" y="2732"/>
                </a:lnTo>
                <a:lnTo>
                  <a:pt x="2368" y="2740"/>
                </a:lnTo>
                <a:lnTo>
                  <a:pt x="2368" y="2747"/>
                </a:lnTo>
                <a:lnTo>
                  <a:pt x="2367" y="2763"/>
                </a:lnTo>
                <a:lnTo>
                  <a:pt x="2366" y="2775"/>
                </a:lnTo>
                <a:lnTo>
                  <a:pt x="2363" y="2785"/>
                </a:lnTo>
                <a:lnTo>
                  <a:pt x="2362" y="2794"/>
                </a:lnTo>
                <a:lnTo>
                  <a:pt x="2362" y="2797"/>
                </a:lnTo>
                <a:lnTo>
                  <a:pt x="2363" y="2800"/>
                </a:lnTo>
                <a:lnTo>
                  <a:pt x="2366" y="2802"/>
                </a:lnTo>
                <a:lnTo>
                  <a:pt x="2369" y="2803"/>
                </a:lnTo>
                <a:lnTo>
                  <a:pt x="2373" y="2804"/>
                </a:lnTo>
                <a:lnTo>
                  <a:pt x="2378" y="2804"/>
                </a:lnTo>
                <a:lnTo>
                  <a:pt x="2382" y="2802"/>
                </a:lnTo>
                <a:lnTo>
                  <a:pt x="2387" y="2800"/>
                </a:lnTo>
                <a:lnTo>
                  <a:pt x="2391" y="2797"/>
                </a:lnTo>
                <a:lnTo>
                  <a:pt x="2394" y="2795"/>
                </a:lnTo>
                <a:lnTo>
                  <a:pt x="2399" y="2794"/>
                </a:lnTo>
                <a:lnTo>
                  <a:pt x="2403" y="2794"/>
                </a:lnTo>
                <a:lnTo>
                  <a:pt x="2405" y="2795"/>
                </a:lnTo>
                <a:lnTo>
                  <a:pt x="2407" y="2796"/>
                </a:lnTo>
                <a:lnTo>
                  <a:pt x="2409" y="2798"/>
                </a:lnTo>
                <a:lnTo>
                  <a:pt x="2410" y="2802"/>
                </a:lnTo>
                <a:lnTo>
                  <a:pt x="2411" y="2810"/>
                </a:lnTo>
                <a:lnTo>
                  <a:pt x="2415" y="2815"/>
                </a:lnTo>
                <a:lnTo>
                  <a:pt x="2418" y="2820"/>
                </a:lnTo>
                <a:lnTo>
                  <a:pt x="2424" y="2825"/>
                </a:lnTo>
                <a:lnTo>
                  <a:pt x="2429" y="2830"/>
                </a:lnTo>
                <a:lnTo>
                  <a:pt x="2432" y="2835"/>
                </a:lnTo>
                <a:lnTo>
                  <a:pt x="2432" y="2839"/>
                </a:lnTo>
                <a:lnTo>
                  <a:pt x="2431" y="2841"/>
                </a:lnTo>
                <a:lnTo>
                  <a:pt x="2429" y="2845"/>
                </a:lnTo>
                <a:lnTo>
                  <a:pt x="2425" y="2847"/>
                </a:lnTo>
                <a:lnTo>
                  <a:pt x="2418" y="2853"/>
                </a:lnTo>
                <a:lnTo>
                  <a:pt x="2413" y="2858"/>
                </a:lnTo>
                <a:lnTo>
                  <a:pt x="2413" y="2860"/>
                </a:lnTo>
                <a:lnTo>
                  <a:pt x="2413" y="2863"/>
                </a:lnTo>
                <a:lnTo>
                  <a:pt x="2416" y="2865"/>
                </a:lnTo>
                <a:lnTo>
                  <a:pt x="2419" y="2867"/>
                </a:lnTo>
                <a:lnTo>
                  <a:pt x="2422" y="2871"/>
                </a:lnTo>
                <a:lnTo>
                  <a:pt x="2424" y="2873"/>
                </a:lnTo>
                <a:lnTo>
                  <a:pt x="2425" y="2876"/>
                </a:lnTo>
                <a:lnTo>
                  <a:pt x="2425" y="2879"/>
                </a:lnTo>
                <a:lnTo>
                  <a:pt x="2423" y="2885"/>
                </a:lnTo>
                <a:lnTo>
                  <a:pt x="2419" y="2892"/>
                </a:lnTo>
                <a:lnTo>
                  <a:pt x="2415" y="2899"/>
                </a:lnTo>
                <a:lnTo>
                  <a:pt x="2409" y="2905"/>
                </a:lnTo>
                <a:lnTo>
                  <a:pt x="2405" y="2908"/>
                </a:lnTo>
                <a:lnTo>
                  <a:pt x="2400" y="2910"/>
                </a:lnTo>
                <a:lnTo>
                  <a:pt x="2396" y="2912"/>
                </a:lnTo>
                <a:lnTo>
                  <a:pt x="2391" y="2914"/>
                </a:lnTo>
                <a:lnTo>
                  <a:pt x="2380" y="2917"/>
                </a:lnTo>
                <a:lnTo>
                  <a:pt x="2373" y="2920"/>
                </a:lnTo>
                <a:lnTo>
                  <a:pt x="2371" y="2922"/>
                </a:lnTo>
                <a:lnTo>
                  <a:pt x="2369" y="2924"/>
                </a:lnTo>
                <a:lnTo>
                  <a:pt x="2369" y="2927"/>
                </a:lnTo>
                <a:lnTo>
                  <a:pt x="2371" y="2930"/>
                </a:lnTo>
                <a:lnTo>
                  <a:pt x="2373" y="2935"/>
                </a:lnTo>
                <a:lnTo>
                  <a:pt x="2379" y="2940"/>
                </a:lnTo>
                <a:lnTo>
                  <a:pt x="2385" y="2946"/>
                </a:lnTo>
                <a:lnTo>
                  <a:pt x="2393" y="2952"/>
                </a:lnTo>
                <a:lnTo>
                  <a:pt x="2412" y="2965"/>
                </a:lnTo>
                <a:lnTo>
                  <a:pt x="2430" y="2979"/>
                </a:lnTo>
                <a:lnTo>
                  <a:pt x="2444" y="2992"/>
                </a:lnTo>
                <a:lnTo>
                  <a:pt x="2456" y="3003"/>
                </a:lnTo>
                <a:lnTo>
                  <a:pt x="2462" y="3008"/>
                </a:lnTo>
                <a:lnTo>
                  <a:pt x="2467" y="3010"/>
                </a:lnTo>
                <a:lnTo>
                  <a:pt x="2473" y="3014"/>
                </a:lnTo>
                <a:lnTo>
                  <a:pt x="2479" y="3015"/>
                </a:lnTo>
                <a:lnTo>
                  <a:pt x="2486" y="3015"/>
                </a:lnTo>
                <a:lnTo>
                  <a:pt x="2492" y="3014"/>
                </a:lnTo>
                <a:lnTo>
                  <a:pt x="2498" y="3011"/>
                </a:lnTo>
                <a:lnTo>
                  <a:pt x="2504" y="3008"/>
                </a:lnTo>
                <a:lnTo>
                  <a:pt x="2511" y="3003"/>
                </a:lnTo>
                <a:lnTo>
                  <a:pt x="2517" y="3000"/>
                </a:lnTo>
                <a:lnTo>
                  <a:pt x="2523" y="2998"/>
                </a:lnTo>
                <a:lnTo>
                  <a:pt x="2530" y="2998"/>
                </a:lnTo>
                <a:lnTo>
                  <a:pt x="2545" y="3000"/>
                </a:lnTo>
                <a:lnTo>
                  <a:pt x="2563" y="3003"/>
                </a:lnTo>
                <a:lnTo>
                  <a:pt x="2571" y="3003"/>
                </a:lnTo>
                <a:lnTo>
                  <a:pt x="2580" y="3002"/>
                </a:lnTo>
                <a:lnTo>
                  <a:pt x="2582" y="3002"/>
                </a:lnTo>
                <a:lnTo>
                  <a:pt x="2585" y="2999"/>
                </a:lnTo>
                <a:lnTo>
                  <a:pt x="2587" y="2998"/>
                </a:lnTo>
                <a:lnTo>
                  <a:pt x="2588" y="2996"/>
                </a:lnTo>
                <a:lnTo>
                  <a:pt x="2593" y="2981"/>
                </a:lnTo>
                <a:lnTo>
                  <a:pt x="2601" y="2964"/>
                </a:lnTo>
                <a:lnTo>
                  <a:pt x="2607" y="2954"/>
                </a:lnTo>
                <a:lnTo>
                  <a:pt x="2614" y="2945"/>
                </a:lnTo>
                <a:lnTo>
                  <a:pt x="2623" y="2936"/>
                </a:lnTo>
                <a:lnTo>
                  <a:pt x="2632" y="2928"/>
                </a:lnTo>
                <a:lnTo>
                  <a:pt x="2643" y="2922"/>
                </a:lnTo>
                <a:lnTo>
                  <a:pt x="2652" y="2918"/>
                </a:lnTo>
                <a:lnTo>
                  <a:pt x="2661" y="2917"/>
                </a:lnTo>
                <a:lnTo>
                  <a:pt x="2669" y="2917"/>
                </a:lnTo>
                <a:lnTo>
                  <a:pt x="2676" y="2918"/>
                </a:lnTo>
                <a:lnTo>
                  <a:pt x="2683" y="2921"/>
                </a:lnTo>
                <a:lnTo>
                  <a:pt x="2688" y="2924"/>
                </a:lnTo>
                <a:lnTo>
                  <a:pt x="2692" y="2928"/>
                </a:lnTo>
                <a:lnTo>
                  <a:pt x="2694" y="2930"/>
                </a:lnTo>
                <a:lnTo>
                  <a:pt x="2696" y="2934"/>
                </a:lnTo>
                <a:lnTo>
                  <a:pt x="2697" y="2937"/>
                </a:lnTo>
                <a:lnTo>
                  <a:pt x="2699" y="2942"/>
                </a:lnTo>
                <a:lnTo>
                  <a:pt x="2699" y="2949"/>
                </a:lnTo>
                <a:lnTo>
                  <a:pt x="2700" y="2956"/>
                </a:lnTo>
                <a:lnTo>
                  <a:pt x="2701" y="2959"/>
                </a:lnTo>
                <a:lnTo>
                  <a:pt x="2703" y="2960"/>
                </a:lnTo>
                <a:lnTo>
                  <a:pt x="2705" y="2961"/>
                </a:lnTo>
                <a:lnTo>
                  <a:pt x="2708" y="2961"/>
                </a:lnTo>
                <a:lnTo>
                  <a:pt x="2714" y="2961"/>
                </a:lnTo>
                <a:lnTo>
                  <a:pt x="2722" y="2961"/>
                </a:lnTo>
                <a:lnTo>
                  <a:pt x="2727" y="2961"/>
                </a:lnTo>
                <a:lnTo>
                  <a:pt x="2731" y="2962"/>
                </a:lnTo>
                <a:lnTo>
                  <a:pt x="2733" y="2964"/>
                </a:lnTo>
                <a:lnTo>
                  <a:pt x="2735" y="2966"/>
                </a:lnTo>
                <a:lnTo>
                  <a:pt x="2737" y="2970"/>
                </a:lnTo>
                <a:lnTo>
                  <a:pt x="2738" y="2973"/>
                </a:lnTo>
                <a:lnTo>
                  <a:pt x="2738" y="2979"/>
                </a:lnTo>
                <a:lnTo>
                  <a:pt x="2738" y="2985"/>
                </a:lnTo>
                <a:lnTo>
                  <a:pt x="2734" y="2997"/>
                </a:lnTo>
                <a:lnTo>
                  <a:pt x="2730" y="3005"/>
                </a:lnTo>
                <a:lnTo>
                  <a:pt x="2726" y="3014"/>
                </a:lnTo>
                <a:lnTo>
                  <a:pt x="2724" y="3023"/>
                </a:lnTo>
                <a:lnTo>
                  <a:pt x="2724" y="3028"/>
                </a:lnTo>
                <a:lnTo>
                  <a:pt x="2724" y="3031"/>
                </a:lnTo>
                <a:lnTo>
                  <a:pt x="2725" y="3035"/>
                </a:lnTo>
                <a:lnTo>
                  <a:pt x="2726" y="3037"/>
                </a:lnTo>
                <a:lnTo>
                  <a:pt x="2728" y="3040"/>
                </a:lnTo>
                <a:lnTo>
                  <a:pt x="2732" y="3041"/>
                </a:lnTo>
                <a:lnTo>
                  <a:pt x="2735" y="3041"/>
                </a:lnTo>
                <a:lnTo>
                  <a:pt x="2739" y="3041"/>
                </a:lnTo>
                <a:lnTo>
                  <a:pt x="2743" y="3041"/>
                </a:lnTo>
                <a:lnTo>
                  <a:pt x="2746" y="3042"/>
                </a:lnTo>
                <a:lnTo>
                  <a:pt x="2749" y="3043"/>
                </a:lnTo>
                <a:lnTo>
                  <a:pt x="2750" y="3044"/>
                </a:lnTo>
                <a:lnTo>
                  <a:pt x="2750" y="3046"/>
                </a:lnTo>
                <a:lnTo>
                  <a:pt x="2749" y="3048"/>
                </a:lnTo>
                <a:lnTo>
                  <a:pt x="2747" y="3050"/>
                </a:lnTo>
                <a:lnTo>
                  <a:pt x="2745" y="3053"/>
                </a:lnTo>
                <a:lnTo>
                  <a:pt x="2741" y="3057"/>
                </a:lnTo>
                <a:lnTo>
                  <a:pt x="2739" y="3063"/>
                </a:lnTo>
                <a:lnTo>
                  <a:pt x="2737" y="3071"/>
                </a:lnTo>
                <a:lnTo>
                  <a:pt x="2737" y="3078"/>
                </a:lnTo>
                <a:lnTo>
                  <a:pt x="2738" y="3080"/>
                </a:lnTo>
                <a:lnTo>
                  <a:pt x="2739" y="3082"/>
                </a:lnTo>
                <a:lnTo>
                  <a:pt x="2740" y="3082"/>
                </a:lnTo>
                <a:lnTo>
                  <a:pt x="2743" y="3082"/>
                </a:lnTo>
                <a:lnTo>
                  <a:pt x="2749" y="3084"/>
                </a:lnTo>
                <a:lnTo>
                  <a:pt x="2756" y="3081"/>
                </a:lnTo>
                <a:lnTo>
                  <a:pt x="2768" y="3077"/>
                </a:lnTo>
                <a:lnTo>
                  <a:pt x="2782" y="3071"/>
                </a:lnTo>
                <a:lnTo>
                  <a:pt x="2795" y="3066"/>
                </a:lnTo>
                <a:lnTo>
                  <a:pt x="2807" y="3062"/>
                </a:lnTo>
                <a:lnTo>
                  <a:pt x="2812" y="3062"/>
                </a:lnTo>
                <a:lnTo>
                  <a:pt x="2815" y="3062"/>
                </a:lnTo>
                <a:lnTo>
                  <a:pt x="2820" y="3062"/>
                </a:lnTo>
                <a:lnTo>
                  <a:pt x="2823" y="3065"/>
                </a:lnTo>
                <a:lnTo>
                  <a:pt x="2831" y="3068"/>
                </a:lnTo>
                <a:lnTo>
                  <a:pt x="2839" y="3075"/>
                </a:lnTo>
                <a:lnTo>
                  <a:pt x="2856" y="3090"/>
                </a:lnTo>
                <a:lnTo>
                  <a:pt x="2869" y="3103"/>
                </a:lnTo>
                <a:lnTo>
                  <a:pt x="2872" y="3105"/>
                </a:lnTo>
                <a:lnTo>
                  <a:pt x="2876" y="3107"/>
                </a:lnTo>
                <a:lnTo>
                  <a:pt x="2878" y="3109"/>
                </a:lnTo>
                <a:lnTo>
                  <a:pt x="2882" y="3109"/>
                </a:lnTo>
                <a:lnTo>
                  <a:pt x="2885" y="3109"/>
                </a:lnTo>
                <a:lnTo>
                  <a:pt x="2889" y="3109"/>
                </a:lnTo>
                <a:lnTo>
                  <a:pt x="2892" y="3107"/>
                </a:lnTo>
                <a:lnTo>
                  <a:pt x="2897" y="3105"/>
                </a:lnTo>
                <a:lnTo>
                  <a:pt x="2905" y="3100"/>
                </a:lnTo>
                <a:lnTo>
                  <a:pt x="2913" y="3098"/>
                </a:lnTo>
                <a:lnTo>
                  <a:pt x="2922" y="3096"/>
                </a:lnTo>
                <a:lnTo>
                  <a:pt x="2933" y="3094"/>
                </a:lnTo>
                <a:lnTo>
                  <a:pt x="2945" y="3094"/>
                </a:lnTo>
                <a:lnTo>
                  <a:pt x="2954" y="3092"/>
                </a:lnTo>
                <a:lnTo>
                  <a:pt x="2964" y="3090"/>
                </a:lnTo>
                <a:lnTo>
                  <a:pt x="2972" y="3087"/>
                </a:lnTo>
                <a:lnTo>
                  <a:pt x="2979" y="3086"/>
                </a:lnTo>
                <a:lnTo>
                  <a:pt x="2986" y="3085"/>
                </a:lnTo>
                <a:lnTo>
                  <a:pt x="2993" y="3084"/>
                </a:lnTo>
                <a:lnTo>
                  <a:pt x="3003" y="3084"/>
                </a:lnTo>
                <a:lnTo>
                  <a:pt x="3014" y="3084"/>
                </a:lnTo>
                <a:lnTo>
                  <a:pt x="3024" y="3082"/>
                </a:lnTo>
                <a:lnTo>
                  <a:pt x="3035" y="3080"/>
                </a:lnTo>
                <a:lnTo>
                  <a:pt x="3046" y="3075"/>
                </a:lnTo>
                <a:lnTo>
                  <a:pt x="3055" y="3069"/>
                </a:lnTo>
                <a:lnTo>
                  <a:pt x="3062" y="3067"/>
                </a:lnTo>
                <a:lnTo>
                  <a:pt x="3066" y="3066"/>
                </a:lnTo>
                <a:lnTo>
                  <a:pt x="3068" y="3067"/>
                </a:lnTo>
                <a:lnTo>
                  <a:pt x="3073" y="3068"/>
                </a:lnTo>
                <a:lnTo>
                  <a:pt x="3077" y="3071"/>
                </a:lnTo>
                <a:lnTo>
                  <a:pt x="3085" y="3075"/>
                </a:lnTo>
                <a:lnTo>
                  <a:pt x="3093" y="3079"/>
                </a:lnTo>
                <a:lnTo>
                  <a:pt x="3098" y="3080"/>
                </a:lnTo>
                <a:lnTo>
                  <a:pt x="3103" y="3080"/>
                </a:lnTo>
                <a:lnTo>
                  <a:pt x="3108" y="3080"/>
                </a:lnTo>
                <a:lnTo>
                  <a:pt x="3114" y="3079"/>
                </a:lnTo>
                <a:lnTo>
                  <a:pt x="3122" y="3075"/>
                </a:lnTo>
                <a:lnTo>
                  <a:pt x="3131" y="3071"/>
                </a:lnTo>
                <a:lnTo>
                  <a:pt x="3135" y="3068"/>
                </a:lnTo>
                <a:lnTo>
                  <a:pt x="3137" y="3066"/>
                </a:lnTo>
                <a:lnTo>
                  <a:pt x="3140" y="3063"/>
                </a:lnTo>
                <a:lnTo>
                  <a:pt x="3141" y="3061"/>
                </a:lnTo>
                <a:lnTo>
                  <a:pt x="3141" y="3056"/>
                </a:lnTo>
                <a:lnTo>
                  <a:pt x="3141" y="3049"/>
                </a:lnTo>
                <a:lnTo>
                  <a:pt x="3141" y="3033"/>
                </a:lnTo>
                <a:lnTo>
                  <a:pt x="3142" y="3015"/>
                </a:lnTo>
                <a:lnTo>
                  <a:pt x="3141" y="3000"/>
                </a:lnTo>
                <a:lnTo>
                  <a:pt x="3138" y="2991"/>
                </a:lnTo>
                <a:lnTo>
                  <a:pt x="3136" y="2986"/>
                </a:lnTo>
                <a:lnTo>
                  <a:pt x="3134" y="2984"/>
                </a:lnTo>
                <a:lnTo>
                  <a:pt x="3131" y="2981"/>
                </a:lnTo>
                <a:lnTo>
                  <a:pt x="3128" y="2980"/>
                </a:lnTo>
                <a:lnTo>
                  <a:pt x="3124" y="2979"/>
                </a:lnTo>
                <a:lnTo>
                  <a:pt x="3121" y="2977"/>
                </a:lnTo>
                <a:lnTo>
                  <a:pt x="3118" y="2975"/>
                </a:lnTo>
                <a:lnTo>
                  <a:pt x="3117" y="2972"/>
                </a:lnTo>
                <a:lnTo>
                  <a:pt x="3116" y="2968"/>
                </a:lnTo>
                <a:lnTo>
                  <a:pt x="3115" y="2964"/>
                </a:lnTo>
                <a:lnTo>
                  <a:pt x="3116" y="2959"/>
                </a:lnTo>
                <a:lnTo>
                  <a:pt x="3117" y="2952"/>
                </a:lnTo>
                <a:lnTo>
                  <a:pt x="3118" y="2946"/>
                </a:lnTo>
                <a:lnTo>
                  <a:pt x="3118" y="2942"/>
                </a:lnTo>
                <a:lnTo>
                  <a:pt x="3117" y="2940"/>
                </a:lnTo>
                <a:lnTo>
                  <a:pt x="3114" y="2936"/>
                </a:lnTo>
                <a:lnTo>
                  <a:pt x="3106" y="2929"/>
                </a:lnTo>
                <a:lnTo>
                  <a:pt x="3102" y="2922"/>
                </a:lnTo>
                <a:lnTo>
                  <a:pt x="3098" y="2917"/>
                </a:lnTo>
                <a:lnTo>
                  <a:pt x="3092" y="2912"/>
                </a:lnTo>
                <a:lnTo>
                  <a:pt x="3089" y="2910"/>
                </a:lnTo>
                <a:lnTo>
                  <a:pt x="3084" y="2909"/>
                </a:lnTo>
                <a:lnTo>
                  <a:pt x="3079" y="2909"/>
                </a:lnTo>
                <a:lnTo>
                  <a:pt x="3073" y="2909"/>
                </a:lnTo>
                <a:lnTo>
                  <a:pt x="3059" y="2912"/>
                </a:lnTo>
                <a:lnTo>
                  <a:pt x="3046" y="2916"/>
                </a:lnTo>
                <a:lnTo>
                  <a:pt x="3033" y="2920"/>
                </a:lnTo>
                <a:lnTo>
                  <a:pt x="3021" y="2922"/>
                </a:lnTo>
                <a:lnTo>
                  <a:pt x="3012" y="2923"/>
                </a:lnTo>
                <a:lnTo>
                  <a:pt x="3004" y="2922"/>
                </a:lnTo>
                <a:lnTo>
                  <a:pt x="2996" y="2921"/>
                </a:lnTo>
                <a:lnTo>
                  <a:pt x="2987" y="2920"/>
                </a:lnTo>
                <a:lnTo>
                  <a:pt x="2980" y="2917"/>
                </a:lnTo>
                <a:lnTo>
                  <a:pt x="2973" y="2915"/>
                </a:lnTo>
                <a:lnTo>
                  <a:pt x="2968" y="2911"/>
                </a:lnTo>
                <a:lnTo>
                  <a:pt x="2965" y="2908"/>
                </a:lnTo>
                <a:lnTo>
                  <a:pt x="2964" y="2903"/>
                </a:lnTo>
                <a:lnTo>
                  <a:pt x="2965" y="2898"/>
                </a:lnTo>
                <a:lnTo>
                  <a:pt x="2965" y="2892"/>
                </a:lnTo>
                <a:lnTo>
                  <a:pt x="2966" y="2886"/>
                </a:lnTo>
                <a:lnTo>
                  <a:pt x="2967" y="2880"/>
                </a:lnTo>
                <a:lnTo>
                  <a:pt x="2967" y="2874"/>
                </a:lnTo>
                <a:lnTo>
                  <a:pt x="2967" y="2869"/>
                </a:lnTo>
                <a:lnTo>
                  <a:pt x="2965" y="2861"/>
                </a:lnTo>
                <a:lnTo>
                  <a:pt x="2957" y="2849"/>
                </a:lnTo>
                <a:lnTo>
                  <a:pt x="2947" y="2838"/>
                </a:lnTo>
                <a:lnTo>
                  <a:pt x="2939" y="2829"/>
                </a:lnTo>
                <a:lnTo>
                  <a:pt x="2933" y="2826"/>
                </a:lnTo>
                <a:lnTo>
                  <a:pt x="2928" y="2825"/>
                </a:lnTo>
                <a:lnTo>
                  <a:pt x="2924" y="2826"/>
                </a:lnTo>
                <a:lnTo>
                  <a:pt x="2921" y="2829"/>
                </a:lnTo>
                <a:lnTo>
                  <a:pt x="2917" y="2835"/>
                </a:lnTo>
                <a:lnTo>
                  <a:pt x="2916" y="2839"/>
                </a:lnTo>
                <a:lnTo>
                  <a:pt x="2914" y="2841"/>
                </a:lnTo>
                <a:lnTo>
                  <a:pt x="2910" y="2842"/>
                </a:lnTo>
                <a:lnTo>
                  <a:pt x="2907" y="2844"/>
                </a:lnTo>
                <a:lnTo>
                  <a:pt x="2902" y="2844"/>
                </a:lnTo>
                <a:lnTo>
                  <a:pt x="2898" y="2842"/>
                </a:lnTo>
                <a:lnTo>
                  <a:pt x="2894" y="2840"/>
                </a:lnTo>
                <a:lnTo>
                  <a:pt x="2890" y="2836"/>
                </a:lnTo>
                <a:lnTo>
                  <a:pt x="2886" y="2832"/>
                </a:lnTo>
                <a:lnTo>
                  <a:pt x="2884" y="2826"/>
                </a:lnTo>
                <a:lnTo>
                  <a:pt x="2882" y="2819"/>
                </a:lnTo>
                <a:lnTo>
                  <a:pt x="2879" y="2811"/>
                </a:lnTo>
                <a:lnTo>
                  <a:pt x="2877" y="2795"/>
                </a:lnTo>
                <a:lnTo>
                  <a:pt x="2876" y="2777"/>
                </a:lnTo>
                <a:lnTo>
                  <a:pt x="2875" y="2769"/>
                </a:lnTo>
                <a:lnTo>
                  <a:pt x="2876" y="2763"/>
                </a:lnTo>
                <a:lnTo>
                  <a:pt x="2876" y="2756"/>
                </a:lnTo>
                <a:lnTo>
                  <a:pt x="2877" y="2751"/>
                </a:lnTo>
                <a:lnTo>
                  <a:pt x="2879" y="2746"/>
                </a:lnTo>
                <a:lnTo>
                  <a:pt x="2882" y="2743"/>
                </a:lnTo>
                <a:lnTo>
                  <a:pt x="2885" y="2739"/>
                </a:lnTo>
                <a:lnTo>
                  <a:pt x="2889" y="2737"/>
                </a:lnTo>
                <a:lnTo>
                  <a:pt x="2900" y="2721"/>
                </a:lnTo>
                <a:lnTo>
                  <a:pt x="2911" y="2702"/>
                </a:lnTo>
                <a:lnTo>
                  <a:pt x="2915" y="2699"/>
                </a:lnTo>
                <a:lnTo>
                  <a:pt x="2920" y="2696"/>
                </a:lnTo>
                <a:lnTo>
                  <a:pt x="2924" y="2696"/>
                </a:lnTo>
                <a:lnTo>
                  <a:pt x="2928" y="2696"/>
                </a:lnTo>
                <a:lnTo>
                  <a:pt x="2936" y="2700"/>
                </a:lnTo>
                <a:lnTo>
                  <a:pt x="2944" y="2704"/>
                </a:lnTo>
                <a:lnTo>
                  <a:pt x="2947" y="2706"/>
                </a:lnTo>
                <a:lnTo>
                  <a:pt x="2953" y="2707"/>
                </a:lnTo>
                <a:lnTo>
                  <a:pt x="2959" y="2708"/>
                </a:lnTo>
                <a:lnTo>
                  <a:pt x="2966" y="2708"/>
                </a:lnTo>
                <a:lnTo>
                  <a:pt x="2972" y="2706"/>
                </a:lnTo>
                <a:lnTo>
                  <a:pt x="2978" y="2702"/>
                </a:lnTo>
                <a:lnTo>
                  <a:pt x="2980" y="2700"/>
                </a:lnTo>
                <a:lnTo>
                  <a:pt x="2983" y="2697"/>
                </a:lnTo>
                <a:lnTo>
                  <a:pt x="2984" y="2694"/>
                </a:lnTo>
                <a:lnTo>
                  <a:pt x="2985" y="2690"/>
                </a:lnTo>
                <a:lnTo>
                  <a:pt x="2987" y="2682"/>
                </a:lnTo>
                <a:lnTo>
                  <a:pt x="2990" y="2674"/>
                </a:lnTo>
                <a:lnTo>
                  <a:pt x="2993" y="2666"/>
                </a:lnTo>
                <a:lnTo>
                  <a:pt x="2996" y="2659"/>
                </a:lnTo>
                <a:lnTo>
                  <a:pt x="3001" y="2653"/>
                </a:lnTo>
                <a:lnTo>
                  <a:pt x="3004" y="2647"/>
                </a:lnTo>
                <a:lnTo>
                  <a:pt x="3008" y="2643"/>
                </a:lnTo>
                <a:lnTo>
                  <a:pt x="3012" y="2640"/>
                </a:lnTo>
                <a:lnTo>
                  <a:pt x="3016" y="2638"/>
                </a:lnTo>
                <a:lnTo>
                  <a:pt x="3021" y="2638"/>
                </a:lnTo>
                <a:lnTo>
                  <a:pt x="3026" y="2638"/>
                </a:lnTo>
                <a:lnTo>
                  <a:pt x="3029" y="2640"/>
                </a:lnTo>
                <a:lnTo>
                  <a:pt x="3034" y="2644"/>
                </a:lnTo>
                <a:lnTo>
                  <a:pt x="3039" y="2647"/>
                </a:lnTo>
                <a:lnTo>
                  <a:pt x="3042" y="2652"/>
                </a:lnTo>
                <a:lnTo>
                  <a:pt x="3045" y="2658"/>
                </a:lnTo>
                <a:lnTo>
                  <a:pt x="3052" y="2670"/>
                </a:lnTo>
                <a:lnTo>
                  <a:pt x="3059" y="2681"/>
                </a:lnTo>
                <a:lnTo>
                  <a:pt x="3062" y="2685"/>
                </a:lnTo>
                <a:lnTo>
                  <a:pt x="3066" y="2689"/>
                </a:lnTo>
                <a:lnTo>
                  <a:pt x="3071" y="2693"/>
                </a:lnTo>
                <a:lnTo>
                  <a:pt x="3075" y="2695"/>
                </a:lnTo>
                <a:lnTo>
                  <a:pt x="3084" y="2700"/>
                </a:lnTo>
                <a:lnTo>
                  <a:pt x="3090" y="2706"/>
                </a:lnTo>
                <a:lnTo>
                  <a:pt x="3096" y="2713"/>
                </a:lnTo>
                <a:lnTo>
                  <a:pt x="3100" y="2720"/>
                </a:lnTo>
                <a:lnTo>
                  <a:pt x="3106" y="2727"/>
                </a:lnTo>
                <a:lnTo>
                  <a:pt x="3114" y="2732"/>
                </a:lnTo>
                <a:lnTo>
                  <a:pt x="3122" y="2738"/>
                </a:lnTo>
                <a:lnTo>
                  <a:pt x="3131" y="2743"/>
                </a:lnTo>
                <a:lnTo>
                  <a:pt x="3141" y="2748"/>
                </a:lnTo>
                <a:lnTo>
                  <a:pt x="3146" y="2754"/>
                </a:lnTo>
                <a:lnTo>
                  <a:pt x="3150" y="2762"/>
                </a:lnTo>
                <a:lnTo>
                  <a:pt x="3154" y="2767"/>
                </a:lnTo>
                <a:lnTo>
                  <a:pt x="3156" y="2770"/>
                </a:lnTo>
                <a:lnTo>
                  <a:pt x="3160" y="2772"/>
                </a:lnTo>
                <a:lnTo>
                  <a:pt x="3163" y="2772"/>
                </a:lnTo>
                <a:lnTo>
                  <a:pt x="3167" y="2772"/>
                </a:lnTo>
                <a:lnTo>
                  <a:pt x="3169" y="2771"/>
                </a:lnTo>
                <a:lnTo>
                  <a:pt x="3172" y="2769"/>
                </a:lnTo>
                <a:lnTo>
                  <a:pt x="3173" y="2765"/>
                </a:lnTo>
                <a:lnTo>
                  <a:pt x="3174" y="2760"/>
                </a:lnTo>
                <a:lnTo>
                  <a:pt x="3173" y="2750"/>
                </a:lnTo>
                <a:lnTo>
                  <a:pt x="3171" y="2739"/>
                </a:lnTo>
                <a:lnTo>
                  <a:pt x="3169" y="2732"/>
                </a:lnTo>
                <a:lnTo>
                  <a:pt x="3168" y="2725"/>
                </a:lnTo>
                <a:lnTo>
                  <a:pt x="3165" y="2719"/>
                </a:lnTo>
                <a:lnTo>
                  <a:pt x="3159" y="2710"/>
                </a:lnTo>
                <a:lnTo>
                  <a:pt x="3146" y="2696"/>
                </a:lnTo>
                <a:lnTo>
                  <a:pt x="3135" y="2682"/>
                </a:lnTo>
                <a:lnTo>
                  <a:pt x="3131" y="2677"/>
                </a:lnTo>
                <a:lnTo>
                  <a:pt x="3128" y="2674"/>
                </a:lnTo>
                <a:lnTo>
                  <a:pt x="3127" y="2669"/>
                </a:lnTo>
                <a:lnTo>
                  <a:pt x="3125" y="2665"/>
                </a:lnTo>
                <a:lnTo>
                  <a:pt x="3125" y="2658"/>
                </a:lnTo>
                <a:lnTo>
                  <a:pt x="3128" y="2650"/>
                </a:lnTo>
                <a:lnTo>
                  <a:pt x="3129" y="2645"/>
                </a:lnTo>
                <a:lnTo>
                  <a:pt x="3129" y="2639"/>
                </a:lnTo>
                <a:lnTo>
                  <a:pt x="3128" y="2634"/>
                </a:lnTo>
                <a:lnTo>
                  <a:pt x="3127" y="2628"/>
                </a:lnTo>
                <a:lnTo>
                  <a:pt x="3121" y="2617"/>
                </a:lnTo>
                <a:lnTo>
                  <a:pt x="3114" y="2606"/>
                </a:lnTo>
                <a:lnTo>
                  <a:pt x="3105" y="2594"/>
                </a:lnTo>
                <a:lnTo>
                  <a:pt x="3096" y="2584"/>
                </a:lnTo>
                <a:lnTo>
                  <a:pt x="3091" y="2580"/>
                </a:lnTo>
                <a:lnTo>
                  <a:pt x="3085" y="2577"/>
                </a:lnTo>
                <a:lnTo>
                  <a:pt x="3078" y="2575"/>
                </a:lnTo>
                <a:lnTo>
                  <a:pt x="3070" y="2574"/>
                </a:lnTo>
                <a:lnTo>
                  <a:pt x="3054" y="2574"/>
                </a:lnTo>
                <a:lnTo>
                  <a:pt x="3041" y="2574"/>
                </a:lnTo>
                <a:lnTo>
                  <a:pt x="3035" y="2573"/>
                </a:lnTo>
                <a:lnTo>
                  <a:pt x="3030" y="2571"/>
                </a:lnTo>
                <a:lnTo>
                  <a:pt x="3027" y="2569"/>
                </a:lnTo>
                <a:lnTo>
                  <a:pt x="3024" y="2565"/>
                </a:lnTo>
                <a:lnTo>
                  <a:pt x="3021" y="2556"/>
                </a:lnTo>
                <a:lnTo>
                  <a:pt x="3016" y="2549"/>
                </a:lnTo>
                <a:lnTo>
                  <a:pt x="3014" y="2546"/>
                </a:lnTo>
                <a:lnTo>
                  <a:pt x="3010" y="2544"/>
                </a:lnTo>
                <a:lnTo>
                  <a:pt x="3007" y="2543"/>
                </a:lnTo>
                <a:lnTo>
                  <a:pt x="3001" y="2543"/>
                </a:lnTo>
                <a:lnTo>
                  <a:pt x="2996" y="2542"/>
                </a:lnTo>
                <a:lnTo>
                  <a:pt x="2991" y="2539"/>
                </a:lnTo>
                <a:lnTo>
                  <a:pt x="2987" y="2536"/>
                </a:lnTo>
                <a:lnTo>
                  <a:pt x="2983" y="2532"/>
                </a:lnTo>
                <a:lnTo>
                  <a:pt x="2979" y="2527"/>
                </a:lnTo>
                <a:lnTo>
                  <a:pt x="2974" y="2523"/>
                </a:lnTo>
                <a:lnTo>
                  <a:pt x="2970" y="2519"/>
                </a:lnTo>
                <a:lnTo>
                  <a:pt x="2964" y="2515"/>
                </a:lnTo>
                <a:lnTo>
                  <a:pt x="2952" y="2512"/>
                </a:lnTo>
                <a:lnTo>
                  <a:pt x="2941" y="2511"/>
                </a:lnTo>
                <a:lnTo>
                  <a:pt x="2936" y="2510"/>
                </a:lnTo>
                <a:lnTo>
                  <a:pt x="2933" y="2506"/>
                </a:lnTo>
                <a:lnTo>
                  <a:pt x="2930" y="2501"/>
                </a:lnTo>
                <a:lnTo>
                  <a:pt x="2929" y="2494"/>
                </a:lnTo>
                <a:lnTo>
                  <a:pt x="2929" y="2477"/>
                </a:lnTo>
                <a:lnTo>
                  <a:pt x="2930" y="2464"/>
                </a:lnTo>
                <a:lnTo>
                  <a:pt x="2932" y="2451"/>
                </a:lnTo>
                <a:lnTo>
                  <a:pt x="2933" y="2437"/>
                </a:lnTo>
                <a:lnTo>
                  <a:pt x="2932" y="2428"/>
                </a:lnTo>
                <a:lnTo>
                  <a:pt x="2930" y="2420"/>
                </a:lnTo>
                <a:lnTo>
                  <a:pt x="2929" y="2416"/>
                </a:lnTo>
                <a:lnTo>
                  <a:pt x="2929" y="2411"/>
                </a:lnTo>
                <a:lnTo>
                  <a:pt x="2930" y="2405"/>
                </a:lnTo>
                <a:lnTo>
                  <a:pt x="2933" y="2397"/>
                </a:lnTo>
                <a:lnTo>
                  <a:pt x="2933" y="2393"/>
                </a:lnTo>
                <a:lnTo>
                  <a:pt x="2933" y="2391"/>
                </a:lnTo>
                <a:lnTo>
                  <a:pt x="2933" y="2387"/>
                </a:lnTo>
                <a:lnTo>
                  <a:pt x="2932" y="2386"/>
                </a:lnTo>
                <a:lnTo>
                  <a:pt x="2928" y="2384"/>
                </a:lnTo>
                <a:lnTo>
                  <a:pt x="2923" y="2384"/>
                </a:lnTo>
                <a:lnTo>
                  <a:pt x="2909" y="2387"/>
                </a:lnTo>
                <a:lnTo>
                  <a:pt x="2892" y="2391"/>
                </a:lnTo>
                <a:lnTo>
                  <a:pt x="2878" y="2394"/>
                </a:lnTo>
                <a:lnTo>
                  <a:pt x="2866" y="2397"/>
                </a:lnTo>
                <a:lnTo>
                  <a:pt x="2861" y="2399"/>
                </a:lnTo>
                <a:lnTo>
                  <a:pt x="2857" y="2399"/>
                </a:lnTo>
                <a:lnTo>
                  <a:pt x="2852" y="2399"/>
                </a:lnTo>
                <a:lnTo>
                  <a:pt x="2848" y="2398"/>
                </a:lnTo>
                <a:lnTo>
                  <a:pt x="2847" y="2395"/>
                </a:lnTo>
                <a:lnTo>
                  <a:pt x="2847" y="2392"/>
                </a:lnTo>
                <a:lnTo>
                  <a:pt x="2847" y="2387"/>
                </a:lnTo>
                <a:lnTo>
                  <a:pt x="2848" y="2380"/>
                </a:lnTo>
                <a:lnTo>
                  <a:pt x="2851" y="2366"/>
                </a:lnTo>
                <a:lnTo>
                  <a:pt x="2851" y="2350"/>
                </a:lnTo>
                <a:lnTo>
                  <a:pt x="2851" y="2341"/>
                </a:lnTo>
                <a:lnTo>
                  <a:pt x="2851" y="2331"/>
                </a:lnTo>
                <a:lnTo>
                  <a:pt x="2850" y="2321"/>
                </a:lnTo>
                <a:lnTo>
                  <a:pt x="2848" y="2315"/>
                </a:lnTo>
                <a:lnTo>
                  <a:pt x="2847" y="2310"/>
                </a:lnTo>
                <a:lnTo>
                  <a:pt x="2845" y="2306"/>
                </a:lnTo>
                <a:lnTo>
                  <a:pt x="2841" y="2302"/>
                </a:lnTo>
                <a:lnTo>
                  <a:pt x="2837" y="2298"/>
                </a:lnTo>
                <a:lnTo>
                  <a:pt x="2829" y="2294"/>
                </a:lnTo>
                <a:lnTo>
                  <a:pt x="2825" y="2290"/>
                </a:lnTo>
                <a:lnTo>
                  <a:pt x="2821" y="2284"/>
                </a:lnTo>
                <a:lnTo>
                  <a:pt x="2819" y="2279"/>
                </a:lnTo>
                <a:lnTo>
                  <a:pt x="2816" y="2273"/>
                </a:lnTo>
                <a:lnTo>
                  <a:pt x="2816" y="2267"/>
                </a:lnTo>
                <a:lnTo>
                  <a:pt x="2816" y="2261"/>
                </a:lnTo>
                <a:lnTo>
                  <a:pt x="2819" y="2255"/>
                </a:lnTo>
                <a:lnTo>
                  <a:pt x="2821" y="2249"/>
                </a:lnTo>
                <a:lnTo>
                  <a:pt x="2823" y="2244"/>
                </a:lnTo>
                <a:lnTo>
                  <a:pt x="2827" y="2240"/>
                </a:lnTo>
                <a:lnTo>
                  <a:pt x="2832" y="2235"/>
                </a:lnTo>
                <a:lnTo>
                  <a:pt x="2841" y="2227"/>
                </a:lnTo>
                <a:lnTo>
                  <a:pt x="2851" y="2218"/>
                </a:lnTo>
                <a:lnTo>
                  <a:pt x="2858" y="2214"/>
                </a:lnTo>
                <a:lnTo>
                  <a:pt x="2864" y="2209"/>
                </a:lnTo>
                <a:lnTo>
                  <a:pt x="2872" y="2198"/>
                </a:lnTo>
                <a:lnTo>
                  <a:pt x="2882" y="2183"/>
                </a:lnTo>
                <a:lnTo>
                  <a:pt x="2888" y="2176"/>
                </a:lnTo>
                <a:lnTo>
                  <a:pt x="2894" y="2168"/>
                </a:lnTo>
                <a:lnTo>
                  <a:pt x="2900" y="2162"/>
                </a:lnTo>
                <a:lnTo>
                  <a:pt x="2907" y="2158"/>
                </a:lnTo>
                <a:lnTo>
                  <a:pt x="2921" y="2154"/>
                </a:lnTo>
                <a:lnTo>
                  <a:pt x="2933" y="2152"/>
                </a:lnTo>
                <a:lnTo>
                  <a:pt x="2939" y="2151"/>
                </a:lnTo>
                <a:lnTo>
                  <a:pt x="2944" y="2148"/>
                </a:lnTo>
                <a:lnTo>
                  <a:pt x="2948" y="2145"/>
                </a:lnTo>
                <a:lnTo>
                  <a:pt x="2952" y="2140"/>
                </a:lnTo>
                <a:lnTo>
                  <a:pt x="2964" y="2124"/>
                </a:lnTo>
                <a:lnTo>
                  <a:pt x="2976" y="2110"/>
                </a:lnTo>
                <a:lnTo>
                  <a:pt x="2979" y="2105"/>
                </a:lnTo>
                <a:lnTo>
                  <a:pt x="2980" y="2099"/>
                </a:lnTo>
                <a:lnTo>
                  <a:pt x="2979" y="2096"/>
                </a:lnTo>
                <a:lnTo>
                  <a:pt x="2978" y="2091"/>
                </a:lnTo>
                <a:lnTo>
                  <a:pt x="2976" y="2088"/>
                </a:lnTo>
                <a:lnTo>
                  <a:pt x="2972" y="2085"/>
                </a:lnTo>
                <a:lnTo>
                  <a:pt x="2967" y="2083"/>
                </a:lnTo>
                <a:lnTo>
                  <a:pt x="2963" y="2080"/>
                </a:lnTo>
                <a:lnTo>
                  <a:pt x="2952" y="2077"/>
                </a:lnTo>
                <a:lnTo>
                  <a:pt x="2938" y="2070"/>
                </a:lnTo>
                <a:lnTo>
                  <a:pt x="2924" y="2061"/>
                </a:lnTo>
                <a:lnTo>
                  <a:pt x="2915" y="2054"/>
                </a:lnTo>
                <a:lnTo>
                  <a:pt x="2908" y="2048"/>
                </a:lnTo>
                <a:lnTo>
                  <a:pt x="2901" y="2042"/>
                </a:lnTo>
                <a:lnTo>
                  <a:pt x="2898" y="2039"/>
                </a:lnTo>
                <a:lnTo>
                  <a:pt x="2898" y="2034"/>
                </a:lnTo>
                <a:lnTo>
                  <a:pt x="2900" y="2031"/>
                </a:lnTo>
                <a:lnTo>
                  <a:pt x="2902" y="2027"/>
                </a:lnTo>
                <a:lnTo>
                  <a:pt x="2907" y="2023"/>
                </a:lnTo>
                <a:lnTo>
                  <a:pt x="2910" y="2021"/>
                </a:lnTo>
                <a:lnTo>
                  <a:pt x="2914" y="2020"/>
                </a:lnTo>
                <a:lnTo>
                  <a:pt x="2917" y="2019"/>
                </a:lnTo>
                <a:lnTo>
                  <a:pt x="2920" y="2019"/>
                </a:lnTo>
                <a:lnTo>
                  <a:pt x="2922" y="2017"/>
                </a:lnTo>
                <a:lnTo>
                  <a:pt x="2923" y="2015"/>
                </a:lnTo>
                <a:lnTo>
                  <a:pt x="2926" y="2012"/>
                </a:lnTo>
                <a:lnTo>
                  <a:pt x="2927" y="2004"/>
                </a:lnTo>
                <a:lnTo>
                  <a:pt x="2928" y="1996"/>
                </a:lnTo>
                <a:lnTo>
                  <a:pt x="2929" y="1993"/>
                </a:lnTo>
                <a:lnTo>
                  <a:pt x="2932" y="1988"/>
                </a:lnTo>
                <a:lnTo>
                  <a:pt x="2935" y="1984"/>
                </a:lnTo>
                <a:lnTo>
                  <a:pt x="2941" y="1981"/>
                </a:lnTo>
                <a:lnTo>
                  <a:pt x="2952" y="1973"/>
                </a:lnTo>
                <a:lnTo>
                  <a:pt x="2963" y="1964"/>
                </a:lnTo>
                <a:lnTo>
                  <a:pt x="2966" y="1959"/>
                </a:lnTo>
                <a:lnTo>
                  <a:pt x="2968" y="1954"/>
                </a:lnTo>
                <a:lnTo>
                  <a:pt x="2971" y="1950"/>
                </a:lnTo>
                <a:lnTo>
                  <a:pt x="2971" y="1946"/>
                </a:lnTo>
                <a:lnTo>
                  <a:pt x="2968" y="1937"/>
                </a:lnTo>
                <a:lnTo>
                  <a:pt x="2968" y="1927"/>
                </a:lnTo>
                <a:lnTo>
                  <a:pt x="2968" y="1924"/>
                </a:lnTo>
                <a:lnTo>
                  <a:pt x="2971" y="1919"/>
                </a:lnTo>
                <a:lnTo>
                  <a:pt x="2973" y="1916"/>
                </a:lnTo>
                <a:lnTo>
                  <a:pt x="2977" y="1914"/>
                </a:lnTo>
                <a:lnTo>
                  <a:pt x="2982" y="1912"/>
                </a:lnTo>
                <a:lnTo>
                  <a:pt x="2986" y="1910"/>
                </a:lnTo>
                <a:lnTo>
                  <a:pt x="2990" y="1910"/>
                </a:lnTo>
                <a:lnTo>
                  <a:pt x="2995" y="1910"/>
                </a:lnTo>
                <a:lnTo>
                  <a:pt x="2998" y="1913"/>
                </a:lnTo>
                <a:lnTo>
                  <a:pt x="3002" y="1914"/>
                </a:lnTo>
                <a:lnTo>
                  <a:pt x="3005" y="1918"/>
                </a:lnTo>
                <a:lnTo>
                  <a:pt x="3009" y="1921"/>
                </a:lnTo>
                <a:lnTo>
                  <a:pt x="3012" y="1925"/>
                </a:lnTo>
                <a:lnTo>
                  <a:pt x="3018" y="1927"/>
                </a:lnTo>
                <a:lnTo>
                  <a:pt x="3026" y="1930"/>
                </a:lnTo>
                <a:lnTo>
                  <a:pt x="3033" y="1931"/>
                </a:lnTo>
                <a:lnTo>
                  <a:pt x="3048" y="1932"/>
                </a:lnTo>
                <a:lnTo>
                  <a:pt x="3062" y="1932"/>
                </a:lnTo>
                <a:lnTo>
                  <a:pt x="3068" y="1932"/>
                </a:lnTo>
                <a:lnTo>
                  <a:pt x="3074" y="1933"/>
                </a:lnTo>
                <a:lnTo>
                  <a:pt x="3080" y="1935"/>
                </a:lnTo>
                <a:lnTo>
                  <a:pt x="3086" y="1938"/>
                </a:lnTo>
                <a:lnTo>
                  <a:pt x="3104" y="1951"/>
                </a:lnTo>
                <a:lnTo>
                  <a:pt x="3121" y="1964"/>
                </a:lnTo>
                <a:lnTo>
                  <a:pt x="3123" y="1969"/>
                </a:lnTo>
                <a:lnTo>
                  <a:pt x="3125" y="1976"/>
                </a:lnTo>
                <a:lnTo>
                  <a:pt x="3127" y="1984"/>
                </a:lnTo>
                <a:lnTo>
                  <a:pt x="3127" y="1991"/>
                </a:lnTo>
                <a:lnTo>
                  <a:pt x="3128" y="2001"/>
                </a:lnTo>
                <a:lnTo>
                  <a:pt x="3130" y="2007"/>
                </a:lnTo>
                <a:lnTo>
                  <a:pt x="3131" y="2009"/>
                </a:lnTo>
                <a:lnTo>
                  <a:pt x="3134" y="2012"/>
                </a:lnTo>
                <a:lnTo>
                  <a:pt x="3136" y="2012"/>
                </a:lnTo>
                <a:lnTo>
                  <a:pt x="3138" y="2012"/>
                </a:lnTo>
                <a:lnTo>
                  <a:pt x="3144" y="2009"/>
                </a:lnTo>
                <a:lnTo>
                  <a:pt x="3149" y="2008"/>
                </a:lnTo>
                <a:lnTo>
                  <a:pt x="3161" y="2004"/>
                </a:lnTo>
                <a:lnTo>
                  <a:pt x="3174" y="2001"/>
                </a:lnTo>
                <a:lnTo>
                  <a:pt x="3188" y="1997"/>
                </a:lnTo>
                <a:lnTo>
                  <a:pt x="3201" y="1994"/>
                </a:lnTo>
                <a:lnTo>
                  <a:pt x="3219" y="1991"/>
                </a:lnTo>
                <a:lnTo>
                  <a:pt x="3231" y="1990"/>
                </a:lnTo>
                <a:lnTo>
                  <a:pt x="3236" y="1990"/>
                </a:lnTo>
                <a:lnTo>
                  <a:pt x="3241" y="1989"/>
                </a:lnTo>
                <a:lnTo>
                  <a:pt x="3243" y="1988"/>
                </a:lnTo>
                <a:lnTo>
                  <a:pt x="3245" y="1987"/>
                </a:lnTo>
                <a:lnTo>
                  <a:pt x="3251" y="1981"/>
                </a:lnTo>
                <a:lnTo>
                  <a:pt x="3260" y="1976"/>
                </a:lnTo>
                <a:lnTo>
                  <a:pt x="3264" y="1975"/>
                </a:lnTo>
                <a:lnTo>
                  <a:pt x="3268" y="1975"/>
                </a:lnTo>
                <a:lnTo>
                  <a:pt x="3273" y="1976"/>
                </a:lnTo>
                <a:lnTo>
                  <a:pt x="3278" y="1979"/>
                </a:lnTo>
                <a:lnTo>
                  <a:pt x="3282" y="1984"/>
                </a:lnTo>
                <a:lnTo>
                  <a:pt x="3287" y="1991"/>
                </a:lnTo>
                <a:lnTo>
                  <a:pt x="3291" y="2000"/>
                </a:lnTo>
                <a:lnTo>
                  <a:pt x="3294" y="2008"/>
                </a:lnTo>
                <a:lnTo>
                  <a:pt x="3301" y="2027"/>
                </a:lnTo>
                <a:lnTo>
                  <a:pt x="3306" y="2044"/>
                </a:lnTo>
                <a:lnTo>
                  <a:pt x="3310" y="2057"/>
                </a:lnTo>
                <a:lnTo>
                  <a:pt x="3312" y="2064"/>
                </a:lnTo>
                <a:lnTo>
                  <a:pt x="3314" y="2067"/>
                </a:lnTo>
                <a:lnTo>
                  <a:pt x="3317" y="2070"/>
                </a:lnTo>
                <a:lnTo>
                  <a:pt x="3322" y="2072"/>
                </a:lnTo>
                <a:lnTo>
                  <a:pt x="3326" y="2075"/>
                </a:lnTo>
                <a:lnTo>
                  <a:pt x="3343" y="2079"/>
                </a:lnTo>
                <a:lnTo>
                  <a:pt x="3362" y="2083"/>
                </a:lnTo>
                <a:lnTo>
                  <a:pt x="3371" y="2085"/>
                </a:lnTo>
                <a:lnTo>
                  <a:pt x="3381" y="2085"/>
                </a:lnTo>
                <a:lnTo>
                  <a:pt x="3389" y="2085"/>
                </a:lnTo>
                <a:lnTo>
                  <a:pt x="3396" y="2084"/>
                </a:lnTo>
                <a:lnTo>
                  <a:pt x="3400" y="2083"/>
                </a:lnTo>
                <a:lnTo>
                  <a:pt x="3405" y="2083"/>
                </a:lnTo>
                <a:lnTo>
                  <a:pt x="3411" y="2082"/>
                </a:lnTo>
                <a:lnTo>
                  <a:pt x="3417" y="2078"/>
                </a:lnTo>
                <a:lnTo>
                  <a:pt x="3423" y="2072"/>
                </a:lnTo>
                <a:lnTo>
                  <a:pt x="3429" y="2067"/>
                </a:lnTo>
                <a:lnTo>
                  <a:pt x="3438" y="2066"/>
                </a:lnTo>
                <a:lnTo>
                  <a:pt x="3446" y="2065"/>
                </a:lnTo>
                <a:lnTo>
                  <a:pt x="3449" y="2064"/>
                </a:lnTo>
                <a:lnTo>
                  <a:pt x="3451" y="2061"/>
                </a:lnTo>
                <a:lnTo>
                  <a:pt x="3453" y="2059"/>
                </a:lnTo>
                <a:lnTo>
                  <a:pt x="3456" y="2056"/>
                </a:lnTo>
                <a:lnTo>
                  <a:pt x="3457" y="2047"/>
                </a:lnTo>
                <a:lnTo>
                  <a:pt x="3462" y="2040"/>
                </a:lnTo>
                <a:lnTo>
                  <a:pt x="3469" y="2038"/>
                </a:lnTo>
                <a:lnTo>
                  <a:pt x="3478" y="2036"/>
                </a:lnTo>
                <a:lnTo>
                  <a:pt x="3488" y="2032"/>
                </a:lnTo>
                <a:lnTo>
                  <a:pt x="3496" y="2027"/>
                </a:lnTo>
                <a:lnTo>
                  <a:pt x="3500" y="2022"/>
                </a:lnTo>
                <a:lnTo>
                  <a:pt x="3502" y="2016"/>
                </a:lnTo>
                <a:lnTo>
                  <a:pt x="3505" y="2009"/>
                </a:lnTo>
                <a:lnTo>
                  <a:pt x="3505" y="2002"/>
                </a:lnTo>
                <a:lnTo>
                  <a:pt x="3507" y="1994"/>
                </a:lnTo>
                <a:lnTo>
                  <a:pt x="3509" y="1987"/>
                </a:lnTo>
                <a:close/>
              </a:path>
            </a:pathLst>
          </a:custGeom>
          <a:gradFill>
            <a:gsLst>
              <a:gs pos="51300">
                <a:srgbClr val="FE5F4A"/>
              </a:gs>
              <a:gs pos="0">
                <a:srgbClr val="DF0303"/>
              </a:gs>
              <a:gs pos="100000">
                <a:srgbClr val="FEA06E"/>
              </a:gs>
            </a:gsLst>
            <a:lin ang="5400000" scaled="1"/>
          </a:gra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40" name="贵州"/>
          <p:cNvSpPr/>
          <p:nvPr/>
        </p:nvSpPr>
        <p:spPr bwMode="auto">
          <a:xfrm>
            <a:off x="5231130" y="4697730"/>
            <a:ext cx="935990" cy="802640"/>
          </a:xfrm>
          <a:custGeom>
            <a:avLst/>
            <a:gdLst>
              <a:gd name="T0" fmla="*/ 1464 w 2274"/>
              <a:gd name="T1" fmla="*/ 41 h 1956"/>
              <a:gd name="T2" fmla="*/ 1595 w 2274"/>
              <a:gd name="T3" fmla="*/ 13 h 1956"/>
              <a:gd name="T4" fmla="*/ 1725 w 2274"/>
              <a:gd name="T5" fmla="*/ 60 h 1956"/>
              <a:gd name="T6" fmla="*/ 1814 w 2274"/>
              <a:gd name="T7" fmla="*/ 79 h 1956"/>
              <a:gd name="T8" fmla="*/ 1920 w 2274"/>
              <a:gd name="T9" fmla="*/ 245 h 1956"/>
              <a:gd name="T10" fmla="*/ 1946 w 2274"/>
              <a:gd name="T11" fmla="*/ 383 h 1956"/>
              <a:gd name="T12" fmla="*/ 1974 w 2274"/>
              <a:gd name="T13" fmla="*/ 412 h 1956"/>
              <a:gd name="T14" fmla="*/ 2045 w 2274"/>
              <a:gd name="T15" fmla="*/ 445 h 1956"/>
              <a:gd name="T16" fmla="*/ 2142 w 2274"/>
              <a:gd name="T17" fmla="*/ 330 h 1956"/>
              <a:gd name="T18" fmla="*/ 2205 w 2274"/>
              <a:gd name="T19" fmla="*/ 453 h 1956"/>
              <a:gd name="T20" fmla="*/ 2182 w 2274"/>
              <a:gd name="T21" fmla="*/ 611 h 1956"/>
              <a:gd name="T22" fmla="*/ 2187 w 2274"/>
              <a:gd name="T23" fmla="*/ 763 h 1956"/>
              <a:gd name="T24" fmla="*/ 2072 w 2274"/>
              <a:gd name="T25" fmla="*/ 868 h 1956"/>
              <a:gd name="T26" fmla="*/ 2031 w 2274"/>
              <a:gd name="T27" fmla="*/ 964 h 1956"/>
              <a:gd name="T28" fmla="*/ 2187 w 2274"/>
              <a:gd name="T29" fmla="*/ 899 h 1956"/>
              <a:gd name="T30" fmla="*/ 2274 w 2274"/>
              <a:gd name="T31" fmla="*/ 980 h 1956"/>
              <a:gd name="T32" fmla="*/ 2269 w 2274"/>
              <a:gd name="T33" fmla="*/ 1028 h 1956"/>
              <a:gd name="T34" fmla="*/ 2219 w 2274"/>
              <a:gd name="T35" fmla="*/ 1157 h 1956"/>
              <a:gd name="T36" fmla="*/ 2215 w 2274"/>
              <a:gd name="T37" fmla="*/ 1283 h 1956"/>
              <a:gd name="T38" fmla="*/ 2234 w 2274"/>
              <a:gd name="T39" fmla="*/ 1310 h 1956"/>
              <a:gd name="T40" fmla="*/ 2217 w 2274"/>
              <a:gd name="T41" fmla="*/ 1453 h 1956"/>
              <a:gd name="T42" fmla="*/ 2078 w 2274"/>
              <a:gd name="T43" fmla="*/ 1485 h 1956"/>
              <a:gd name="T44" fmla="*/ 2081 w 2274"/>
              <a:gd name="T45" fmla="*/ 1554 h 1956"/>
              <a:gd name="T46" fmla="*/ 1977 w 2274"/>
              <a:gd name="T47" fmla="*/ 1585 h 1956"/>
              <a:gd name="T48" fmla="*/ 1917 w 2274"/>
              <a:gd name="T49" fmla="*/ 1623 h 1956"/>
              <a:gd name="T50" fmla="*/ 1831 w 2274"/>
              <a:gd name="T51" fmla="*/ 1636 h 1956"/>
              <a:gd name="T52" fmla="*/ 1735 w 2274"/>
              <a:gd name="T53" fmla="*/ 1647 h 1956"/>
              <a:gd name="T54" fmla="*/ 1580 w 2274"/>
              <a:gd name="T55" fmla="*/ 1770 h 1956"/>
              <a:gd name="T56" fmla="*/ 1535 w 2274"/>
              <a:gd name="T57" fmla="*/ 1690 h 1956"/>
              <a:gd name="T58" fmla="*/ 1430 w 2274"/>
              <a:gd name="T59" fmla="*/ 1656 h 1956"/>
              <a:gd name="T60" fmla="*/ 1334 w 2274"/>
              <a:gd name="T61" fmla="*/ 1576 h 1956"/>
              <a:gd name="T62" fmla="*/ 1266 w 2274"/>
              <a:gd name="T63" fmla="*/ 1733 h 1956"/>
              <a:gd name="T64" fmla="*/ 1134 w 2274"/>
              <a:gd name="T65" fmla="*/ 1745 h 1956"/>
              <a:gd name="T66" fmla="*/ 960 w 2274"/>
              <a:gd name="T67" fmla="*/ 1870 h 1956"/>
              <a:gd name="T68" fmla="*/ 814 w 2274"/>
              <a:gd name="T69" fmla="*/ 1931 h 1956"/>
              <a:gd name="T70" fmla="*/ 664 w 2274"/>
              <a:gd name="T71" fmla="*/ 1847 h 1956"/>
              <a:gd name="T72" fmla="*/ 510 w 2274"/>
              <a:gd name="T73" fmla="*/ 1828 h 1956"/>
              <a:gd name="T74" fmla="*/ 368 w 2274"/>
              <a:gd name="T75" fmla="*/ 1946 h 1956"/>
              <a:gd name="T76" fmla="*/ 359 w 2274"/>
              <a:gd name="T77" fmla="*/ 1776 h 1956"/>
              <a:gd name="T78" fmla="*/ 403 w 2274"/>
              <a:gd name="T79" fmla="*/ 1700 h 1956"/>
              <a:gd name="T80" fmla="*/ 334 w 2274"/>
              <a:gd name="T81" fmla="*/ 1616 h 1956"/>
              <a:gd name="T82" fmla="*/ 270 w 2274"/>
              <a:gd name="T83" fmla="*/ 1530 h 1956"/>
              <a:gd name="T84" fmla="*/ 301 w 2274"/>
              <a:gd name="T85" fmla="*/ 1320 h 1956"/>
              <a:gd name="T86" fmla="*/ 376 w 2274"/>
              <a:gd name="T87" fmla="*/ 1121 h 1956"/>
              <a:gd name="T88" fmla="*/ 185 w 2274"/>
              <a:gd name="T89" fmla="*/ 1063 h 1956"/>
              <a:gd name="T90" fmla="*/ 38 w 2274"/>
              <a:gd name="T91" fmla="*/ 990 h 1956"/>
              <a:gd name="T92" fmla="*/ 0 w 2274"/>
              <a:gd name="T93" fmla="*/ 867 h 1956"/>
              <a:gd name="T94" fmla="*/ 132 w 2274"/>
              <a:gd name="T95" fmla="*/ 699 h 1956"/>
              <a:gd name="T96" fmla="*/ 296 w 2274"/>
              <a:gd name="T97" fmla="*/ 713 h 1956"/>
              <a:gd name="T98" fmla="*/ 474 w 2274"/>
              <a:gd name="T99" fmla="*/ 775 h 1956"/>
              <a:gd name="T100" fmla="*/ 625 w 2274"/>
              <a:gd name="T101" fmla="*/ 747 h 1956"/>
              <a:gd name="T102" fmla="*/ 729 w 2274"/>
              <a:gd name="T103" fmla="*/ 592 h 1956"/>
              <a:gd name="T104" fmla="*/ 941 w 2274"/>
              <a:gd name="T105" fmla="*/ 612 h 1956"/>
              <a:gd name="T106" fmla="*/ 1048 w 2274"/>
              <a:gd name="T107" fmla="*/ 511 h 1956"/>
              <a:gd name="T108" fmla="*/ 904 w 2274"/>
              <a:gd name="T109" fmla="*/ 450 h 1956"/>
              <a:gd name="T110" fmla="*/ 803 w 2274"/>
              <a:gd name="T111" fmla="*/ 362 h 1956"/>
              <a:gd name="T112" fmla="*/ 900 w 2274"/>
              <a:gd name="T113" fmla="*/ 227 h 1956"/>
              <a:gd name="T114" fmla="*/ 1023 w 2274"/>
              <a:gd name="T115" fmla="*/ 257 h 1956"/>
              <a:gd name="T116" fmla="*/ 1128 w 2274"/>
              <a:gd name="T117" fmla="*/ 274 h 1956"/>
              <a:gd name="T118" fmla="*/ 1141 w 2274"/>
              <a:gd name="T119" fmla="*/ 149 h 1956"/>
              <a:gd name="T120" fmla="*/ 1196 w 2274"/>
              <a:gd name="T121" fmla="*/ 294 h 1956"/>
              <a:gd name="T122" fmla="*/ 1290 w 2274"/>
              <a:gd name="T123" fmla="*/ 163 h 1956"/>
              <a:gd name="T124" fmla="*/ 1411 w 2274"/>
              <a:gd name="T125" fmla="*/ 176 h 1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74" h="1956">
                <a:moveTo>
                  <a:pt x="1428" y="176"/>
                </a:moveTo>
                <a:lnTo>
                  <a:pt x="1429" y="176"/>
                </a:lnTo>
                <a:lnTo>
                  <a:pt x="1430" y="175"/>
                </a:lnTo>
                <a:lnTo>
                  <a:pt x="1435" y="171"/>
                </a:lnTo>
                <a:lnTo>
                  <a:pt x="1438" y="169"/>
                </a:lnTo>
                <a:lnTo>
                  <a:pt x="1441" y="167"/>
                </a:lnTo>
                <a:lnTo>
                  <a:pt x="1443" y="164"/>
                </a:lnTo>
                <a:lnTo>
                  <a:pt x="1454" y="157"/>
                </a:lnTo>
                <a:lnTo>
                  <a:pt x="1467" y="149"/>
                </a:lnTo>
                <a:lnTo>
                  <a:pt x="1477" y="143"/>
                </a:lnTo>
                <a:lnTo>
                  <a:pt x="1489" y="137"/>
                </a:lnTo>
                <a:lnTo>
                  <a:pt x="1493" y="133"/>
                </a:lnTo>
                <a:lnTo>
                  <a:pt x="1496" y="130"/>
                </a:lnTo>
                <a:lnTo>
                  <a:pt x="1498" y="126"/>
                </a:lnTo>
                <a:lnTo>
                  <a:pt x="1499" y="122"/>
                </a:lnTo>
                <a:lnTo>
                  <a:pt x="1496" y="117"/>
                </a:lnTo>
                <a:lnTo>
                  <a:pt x="1491" y="111"/>
                </a:lnTo>
                <a:lnTo>
                  <a:pt x="1483" y="104"/>
                </a:lnTo>
                <a:lnTo>
                  <a:pt x="1475" y="95"/>
                </a:lnTo>
                <a:lnTo>
                  <a:pt x="1474" y="93"/>
                </a:lnTo>
                <a:lnTo>
                  <a:pt x="1472" y="89"/>
                </a:lnTo>
                <a:lnTo>
                  <a:pt x="1469" y="79"/>
                </a:lnTo>
                <a:lnTo>
                  <a:pt x="1468" y="68"/>
                </a:lnTo>
                <a:lnTo>
                  <a:pt x="1468" y="61"/>
                </a:lnTo>
                <a:lnTo>
                  <a:pt x="1466" y="53"/>
                </a:lnTo>
                <a:lnTo>
                  <a:pt x="1464" y="50"/>
                </a:lnTo>
                <a:lnTo>
                  <a:pt x="1463" y="47"/>
                </a:lnTo>
                <a:lnTo>
                  <a:pt x="1463" y="43"/>
                </a:lnTo>
                <a:lnTo>
                  <a:pt x="1464" y="41"/>
                </a:lnTo>
                <a:lnTo>
                  <a:pt x="1468" y="37"/>
                </a:lnTo>
                <a:lnTo>
                  <a:pt x="1472" y="32"/>
                </a:lnTo>
                <a:lnTo>
                  <a:pt x="1476" y="30"/>
                </a:lnTo>
                <a:lnTo>
                  <a:pt x="1482" y="26"/>
                </a:lnTo>
                <a:lnTo>
                  <a:pt x="1491" y="21"/>
                </a:lnTo>
                <a:lnTo>
                  <a:pt x="1498" y="16"/>
                </a:lnTo>
                <a:lnTo>
                  <a:pt x="1501" y="15"/>
                </a:lnTo>
                <a:lnTo>
                  <a:pt x="1505" y="12"/>
                </a:lnTo>
                <a:lnTo>
                  <a:pt x="1507" y="11"/>
                </a:lnTo>
                <a:lnTo>
                  <a:pt x="1508" y="10"/>
                </a:lnTo>
                <a:lnTo>
                  <a:pt x="1513" y="7"/>
                </a:lnTo>
                <a:lnTo>
                  <a:pt x="1519" y="4"/>
                </a:lnTo>
                <a:lnTo>
                  <a:pt x="1523" y="3"/>
                </a:lnTo>
                <a:lnTo>
                  <a:pt x="1526" y="2"/>
                </a:lnTo>
                <a:lnTo>
                  <a:pt x="1530" y="0"/>
                </a:lnTo>
                <a:lnTo>
                  <a:pt x="1532" y="2"/>
                </a:lnTo>
                <a:lnTo>
                  <a:pt x="1538" y="6"/>
                </a:lnTo>
                <a:lnTo>
                  <a:pt x="1543" y="13"/>
                </a:lnTo>
                <a:lnTo>
                  <a:pt x="1549" y="18"/>
                </a:lnTo>
                <a:lnTo>
                  <a:pt x="1554" y="21"/>
                </a:lnTo>
                <a:lnTo>
                  <a:pt x="1557" y="22"/>
                </a:lnTo>
                <a:lnTo>
                  <a:pt x="1562" y="22"/>
                </a:lnTo>
                <a:lnTo>
                  <a:pt x="1564" y="22"/>
                </a:lnTo>
                <a:lnTo>
                  <a:pt x="1567" y="22"/>
                </a:lnTo>
                <a:lnTo>
                  <a:pt x="1571" y="22"/>
                </a:lnTo>
                <a:lnTo>
                  <a:pt x="1580" y="21"/>
                </a:lnTo>
                <a:lnTo>
                  <a:pt x="1584" y="19"/>
                </a:lnTo>
                <a:lnTo>
                  <a:pt x="1590" y="17"/>
                </a:lnTo>
                <a:lnTo>
                  <a:pt x="1595" y="13"/>
                </a:lnTo>
                <a:lnTo>
                  <a:pt x="1600" y="10"/>
                </a:lnTo>
                <a:lnTo>
                  <a:pt x="1602" y="9"/>
                </a:lnTo>
                <a:lnTo>
                  <a:pt x="1606" y="7"/>
                </a:lnTo>
                <a:lnTo>
                  <a:pt x="1608" y="7"/>
                </a:lnTo>
                <a:lnTo>
                  <a:pt x="1611" y="7"/>
                </a:lnTo>
                <a:lnTo>
                  <a:pt x="1614" y="10"/>
                </a:lnTo>
                <a:lnTo>
                  <a:pt x="1617" y="13"/>
                </a:lnTo>
                <a:lnTo>
                  <a:pt x="1618" y="21"/>
                </a:lnTo>
                <a:lnTo>
                  <a:pt x="1619" y="32"/>
                </a:lnTo>
                <a:lnTo>
                  <a:pt x="1620" y="49"/>
                </a:lnTo>
                <a:lnTo>
                  <a:pt x="1623" y="66"/>
                </a:lnTo>
                <a:lnTo>
                  <a:pt x="1625" y="74"/>
                </a:lnTo>
                <a:lnTo>
                  <a:pt x="1627" y="80"/>
                </a:lnTo>
                <a:lnTo>
                  <a:pt x="1631" y="84"/>
                </a:lnTo>
                <a:lnTo>
                  <a:pt x="1633" y="86"/>
                </a:lnTo>
                <a:lnTo>
                  <a:pt x="1637" y="87"/>
                </a:lnTo>
                <a:lnTo>
                  <a:pt x="1639" y="88"/>
                </a:lnTo>
                <a:lnTo>
                  <a:pt x="1644" y="89"/>
                </a:lnTo>
                <a:lnTo>
                  <a:pt x="1646" y="89"/>
                </a:lnTo>
                <a:lnTo>
                  <a:pt x="1651" y="91"/>
                </a:lnTo>
                <a:lnTo>
                  <a:pt x="1656" y="89"/>
                </a:lnTo>
                <a:lnTo>
                  <a:pt x="1662" y="88"/>
                </a:lnTo>
                <a:lnTo>
                  <a:pt x="1668" y="87"/>
                </a:lnTo>
                <a:lnTo>
                  <a:pt x="1677" y="82"/>
                </a:lnTo>
                <a:lnTo>
                  <a:pt x="1687" y="76"/>
                </a:lnTo>
                <a:lnTo>
                  <a:pt x="1700" y="69"/>
                </a:lnTo>
                <a:lnTo>
                  <a:pt x="1715" y="63"/>
                </a:lnTo>
                <a:lnTo>
                  <a:pt x="1720" y="62"/>
                </a:lnTo>
                <a:lnTo>
                  <a:pt x="1725" y="60"/>
                </a:lnTo>
                <a:lnTo>
                  <a:pt x="1733" y="59"/>
                </a:lnTo>
                <a:lnTo>
                  <a:pt x="1741" y="59"/>
                </a:lnTo>
                <a:lnTo>
                  <a:pt x="1746" y="60"/>
                </a:lnTo>
                <a:lnTo>
                  <a:pt x="1751" y="61"/>
                </a:lnTo>
                <a:lnTo>
                  <a:pt x="1754" y="62"/>
                </a:lnTo>
                <a:lnTo>
                  <a:pt x="1758" y="63"/>
                </a:lnTo>
                <a:lnTo>
                  <a:pt x="1763" y="66"/>
                </a:lnTo>
                <a:lnTo>
                  <a:pt x="1768" y="68"/>
                </a:lnTo>
                <a:lnTo>
                  <a:pt x="1769" y="70"/>
                </a:lnTo>
                <a:lnTo>
                  <a:pt x="1771" y="72"/>
                </a:lnTo>
                <a:lnTo>
                  <a:pt x="1772" y="73"/>
                </a:lnTo>
                <a:lnTo>
                  <a:pt x="1775" y="74"/>
                </a:lnTo>
                <a:lnTo>
                  <a:pt x="1778" y="78"/>
                </a:lnTo>
                <a:lnTo>
                  <a:pt x="1782" y="81"/>
                </a:lnTo>
                <a:lnTo>
                  <a:pt x="1783" y="82"/>
                </a:lnTo>
                <a:lnTo>
                  <a:pt x="1784" y="82"/>
                </a:lnTo>
                <a:lnTo>
                  <a:pt x="1788" y="81"/>
                </a:lnTo>
                <a:lnTo>
                  <a:pt x="1792" y="78"/>
                </a:lnTo>
                <a:lnTo>
                  <a:pt x="1796" y="76"/>
                </a:lnTo>
                <a:lnTo>
                  <a:pt x="1798" y="74"/>
                </a:lnTo>
                <a:lnTo>
                  <a:pt x="1802" y="72"/>
                </a:lnTo>
                <a:lnTo>
                  <a:pt x="1806" y="69"/>
                </a:lnTo>
                <a:lnTo>
                  <a:pt x="1807" y="69"/>
                </a:lnTo>
                <a:lnTo>
                  <a:pt x="1808" y="69"/>
                </a:lnTo>
                <a:lnTo>
                  <a:pt x="1809" y="69"/>
                </a:lnTo>
                <a:lnTo>
                  <a:pt x="1810" y="70"/>
                </a:lnTo>
                <a:lnTo>
                  <a:pt x="1812" y="73"/>
                </a:lnTo>
                <a:lnTo>
                  <a:pt x="1813" y="74"/>
                </a:lnTo>
                <a:lnTo>
                  <a:pt x="1814" y="79"/>
                </a:lnTo>
                <a:lnTo>
                  <a:pt x="1815" y="84"/>
                </a:lnTo>
                <a:lnTo>
                  <a:pt x="1819" y="93"/>
                </a:lnTo>
                <a:lnTo>
                  <a:pt x="1822" y="105"/>
                </a:lnTo>
                <a:lnTo>
                  <a:pt x="1825" y="113"/>
                </a:lnTo>
                <a:lnTo>
                  <a:pt x="1826" y="122"/>
                </a:lnTo>
                <a:lnTo>
                  <a:pt x="1828" y="135"/>
                </a:lnTo>
                <a:lnTo>
                  <a:pt x="1831" y="148"/>
                </a:lnTo>
                <a:lnTo>
                  <a:pt x="1833" y="161"/>
                </a:lnTo>
                <a:lnTo>
                  <a:pt x="1835" y="175"/>
                </a:lnTo>
                <a:lnTo>
                  <a:pt x="1834" y="188"/>
                </a:lnTo>
                <a:lnTo>
                  <a:pt x="1833" y="201"/>
                </a:lnTo>
                <a:lnTo>
                  <a:pt x="1835" y="214"/>
                </a:lnTo>
                <a:lnTo>
                  <a:pt x="1838" y="224"/>
                </a:lnTo>
                <a:lnTo>
                  <a:pt x="1840" y="232"/>
                </a:lnTo>
                <a:lnTo>
                  <a:pt x="1842" y="238"/>
                </a:lnTo>
                <a:lnTo>
                  <a:pt x="1848" y="244"/>
                </a:lnTo>
                <a:lnTo>
                  <a:pt x="1854" y="246"/>
                </a:lnTo>
                <a:lnTo>
                  <a:pt x="1861" y="249"/>
                </a:lnTo>
                <a:lnTo>
                  <a:pt x="1869" y="252"/>
                </a:lnTo>
                <a:lnTo>
                  <a:pt x="1872" y="252"/>
                </a:lnTo>
                <a:lnTo>
                  <a:pt x="1877" y="251"/>
                </a:lnTo>
                <a:lnTo>
                  <a:pt x="1883" y="249"/>
                </a:lnTo>
                <a:lnTo>
                  <a:pt x="1889" y="246"/>
                </a:lnTo>
                <a:lnTo>
                  <a:pt x="1898" y="243"/>
                </a:lnTo>
                <a:lnTo>
                  <a:pt x="1907" y="242"/>
                </a:lnTo>
                <a:lnTo>
                  <a:pt x="1911" y="242"/>
                </a:lnTo>
                <a:lnTo>
                  <a:pt x="1915" y="242"/>
                </a:lnTo>
                <a:lnTo>
                  <a:pt x="1917" y="243"/>
                </a:lnTo>
                <a:lnTo>
                  <a:pt x="1920" y="245"/>
                </a:lnTo>
                <a:lnTo>
                  <a:pt x="1922" y="250"/>
                </a:lnTo>
                <a:lnTo>
                  <a:pt x="1922" y="255"/>
                </a:lnTo>
                <a:lnTo>
                  <a:pt x="1922" y="261"/>
                </a:lnTo>
                <a:lnTo>
                  <a:pt x="1920" y="268"/>
                </a:lnTo>
                <a:lnTo>
                  <a:pt x="1916" y="275"/>
                </a:lnTo>
                <a:lnTo>
                  <a:pt x="1914" y="282"/>
                </a:lnTo>
                <a:lnTo>
                  <a:pt x="1909" y="292"/>
                </a:lnTo>
                <a:lnTo>
                  <a:pt x="1908" y="301"/>
                </a:lnTo>
                <a:lnTo>
                  <a:pt x="1908" y="308"/>
                </a:lnTo>
                <a:lnTo>
                  <a:pt x="1909" y="313"/>
                </a:lnTo>
                <a:lnTo>
                  <a:pt x="1911" y="320"/>
                </a:lnTo>
                <a:lnTo>
                  <a:pt x="1914" y="327"/>
                </a:lnTo>
                <a:lnTo>
                  <a:pt x="1915" y="334"/>
                </a:lnTo>
                <a:lnTo>
                  <a:pt x="1916" y="343"/>
                </a:lnTo>
                <a:lnTo>
                  <a:pt x="1915" y="353"/>
                </a:lnTo>
                <a:lnTo>
                  <a:pt x="1911" y="362"/>
                </a:lnTo>
                <a:lnTo>
                  <a:pt x="1910" y="366"/>
                </a:lnTo>
                <a:lnTo>
                  <a:pt x="1909" y="371"/>
                </a:lnTo>
                <a:lnTo>
                  <a:pt x="1909" y="375"/>
                </a:lnTo>
                <a:lnTo>
                  <a:pt x="1909" y="379"/>
                </a:lnTo>
                <a:lnTo>
                  <a:pt x="1911" y="384"/>
                </a:lnTo>
                <a:lnTo>
                  <a:pt x="1915" y="388"/>
                </a:lnTo>
                <a:lnTo>
                  <a:pt x="1919" y="389"/>
                </a:lnTo>
                <a:lnTo>
                  <a:pt x="1922" y="390"/>
                </a:lnTo>
                <a:lnTo>
                  <a:pt x="1926" y="391"/>
                </a:lnTo>
                <a:lnTo>
                  <a:pt x="1929" y="390"/>
                </a:lnTo>
                <a:lnTo>
                  <a:pt x="1934" y="389"/>
                </a:lnTo>
                <a:lnTo>
                  <a:pt x="1940" y="387"/>
                </a:lnTo>
                <a:lnTo>
                  <a:pt x="1946" y="383"/>
                </a:lnTo>
                <a:lnTo>
                  <a:pt x="1951" y="377"/>
                </a:lnTo>
                <a:lnTo>
                  <a:pt x="1953" y="375"/>
                </a:lnTo>
                <a:lnTo>
                  <a:pt x="1954" y="369"/>
                </a:lnTo>
                <a:lnTo>
                  <a:pt x="1953" y="364"/>
                </a:lnTo>
                <a:lnTo>
                  <a:pt x="1952" y="357"/>
                </a:lnTo>
                <a:lnTo>
                  <a:pt x="1949" y="351"/>
                </a:lnTo>
                <a:lnTo>
                  <a:pt x="1948" y="343"/>
                </a:lnTo>
                <a:lnTo>
                  <a:pt x="1947" y="336"/>
                </a:lnTo>
                <a:lnTo>
                  <a:pt x="1948" y="328"/>
                </a:lnTo>
                <a:lnTo>
                  <a:pt x="1949" y="325"/>
                </a:lnTo>
                <a:lnTo>
                  <a:pt x="1951" y="322"/>
                </a:lnTo>
                <a:lnTo>
                  <a:pt x="1953" y="320"/>
                </a:lnTo>
                <a:lnTo>
                  <a:pt x="1954" y="318"/>
                </a:lnTo>
                <a:lnTo>
                  <a:pt x="1959" y="316"/>
                </a:lnTo>
                <a:lnTo>
                  <a:pt x="1964" y="316"/>
                </a:lnTo>
                <a:lnTo>
                  <a:pt x="1968" y="318"/>
                </a:lnTo>
                <a:lnTo>
                  <a:pt x="1974" y="324"/>
                </a:lnTo>
                <a:lnTo>
                  <a:pt x="1977" y="328"/>
                </a:lnTo>
                <a:lnTo>
                  <a:pt x="1980" y="336"/>
                </a:lnTo>
                <a:lnTo>
                  <a:pt x="1982" y="338"/>
                </a:lnTo>
                <a:lnTo>
                  <a:pt x="1982" y="341"/>
                </a:lnTo>
                <a:lnTo>
                  <a:pt x="1982" y="344"/>
                </a:lnTo>
                <a:lnTo>
                  <a:pt x="1983" y="346"/>
                </a:lnTo>
                <a:lnTo>
                  <a:pt x="1983" y="355"/>
                </a:lnTo>
                <a:lnTo>
                  <a:pt x="1983" y="362"/>
                </a:lnTo>
                <a:lnTo>
                  <a:pt x="1982" y="375"/>
                </a:lnTo>
                <a:lnTo>
                  <a:pt x="1979" y="388"/>
                </a:lnTo>
                <a:lnTo>
                  <a:pt x="1977" y="400"/>
                </a:lnTo>
                <a:lnTo>
                  <a:pt x="1974" y="412"/>
                </a:lnTo>
                <a:lnTo>
                  <a:pt x="1974" y="418"/>
                </a:lnTo>
                <a:lnTo>
                  <a:pt x="1973" y="423"/>
                </a:lnTo>
                <a:lnTo>
                  <a:pt x="1973" y="427"/>
                </a:lnTo>
                <a:lnTo>
                  <a:pt x="1973" y="431"/>
                </a:lnTo>
                <a:lnTo>
                  <a:pt x="1974" y="435"/>
                </a:lnTo>
                <a:lnTo>
                  <a:pt x="1977" y="438"/>
                </a:lnTo>
                <a:lnTo>
                  <a:pt x="1978" y="438"/>
                </a:lnTo>
                <a:lnTo>
                  <a:pt x="1979" y="439"/>
                </a:lnTo>
                <a:lnTo>
                  <a:pt x="1980" y="439"/>
                </a:lnTo>
                <a:lnTo>
                  <a:pt x="1982" y="439"/>
                </a:lnTo>
                <a:lnTo>
                  <a:pt x="1985" y="438"/>
                </a:lnTo>
                <a:lnTo>
                  <a:pt x="1987" y="437"/>
                </a:lnTo>
                <a:lnTo>
                  <a:pt x="1989" y="437"/>
                </a:lnTo>
                <a:lnTo>
                  <a:pt x="1990" y="435"/>
                </a:lnTo>
                <a:lnTo>
                  <a:pt x="1992" y="434"/>
                </a:lnTo>
                <a:lnTo>
                  <a:pt x="1995" y="434"/>
                </a:lnTo>
                <a:lnTo>
                  <a:pt x="1998" y="432"/>
                </a:lnTo>
                <a:lnTo>
                  <a:pt x="2003" y="429"/>
                </a:lnTo>
                <a:lnTo>
                  <a:pt x="2009" y="428"/>
                </a:lnTo>
                <a:lnTo>
                  <a:pt x="2015" y="428"/>
                </a:lnTo>
                <a:lnTo>
                  <a:pt x="2021" y="428"/>
                </a:lnTo>
                <a:lnTo>
                  <a:pt x="2027" y="429"/>
                </a:lnTo>
                <a:lnTo>
                  <a:pt x="2030" y="431"/>
                </a:lnTo>
                <a:lnTo>
                  <a:pt x="2034" y="432"/>
                </a:lnTo>
                <a:lnTo>
                  <a:pt x="2037" y="434"/>
                </a:lnTo>
                <a:lnTo>
                  <a:pt x="2040" y="437"/>
                </a:lnTo>
                <a:lnTo>
                  <a:pt x="2041" y="439"/>
                </a:lnTo>
                <a:lnTo>
                  <a:pt x="2042" y="442"/>
                </a:lnTo>
                <a:lnTo>
                  <a:pt x="2045" y="445"/>
                </a:lnTo>
                <a:lnTo>
                  <a:pt x="2046" y="448"/>
                </a:lnTo>
                <a:lnTo>
                  <a:pt x="2047" y="450"/>
                </a:lnTo>
                <a:lnTo>
                  <a:pt x="2049" y="452"/>
                </a:lnTo>
                <a:lnTo>
                  <a:pt x="2050" y="452"/>
                </a:lnTo>
                <a:lnTo>
                  <a:pt x="2052" y="452"/>
                </a:lnTo>
                <a:lnTo>
                  <a:pt x="2055" y="453"/>
                </a:lnTo>
                <a:lnTo>
                  <a:pt x="2058" y="453"/>
                </a:lnTo>
                <a:lnTo>
                  <a:pt x="2067" y="452"/>
                </a:lnTo>
                <a:lnTo>
                  <a:pt x="2078" y="451"/>
                </a:lnTo>
                <a:lnTo>
                  <a:pt x="2084" y="451"/>
                </a:lnTo>
                <a:lnTo>
                  <a:pt x="2090" y="450"/>
                </a:lnTo>
                <a:lnTo>
                  <a:pt x="2096" y="450"/>
                </a:lnTo>
                <a:lnTo>
                  <a:pt x="2100" y="450"/>
                </a:lnTo>
                <a:lnTo>
                  <a:pt x="2105" y="447"/>
                </a:lnTo>
                <a:lnTo>
                  <a:pt x="2108" y="445"/>
                </a:lnTo>
                <a:lnTo>
                  <a:pt x="2110" y="442"/>
                </a:lnTo>
                <a:lnTo>
                  <a:pt x="2110" y="438"/>
                </a:lnTo>
                <a:lnTo>
                  <a:pt x="2110" y="432"/>
                </a:lnTo>
                <a:lnTo>
                  <a:pt x="2110" y="423"/>
                </a:lnTo>
                <a:lnTo>
                  <a:pt x="2110" y="415"/>
                </a:lnTo>
                <a:lnTo>
                  <a:pt x="2112" y="404"/>
                </a:lnTo>
                <a:lnTo>
                  <a:pt x="2117" y="393"/>
                </a:lnTo>
                <a:lnTo>
                  <a:pt x="2123" y="382"/>
                </a:lnTo>
                <a:lnTo>
                  <a:pt x="2128" y="368"/>
                </a:lnTo>
                <a:lnTo>
                  <a:pt x="2131" y="350"/>
                </a:lnTo>
                <a:lnTo>
                  <a:pt x="2135" y="339"/>
                </a:lnTo>
                <a:lnTo>
                  <a:pt x="2137" y="333"/>
                </a:lnTo>
                <a:lnTo>
                  <a:pt x="2140" y="332"/>
                </a:lnTo>
                <a:lnTo>
                  <a:pt x="2142" y="330"/>
                </a:lnTo>
                <a:lnTo>
                  <a:pt x="2149" y="325"/>
                </a:lnTo>
                <a:lnTo>
                  <a:pt x="2156" y="321"/>
                </a:lnTo>
                <a:lnTo>
                  <a:pt x="2163" y="319"/>
                </a:lnTo>
                <a:lnTo>
                  <a:pt x="2168" y="318"/>
                </a:lnTo>
                <a:lnTo>
                  <a:pt x="2168" y="320"/>
                </a:lnTo>
                <a:lnTo>
                  <a:pt x="2168" y="322"/>
                </a:lnTo>
                <a:lnTo>
                  <a:pt x="2169" y="326"/>
                </a:lnTo>
                <a:lnTo>
                  <a:pt x="2169" y="328"/>
                </a:lnTo>
                <a:lnTo>
                  <a:pt x="2172" y="343"/>
                </a:lnTo>
                <a:lnTo>
                  <a:pt x="2174" y="358"/>
                </a:lnTo>
                <a:lnTo>
                  <a:pt x="2175" y="370"/>
                </a:lnTo>
                <a:lnTo>
                  <a:pt x="2175" y="383"/>
                </a:lnTo>
                <a:lnTo>
                  <a:pt x="2173" y="391"/>
                </a:lnTo>
                <a:lnTo>
                  <a:pt x="2172" y="399"/>
                </a:lnTo>
                <a:lnTo>
                  <a:pt x="2173" y="403"/>
                </a:lnTo>
                <a:lnTo>
                  <a:pt x="2174" y="404"/>
                </a:lnTo>
                <a:lnTo>
                  <a:pt x="2178" y="407"/>
                </a:lnTo>
                <a:lnTo>
                  <a:pt x="2180" y="409"/>
                </a:lnTo>
                <a:lnTo>
                  <a:pt x="2185" y="413"/>
                </a:lnTo>
                <a:lnTo>
                  <a:pt x="2190" y="415"/>
                </a:lnTo>
                <a:lnTo>
                  <a:pt x="2200" y="415"/>
                </a:lnTo>
                <a:lnTo>
                  <a:pt x="2211" y="416"/>
                </a:lnTo>
                <a:lnTo>
                  <a:pt x="2212" y="419"/>
                </a:lnTo>
                <a:lnTo>
                  <a:pt x="2215" y="422"/>
                </a:lnTo>
                <a:lnTo>
                  <a:pt x="2215" y="426"/>
                </a:lnTo>
                <a:lnTo>
                  <a:pt x="2215" y="429"/>
                </a:lnTo>
                <a:lnTo>
                  <a:pt x="2215" y="437"/>
                </a:lnTo>
                <a:lnTo>
                  <a:pt x="2213" y="444"/>
                </a:lnTo>
                <a:lnTo>
                  <a:pt x="2205" y="453"/>
                </a:lnTo>
                <a:lnTo>
                  <a:pt x="2198" y="464"/>
                </a:lnTo>
                <a:lnTo>
                  <a:pt x="2191" y="475"/>
                </a:lnTo>
                <a:lnTo>
                  <a:pt x="2186" y="485"/>
                </a:lnTo>
                <a:lnTo>
                  <a:pt x="2184" y="490"/>
                </a:lnTo>
                <a:lnTo>
                  <a:pt x="2182" y="496"/>
                </a:lnTo>
                <a:lnTo>
                  <a:pt x="2182" y="501"/>
                </a:lnTo>
                <a:lnTo>
                  <a:pt x="2182" y="505"/>
                </a:lnTo>
                <a:lnTo>
                  <a:pt x="2184" y="510"/>
                </a:lnTo>
                <a:lnTo>
                  <a:pt x="2185" y="513"/>
                </a:lnTo>
                <a:lnTo>
                  <a:pt x="2187" y="515"/>
                </a:lnTo>
                <a:lnTo>
                  <a:pt x="2192" y="517"/>
                </a:lnTo>
                <a:lnTo>
                  <a:pt x="2199" y="519"/>
                </a:lnTo>
                <a:lnTo>
                  <a:pt x="2204" y="519"/>
                </a:lnTo>
                <a:lnTo>
                  <a:pt x="2205" y="520"/>
                </a:lnTo>
                <a:lnTo>
                  <a:pt x="2206" y="521"/>
                </a:lnTo>
                <a:lnTo>
                  <a:pt x="2206" y="522"/>
                </a:lnTo>
                <a:lnTo>
                  <a:pt x="2206" y="522"/>
                </a:lnTo>
                <a:lnTo>
                  <a:pt x="2205" y="528"/>
                </a:lnTo>
                <a:lnTo>
                  <a:pt x="2201" y="535"/>
                </a:lnTo>
                <a:lnTo>
                  <a:pt x="2197" y="541"/>
                </a:lnTo>
                <a:lnTo>
                  <a:pt x="2192" y="548"/>
                </a:lnTo>
                <a:lnTo>
                  <a:pt x="2188" y="554"/>
                </a:lnTo>
                <a:lnTo>
                  <a:pt x="2187" y="559"/>
                </a:lnTo>
                <a:lnTo>
                  <a:pt x="2185" y="565"/>
                </a:lnTo>
                <a:lnTo>
                  <a:pt x="2185" y="571"/>
                </a:lnTo>
                <a:lnTo>
                  <a:pt x="2184" y="578"/>
                </a:lnTo>
                <a:lnTo>
                  <a:pt x="2184" y="585"/>
                </a:lnTo>
                <a:lnTo>
                  <a:pt x="2182" y="598"/>
                </a:lnTo>
                <a:lnTo>
                  <a:pt x="2182" y="611"/>
                </a:lnTo>
                <a:lnTo>
                  <a:pt x="2182" y="616"/>
                </a:lnTo>
                <a:lnTo>
                  <a:pt x="2184" y="621"/>
                </a:lnTo>
                <a:lnTo>
                  <a:pt x="2185" y="626"/>
                </a:lnTo>
                <a:lnTo>
                  <a:pt x="2188" y="631"/>
                </a:lnTo>
                <a:lnTo>
                  <a:pt x="2193" y="636"/>
                </a:lnTo>
                <a:lnTo>
                  <a:pt x="2200" y="640"/>
                </a:lnTo>
                <a:lnTo>
                  <a:pt x="2209" y="643"/>
                </a:lnTo>
                <a:lnTo>
                  <a:pt x="2213" y="646"/>
                </a:lnTo>
                <a:lnTo>
                  <a:pt x="2220" y="648"/>
                </a:lnTo>
                <a:lnTo>
                  <a:pt x="2226" y="650"/>
                </a:lnTo>
                <a:lnTo>
                  <a:pt x="2231" y="653"/>
                </a:lnTo>
                <a:lnTo>
                  <a:pt x="2236" y="658"/>
                </a:lnTo>
                <a:lnTo>
                  <a:pt x="2241" y="662"/>
                </a:lnTo>
                <a:lnTo>
                  <a:pt x="2244" y="667"/>
                </a:lnTo>
                <a:lnTo>
                  <a:pt x="2248" y="677"/>
                </a:lnTo>
                <a:lnTo>
                  <a:pt x="2249" y="687"/>
                </a:lnTo>
                <a:lnTo>
                  <a:pt x="2249" y="697"/>
                </a:lnTo>
                <a:lnTo>
                  <a:pt x="2247" y="705"/>
                </a:lnTo>
                <a:lnTo>
                  <a:pt x="2245" y="709"/>
                </a:lnTo>
                <a:lnTo>
                  <a:pt x="2244" y="712"/>
                </a:lnTo>
                <a:lnTo>
                  <a:pt x="2242" y="716"/>
                </a:lnTo>
                <a:lnTo>
                  <a:pt x="2238" y="719"/>
                </a:lnTo>
                <a:lnTo>
                  <a:pt x="2224" y="729"/>
                </a:lnTo>
                <a:lnTo>
                  <a:pt x="2210" y="737"/>
                </a:lnTo>
                <a:lnTo>
                  <a:pt x="2201" y="743"/>
                </a:lnTo>
                <a:lnTo>
                  <a:pt x="2195" y="749"/>
                </a:lnTo>
                <a:lnTo>
                  <a:pt x="2191" y="755"/>
                </a:lnTo>
                <a:lnTo>
                  <a:pt x="2188" y="760"/>
                </a:lnTo>
                <a:lnTo>
                  <a:pt x="2187" y="763"/>
                </a:lnTo>
                <a:lnTo>
                  <a:pt x="2187" y="768"/>
                </a:lnTo>
                <a:lnTo>
                  <a:pt x="2187" y="773"/>
                </a:lnTo>
                <a:lnTo>
                  <a:pt x="2186" y="776"/>
                </a:lnTo>
                <a:lnTo>
                  <a:pt x="2186" y="779"/>
                </a:lnTo>
                <a:lnTo>
                  <a:pt x="2185" y="781"/>
                </a:lnTo>
                <a:lnTo>
                  <a:pt x="2182" y="782"/>
                </a:lnTo>
                <a:lnTo>
                  <a:pt x="2180" y="782"/>
                </a:lnTo>
                <a:lnTo>
                  <a:pt x="2178" y="784"/>
                </a:lnTo>
                <a:lnTo>
                  <a:pt x="2175" y="784"/>
                </a:lnTo>
                <a:lnTo>
                  <a:pt x="2167" y="782"/>
                </a:lnTo>
                <a:lnTo>
                  <a:pt x="2161" y="781"/>
                </a:lnTo>
                <a:lnTo>
                  <a:pt x="2148" y="779"/>
                </a:lnTo>
                <a:lnTo>
                  <a:pt x="2127" y="775"/>
                </a:lnTo>
                <a:lnTo>
                  <a:pt x="2122" y="775"/>
                </a:lnTo>
                <a:lnTo>
                  <a:pt x="2118" y="776"/>
                </a:lnTo>
                <a:lnTo>
                  <a:pt x="2116" y="778"/>
                </a:lnTo>
                <a:lnTo>
                  <a:pt x="2115" y="779"/>
                </a:lnTo>
                <a:lnTo>
                  <a:pt x="2112" y="782"/>
                </a:lnTo>
                <a:lnTo>
                  <a:pt x="2111" y="786"/>
                </a:lnTo>
                <a:lnTo>
                  <a:pt x="2110" y="790"/>
                </a:lnTo>
                <a:lnTo>
                  <a:pt x="2109" y="793"/>
                </a:lnTo>
                <a:lnTo>
                  <a:pt x="2106" y="798"/>
                </a:lnTo>
                <a:lnTo>
                  <a:pt x="2103" y="804"/>
                </a:lnTo>
                <a:lnTo>
                  <a:pt x="2099" y="813"/>
                </a:lnTo>
                <a:lnTo>
                  <a:pt x="2096" y="823"/>
                </a:lnTo>
                <a:lnTo>
                  <a:pt x="2091" y="834"/>
                </a:lnTo>
                <a:lnTo>
                  <a:pt x="2086" y="843"/>
                </a:lnTo>
                <a:lnTo>
                  <a:pt x="2080" y="856"/>
                </a:lnTo>
                <a:lnTo>
                  <a:pt x="2072" y="868"/>
                </a:lnTo>
                <a:lnTo>
                  <a:pt x="2068" y="873"/>
                </a:lnTo>
                <a:lnTo>
                  <a:pt x="2064" y="878"/>
                </a:lnTo>
                <a:lnTo>
                  <a:pt x="2059" y="881"/>
                </a:lnTo>
                <a:lnTo>
                  <a:pt x="2053" y="886"/>
                </a:lnTo>
                <a:lnTo>
                  <a:pt x="2048" y="889"/>
                </a:lnTo>
                <a:lnTo>
                  <a:pt x="2042" y="894"/>
                </a:lnTo>
                <a:lnTo>
                  <a:pt x="2040" y="895"/>
                </a:lnTo>
                <a:lnTo>
                  <a:pt x="2035" y="900"/>
                </a:lnTo>
                <a:lnTo>
                  <a:pt x="2029" y="907"/>
                </a:lnTo>
                <a:lnTo>
                  <a:pt x="2024" y="913"/>
                </a:lnTo>
                <a:lnTo>
                  <a:pt x="2020" y="919"/>
                </a:lnTo>
                <a:lnTo>
                  <a:pt x="2014" y="923"/>
                </a:lnTo>
                <a:lnTo>
                  <a:pt x="2009" y="924"/>
                </a:lnTo>
                <a:lnTo>
                  <a:pt x="2004" y="925"/>
                </a:lnTo>
                <a:lnTo>
                  <a:pt x="2002" y="926"/>
                </a:lnTo>
                <a:lnTo>
                  <a:pt x="1999" y="926"/>
                </a:lnTo>
                <a:lnTo>
                  <a:pt x="1996" y="927"/>
                </a:lnTo>
                <a:lnTo>
                  <a:pt x="1993" y="929"/>
                </a:lnTo>
                <a:lnTo>
                  <a:pt x="1992" y="931"/>
                </a:lnTo>
                <a:lnTo>
                  <a:pt x="1992" y="933"/>
                </a:lnTo>
                <a:lnTo>
                  <a:pt x="1993" y="937"/>
                </a:lnTo>
                <a:lnTo>
                  <a:pt x="1997" y="940"/>
                </a:lnTo>
                <a:lnTo>
                  <a:pt x="2003" y="945"/>
                </a:lnTo>
                <a:lnTo>
                  <a:pt x="2010" y="950"/>
                </a:lnTo>
                <a:lnTo>
                  <a:pt x="2017" y="956"/>
                </a:lnTo>
                <a:lnTo>
                  <a:pt x="2025" y="963"/>
                </a:lnTo>
                <a:lnTo>
                  <a:pt x="2027" y="964"/>
                </a:lnTo>
                <a:lnTo>
                  <a:pt x="2029" y="965"/>
                </a:lnTo>
                <a:lnTo>
                  <a:pt x="2031" y="964"/>
                </a:lnTo>
                <a:lnTo>
                  <a:pt x="2034" y="963"/>
                </a:lnTo>
                <a:lnTo>
                  <a:pt x="2040" y="960"/>
                </a:lnTo>
                <a:lnTo>
                  <a:pt x="2047" y="955"/>
                </a:lnTo>
                <a:lnTo>
                  <a:pt x="2062" y="940"/>
                </a:lnTo>
                <a:lnTo>
                  <a:pt x="2079" y="925"/>
                </a:lnTo>
                <a:lnTo>
                  <a:pt x="2086" y="918"/>
                </a:lnTo>
                <a:lnTo>
                  <a:pt x="2097" y="910"/>
                </a:lnTo>
                <a:lnTo>
                  <a:pt x="2103" y="908"/>
                </a:lnTo>
                <a:lnTo>
                  <a:pt x="2106" y="908"/>
                </a:lnTo>
                <a:lnTo>
                  <a:pt x="2109" y="908"/>
                </a:lnTo>
                <a:lnTo>
                  <a:pt x="2110" y="910"/>
                </a:lnTo>
                <a:lnTo>
                  <a:pt x="2112" y="912"/>
                </a:lnTo>
                <a:lnTo>
                  <a:pt x="2112" y="914"/>
                </a:lnTo>
                <a:lnTo>
                  <a:pt x="2113" y="920"/>
                </a:lnTo>
                <a:lnTo>
                  <a:pt x="2112" y="925"/>
                </a:lnTo>
                <a:lnTo>
                  <a:pt x="2112" y="930"/>
                </a:lnTo>
                <a:lnTo>
                  <a:pt x="2113" y="935"/>
                </a:lnTo>
                <a:lnTo>
                  <a:pt x="2115" y="937"/>
                </a:lnTo>
                <a:lnTo>
                  <a:pt x="2118" y="938"/>
                </a:lnTo>
                <a:lnTo>
                  <a:pt x="2123" y="939"/>
                </a:lnTo>
                <a:lnTo>
                  <a:pt x="2128" y="939"/>
                </a:lnTo>
                <a:lnTo>
                  <a:pt x="2134" y="937"/>
                </a:lnTo>
                <a:lnTo>
                  <a:pt x="2140" y="935"/>
                </a:lnTo>
                <a:lnTo>
                  <a:pt x="2150" y="925"/>
                </a:lnTo>
                <a:lnTo>
                  <a:pt x="2162" y="912"/>
                </a:lnTo>
                <a:lnTo>
                  <a:pt x="2168" y="907"/>
                </a:lnTo>
                <a:lnTo>
                  <a:pt x="2176" y="902"/>
                </a:lnTo>
                <a:lnTo>
                  <a:pt x="2181" y="900"/>
                </a:lnTo>
                <a:lnTo>
                  <a:pt x="2187" y="899"/>
                </a:lnTo>
                <a:lnTo>
                  <a:pt x="2192" y="898"/>
                </a:lnTo>
                <a:lnTo>
                  <a:pt x="2197" y="897"/>
                </a:lnTo>
                <a:lnTo>
                  <a:pt x="2204" y="895"/>
                </a:lnTo>
                <a:lnTo>
                  <a:pt x="2212" y="895"/>
                </a:lnTo>
                <a:lnTo>
                  <a:pt x="2220" y="897"/>
                </a:lnTo>
                <a:lnTo>
                  <a:pt x="2229" y="898"/>
                </a:lnTo>
                <a:lnTo>
                  <a:pt x="2236" y="901"/>
                </a:lnTo>
                <a:lnTo>
                  <a:pt x="2241" y="906"/>
                </a:lnTo>
                <a:lnTo>
                  <a:pt x="2243" y="912"/>
                </a:lnTo>
                <a:lnTo>
                  <a:pt x="2244" y="918"/>
                </a:lnTo>
                <a:lnTo>
                  <a:pt x="2244" y="927"/>
                </a:lnTo>
                <a:lnTo>
                  <a:pt x="2244" y="936"/>
                </a:lnTo>
                <a:lnTo>
                  <a:pt x="2244" y="940"/>
                </a:lnTo>
                <a:lnTo>
                  <a:pt x="2247" y="945"/>
                </a:lnTo>
                <a:lnTo>
                  <a:pt x="2247" y="946"/>
                </a:lnTo>
                <a:lnTo>
                  <a:pt x="2248" y="946"/>
                </a:lnTo>
                <a:lnTo>
                  <a:pt x="2250" y="948"/>
                </a:lnTo>
                <a:lnTo>
                  <a:pt x="2255" y="949"/>
                </a:lnTo>
                <a:lnTo>
                  <a:pt x="2257" y="950"/>
                </a:lnTo>
                <a:lnTo>
                  <a:pt x="2261" y="950"/>
                </a:lnTo>
                <a:lnTo>
                  <a:pt x="2263" y="951"/>
                </a:lnTo>
                <a:lnTo>
                  <a:pt x="2266" y="951"/>
                </a:lnTo>
                <a:lnTo>
                  <a:pt x="2268" y="954"/>
                </a:lnTo>
                <a:lnTo>
                  <a:pt x="2270" y="955"/>
                </a:lnTo>
                <a:lnTo>
                  <a:pt x="2272" y="957"/>
                </a:lnTo>
                <a:lnTo>
                  <a:pt x="2272" y="958"/>
                </a:lnTo>
                <a:lnTo>
                  <a:pt x="2273" y="962"/>
                </a:lnTo>
                <a:lnTo>
                  <a:pt x="2274" y="964"/>
                </a:lnTo>
                <a:lnTo>
                  <a:pt x="2274" y="980"/>
                </a:lnTo>
                <a:lnTo>
                  <a:pt x="2273" y="993"/>
                </a:lnTo>
                <a:lnTo>
                  <a:pt x="2272" y="998"/>
                </a:lnTo>
                <a:lnTo>
                  <a:pt x="2269" y="1001"/>
                </a:lnTo>
                <a:lnTo>
                  <a:pt x="2266" y="1005"/>
                </a:lnTo>
                <a:lnTo>
                  <a:pt x="2262" y="1007"/>
                </a:lnTo>
                <a:lnTo>
                  <a:pt x="2257" y="1009"/>
                </a:lnTo>
                <a:lnTo>
                  <a:pt x="2253" y="1012"/>
                </a:lnTo>
                <a:lnTo>
                  <a:pt x="2248" y="1013"/>
                </a:lnTo>
                <a:lnTo>
                  <a:pt x="2243" y="1015"/>
                </a:lnTo>
                <a:lnTo>
                  <a:pt x="2238" y="1020"/>
                </a:lnTo>
                <a:lnTo>
                  <a:pt x="2236" y="1025"/>
                </a:lnTo>
                <a:lnTo>
                  <a:pt x="2236" y="1026"/>
                </a:lnTo>
                <a:lnTo>
                  <a:pt x="2237" y="1030"/>
                </a:lnTo>
                <a:lnTo>
                  <a:pt x="2238" y="1030"/>
                </a:lnTo>
                <a:lnTo>
                  <a:pt x="2239" y="1031"/>
                </a:lnTo>
                <a:lnTo>
                  <a:pt x="2242" y="1031"/>
                </a:lnTo>
                <a:lnTo>
                  <a:pt x="2244" y="1030"/>
                </a:lnTo>
                <a:lnTo>
                  <a:pt x="2248" y="1030"/>
                </a:lnTo>
                <a:lnTo>
                  <a:pt x="2250" y="1028"/>
                </a:lnTo>
                <a:lnTo>
                  <a:pt x="2253" y="1027"/>
                </a:lnTo>
                <a:lnTo>
                  <a:pt x="2254" y="1026"/>
                </a:lnTo>
                <a:lnTo>
                  <a:pt x="2256" y="1025"/>
                </a:lnTo>
                <a:lnTo>
                  <a:pt x="2258" y="1024"/>
                </a:lnTo>
                <a:lnTo>
                  <a:pt x="2261" y="1024"/>
                </a:lnTo>
                <a:lnTo>
                  <a:pt x="2262" y="1023"/>
                </a:lnTo>
                <a:lnTo>
                  <a:pt x="2264" y="1024"/>
                </a:lnTo>
                <a:lnTo>
                  <a:pt x="2267" y="1025"/>
                </a:lnTo>
                <a:lnTo>
                  <a:pt x="2268" y="1026"/>
                </a:lnTo>
                <a:lnTo>
                  <a:pt x="2269" y="1028"/>
                </a:lnTo>
                <a:lnTo>
                  <a:pt x="2270" y="1034"/>
                </a:lnTo>
                <a:lnTo>
                  <a:pt x="2270" y="1042"/>
                </a:lnTo>
                <a:lnTo>
                  <a:pt x="2270" y="1045"/>
                </a:lnTo>
                <a:lnTo>
                  <a:pt x="2269" y="1049"/>
                </a:lnTo>
                <a:lnTo>
                  <a:pt x="2269" y="1052"/>
                </a:lnTo>
                <a:lnTo>
                  <a:pt x="2268" y="1056"/>
                </a:lnTo>
                <a:lnTo>
                  <a:pt x="2268" y="1061"/>
                </a:lnTo>
                <a:lnTo>
                  <a:pt x="2266" y="1066"/>
                </a:lnTo>
                <a:lnTo>
                  <a:pt x="2264" y="1069"/>
                </a:lnTo>
                <a:lnTo>
                  <a:pt x="2263" y="1071"/>
                </a:lnTo>
                <a:lnTo>
                  <a:pt x="2262" y="1072"/>
                </a:lnTo>
                <a:lnTo>
                  <a:pt x="2260" y="1074"/>
                </a:lnTo>
                <a:lnTo>
                  <a:pt x="2256" y="1075"/>
                </a:lnTo>
                <a:lnTo>
                  <a:pt x="2254" y="1075"/>
                </a:lnTo>
                <a:lnTo>
                  <a:pt x="2250" y="1075"/>
                </a:lnTo>
                <a:lnTo>
                  <a:pt x="2247" y="1074"/>
                </a:lnTo>
                <a:lnTo>
                  <a:pt x="2239" y="1075"/>
                </a:lnTo>
                <a:lnTo>
                  <a:pt x="2235" y="1076"/>
                </a:lnTo>
                <a:lnTo>
                  <a:pt x="2230" y="1078"/>
                </a:lnTo>
                <a:lnTo>
                  <a:pt x="2225" y="1083"/>
                </a:lnTo>
                <a:lnTo>
                  <a:pt x="2222" y="1088"/>
                </a:lnTo>
                <a:lnTo>
                  <a:pt x="2219" y="1094"/>
                </a:lnTo>
                <a:lnTo>
                  <a:pt x="2218" y="1099"/>
                </a:lnTo>
                <a:lnTo>
                  <a:pt x="2216" y="1105"/>
                </a:lnTo>
                <a:lnTo>
                  <a:pt x="2215" y="1115"/>
                </a:lnTo>
                <a:lnTo>
                  <a:pt x="2215" y="1125"/>
                </a:lnTo>
                <a:lnTo>
                  <a:pt x="2218" y="1138"/>
                </a:lnTo>
                <a:lnTo>
                  <a:pt x="2219" y="1151"/>
                </a:lnTo>
                <a:lnTo>
                  <a:pt x="2219" y="1157"/>
                </a:lnTo>
                <a:lnTo>
                  <a:pt x="2219" y="1164"/>
                </a:lnTo>
                <a:lnTo>
                  <a:pt x="2218" y="1170"/>
                </a:lnTo>
                <a:lnTo>
                  <a:pt x="2217" y="1176"/>
                </a:lnTo>
                <a:lnTo>
                  <a:pt x="2213" y="1185"/>
                </a:lnTo>
                <a:lnTo>
                  <a:pt x="2207" y="1195"/>
                </a:lnTo>
                <a:lnTo>
                  <a:pt x="2201" y="1204"/>
                </a:lnTo>
                <a:lnTo>
                  <a:pt x="2195" y="1214"/>
                </a:lnTo>
                <a:lnTo>
                  <a:pt x="2190" y="1223"/>
                </a:lnTo>
                <a:lnTo>
                  <a:pt x="2185" y="1233"/>
                </a:lnTo>
                <a:lnTo>
                  <a:pt x="2180" y="1244"/>
                </a:lnTo>
                <a:lnTo>
                  <a:pt x="2175" y="1254"/>
                </a:lnTo>
                <a:lnTo>
                  <a:pt x="2174" y="1259"/>
                </a:lnTo>
                <a:lnTo>
                  <a:pt x="2174" y="1265"/>
                </a:lnTo>
                <a:lnTo>
                  <a:pt x="2174" y="1272"/>
                </a:lnTo>
                <a:lnTo>
                  <a:pt x="2176" y="1280"/>
                </a:lnTo>
                <a:lnTo>
                  <a:pt x="2178" y="1283"/>
                </a:lnTo>
                <a:lnTo>
                  <a:pt x="2179" y="1285"/>
                </a:lnTo>
                <a:lnTo>
                  <a:pt x="2179" y="1286"/>
                </a:lnTo>
                <a:lnTo>
                  <a:pt x="2180" y="1289"/>
                </a:lnTo>
                <a:lnTo>
                  <a:pt x="2181" y="1290"/>
                </a:lnTo>
                <a:lnTo>
                  <a:pt x="2185" y="1294"/>
                </a:lnTo>
                <a:lnTo>
                  <a:pt x="2188" y="1295"/>
                </a:lnTo>
                <a:lnTo>
                  <a:pt x="2193" y="1296"/>
                </a:lnTo>
                <a:lnTo>
                  <a:pt x="2198" y="1296"/>
                </a:lnTo>
                <a:lnTo>
                  <a:pt x="2201" y="1296"/>
                </a:lnTo>
                <a:lnTo>
                  <a:pt x="2206" y="1294"/>
                </a:lnTo>
                <a:lnTo>
                  <a:pt x="2209" y="1290"/>
                </a:lnTo>
                <a:lnTo>
                  <a:pt x="2211" y="1289"/>
                </a:lnTo>
                <a:lnTo>
                  <a:pt x="2215" y="1283"/>
                </a:lnTo>
                <a:lnTo>
                  <a:pt x="2216" y="1280"/>
                </a:lnTo>
                <a:lnTo>
                  <a:pt x="2217" y="1278"/>
                </a:lnTo>
                <a:lnTo>
                  <a:pt x="2217" y="1274"/>
                </a:lnTo>
                <a:lnTo>
                  <a:pt x="2218" y="1273"/>
                </a:lnTo>
                <a:lnTo>
                  <a:pt x="2219" y="1267"/>
                </a:lnTo>
                <a:lnTo>
                  <a:pt x="2219" y="1263"/>
                </a:lnTo>
                <a:lnTo>
                  <a:pt x="2220" y="1259"/>
                </a:lnTo>
                <a:lnTo>
                  <a:pt x="2223" y="1255"/>
                </a:lnTo>
                <a:lnTo>
                  <a:pt x="2224" y="1255"/>
                </a:lnTo>
                <a:lnTo>
                  <a:pt x="2226" y="1255"/>
                </a:lnTo>
                <a:lnTo>
                  <a:pt x="2229" y="1255"/>
                </a:lnTo>
                <a:lnTo>
                  <a:pt x="2230" y="1257"/>
                </a:lnTo>
                <a:lnTo>
                  <a:pt x="2231" y="1257"/>
                </a:lnTo>
                <a:lnTo>
                  <a:pt x="2232" y="1258"/>
                </a:lnTo>
                <a:lnTo>
                  <a:pt x="2234" y="1259"/>
                </a:lnTo>
                <a:lnTo>
                  <a:pt x="2235" y="1260"/>
                </a:lnTo>
                <a:lnTo>
                  <a:pt x="2236" y="1261"/>
                </a:lnTo>
                <a:lnTo>
                  <a:pt x="2237" y="1263"/>
                </a:lnTo>
                <a:lnTo>
                  <a:pt x="2238" y="1264"/>
                </a:lnTo>
                <a:lnTo>
                  <a:pt x="2238" y="1266"/>
                </a:lnTo>
                <a:lnTo>
                  <a:pt x="2241" y="1273"/>
                </a:lnTo>
                <a:lnTo>
                  <a:pt x="2241" y="1284"/>
                </a:lnTo>
                <a:lnTo>
                  <a:pt x="2239" y="1289"/>
                </a:lnTo>
                <a:lnTo>
                  <a:pt x="2238" y="1295"/>
                </a:lnTo>
                <a:lnTo>
                  <a:pt x="2237" y="1298"/>
                </a:lnTo>
                <a:lnTo>
                  <a:pt x="2236" y="1301"/>
                </a:lnTo>
                <a:lnTo>
                  <a:pt x="2235" y="1304"/>
                </a:lnTo>
                <a:lnTo>
                  <a:pt x="2234" y="1307"/>
                </a:lnTo>
                <a:lnTo>
                  <a:pt x="2234" y="1310"/>
                </a:lnTo>
                <a:lnTo>
                  <a:pt x="2234" y="1313"/>
                </a:lnTo>
                <a:lnTo>
                  <a:pt x="2234" y="1315"/>
                </a:lnTo>
                <a:lnTo>
                  <a:pt x="2235" y="1316"/>
                </a:lnTo>
                <a:lnTo>
                  <a:pt x="2239" y="1321"/>
                </a:lnTo>
                <a:lnTo>
                  <a:pt x="2244" y="1326"/>
                </a:lnTo>
                <a:lnTo>
                  <a:pt x="2248" y="1329"/>
                </a:lnTo>
                <a:lnTo>
                  <a:pt x="2250" y="1333"/>
                </a:lnTo>
                <a:lnTo>
                  <a:pt x="2251" y="1336"/>
                </a:lnTo>
                <a:lnTo>
                  <a:pt x="2251" y="1341"/>
                </a:lnTo>
                <a:lnTo>
                  <a:pt x="2249" y="1346"/>
                </a:lnTo>
                <a:lnTo>
                  <a:pt x="2244" y="1351"/>
                </a:lnTo>
                <a:lnTo>
                  <a:pt x="2239" y="1355"/>
                </a:lnTo>
                <a:lnTo>
                  <a:pt x="2236" y="1361"/>
                </a:lnTo>
                <a:lnTo>
                  <a:pt x="2232" y="1366"/>
                </a:lnTo>
                <a:lnTo>
                  <a:pt x="2231" y="1372"/>
                </a:lnTo>
                <a:lnTo>
                  <a:pt x="2232" y="1376"/>
                </a:lnTo>
                <a:lnTo>
                  <a:pt x="2234" y="1379"/>
                </a:lnTo>
                <a:lnTo>
                  <a:pt x="2239" y="1387"/>
                </a:lnTo>
                <a:lnTo>
                  <a:pt x="2245" y="1395"/>
                </a:lnTo>
                <a:lnTo>
                  <a:pt x="2243" y="1398"/>
                </a:lnTo>
                <a:lnTo>
                  <a:pt x="2241" y="1400"/>
                </a:lnTo>
                <a:lnTo>
                  <a:pt x="2236" y="1405"/>
                </a:lnTo>
                <a:lnTo>
                  <a:pt x="2232" y="1410"/>
                </a:lnTo>
                <a:lnTo>
                  <a:pt x="2229" y="1417"/>
                </a:lnTo>
                <a:lnTo>
                  <a:pt x="2228" y="1422"/>
                </a:lnTo>
                <a:lnTo>
                  <a:pt x="2228" y="1429"/>
                </a:lnTo>
                <a:lnTo>
                  <a:pt x="2226" y="1437"/>
                </a:lnTo>
                <a:lnTo>
                  <a:pt x="2223" y="1446"/>
                </a:lnTo>
                <a:lnTo>
                  <a:pt x="2217" y="1453"/>
                </a:lnTo>
                <a:lnTo>
                  <a:pt x="2205" y="1462"/>
                </a:lnTo>
                <a:lnTo>
                  <a:pt x="2195" y="1472"/>
                </a:lnTo>
                <a:lnTo>
                  <a:pt x="2193" y="1475"/>
                </a:lnTo>
                <a:lnTo>
                  <a:pt x="2191" y="1480"/>
                </a:lnTo>
                <a:lnTo>
                  <a:pt x="2190" y="1485"/>
                </a:lnTo>
                <a:lnTo>
                  <a:pt x="2190" y="1490"/>
                </a:lnTo>
                <a:lnTo>
                  <a:pt x="2191" y="1496"/>
                </a:lnTo>
                <a:lnTo>
                  <a:pt x="2193" y="1500"/>
                </a:lnTo>
                <a:lnTo>
                  <a:pt x="2194" y="1504"/>
                </a:lnTo>
                <a:lnTo>
                  <a:pt x="2194" y="1506"/>
                </a:lnTo>
                <a:lnTo>
                  <a:pt x="2194" y="1510"/>
                </a:lnTo>
                <a:lnTo>
                  <a:pt x="2193" y="1512"/>
                </a:lnTo>
                <a:lnTo>
                  <a:pt x="2190" y="1515"/>
                </a:lnTo>
                <a:lnTo>
                  <a:pt x="2187" y="1516"/>
                </a:lnTo>
                <a:lnTo>
                  <a:pt x="2184" y="1517"/>
                </a:lnTo>
                <a:lnTo>
                  <a:pt x="2179" y="1518"/>
                </a:lnTo>
                <a:lnTo>
                  <a:pt x="2169" y="1518"/>
                </a:lnTo>
                <a:lnTo>
                  <a:pt x="2159" y="1517"/>
                </a:lnTo>
                <a:lnTo>
                  <a:pt x="2150" y="1515"/>
                </a:lnTo>
                <a:lnTo>
                  <a:pt x="2144" y="1512"/>
                </a:lnTo>
                <a:lnTo>
                  <a:pt x="2134" y="1504"/>
                </a:lnTo>
                <a:lnTo>
                  <a:pt x="2123" y="1496"/>
                </a:lnTo>
                <a:lnTo>
                  <a:pt x="2118" y="1492"/>
                </a:lnTo>
                <a:lnTo>
                  <a:pt x="2113" y="1488"/>
                </a:lnTo>
                <a:lnTo>
                  <a:pt x="2108" y="1485"/>
                </a:lnTo>
                <a:lnTo>
                  <a:pt x="2102" y="1484"/>
                </a:lnTo>
                <a:lnTo>
                  <a:pt x="2096" y="1482"/>
                </a:lnTo>
                <a:lnTo>
                  <a:pt x="2085" y="1482"/>
                </a:lnTo>
                <a:lnTo>
                  <a:pt x="2078" y="1485"/>
                </a:lnTo>
                <a:lnTo>
                  <a:pt x="2069" y="1488"/>
                </a:lnTo>
                <a:lnTo>
                  <a:pt x="2061" y="1494"/>
                </a:lnTo>
                <a:lnTo>
                  <a:pt x="2052" y="1500"/>
                </a:lnTo>
                <a:lnTo>
                  <a:pt x="2035" y="1513"/>
                </a:lnTo>
                <a:lnTo>
                  <a:pt x="2024" y="1524"/>
                </a:lnTo>
                <a:lnTo>
                  <a:pt x="2022" y="1526"/>
                </a:lnTo>
                <a:lnTo>
                  <a:pt x="2020" y="1531"/>
                </a:lnTo>
                <a:lnTo>
                  <a:pt x="2020" y="1534"/>
                </a:lnTo>
                <a:lnTo>
                  <a:pt x="2020" y="1536"/>
                </a:lnTo>
                <a:lnTo>
                  <a:pt x="2021" y="1540"/>
                </a:lnTo>
                <a:lnTo>
                  <a:pt x="2023" y="1542"/>
                </a:lnTo>
                <a:lnTo>
                  <a:pt x="2028" y="1544"/>
                </a:lnTo>
                <a:lnTo>
                  <a:pt x="2034" y="1545"/>
                </a:lnTo>
                <a:lnTo>
                  <a:pt x="2037" y="1545"/>
                </a:lnTo>
                <a:lnTo>
                  <a:pt x="2041" y="1545"/>
                </a:lnTo>
                <a:lnTo>
                  <a:pt x="2045" y="1543"/>
                </a:lnTo>
                <a:lnTo>
                  <a:pt x="2049" y="1541"/>
                </a:lnTo>
                <a:lnTo>
                  <a:pt x="2056" y="1536"/>
                </a:lnTo>
                <a:lnTo>
                  <a:pt x="2066" y="1530"/>
                </a:lnTo>
                <a:lnTo>
                  <a:pt x="2073" y="1524"/>
                </a:lnTo>
                <a:lnTo>
                  <a:pt x="2080" y="1521"/>
                </a:lnTo>
                <a:lnTo>
                  <a:pt x="2083" y="1521"/>
                </a:lnTo>
                <a:lnTo>
                  <a:pt x="2085" y="1519"/>
                </a:lnTo>
                <a:lnTo>
                  <a:pt x="2087" y="1521"/>
                </a:lnTo>
                <a:lnTo>
                  <a:pt x="2088" y="1522"/>
                </a:lnTo>
                <a:lnTo>
                  <a:pt x="2090" y="1528"/>
                </a:lnTo>
                <a:lnTo>
                  <a:pt x="2087" y="1535"/>
                </a:lnTo>
                <a:lnTo>
                  <a:pt x="2085" y="1544"/>
                </a:lnTo>
                <a:lnTo>
                  <a:pt x="2081" y="1554"/>
                </a:lnTo>
                <a:lnTo>
                  <a:pt x="2079" y="1559"/>
                </a:lnTo>
                <a:lnTo>
                  <a:pt x="2077" y="1563"/>
                </a:lnTo>
                <a:lnTo>
                  <a:pt x="2075" y="1570"/>
                </a:lnTo>
                <a:lnTo>
                  <a:pt x="2074" y="1574"/>
                </a:lnTo>
                <a:lnTo>
                  <a:pt x="2075" y="1579"/>
                </a:lnTo>
                <a:lnTo>
                  <a:pt x="2079" y="1586"/>
                </a:lnTo>
                <a:lnTo>
                  <a:pt x="2084" y="1593"/>
                </a:lnTo>
                <a:lnTo>
                  <a:pt x="2087" y="1598"/>
                </a:lnTo>
                <a:lnTo>
                  <a:pt x="2090" y="1603"/>
                </a:lnTo>
                <a:lnTo>
                  <a:pt x="2088" y="1606"/>
                </a:lnTo>
                <a:lnTo>
                  <a:pt x="2085" y="1610"/>
                </a:lnTo>
                <a:lnTo>
                  <a:pt x="2080" y="1611"/>
                </a:lnTo>
                <a:lnTo>
                  <a:pt x="2074" y="1611"/>
                </a:lnTo>
                <a:lnTo>
                  <a:pt x="2067" y="1611"/>
                </a:lnTo>
                <a:lnTo>
                  <a:pt x="2060" y="1608"/>
                </a:lnTo>
                <a:lnTo>
                  <a:pt x="2052" y="1605"/>
                </a:lnTo>
                <a:lnTo>
                  <a:pt x="2034" y="1601"/>
                </a:lnTo>
                <a:lnTo>
                  <a:pt x="2021" y="1599"/>
                </a:lnTo>
                <a:lnTo>
                  <a:pt x="2020" y="1599"/>
                </a:lnTo>
                <a:lnTo>
                  <a:pt x="2018" y="1599"/>
                </a:lnTo>
                <a:lnTo>
                  <a:pt x="2011" y="1599"/>
                </a:lnTo>
                <a:lnTo>
                  <a:pt x="2003" y="1599"/>
                </a:lnTo>
                <a:lnTo>
                  <a:pt x="1996" y="1599"/>
                </a:lnTo>
                <a:lnTo>
                  <a:pt x="1990" y="1598"/>
                </a:lnTo>
                <a:lnTo>
                  <a:pt x="1987" y="1597"/>
                </a:lnTo>
                <a:lnTo>
                  <a:pt x="1985" y="1595"/>
                </a:lnTo>
                <a:lnTo>
                  <a:pt x="1982" y="1593"/>
                </a:lnTo>
                <a:lnTo>
                  <a:pt x="1978" y="1589"/>
                </a:lnTo>
                <a:lnTo>
                  <a:pt x="1977" y="1585"/>
                </a:lnTo>
                <a:lnTo>
                  <a:pt x="1976" y="1580"/>
                </a:lnTo>
                <a:lnTo>
                  <a:pt x="1974" y="1578"/>
                </a:lnTo>
                <a:lnTo>
                  <a:pt x="1974" y="1575"/>
                </a:lnTo>
                <a:lnTo>
                  <a:pt x="1973" y="1572"/>
                </a:lnTo>
                <a:lnTo>
                  <a:pt x="1972" y="1568"/>
                </a:lnTo>
                <a:lnTo>
                  <a:pt x="1970" y="1565"/>
                </a:lnTo>
                <a:lnTo>
                  <a:pt x="1967" y="1561"/>
                </a:lnTo>
                <a:lnTo>
                  <a:pt x="1962" y="1560"/>
                </a:lnTo>
                <a:lnTo>
                  <a:pt x="1959" y="1561"/>
                </a:lnTo>
                <a:lnTo>
                  <a:pt x="1951" y="1562"/>
                </a:lnTo>
                <a:lnTo>
                  <a:pt x="1946" y="1565"/>
                </a:lnTo>
                <a:lnTo>
                  <a:pt x="1943" y="1567"/>
                </a:lnTo>
                <a:lnTo>
                  <a:pt x="1939" y="1572"/>
                </a:lnTo>
                <a:lnTo>
                  <a:pt x="1936" y="1576"/>
                </a:lnTo>
                <a:lnTo>
                  <a:pt x="1933" y="1581"/>
                </a:lnTo>
                <a:lnTo>
                  <a:pt x="1932" y="1585"/>
                </a:lnTo>
                <a:lnTo>
                  <a:pt x="1932" y="1588"/>
                </a:lnTo>
                <a:lnTo>
                  <a:pt x="1930" y="1592"/>
                </a:lnTo>
                <a:lnTo>
                  <a:pt x="1932" y="1597"/>
                </a:lnTo>
                <a:lnTo>
                  <a:pt x="1932" y="1600"/>
                </a:lnTo>
                <a:lnTo>
                  <a:pt x="1933" y="1603"/>
                </a:lnTo>
                <a:lnTo>
                  <a:pt x="1933" y="1605"/>
                </a:lnTo>
                <a:lnTo>
                  <a:pt x="1932" y="1607"/>
                </a:lnTo>
                <a:lnTo>
                  <a:pt x="1929" y="1608"/>
                </a:lnTo>
                <a:lnTo>
                  <a:pt x="1927" y="1610"/>
                </a:lnTo>
                <a:lnTo>
                  <a:pt x="1923" y="1610"/>
                </a:lnTo>
                <a:lnTo>
                  <a:pt x="1921" y="1611"/>
                </a:lnTo>
                <a:lnTo>
                  <a:pt x="1919" y="1613"/>
                </a:lnTo>
                <a:lnTo>
                  <a:pt x="1917" y="1623"/>
                </a:lnTo>
                <a:lnTo>
                  <a:pt x="1917" y="1638"/>
                </a:lnTo>
                <a:lnTo>
                  <a:pt x="1919" y="1648"/>
                </a:lnTo>
                <a:lnTo>
                  <a:pt x="1920" y="1658"/>
                </a:lnTo>
                <a:lnTo>
                  <a:pt x="1919" y="1674"/>
                </a:lnTo>
                <a:lnTo>
                  <a:pt x="1917" y="1681"/>
                </a:lnTo>
                <a:lnTo>
                  <a:pt x="1914" y="1687"/>
                </a:lnTo>
                <a:lnTo>
                  <a:pt x="1911" y="1689"/>
                </a:lnTo>
                <a:lnTo>
                  <a:pt x="1909" y="1692"/>
                </a:lnTo>
                <a:lnTo>
                  <a:pt x="1907" y="1693"/>
                </a:lnTo>
                <a:lnTo>
                  <a:pt x="1904" y="1693"/>
                </a:lnTo>
                <a:lnTo>
                  <a:pt x="1902" y="1693"/>
                </a:lnTo>
                <a:lnTo>
                  <a:pt x="1898" y="1692"/>
                </a:lnTo>
                <a:lnTo>
                  <a:pt x="1896" y="1689"/>
                </a:lnTo>
                <a:lnTo>
                  <a:pt x="1894" y="1685"/>
                </a:lnTo>
                <a:lnTo>
                  <a:pt x="1891" y="1675"/>
                </a:lnTo>
                <a:lnTo>
                  <a:pt x="1889" y="1663"/>
                </a:lnTo>
                <a:lnTo>
                  <a:pt x="1888" y="1660"/>
                </a:lnTo>
                <a:lnTo>
                  <a:pt x="1888" y="1656"/>
                </a:lnTo>
                <a:lnTo>
                  <a:pt x="1883" y="1650"/>
                </a:lnTo>
                <a:lnTo>
                  <a:pt x="1877" y="1645"/>
                </a:lnTo>
                <a:lnTo>
                  <a:pt x="1875" y="1645"/>
                </a:lnTo>
                <a:lnTo>
                  <a:pt x="1872" y="1644"/>
                </a:lnTo>
                <a:lnTo>
                  <a:pt x="1865" y="1643"/>
                </a:lnTo>
                <a:lnTo>
                  <a:pt x="1855" y="1643"/>
                </a:lnTo>
                <a:lnTo>
                  <a:pt x="1850" y="1642"/>
                </a:lnTo>
                <a:lnTo>
                  <a:pt x="1844" y="1642"/>
                </a:lnTo>
                <a:lnTo>
                  <a:pt x="1840" y="1641"/>
                </a:lnTo>
                <a:lnTo>
                  <a:pt x="1835" y="1639"/>
                </a:lnTo>
                <a:lnTo>
                  <a:pt x="1831" y="1636"/>
                </a:lnTo>
                <a:lnTo>
                  <a:pt x="1827" y="1632"/>
                </a:lnTo>
                <a:lnTo>
                  <a:pt x="1821" y="1623"/>
                </a:lnTo>
                <a:lnTo>
                  <a:pt x="1815" y="1612"/>
                </a:lnTo>
                <a:lnTo>
                  <a:pt x="1809" y="1605"/>
                </a:lnTo>
                <a:lnTo>
                  <a:pt x="1803" y="1600"/>
                </a:lnTo>
                <a:lnTo>
                  <a:pt x="1801" y="1599"/>
                </a:lnTo>
                <a:lnTo>
                  <a:pt x="1798" y="1598"/>
                </a:lnTo>
                <a:lnTo>
                  <a:pt x="1796" y="1598"/>
                </a:lnTo>
                <a:lnTo>
                  <a:pt x="1795" y="1599"/>
                </a:lnTo>
                <a:lnTo>
                  <a:pt x="1791" y="1601"/>
                </a:lnTo>
                <a:lnTo>
                  <a:pt x="1789" y="1605"/>
                </a:lnTo>
                <a:lnTo>
                  <a:pt x="1788" y="1610"/>
                </a:lnTo>
                <a:lnTo>
                  <a:pt x="1785" y="1617"/>
                </a:lnTo>
                <a:lnTo>
                  <a:pt x="1784" y="1622"/>
                </a:lnTo>
                <a:lnTo>
                  <a:pt x="1783" y="1626"/>
                </a:lnTo>
                <a:lnTo>
                  <a:pt x="1781" y="1631"/>
                </a:lnTo>
                <a:lnTo>
                  <a:pt x="1777" y="1633"/>
                </a:lnTo>
                <a:lnTo>
                  <a:pt x="1773" y="1636"/>
                </a:lnTo>
                <a:lnTo>
                  <a:pt x="1770" y="1638"/>
                </a:lnTo>
                <a:lnTo>
                  <a:pt x="1765" y="1638"/>
                </a:lnTo>
                <a:lnTo>
                  <a:pt x="1760" y="1638"/>
                </a:lnTo>
                <a:lnTo>
                  <a:pt x="1753" y="1636"/>
                </a:lnTo>
                <a:lnTo>
                  <a:pt x="1746" y="1633"/>
                </a:lnTo>
                <a:lnTo>
                  <a:pt x="1743" y="1632"/>
                </a:lnTo>
                <a:lnTo>
                  <a:pt x="1739" y="1632"/>
                </a:lnTo>
                <a:lnTo>
                  <a:pt x="1737" y="1633"/>
                </a:lnTo>
                <a:lnTo>
                  <a:pt x="1735" y="1636"/>
                </a:lnTo>
                <a:lnTo>
                  <a:pt x="1734" y="1641"/>
                </a:lnTo>
                <a:lnTo>
                  <a:pt x="1735" y="1647"/>
                </a:lnTo>
                <a:lnTo>
                  <a:pt x="1737" y="1651"/>
                </a:lnTo>
                <a:lnTo>
                  <a:pt x="1737" y="1656"/>
                </a:lnTo>
                <a:lnTo>
                  <a:pt x="1733" y="1661"/>
                </a:lnTo>
                <a:lnTo>
                  <a:pt x="1729" y="1663"/>
                </a:lnTo>
                <a:lnTo>
                  <a:pt x="1726" y="1669"/>
                </a:lnTo>
                <a:lnTo>
                  <a:pt x="1725" y="1671"/>
                </a:lnTo>
                <a:lnTo>
                  <a:pt x="1724" y="1680"/>
                </a:lnTo>
                <a:lnTo>
                  <a:pt x="1724" y="1688"/>
                </a:lnTo>
                <a:lnTo>
                  <a:pt x="1725" y="1695"/>
                </a:lnTo>
                <a:lnTo>
                  <a:pt x="1726" y="1702"/>
                </a:lnTo>
                <a:lnTo>
                  <a:pt x="1726" y="1710"/>
                </a:lnTo>
                <a:lnTo>
                  <a:pt x="1725" y="1717"/>
                </a:lnTo>
                <a:lnTo>
                  <a:pt x="1722" y="1724"/>
                </a:lnTo>
                <a:lnTo>
                  <a:pt x="1718" y="1730"/>
                </a:lnTo>
                <a:lnTo>
                  <a:pt x="1712" y="1736"/>
                </a:lnTo>
                <a:lnTo>
                  <a:pt x="1703" y="1739"/>
                </a:lnTo>
                <a:lnTo>
                  <a:pt x="1695" y="1743"/>
                </a:lnTo>
                <a:lnTo>
                  <a:pt x="1684" y="1745"/>
                </a:lnTo>
                <a:lnTo>
                  <a:pt x="1664" y="1750"/>
                </a:lnTo>
                <a:lnTo>
                  <a:pt x="1647" y="1753"/>
                </a:lnTo>
                <a:lnTo>
                  <a:pt x="1638" y="1756"/>
                </a:lnTo>
                <a:lnTo>
                  <a:pt x="1626" y="1761"/>
                </a:lnTo>
                <a:lnTo>
                  <a:pt x="1615" y="1765"/>
                </a:lnTo>
                <a:lnTo>
                  <a:pt x="1605" y="1770"/>
                </a:lnTo>
                <a:lnTo>
                  <a:pt x="1599" y="1773"/>
                </a:lnTo>
                <a:lnTo>
                  <a:pt x="1593" y="1774"/>
                </a:lnTo>
                <a:lnTo>
                  <a:pt x="1588" y="1775"/>
                </a:lnTo>
                <a:lnTo>
                  <a:pt x="1583" y="1774"/>
                </a:lnTo>
                <a:lnTo>
                  <a:pt x="1580" y="1770"/>
                </a:lnTo>
                <a:lnTo>
                  <a:pt x="1579" y="1764"/>
                </a:lnTo>
                <a:lnTo>
                  <a:pt x="1577" y="1756"/>
                </a:lnTo>
                <a:lnTo>
                  <a:pt x="1577" y="1749"/>
                </a:lnTo>
                <a:lnTo>
                  <a:pt x="1576" y="1740"/>
                </a:lnTo>
                <a:lnTo>
                  <a:pt x="1576" y="1734"/>
                </a:lnTo>
                <a:lnTo>
                  <a:pt x="1575" y="1731"/>
                </a:lnTo>
                <a:lnTo>
                  <a:pt x="1574" y="1730"/>
                </a:lnTo>
                <a:lnTo>
                  <a:pt x="1573" y="1729"/>
                </a:lnTo>
                <a:lnTo>
                  <a:pt x="1571" y="1727"/>
                </a:lnTo>
                <a:lnTo>
                  <a:pt x="1569" y="1729"/>
                </a:lnTo>
                <a:lnTo>
                  <a:pt x="1567" y="1729"/>
                </a:lnTo>
                <a:lnTo>
                  <a:pt x="1561" y="1733"/>
                </a:lnTo>
                <a:lnTo>
                  <a:pt x="1556" y="1738"/>
                </a:lnTo>
                <a:lnTo>
                  <a:pt x="1554" y="1740"/>
                </a:lnTo>
                <a:lnTo>
                  <a:pt x="1550" y="1742"/>
                </a:lnTo>
                <a:lnTo>
                  <a:pt x="1549" y="1742"/>
                </a:lnTo>
                <a:lnTo>
                  <a:pt x="1546" y="1740"/>
                </a:lnTo>
                <a:lnTo>
                  <a:pt x="1544" y="1738"/>
                </a:lnTo>
                <a:lnTo>
                  <a:pt x="1540" y="1733"/>
                </a:lnTo>
                <a:lnTo>
                  <a:pt x="1539" y="1729"/>
                </a:lnTo>
                <a:lnTo>
                  <a:pt x="1538" y="1723"/>
                </a:lnTo>
                <a:lnTo>
                  <a:pt x="1538" y="1717"/>
                </a:lnTo>
                <a:lnTo>
                  <a:pt x="1538" y="1713"/>
                </a:lnTo>
                <a:lnTo>
                  <a:pt x="1538" y="1707"/>
                </a:lnTo>
                <a:lnTo>
                  <a:pt x="1538" y="1701"/>
                </a:lnTo>
                <a:lnTo>
                  <a:pt x="1538" y="1698"/>
                </a:lnTo>
                <a:lnTo>
                  <a:pt x="1538" y="1694"/>
                </a:lnTo>
                <a:lnTo>
                  <a:pt x="1536" y="1692"/>
                </a:lnTo>
                <a:lnTo>
                  <a:pt x="1535" y="1690"/>
                </a:lnTo>
                <a:lnTo>
                  <a:pt x="1532" y="1690"/>
                </a:lnTo>
                <a:lnTo>
                  <a:pt x="1530" y="1692"/>
                </a:lnTo>
                <a:lnTo>
                  <a:pt x="1526" y="1694"/>
                </a:lnTo>
                <a:lnTo>
                  <a:pt x="1520" y="1698"/>
                </a:lnTo>
                <a:lnTo>
                  <a:pt x="1511" y="1708"/>
                </a:lnTo>
                <a:lnTo>
                  <a:pt x="1500" y="1719"/>
                </a:lnTo>
                <a:lnTo>
                  <a:pt x="1493" y="1724"/>
                </a:lnTo>
                <a:lnTo>
                  <a:pt x="1487" y="1727"/>
                </a:lnTo>
                <a:lnTo>
                  <a:pt x="1482" y="1729"/>
                </a:lnTo>
                <a:lnTo>
                  <a:pt x="1474" y="1729"/>
                </a:lnTo>
                <a:lnTo>
                  <a:pt x="1468" y="1729"/>
                </a:lnTo>
                <a:lnTo>
                  <a:pt x="1463" y="1725"/>
                </a:lnTo>
                <a:lnTo>
                  <a:pt x="1458" y="1721"/>
                </a:lnTo>
                <a:lnTo>
                  <a:pt x="1454" y="1717"/>
                </a:lnTo>
                <a:lnTo>
                  <a:pt x="1450" y="1711"/>
                </a:lnTo>
                <a:lnTo>
                  <a:pt x="1447" y="1705"/>
                </a:lnTo>
                <a:lnTo>
                  <a:pt x="1445" y="1700"/>
                </a:lnTo>
                <a:lnTo>
                  <a:pt x="1444" y="1694"/>
                </a:lnTo>
                <a:lnTo>
                  <a:pt x="1444" y="1690"/>
                </a:lnTo>
                <a:lnTo>
                  <a:pt x="1443" y="1685"/>
                </a:lnTo>
                <a:lnTo>
                  <a:pt x="1443" y="1681"/>
                </a:lnTo>
                <a:lnTo>
                  <a:pt x="1443" y="1676"/>
                </a:lnTo>
                <a:lnTo>
                  <a:pt x="1443" y="1668"/>
                </a:lnTo>
                <a:lnTo>
                  <a:pt x="1441" y="1662"/>
                </a:lnTo>
                <a:lnTo>
                  <a:pt x="1441" y="1661"/>
                </a:lnTo>
                <a:lnTo>
                  <a:pt x="1439" y="1661"/>
                </a:lnTo>
                <a:lnTo>
                  <a:pt x="1435" y="1657"/>
                </a:lnTo>
                <a:lnTo>
                  <a:pt x="1432" y="1656"/>
                </a:lnTo>
                <a:lnTo>
                  <a:pt x="1430" y="1656"/>
                </a:lnTo>
                <a:lnTo>
                  <a:pt x="1425" y="1655"/>
                </a:lnTo>
                <a:lnTo>
                  <a:pt x="1423" y="1655"/>
                </a:lnTo>
                <a:lnTo>
                  <a:pt x="1419" y="1654"/>
                </a:lnTo>
                <a:lnTo>
                  <a:pt x="1414" y="1652"/>
                </a:lnTo>
                <a:lnTo>
                  <a:pt x="1410" y="1650"/>
                </a:lnTo>
                <a:lnTo>
                  <a:pt x="1407" y="1647"/>
                </a:lnTo>
                <a:lnTo>
                  <a:pt x="1405" y="1643"/>
                </a:lnTo>
                <a:lnTo>
                  <a:pt x="1403" y="1635"/>
                </a:lnTo>
                <a:lnTo>
                  <a:pt x="1401" y="1624"/>
                </a:lnTo>
                <a:lnTo>
                  <a:pt x="1400" y="1614"/>
                </a:lnTo>
                <a:lnTo>
                  <a:pt x="1399" y="1607"/>
                </a:lnTo>
                <a:lnTo>
                  <a:pt x="1397" y="1605"/>
                </a:lnTo>
                <a:lnTo>
                  <a:pt x="1395" y="1601"/>
                </a:lnTo>
                <a:lnTo>
                  <a:pt x="1393" y="1599"/>
                </a:lnTo>
                <a:lnTo>
                  <a:pt x="1390" y="1597"/>
                </a:lnTo>
                <a:lnTo>
                  <a:pt x="1384" y="1593"/>
                </a:lnTo>
                <a:lnTo>
                  <a:pt x="1378" y="1588"/>
                </a:lnTo>
                <a:lnTo>
                  <a:pt x="1373" y="1582"/>
                </a:lnTo>
                <a:lnTo>
                  <a:pt x="1369" y="1574"/>
                </a:lnTo>
                <a:lnTo>
                  <a:pt x="1368" y="1569"/>
                </a:lnTo>
                <a:lnTo>
                  <a:pt x="1366" y="1566"/>
                </a:lnTo>
                <a:lnTo>
                  <a:pt x="1363" y="1563"/>
                </a:lnTo>
                <a:lnTo>
                  <a:pt x="1361" y="1562"/>
                </a:lnTo>
                <a:lnTo>
                  <a:pt x="1359" y="1562"/>
                </a:lnTo>
                <a:lnTo>
                  <a:pt x="1355" y="1563"/>
                </a:lnTo>
                <a:lnTo>
                  <a:pt x="1350" y="1566"/>
                </a:lnTo>
                <a:lnTo>
                  <a:pt x="1346" y="1569"/>
                </a:lnTo>
                <a:lnTo>
                  <a:pt x="1340" y="1574"/>
                </a:lnTo>
                <a:lnTo>
                  <a:pt x="1334" y="1576"/>
                </a:lnTo>
                <a:lnTo>
                  <a:pt x="1328" y="1579"/>
                </a:lnTo>
                <a:lnTo>
                  <a:pt x="1323" y="1580"/>
                </a:lnTo>
                <a:lnTo>
                  <a:pt x="1321" y="1580"/>
                </a:lnTo>
                <a:lnTo>
                  <a:pt x="1319" y="1580"/>
                </a:lnTo>
                <a:lnTo>
                  <a:pt x="1313" y="1580"/>
                </a:lnTo>
                <a:lnTo>
                  <a:pt x="1310" y="1581"/>
                </a:lnTo>
                <a:lnTo>
                  <a:pt x="1306" y="1582"/>
                </a:lnTo>
                <a:lnTo>
                  <a:pt x="1305" y="1585"/>
                </a:lnTo>
                <a:lnTo>
                  <a:pt x="1302" y="1589"/>
                </a:lnTo>
                <a:lnTo>
                  <a:pt x="1299" y="1594"/>
                </a:lnTo>
                <a:lnTo>
                  <a:pt x="1292" y="1603"/>
                </a:lnTo>
                <a:lnTo>
                  <a:pt x="1281" y="1613"/>
                </a:lnTo>
                <a:lnTo>
                  <a:pt x="1275" y="1619"/>
                </a:lnTo>
                <a:lnTo>
                  <a:pt x="1271" y="1625"/>
                </a:lnTo>
                <a:lnTo>
                  <a:pt x="1268" y="1631"/>
                </a:lnTo>
                <a:lnTo>
                  <a:pt x="1267" y="1637"/>
                </a:lnTo>
                <a:lnTo>
                  <a:pt x="1267" y="1642"/>
                </a:lnTo>
                <a:lnTo>
                  <a:pt x="1268" y="1648"/>
                </a:lnTo>
                <a:lnTo>
                  <a:pt x="1269" y="1654"/>
                </a:lnTo>
                <a:lnTo>
                  <a:pt x="1272" y="1658"/>
                </a:lnTo>
                <a:lnTo>
                  <a:pt x="1277" y="1669"/>
                </a:lnTo>
                <a:lnTo>
                  <a:pt x="1279" y="1680"/>
                </a:lnTo>
                <a:lnTo>
                  <a:pt x="1280" y="1686"/>
                </a:lnTo>
                <a:lnTo>
                  <a:pt x="1280" y="1692"/>
                </a:lnTo>
                <a:lnTo>
                  <a:pt x="1279" y="1696"/>
                </a:lnTo>
                <a:lnTo>
                  <a:pt x="1277" y="1701"/>
                </a:lnTo>
                <a:lnTo>
                  <a:pt x="1272" y="1715"/>
                </a:lnTo>
                <a:lnTo>
                  <a:pt x="1267" y="1730"/>
                </a:lnTo>
                <a:lnTo>
                  <a:pt x="1266" y="1733"/>
                </a:lnTo>
                <a:lnTo>
                  <a:pt x="1265" y="1734"/>
                </a:lnTo>
                <a:lnTo>
                  <a:pt x="1262" y="1731"/>
                </a:lnTo>
                <a:lnTo>
                  <a:pt x="1261" y="1724"/>
                </a:lnTo>
                <a:lnTo>
                  <a:pt x="1260" y="1715"/>
                </a:lnTo>
                <a:lnTo>
                  <a:pt x="1256" y="1710"/>
                </a:lnTo>
                <a:lnTo>
                  <a:pt x="1255" y="1707"/>
                </a:lnTo>
                <a:lnTo>
                  <a:pt x="1253" y="1706"/>
                </a:lnTo>
                <a:lnTo>
                  <a:pt x="1250" y="1706"/>
                </a:lnTo>
                <a:lnTo>
                  <a:pt x="1248" y="1705"/>
                </a:lnTo>
                <a:lnTo>
                  <a:pt x="1246" y="1706"/>
                </a:lnTo>
                <a:lnTo>
                  <a:pt x="1243" y="1707"/>
                </a:lnTo>
                <a:lnTo>
                  <a:pt x="1242" y="1710"/>
                </a:lnTo>
                <a:lnTo>
                  <a:pt x="1241" y="1712"/>
                </a:lnTo>
                <a:lnTo>
                  <a:pt x="1239" y="1720"/>
                </a:lnTo>
                <a:lnTo>
                  <a:pt x="1236" y="1730"/>
                </a:lnTo>
                <a:lnTo>
                  <a:pt x="1234" y="1734"/>
                </a:lnTo>
                <a:lnTo>
                  <a:pt x="1230" y="1738"/>
                </a:lnTo>
                <a:lnTo>
                  <a:pt x="1228" y="1740"/>
                </a:lnTo>
                <a:lnTo>
                  <a:pt x="1224" y="1743"/>
                </a:lnTo>
                <a:lnTo>
                  <a:pt x="1216" y="1745"/>
                </a:lnTo>
                <a:lnTo>
                  <a:pt x="1209" y="1745"/>
                </a:lnTo>
                <a:lnTo>
                  <a:pt x="1199" y="1744"/>
                </a:lnTo>
                <a:lnTo>
                  <a:pt x="1190" y="1740"/>
                </a:lnTo>
                <a:lnTo>
                  <a:pt x="1177" y="1738"/>
                </a:lnTo>
                <a:lnTo>
                  <a:pt x="1164" y="1737"/>
                </a:lnTo>
                <a:lnTo>
                  <a:pt x="1157" y="1737"/>
                </a:lnTo>
                <a:lnTo>
                  <a:pt x="1148" y="1738"/>
                </a:lnTo>
                <a:lnTo>
                  <a:pt x="1141" y="1742"/>
                </a:lnTo>
                <a:lnTo>
                  <a:pt x="1134" y="1745"/>
                </a:lnTo>
                <a:lnTo>
                  <a:pt x="1128" y="1750"/>
                </a:lnTo>
                <a:lnTo>
                  <a:pt x="1121" y="1756"/>
                </a:lnTo>
                <a:lnTo>
                  <a:pt x="1115" y="1761"/>
                </a:lnTo>
                <a:lnTo>
                  <a:pt x="1109" y="1768"/>
                </a:lnTo>
                <a:lnTo>
                  <a:pt x="1103" y="1774"/>
                </a:lnTo>
                <a:lnTo>
                  <a:pt x="1094" y="1781"/>
                </a:lnTo>
                <a:lnTo>
                  <a:pt x="1083" y="1789"/>
                </a:lnTo>
                <a:lnTo>
                  <a:pt x="1072" y="1796"/>
                </a:lnTo>
                <a:lnTo>
                  <a:pt x="1048" y="1809"/>
                </a:lnTo>
                <a:lnTo>
                  <a:pt x="1029" y="1819"/>
                </a:lnTo>
                <a:lnTo>
                  <a:pt x="1021" y="1821"/>
                </a:lnTo>
                <a:lnTo>
                  <a:pt x="1014" y="1824"/>
                </a:lnTo>
                <a:lnTo>
                  <a:pt x="1006" y="1825"/>
                </a:lnTo>
                <a:lnTo>
                  <a:pt x="998" y="1825"/>
                </a:lnTo>
                <a:lnTo>
                  <a:pt x="985" y="1824"/>
                </a:lnTo>
                <a:lnTo>
                  <a:pt x="977" y="1822"/>
                </a:lnTo>
                <a:lnTo>
                  <a:pt x="970" y="1820"/>
                </a:lnTo>
                <a:lnTo>
                  <a:pt x="963" y="1820"/>
                </a:lnTo>
                <a:lnTo>
                  <a:pt x="957" y="1820"/>
                </a:lnTo>
                <a:lnTo>
                  <a:pt x="951" y="1822"/>
                </a:lnTo>
                <a:lnTo>
                  <a:pt x="950" y="1825"/>
                </a:lnTo>
                <a:lnTo>
                  <a:pt x="947" y="1827"/>
                </a:lnTo>
                <a:lnTo>
                  <a:pt x="947" y="1831"/>
                </a:lnTo>
                <a:lnTo>
                  <a:pt x="947" y="1834"/>
                </a:lnTo>
                <a:lnTo>
                  <a:pt x="950" y="1841"/>
                </a:lnTo>
                <a:lnTo>
                  <a:pt x="954" y="1852"/>
                </a:lnTo>
                <a:lnTo>
                  <a:pt x="958" y="1858"/>
                </a:lnTo>
                <a:lnTo>
                  <a:pt x="960" y="1864"/>
                </a:lnTo>
                <a:lnTo>
                  <a:pt x="960" y="1870"/>
                </a:lnTo>
                <a:lnTo>
                  <a:pt x="960" y="1876"/>
                </a:lnTo>
                <a:lnTo>
                  <a:pt x="960" y="1883"/>
                </a:lnTo>
                <a:lnTo>
                  <a:pt x="958" y="1889"/>
                </a:lnTo>
                <a:lnTo>
                  <a:pt x="956" y="1895"/>
                </a:lnTo>
                <a:lnTo>
                  <a:pt x="953" y="1901"/>
                </a:lnTo>
                <a:lnTo>
                  <a:pt x="950" y="1906"/>
                </a:lnTo>
                <a:lnTo>
                  <a:pt x="946" y="1909"/>
                </a:lnTo>
                <a:lnTo>
                  <a:pt x="941" y="1913"/>
                </a:lnTo>
                <a:lnTo>
                  <a:pt x="938" y="1915"/>
                </a:lnTo>
                <a:lnTo>
                  <a:pt x="928" y="1920"/>
                </a:lnTo>
                <a:lnTo>
                  <a:pt x="918" y="1926"/>
                </a:lnTo>
                <a:lnTo>
                  <a:pt x="908" y="1934"/>
                </a:lnTo>
                <a:lnTo>
                  <a:pt x="900" y="1942"/>
                </a:lnTo>
                <a:lnTo>
                  <a:pt x="895" y="1947"/>
                </a:lnTo>
                <a:lnTo>
                  <a:pt x="891" y="1951"/>
                </a:lnTo>
                <a:lnTo>
                  <a:pt x="888" y="1953"/>
                </a:lnTo>
                <a:lnTo>
                  <a:pt x="883" y="1954"/>
                </a:lnTo>
                <a:lnTo>
                  <a:pt x="880" y="1956"/>
                </a:lnTo>
                <a:lnTo>
                  <a:pt x="876" y="1954"/>
                </a:lnTo>
                <a:lnTo>
                  <a:pt x="874" y="1953"/>
                </a:lnTo>
                <a:lnTo>
                  <a:pt x="870" y="1951"/>
                </a:lnTo>
                <a:lnTo>
                  <a:pt x="864" y="1945"/>
                </a:lnTo>
                <a:lnTo>
                  <a:pt x="857" y="1935"/>
                </a:lnTo>
                <a:lnTo>
                  <a:pt x="853" y="1932"/>
                </a:lnTo>
                <a:lnTo>
                  <a:pt x="849" y="1929"/>
                </a:lnTo>
                <a:lnTo>
                  <a:pt x="843" y="1927"/>
                </a:lnTo>
                <a:lnTo>
                  <a:pt x="838" y="1927"/>
                </a:lnTo>
                <a:lnTo>
                  <a:pt x="826" y="1928"/>
                </a:lnTo>
                <a:lnTo>
                  <a:pt x="814" y="1931"/>
                </a:lnTo>
                <a:lnTo>
                  <a:pt x="808" y="1932"/>
                </a:lnTo>
                <a:lnTo>
                  <a:pt x="802" y="1932"/>
                </a:lnTo>
                <a:lnTo>
                  <a:pt x="798" y="1931"/>
                </a:lnTo>
                <a:lnTo>
                  <a:pt x="793" y="1929"/>
                </a:lnTo>
                <a:lnTo>
                  <a:pt x="789" y="1926"/>
                </a:lnTo>
                <a:lnTo>
                  <a:pt x="786" y="1922"/>
                </a:lnTo>
                <a:lnTo>
                  <a:pt x="783" y="1918"/>
                </a:lnTo>
                <a:lnTo>
                  <a:pt x="782" y="1913"/>
                </a:lnTo>
                <a:lnTo>
                  <a:pt x="780" y="1908"/>
                </a:lnTo>
                <a:lnTo>
                  <a:pt x="778" y="1904"/>
                </a:lnTo>
                <a:lnTo>
                  <a:pt x="775" y="1903"/>
                </a:lnTo>
                <a:lnTo>
                  <a:pt x="773" y="1902"/>
                </a:lnTo>
                <a:lnTo>
                  <a:pt x="764" y="1901"/>
                </a:lnTo>
                <a:lnTo>
                  <a:pt x="756" y="1900"/>
                </a:lnTo>
                <a:lnTo>
                  <a:pt x="746" y="1899"/>
                </a:lnTo>
                <a:lnTo>
                  <a:pt x="737" y="1895"/>
                </a:lnTo>
                <a:lnTo>
                  <a:pt x="729" y="1891"/>
                </a:lnTo>
                <a:lnTo>
                  <a:pt x="721" y="1888"/>
                </a:lnTo>
                <a:lnTo>
                  <a:pt x="714" y="1884"/>
                </a:lnTo>
                <a:lnTo>
                  <a:pt x="707" y="1882"/>
                </a:lnTo>
                <a:lnTo>
                  <a:pt x="699" y="1881"/>
                </a:lnTo>
                <a:lnTo>
                  <a:pt x="691" y="1879"/>
                </a:lnTo>
                <a:lnTo>
                  <a:pt x="687" y="1879"/>
                </a:lnTo>
                <a:lnTo>
                  <a:pt x="683" y="1878"/>
                </a:lnTo>
                <a:lnTo>
                  <a:pt x="681" y="1876"/>
                </a:lnTo>
                <a:lnTo>
                  <a:pt x="677" y="1872"/>
                </a:lnTo>
                <a:lnTo>
                  <a:pt x="673" y="1866"/>
                </a:lnTo>
                <a:lnTo>
                  <a:pt x="668" y="1858"/>
                </a:lnTo>
                <a:lnTo>
                  <a:pt x="664" y="1847"/>
                </a:lnTo>
                <a:lnTo>
                  <a:pt x="661" y="1838"/>
                </a:lnTo>
                <a:lnTo>
                  <a:pt x="658" y="1833"/>
                </a:lnTo>
                <a:lnTo>
                  <a:pt x="656" y="1828"/>
                </a:lnTo>
                <a:lnTo>
                  <a:pt x="654" y="1826"/>
                </a:lnTo>
                <a:lnTo>
                  <a:pt x="651" y="1824"/>
                </a:lnTo>
                <a:lnTo>
                  <a:pt x="642" y="1821"/>
                </a:lnTo>
                <a:lnTo>
                  <a:pt x="629" y="1821"/>
                </a:lnTo>
                <a:lnTo>
                  <a:pt x="613" y="1821"/>
                </a:lnTo>
                <a:lnTo>
                  <a:pt x="599" y="1821"/>
                </a:lnTo>
                <a:lnTo>
                  <a:pt x="594" y="1820"/>
                </a:lnTo>
                <a:lnTo>
                  <a:pt x="589" y="1819"/>
                </a:lnTo>
                <a:lnTo>
                  <a:pt x="586" y="1815"/>
                </a:lnTo>
                <a:lnTo>
                  <a:pt x="584" y="1812"/>
                </a:lnTo>
                <a:lnTo>
                  <a:pt x="579" y="1805"/>
                </a:lnTo>
                <a:lnTo>
                  <a:pt x="574" y="1795"/>
                </a:lnTo>
                <a:lnTo>
                  <a:pt x="572" y="1792"/>
                </a:lnTo>
                <a:lnTo>
                  <a:pt x="568" y="1789"/>
                </a:lnTo>
                <a:lnTo>
                  <a:pt x="565" y="1789"/>
                </a:lnTo>
                <a:lnTo>
                  <a:pt x="562" y="1789"/>
                </a:lnTo>
                <a:lnTo>
                  <a:pt x="559" y="1790"/>
                </a:lnTo>
                <a:lnTo>
                  <a:pt x="555" y="1792"/>
                </a:lnTo>
                <a:lnTo>
                  <a:pt x="550" y="1795"/>
                </a:lnTo>
                <a:lnTo>
                  <a:pt x="548" y="1800"/>
                </a:lnTo>
                <a:lnTo>
                  <a:pt x="540" y="1808"/>
                </a:lnTo>
                <a:lnTo>
                  <a:pt x="532" y="1815"/>
                </a:lnTo>
                <a:lnTo>
                  <a:pt x="524" y="1820"/>
                </a:lnTo>
                <a:lnTo>
                  <a:pt x="517" y="1822"/>
                </a:lnTo>
                <a:lnTo>
                  <a:pt x="513" y="1825"/>
                </a:lnTo>
                <a:lnTo>
                  <a:pt x="510" y="1828"/>
                </a:lnTo>
                <a:lnTo>
                  <a:pt x="507" y="1833"/>
                </a:lnTo>
                <a:lnTo>
                  <a:pt x="505" y="1839"/>
                </a:lnTo>
                <a:lnTo>
                  <a:pt x="500" y="1852"/>
                </a:lnTo>
                <a:lnTo>
                  <a:pt x="494" y="1865"/>
                </a:lnTo>
                <a:lnTo>
                  <a:pt x="490" y="1871"/>
                </a:lnTo>
                <a:lnTo>
                  <a:pt x="486" y="1876"/>
                </a:lnTo>
                <a:lnTo>
                  <a:pt x="481" y="1879"/>
                </a:lnTo>
                <a:lnTo>
                  <a:pt x="477" y="1882"/>
                </a:lnTo>
                <a:lnTo>
                  <a:pt x="467" y="1884"/>
                </a:lnTo>
                <a:lnTo>
                  <a:pt x="456" y="1885"/>
                </a:lnTo>
                <a:lnTo>
                  <a:pt x="452" y="1887"/>
                </a:lnTo>
                <a:lnTo>
                  <a:pt x="447" y="1889"/>
                </a:lnTo>
                <a:lnTo>
                  <a:pt x="443" y="1891"/>
                </a:lnTo>
                <a:lnTo>
                  <a:pt x="439" y="1895"/>
                </a:lnTo>
                <a:lnTo>
                  <a:pt x="431" y="1904"/>
                </a:lnTo>
                <a:lnTo>
                  <a:pt x="425" y="1913"/>
                </a:lnTo>
                <a:lnTo>
                  <a:pt x="419" y="1920"/>
                </a:lnTo>
                <a:lnTo>
                  <a:pt x="414" y="1923"/>
                </a:lnTo>
                <a:lnTo>
                  <a:pt x="408" y="1926"/>
                </a:lnTo>
                <a:lnTo>
                  <a:pt x="402" y="1927"/>
                </a:lnTo>
                <a:lnTo>
                  <a:pt x="396" y="1929"/>
                </a:lnTo>
                <a:lnTo>
                  <a:pt x="392" y="1932"/>
                </a:lnTo>
                <a:lnTo>
                  <a:pt x="389" y="1937"/>
                </a:lnTo>
                <a:lnTo>
                  <a:pt x="385" y="1944"/>
                </a:lnTo>
                <a:lnTo>
                  <a:pt x="383" y="1946"/>
                </a:lnTo>
                <a:lnTo>
                  <a:pt x="379" y="1948"/>
                </a:lnTo>
                <a:lnTo>
                  <a:pt x="377" y="1950"/>
                </a:lnTo>
                <a:lnTo>
                  <a:pt x="374" y="1948"/>
                </a:lnTo>
                <a:lnTo>
                  <a:pt x="368" y="1946"/>
                </a:lnTo>
                <a:lnTo>
                  <a:pt x="365" y="1941"/>
                </a:lnTo>
                <a:lnTo>
                  <a:pt x="361" y="1935"/>
                </a:lnTo>
                <a:lnTo>
                  <a:pt x="356" y="1929"/>
                </a:lnTo>
                <a:lnTo>
                  <a:pt x="352" y="1926"/>
                </a:lnTo>
                <a:lnTo>
                  <a:pt x="347" y="1922"/>
                </a:lnTo>
                <a:lnTo>
                  <a:pt x="342" y="1920"/>
                </a:lnTo>
                <a:lnTo>
                  <a:pt x="337" y="1918"/>
                </a:lnTo>
                <a:lnTo>
                  <a:pt x="333" y="1913"/>
                </a:lnTo>
                <a:lnTo>
                  <a:pt x="327" y="1907"/>
                </a:lnTo>
                <a:lnTo>
                  <a:pt x="323" y="1902"/>
                </a:lnTo>
                <a:lnTo>
                  <a:pt x="320" y="1900"/>
                </a:lnTo>
                <a:lnTo>
                  <a:pt x="315" y="1897"/>
                </a:lnTo>
                <a:lnTo>
                  <a:pt x="310" y="1896"/>
                </a:lnTo>
                <a:lnTo>
                  <a:pt x="307" y="1895"/>
                </a:lnTo>
                <a:lnTo>
                  <a:pt x="304" y="1894"/>
                </a:lnTo>
                <a:lnTo>
                  <a:pt x="302" y="1893"/>
                </a:lnTo>
                <a:lnTo>
                  <a:pt x="301" y="1888"/>
                </a:lnTo>
                <a:lnTo>
                  <a:pt x="299" y="1882"/>
                </a:lnTo>
                <a:lnTo>
                  <a:pt x="298" y="1876"/>
                </a:lnTo>
                <a:lnTo>
                  <a:pt x="299" y="1870"/>
                </a:lnTo>
                <a:lnTo>
                  <a:pt x="299" y="1865"/>
                </a:lnTo>
                <a:lnTo>
                  <a:pt x="303" y="1856"/>
                </a:lnTo>
                <a:lnTo>
                  <a:pt x="307" y="1846"/>
                </a:lnTo>
                <a:lnTo>
                  <a:pt x="310" y="1837"/>
                </a:lnTo>
                <a:lnTo>
                  <a:pt x="316" y="1828"/>
                </a:lnTo>
                <a:lnTo>
                  <a:pt x="326" y="1815"/>
                </a:lnTo>
                <a:lnTo>
                  <a:pt x="337" y="1801"/>
                </a:lnTo>
                <a:lnTo>
                  <a:pt x="349" y="1788"/>
                </a:lnTo>
                <a:lnTo>
                  <a:pt x="359" y="1776"/>
                </a:lnTo>
                <a:lnTo>
                  <a:pt x="360" y="1773"/>
                </a:lnTo>
                <a:lnTo>
                  <a:pt x="362" y="1767"/>
                </a:lnTo>
                <a:lnTo>
                  <a:pt x="362" y="1762"/>
                </a:lnTo>
                <a:lnTo>
                  <a:pt x="362" y="1761"/>
                </a:lnTo>
                <a:lnTo>
                  <a:pt x="361" y="1759"/>
                </a:lnTo>
                <a:lnTo>
                  <a:pt x="360" y="1759"/>
                </a:lnTo>
                <a:lnTo>
                  <a:pt x="351" y="1757"/>
                </a:lnTo>
                <a:lnTo>
                  <a:pt x="341" y="1751"/>
                </a:lnTo>
                <a:lnTo>
                  <a:pt x="339" y="1748"/>
                </a:lnTo>
                <a:lnTo>
                  <a:pt x="336" y="1743"/>
                </a:lnTo>
                <a:lnTo>
                  <a:pt x="337" y="1738"/>
                </a:lnTo>
                <a:lnTo>
                  <a:pt x="340" y="1732"/>
                </a:lnTo>
                <a:lnTo>
                  <a:pt x="341" y="1730"/>
                </a:lnTo>
                <a:lnTo>
                  <a:pt x="343" y="1729"/>
                </a:lnTo>
                <a:lnTo>
                  <a:pt x="347" y="1729"/>
                </a:lnTo>
                <a:lnTo>
                  <a:pt x="351" y="1729"/>
                </a:lnTo>
                <a:lnTo>
                  <a:pt x="361" y="1729"/>
                </a:lnTo>
                <a:lnTo>
                  <a:pt x="373" y="1727"/>
                </a:lnTo>
                <a:lnTo>
                  <a:pt x="376" y="1725"/>
                </a:lnTo>
                <a:lnTo>
                  <a:pt x="378" y="1721"/>
                </a:lnTo>
                <a:lnTo>
                  <a:pt x="379" y="1717"/>
                </a:lnTo>
                <a:lnTo>
                  <a:pt x="380" y="1712"/>
                </a:lnTo>
                <a:lnTo>
                  <a:pt x="381" y="1701"/>
                </a:lnTo>
                <a:lnTo>
                  <a:pt x="383" y="1696"/>
                </a:lnTo>
                <a:lnTo>
                  <a:pt x="385" y="1694"/>
                </a:lnTo>
                <a:lnTo>
                  <a:pt x="389" y="1694"/>
                </a:lnTo>
                <a:lnTo>
                  <a:pt x="392" y="1694"/>
                </a:lnTo>
                <a:lnTo>
                  <a:pt x="396" y="1696"/>
                </a:lnTo>
                <a:lnTo>
                  <a:pt x="403" y="1700"/>
                </a:lnTo>
                <a:lnTo>
                  <a:pt x="408" y="1704"/>
                </a:lnTo>
                <a:lnTo>
                  <a:pt x="410" y="1705"/>
                </a:lnTo>
                <a:lnTo>
                  <a:pt x="412" y="1705"/>
                </a:lnTo>
                <a:lnTo>
                  <a:pt x="414" y="1704"/>
                </a:lnTo>
                <a:lnTo>
                  <a:pt x="415" y="1702"/>
                </a:lnTo>
                <a:lnTo>
                  <a:pt x="417" y="1696"/>
                </a:lnTo>
                <a:lnTo>
                  <a:pt x="417" y="1689"/>
                </a:lnTo>
                <a:lnTo>
                  <a:pt x="418" y="1681"/>
                </a:lnTo>
                <a:lnTo>
                  <a:pt x="419" y="1674"/>
                </a:lnTo>
                <a:lnTo>
                  <a:pt x="419" y="1670"/>
                </a:lnTo>
                <a:lnTo>
                  <a:pt x="419" y="1667"/>
                </a:lnTo>
                <a:lnTo>
                  <a:pt x="418" y="1663"/>
                </a:lnTo>
                <a:lnTo>
                  <a:pt x="417" y="1661"/>
                </a:lnTo>
                <a:lnTo>
                  <a:pt x="414" y="1658"/>
                </a:lnTo>
                <a:lnTo>
                  <a:pt x="408" y="1657"/>
                </a:lnTo>
                <a:lnTo>
                  <a:pt x="402" y="1656"/>
                </a:lnTo>
                <a:lnTo>
                  <a:pt x="395" y="1655"/>
                </a:lnTo>
                <a:lnTo>
                  <a:pt x="380" y="1656"/>
                </a:lnTo>
                <a:lnTo>
                  <a:pt x="366" y="1657"/>
                </a:lnTo>
                <a:lnTo>
                  <a:pt x="360" y="1658"/>
                </a:lnTo>
                <a:lnTo>
                  <a:pt x="356" y="1658"/>
                </a:lnTo>
                <a:lnTo>
                  <a:pt x="353" y="1658"/>
                </a:lnTo>
                <a:lnTo>
                  <a:pt x="352" y="1657"/>
                </a:lnTo>
                <a:lnTo>
                  <a:pt x="349" y="1651"/>
                </a:lnTo>
                <a:lnTo>
                  <a:pt x="348" y="1642"/>
                </a:lnTo>
                <a:lnTo>
                  <a:pt x="347" y="1632"/>
                </a:lnTo>
                <a:lnTo>
                  <a:pt x="345" y="1626"/>
                </a:lnTo>
                <a:lnTo>
                  <a:pt x="340" y="1620"/>
                </a:lnTo>
                <a:lnTo>
                  <a:pt x="334" y="1616"/>
                </a:lnTo>
                <a:lnTo>
                  <a:pt x="329" y="1611"/>
                </a:lnTo>
                <a:lnTo>
                  <a:pt x="326" y="1604"/>
                </a:lnTo>
                <a:lnTo>
                  <a:pt x="323" y="1595"/>
                </a:lnTo>
                <a:lnTo>
                  <a:pt x="322" y="1585"/>
                </a:lnTo>
                <a:lnTo>
                  <a:pt x="322" y="1576"/>
                </a:lnTo>
                <a:lnTo>
                  <a:pt x="323" y="1567"/>
                </a:lnTo>
                <a:lnTo>
                  <a:pt x="323" y="1565"/>
                </a:lnTo>
                <a:lnTo>
                  <a:pt x="324" y="1561"/>
                </a:lnTo>
                <a:lnTo>
                  <a:pt x="326" y="1557"/>
                </a:lnTo>
                <a:lnTo>
                  <a:pt x="324" y="1553"/>
                </a:lnTo>
                <a:lnTo>
                  <a:pt x="322" y="1548"/>
                </a:lnTo>
                <a:lnTo>
                  <a:pt x="317" y="1544"/>
                </a:lnTo>
                <a:lnTo>
                  <a:pt x="314" y="1543"/>
                </a:lnTo>
                <a:lnTo>
                  <a:pt x="310" y="1542"/>
                </a:lnTo>
                <a:lnTo>
                  <a:pt x="307" y="1544"/>
                </a:lnTo>
                <a:lnTo>
                  <a:pt x="301" y="1551"/>
                </a:lnTo>
                <a:lnTo>
                  <a:pt x="295" y="1556"/>
                </a:lnTo>
                <a:lnTo>
                  <a:pt x="285" y="1561"/>
                </a:lnTo>
                <a:lnTo>
                  <a:pt x="279" y="1565"/>
                </a:lnTo>
                <a:lnTo>
                  <a:pt x="276" y="1565"/>
                </a:lnTo>
                <a:lnTo>
                  <a:pt x="273" y="1563"/>
                </a:lnTo>
                <a:lnTo>
                  <a:pt x="272" y="1562"/>
                </a:lnTo>
                <a:lnTo>
                  <a:pt x="272" y="1560"/>
                </a:lnTo>
                <a:lnTo>
                  <a:pt x="272" y="1556"/>
                </a:lnTo>
                <a:lnTo>
                  <a:pt x="272" y="1549"/>
                </a:lnTo>
                <a:lnTo>
                  <a:pt x="273" y="1540"/>
                </a:lnTo>
                <a:lnTo>
                  <a:pt x="272" y="1536"/>
                </a:lnTo>
                <a:lnTo>
                  <a:pt x="272" y="1534"/>
                </a:lnTo>
                <a:lnTo>
                  <a:pt x="270" y="1530"/>
                </a:lnTo>
                <a:lnTo>
                  <a:pt x="269" y="1528"/>
                </a:lnTo>
                <a:lnTo>
                  <a:pt x="263" y="1523"/>
                </a:lnTo>
                <a:lnTo>
                  <a:pt x="257" y="1518"/>
                </a:lnTo>
                <a:lnTo>
                  <a:pt x="244" y="1511"/>
                </a:lnTo>
                <a:lnTo>
                  <a:pt x="236" y="1504"/>
                </a:lnTo>
                <a:lnTo>
                  <a:pt x="234" y="1500"/>
                </a:lnTo>
                <a:lnTo>
                  <a:pt x="233" y="1496"/>
                </a:lnTo>
                <a:lnTo>
                  <a:pt x="233" y="1491"/>
                </a:lnTo>
                <a:lnTo>
                  <a:pt x="233" y="1485"/>
                </a:lnTo>
                <a:lnTo>
                  <a:pt x="234" y="1480"/>
                </a:lnTo>
                <a:lnTo>
                  <a:pt x="235" y="1475"/>
                </a:lnTo>
                <a:lnTo>
                  <a:pt x="238" y="1471"/>
                </a:lnTo>
                <a:lnTo>
                  <a:pt x="240" y="1467"/>
                </a:lnTo>
                <a:lnTo>
                  <a:pt x="248" y="1459"/>
                </a:lnTo>
                <a:lnTo>
                  <a:pt x="260" y="1447"/>
                </a:lnTo>
                <a:lnTo>
                  <a:pt x="265" y="1440"/>
                </a:lnTo>
                <a:lnTo>
                  <a:pt x="270" y="1433"/>
                </a:lnTo>
                <a:lnTo>
                  <a:pt x="273" y="1427"/>
                </a:lnTo>
                <a:lnTo>
                  <a:pt x="276" y="1421"/>
                </a:lnTo>
                <a:lnTo>
                  <a:pt x="276" y="1410"/>
                </a:lnTo>
                <a:lnTo>
                  <a:pt x="277" y="1397"/>
                </a:lnTo>
                <a:lnTo>
                  <a:pt x="279" y="1385"/>
                </a:lnTo>
                <a:lnTo>
                  <a:pt x="283" y="1376"/>
                </a:lnTo>
                <a:lnTo>
                  <a:pt x="288" y="1365"/>
                </a:lnTo>
                <a:lnTo>
                  <a:pt x="292" y="1354"/>
                </a:lnTo>
                <a:lnTo>
                  <a:pt x="296" y="1341"/>
                </a:lnTo>
                <a:lnTo>
                  <a:pt x="298" y="1329"/>
                </a:lnTo>
                <a:lnTo>
                  <a:pt x="298" y="1323"/>
                </a:lnTo>
                <a:lnTo>
                  <a:pt x="301" y="1320"/>
                </a:lnTo>
                <a:lnTo>
                  <a:pt x="302" y="1317"/>
                </a:lnTo>
                <a:lnTo>
                  <a:pt x="305" y="1316"/>
                </a:lnTo>
                <a:lnTo>
                  <a:pt x="311" y="1314"/>
                </a:lnTo>
                <a:lnTo>
                  <a:pt x="316" y="1311"/>
                </a:lnTo>
                <a:lnTo>
                  <a:pt x="318" y="1309"/>
                </a:lnTo>
                <a:lnTo>
                  <a:pt x="321" y="1305"/>
                </a:lnTo>
                <a:lnTo>
                  <a:pt x="322" y="1301"/>
                </a:lnTo>
                <a:lnTo>
                  <a:pt x="324" y="1295"/>
                </a:lnTo>
                <a:lnTo>
                  <a:pt x="327" y="1284"/>
                </a:lnTo>
                <a:lnTo>
                  <a:pt x="329" y="1273"/>
                </a:lnTo>
                <a:lnTo>
                  <a:pt x="332" y="1259"/>
                </a:lnTo>
                <a:lnTo>
                  <a:pt x="335" y="1242"/>
                </a:lnTo>
                <a:lnTo>
                  <a:pt x="337" y="1235"/>
                </a:lnTo>
                <a:lnTo>
                  <a:pt x="342" y="1229"/>
                </a:lnTo>
                <a:lnTo>
                  <a:pt x="348" y="1225"/>
                </a:lnTo>
                <a:lnTo>
                  <a:pt x="354" y="1219"/>
                </a:lnTo>
                <a:lnTo>
                  <a:pt x="361" y="1211"/>
                </a:lnTo>
                <a:lnTo>
                  <a:pt x="371" y="1206"/>
                </a:lnTo>
                <a:lnTo>
                  <a:pt x="378" y="1200"/>
                </a:lnTo>
                <a:lnTo>
                  <a:pt x="385" y="1196"/>
                </a:lnTo>
                <a:lnTo>
                  <a:pt x="393" y="1192"/>
                </a:lnTo>
                <a:lnTo>
                  <a:pt x="397" y="1189"/>
                </a:lnTo>
                <a:lnTo>
                  <a:pt x="397" y="1184"/>
                </a:lnTo>
                <a:lnTo>
                  <a:pt x="397" y="1177"/>
                </a:lnTo>
                <a:lnTo>
                  <a:pt x="395" y="1166"/>
                </a:lnTo>
                <a:lnTo>
                  <a:pt x="392" y="1157"/>
                </a:lnTo>
                <a:lnTo>
                  <a:pt x="387" y="1146"/>
                </a:lnTo>
                <a:lnTo>
                  <a:pt x="381" y="1134"/>
                </a:lnTo>
                <a:lnTo>
                  <a:pt x="376" y="1121"/>
                </a:lnTo>
                <a:lnTo>
                  <a:pt x="368" y="1109"/>
                </a:lnTo>
                <a:lnTo>
                  <a:pt x="361" y="1099"/>
                </a:lnTo>
                <a:lnTo>
                  <a:pt x="353" y="1090"/>
                </a:lnTo>
                <a:lnTo>
                  <a:pt x="343" y="1083"/>
                </a:lnTo>
                <a:lnTo>
                  <a:pt x="334" y="1076"/>
                </a:lnTo>
                <a:lnTo>
                  <a:pt x="326" y="1069"/>
                </a:lnTo>
                <a:lnTo>
                  <a:pt x="321" y="1063"/>
                </a:lnTo>
                <a:lnTo>
                  <a:pt x="317" y="1055"/>
                </a:lnTo>
                <a:lnTo>
                  <a:pt x="313" y="1046"/>
                </a:lnTo>
                <a:lnTo>
                  <a:pt x="310" y="1040"/>
                </a:lnTo>
                <a:lnTo>
                  <a:pt x="307" y="1037"/>
                </a:lnTo>
                <a:lnTo>
                  <a:pt x="302" y="1034"/>
                </a:lnTo>
                <a:lnTo>
                  <a:pt x="298" y="1032"/>
                </a:lnTo>
                <a:lnTo>
                  <a:pt x="295" y="1031"/>
                </a:lnTo>
                <a:lnTo>
                  <a:pt x="291" y="1031"/>
                </a:lnTo>
                <a:lnTo>
                  <a:pt x="289" y="1031"/>
                </a:lnTo>
                <a:lnTo>
                  <a:pt x="286" y="1032"/>
                </a:lnTo>
                <a:lnTo>
                  <a:pt x="272" y="1047"/>
                </a:lnTo>
                <a:lnTo>
                  <a:pt x="257" y="1063"/>
                </a:lnTo>
                <a:lnTo>
                  <a:pt x="253" y="1065"/>
                </a:lnTo>
                <a:lnTo>
                  <a:pt x="248" y="1066"/>
                </a:lnTo>
                <a:lnTo>
                  <a:pt x="244" y="1068"/>
                </a:lnTo>
                <a:lnTo>
                  <a:pt x="238" y="1068"/>
                </a:lnTo>
                <a:lnTo>
                  <a:pt x="228" y="1066"/>
                </a:lnTo>
                <a:lnTo>
                  <a:pt x="219" y="1064"/>
                </a:lnTo>
                <a:lnTo>
                  <a:pt x="210" y="1061"/>
                </a:lnTo>
                <a:lnTo>
                  <a:pt x="202" y="1059"/>
                </a:lnTo>
                <a:lnTo>
                  <a:pt x="194" y="1061"/>
                </a:lnTo>
                <a:lnTo>
                  <a:pt x="185" y="1063"/>
                </a:lnTo>
                <a:lnTo>
                  <a:pt x="181" y="1065"/>
                </a:lnTo>
                <a:lnTo>
                  <a:pt x="177" y="1070"/>
                </a:lnTo>
                <a:lnTo>
                  <a:pt x="173" y="1075"/>
                </a:lnTo>
                <a:lnTo>
                  <a:pt x="170" y="1080"/>
                </a:lnTo>
                <a:lnTo>
                  <a:pt x="166" y="1087"/>
                </a:lnTo>
                <a:lnTo>
                  <a:pt x="164" y="1090"/>
                </a:lnTo>
                <a:lnTo>
                  <a:pt x="160" y="1094"/>
                </a:lnTo>
                <a:lnTo>
                  <a:pt x="158" y="1096"/>
                </a:lnTo>
                <a:lnTo>
                  <a:pt x="150" y="1099"/>
                </a:lnTo>
                <a:lnTo>
                  <a:pt x="137" y="1100"/>
                </a:lnTo>
                <a:lnTo>
                  <a:pt x="122" y="1101"/>
                </a:lnTo>
                <a:lnTo>
                  <a:pt x="108" y="1101"/>
                </a:lnTo>
                <a:lnTo>
                  <a:pt x="95" y="1099"/>
                </a:lnTo>
                <a:lnTo>
                  <a:pt x="85" y="1096"/>
                </a:lnTo>
                <a:lnTo>
                  <a:pt x="77" y="1091"/>
                </a:lnTo>
                <a:lnTo>
                  <a:pt x="66" y="1084"/>
                </a:lnTo>
                <a:lnTo>
                  <a:pt x="55" y="1077"/>
                </a:lnTo>
                <a:lnTo>
                  <a:pt x="44" y="1069"/>
                </a:lnTo>
                <a:lnTo>
                  <a:pt x="43" y="1065"/>
                </a:lnTo>
                <a:lnTo>
                  <a:pt x="43" y="1062"/>
                </a:lnTo>
                <a:lnTo>
                  <a:pt x="43" y="1058"/>
                </a:lnTo>
                <a:lnTo>
                  <a:pt x="44" y="1056"/>
                </a:lnTo>
                <a:lnTo>
                  <a:pt x="47" y="1045"/>
                </a:lnTo>
                <a:lnTo>
                  <a:pt x="49" y="1032"/>
                </a:lnTo>
                <a:lnTo>
                  <a:pt x="49" y="1026"/>
                </a:lnTo>
                <a:lnTo>
                  <a:pt x="47" y="1019"/>
                </a:lnTo>
                <a:lnTo>
                  <a:pt x="45" y="1012"/>
                </a:lnTo>
                <a:lnTo>
                  <a:pt x="43" y="1005"/>
                </a:lnTo>
                <a:lnTo>
                  <a:pt x="38" y="990"/>
                </a:lnTo>
                <a:lnTo>
                  <a:pt x="34" y="980"/>
                </a:lnTo>
                <a:lnTo>
                  <a:pt x="33" y="974"/>
                </a:lnTo>
                <a:lnTo>
                  <a:pt x="33" y="969"/>
                </a:lnTo>
                <a:lnTo>
                  <a:pt x="34" y="963"/>
                </a:lnTo>
                <a:lnTo>
                  <a:pt x="36" y="958"/>
                </a:lnTo>
                <a:lnTo>
                  <a:pt x="39" y="950"/>
                </a:lnTo>
                <a:lnTo>
                  <a:pt x="45" y="943"/>
                </a:lnTo>
                <a:lnTo>
                  <a:pt x="50" y="938"/>
                </a:lnTo>
                <a:lnTo>
                  <a:pt x="55" y="933"/>
                </a:lnTo>
                <a:lnTo>
                  <a:pt x="56" y="930"/>
                </a:lnTo>
                <a:lnTo>
                  <a:pt x="57" y="926"/>
                </a:lnTo>
                <a:lnTo>
                  <a:pt x="57" y="921"/>
                </a:lnTo>
                <a:lnTo>
                  <a:pt x="56" y="916"/>
                </a:lnTo>
                <a:lnTo>
                  <a:pt x="53" y="904"/>
                </a:lnTo>
                <a:lnTo>
                  <a:pt x="50" y="892"/>
                </a:lnTo>
                <a:lnTo>
                  <a:pt x="45" y="882"/>
                </a:lnTo>
                <a:lnTo>
                  <a:pt x="39" y="875"/>
                </a:lnTo>
                <a:lnTo>
                  <a:pt x="34" y="870"/>
                </a:lnTo>
                <a:lnTo>
                  <a:pt x="30" y="867"/>
                </a:lnTo>
                <a:lnTo>
                  <a:pt x="26" y="866"/>
                </a:lnTo>
                <a:lnTo>
                  <a:pt x="21" y="867"/>
                </a:lnTo>
                <a:lnTo>
                  <a:pt x="17" y="868"/>
                </a:lnTo>
                <a:lnTo>
                  <a:pt x="12" y="873"/>
                </a:lnTo>
                <a:lnTo>
                  <a:pt x="8" y="878"/>
                </a:lnTo>
                <a:lnTo>
                  <a:pt x="6" y="879"/>
                </a:lnTo>
                <a:lnTo>
                  <a:pt x="3" y="878"/>
                </a:lnTo>
                <a:lnTo>
                  <a:pt x="1" y="873"/>
                </a:lnTo>
                <a:lnTo>
                  <a:pt x="0" y="870"/>
                </a:lnTo>
                <a:lnTo>
                  <a:pt x="0" y="867"/>
                </a:lnTo>
                <a:lnTo>
                  <a:pt x="1" y="864"/>
                </a:lnTo>
                <a:lnTo>
                  <a:pt x="2" y="864"/>
                </a:lnTo>
                <a:lnTo>
                  <a:pt x="9" y="863"/>
                </a:lnTo>
                <a:lnTo>
                  <a:pt x="15" y="861"/>
                </a:lnTo>
                <a:lnTo>
                  <a:pt x="17" y="860"/>
                </a:lnTo>
                <a:lnTo>
                  <a:pt x="18" y="857"/>
                </a:lnTo>
                <a:lnTo>
                  <a:pt x="17" y="854"/>
                </a:lnTo>
                <a:lnTo>
                  <a:pt x="13" y="849"/>
                </a:lnTo>
                <a:lnTo>
                  <a:pt x="11" y="847"/>
                </a:lnTo>
                <a:lnTo>
                  <a:pt x="9" y="844"/>
                </a:lnTo>
                <a:lnTo>
                  <a:pt x="9" y="843"/>
                </a:lnTo>
                <a:lnTo>
                  <a:pt x="9" y="841"/>
                </a:lnTo>
                <a:lnTo>
                  <a:pt x="12" y="837"/>
                </a:lnTo>
                <a:lnTo>
                  <a:pt x="17" y="835"/>
                </a:lnTo>
                <a:lnTo>
                  <a:pt x="28" y="828"/>
                </a:lnTo>
                <a:lnTo>
                  <a:pt x="40" y="819"/>
                </a:lnTo>
                <a:lnTo>
                  <a:pt x="53" y="805"/>
                </a:lnTo>
                <a:lnTo>
                  <a:pt x="68" y="791"/>
                </a:lnTo>
                <a:lnTo>
                  <a:pt x="83" y="774"/>
                </a:lnTo>
                <a:lnTo>
                  <a:pt x="96" y="760"/>
                </a:lnTo>
                <a:lnTo>
                  <a:pt x="107" y="747"/>
                </a:lnTo>
                <a:lnTo>
                  <a:pt x="114" y="735"/>
                </a:lnTo>
                <a:lnTo>
                  <a:pt x="119" y="724"/>
                </a:lnTo>
                <a:lnTo>
                  <a:pt x="121" y="713"/>
                </a:lnTo>
                <a:lnTo>
                  <a:pt x="122" y="709"/>
                </a:lnTo>
                <a:lnTo>
                  <a:pt x="125" y="704"/>
                </a:lnTo>
                <a:lnTo>
                  <a:pt x="127" y="702"/>
                </a:lnTo>
                <a:lnTo>
                  <a:pt x="129" y="699"/>
                </a:lnTo>
                <a:lnTo>
                  <a:pt x="132" y="699"/>
                </a:lnTo>
                <a:lnTo>
                  <a:pt x="134" y="699"/>
                </a:lnTo>
                <a:lnTo>
                  <a:pt x="138" y="699"/>
                </a:lnTo>
                <a:lnTo>
                  <a:pt x="141" y="700"/>
                </a:lnTo>
                <a:lnTo>
                  <a:pt x="150" y="705"/>
                </a:lnTo>
                <a:lnTo>
                  <a:pt x="159" y="710"/>
                </a:lnTo>
                <a:lnTo>
                  <a:pt x="164" y="712"/>
                </a:lnTo>
                <a:lnTo>
                  <a:pt x="167" y="716"/>
                </a:lnTo>
                <a:lnTo>
                  <a:pt x="171" y="718"/>
                </a:lnTo>
                <a:lnTo>
                  <a:pt x="172" y="721"/>
                </a:lnTo>
                <a:lnTo>
                  <a:pt x="173" y="728"/>
                </a:lnTo>
                <a:lnTo>
                  <a:pt x="177" y="734"/>
                </a:lnTo>
                <a:lnTo>
                  <a:pt x="181" y="740"/>
                </a:lnTo>
                <a:lnTo>
                  <a:pt x="184" y="743"/>
                </a:lnTo>
                <a:lnTo>
                  <a:pt x="196" y="752"/>
                </a:lnTo>
                <a:lnTo>
                  <a:pt x="207" y="762"/>
                </a:lnTo>
                <a:lnTo>
                  <a:pt x="213" y="772"/>
                </a:lnTo>
                <a:lnTo>
                  <a:pt x="219" y="781"/>
                </a:lnTo>
                <a:lnTo>
                  <a:pt x="222" y="785"/>
                </a:lnTo>
                <a:lnTo>
                  <a:pt x="227" y="787"/>
                </a:lnTo>
                <a:lnTo>
                  <a:pt x="230" y="787"/>
                </a:lnTo>
                <a:lnTo>
                  <a:pt x="234" y="786"/>
                </a:lnTo>
                <a:lnTo>
                  <a:pt x="240" y="780"/>
                </a:lnTo>
                <a:lnTo>
                  <a:pt x="246" y="774"/>
                </a:lnTo>
                <a:lnTo>
                  <a:pt x="258" y="760"/>
                </a:lnTo>
                <a:lnTo>
                  <a:pt x="270" y="746"/>
                </a:lnTo>
                <a:lnTo>
                  <a:pt x="279" y="732"/>
                </a:lnTo>
                <a:lnTo>
                  <a:pt x="288" y="722"/>
                </a:lnTo>
                <a:lnTo>
                  <a:pt x="291" y="717"/>
                </a:lnTo>
                <a:lnTo>
                  <a:pt x="296" y="713"/>
                </a:lnTo>
                <a:lnTo>
                  <a:pt x="299" y="711"/>
                </a:lnTo>
                <a:lnTo>
                  <a:pt x="304" y="709"/>
                </a:lnTo>
                <a:lnTo>
                  <a:pt x="308" y="708"/>
                </a:lnTo>
                <a:lnTo>
                  <a:pt x="313" y="708"/>
                </a:lnTo>
                <a:lnTo>
                  <a:pt x="317" y="710"/>
                </a:lnTo>
                <a:lnTo>
                  <a:pt x="322" y="712"/>
                </a:lnTo>
                <a:lnTo>
                  <a:pt x="333" y="719"/>
                </a:lnTo>
                <a:lnTo>
                  <a:pt x="343" y="730"/>
                </a:lnTo>
                <a:lnTo>
                  <a:pt x="348" y="737"/>
                </a:lnTo>
                <a:lnTo>
                  <a:pt x="352" y="743"/>
                </a:lnTo>
                <a:lnTo>
                  <a:pt x="355" y="750"/>
                </a:lnTo>
                <a:lnTo>
                  <a:pt x="356" y="757"/>
                </a:lnTo>
                <a:lnTo>
                  <a:pt x="359" y="769"/>
                </a:lnTo>
                <a:lnTo>
                  <a:pt x="361" y="776"/>
                </a:lnTo>
                <a:lnTo>
                  <a:pt x="364" y="779"/>
                </a:lnTo>
                <a:lnTo>
                  <a:pt x="366" y="780"/>
                </a:lnTo>
                <a:lnTo>
                  <a:pt x="368" y="781"/>
                </a:lnTo>
                <a:lnTo>
                  <a:pt x="372" y="781"/>
                </a:lnTo>
                <a:lnTo>
                  <a:pt x="381" y="782"/>
                </a:lnTo>
                <a:lnTo>
                  <a:pt x="397" y="782"/>
                </a:lnTo>
                <a:lnTo>
                  <a:pt x="416" y="781"/>
                </a:lnTo>
                <a:lnTo>
                  <a:pt x="435" y="780"/>
                </a:lnTo>
                <a:lnTo>
                  <a:pt x="449" y="779"/>
                </a:lnTo>
                <a:lnTo>
                  <a:pt x="455" y="778"/>
                </a:lnTo>
                <a:lnTo>
                  <a:pt x="460" y="775"/>
                </a:lnTo>
                <a:lnTo>
                  <a:pt x="468" y="774"/>
                </a:lnTo>
                <a:lnTo>
                  <a:pt x="471" y="774"/>
                </a:lnTo>
                <a:lnTo>
                  <a:pt x="473" y="774"/>
                </a:lnTo>
                <a:lnTo>
                  <a:pt x="474" y="775"/>
                </a:lnTo>
                <a:lnTo>
                  <a:pt x="477" y="776"/>
                </a:lnTo>
                <a:lnTo>
                  <a:pt x="478" y="780"/>
                </a:lnTo>
                <a:lnTo>
                  <a:pt x="479" y="785"/>
                </a:lnTo>
                <a:lnTo>
                  <a:pt x="480" y="790"/>
                </a:lnTo>
                <a:lnTo>
                  <a:pt x="481" y="793"/>
                </a:lnTo>
                <a:lnTo>
                  <a:pt x="482" y="794"/>
                </a:lnTo>
                <a:lnTo>
                  <a:pt x="484" y="795"/>
                </a:lnTo>
                <a:lnTo>
                  <a:pt x="486" y="795"/>
                </a:lnTo>
                <a:lnTo>
                  <a:pt x="488" y="795"/>
                </a:lnTo>
                <a:lnTo>
                  <a:pt x="496" y="794"/>
                </a:lnTo>
                <a:lnTo>
                  <a:pt x="502" y="791"/>
                </a:lnTo>
                <a:lnTo>
                  <a:pt x="509" y="785"/>
                </a:lnTo>
                <a:lnTo>
                  <a:pt x="518" y="775"/>
                </a:lnTo>
                <a:lnTo>
                  <a:pt x="530" y="766"/>
                </a:lnTo>
                <a:lnTo>
                  <a:pt x="542" y="756"/>
                </a:lnTo>
                <a:lnTo>
                  <a:pt x="555" y="749"/>
                </a:lnTo>
                <a:lnTo>
                  <a:pt x="567" y="744"/>
                </a:lnTo>
                <a:lnTo>
                  <a:pt x="573" y="743"/>
                </a:lnTo>
                <a:lnTo>
                  <a:pt x="579" y="744"/>
                </a:lnTo>
                <a:lnTo>
                  <a:pt x="585" y="746"/>
                </a:lnTo>
                <a:lnTo>
                  <a:pt x="589" y="748"/>
                </a:lnTo>
                <a:lnTo>
                  <a:pt x="600" y="755"/>
                </a:lnTo>
                <a:lnTo>
                  <a:pt x="609" y="762"/>
                </a:lnTo>
                <a:lnTo>
                  <a:pt x="612" y="765"/>
                </a:lnTo>
                <a:lnTo>
                  <a:pt x="614" y="766"/>
                </a:lnTo>
                <a:lnTo>
                  <a:pt x="617" y="767"/>
                </a:lnTo>
                <a:lnTo>
                  <a:pt x="619" y="766"/>
                </a:lnTo>
                <a:lnTo>
                  <a:pt x="622" y="760"/>
                </a:lnTo>
                <a:lnTo>
                  <a:pt x="625" y="747"/>
                </a:lnTo>
                <a:lnTo>
                  <a:pt x="629" y="732"/>
                </a:lnTo>
                <a:lnTo>
                  <a:pt x="632" y="718"/>
                </a:lnTo>
                <a:lnTo>
                  <a:pt x="635" y="704"/>
                </a:lnTo>
                <a:lnTo>
                  <a:pt x="637" y="689"/>
                </a:lnTo>
                <a:lnTo>
                  <a:pt x="638" y="681"/>
                </a:lnTo>
                <a:lnTo>
                  <a:pt x="641" y="675"/>
                </a:lnTo>
                <a:lnTo>
                  <a:pt x="644" y="671"/>
                </a:lnTo>
                <a:lnTo>
                  <a:pt x="649" y="666"/>
                </a:lnTo>
                <a:lnTo>
                  <a:pt x="657" y="658"/>
                </a:lnTo>
                <a:lnTo>
                  <a:pt x="663" y="649"/>
                </a:lnTo>
                <a:lnTo>
                  <a:pt x="666" y="645"/>
                </a:lnTo>
                <a:lnTo>
                  <a:pt x="666" y="640"/>
                </a:lnTo>
                <a:lnTo>
                  <a:pt x="667" y="635"/>
                </a:lnTo>
                <a:lnTo>
                  <a:pt x="666" y="631"/>
                </a:lnTo>
                <a:lnTo>
                  <a:pt x="664" y="627"/>
                </a:lnTo>
                <a:lnTo>
                  <a:pt x="663" y="623"/>
                </a:lnTo>
                <a:lnTo>
                  <a:pt x="661" y="620"/>
                </a:lnTo>
                <a:lnTo>
                  <a:pt x="658" y="617"/>
                </a:lnTo>
                <a:lnTo>
                  <a:pt x="656" y="615"/>
                </a:lnTo>
                <a:lnTo>
                  <a:pt x="656" y="614"/>
                </a:lnTo>
                <a:lnTo>
                  <a:pt x="657" y="612"/>
                </a:lnTo>
                <a:lnTo>
                  <a:pt x="660" y="612"/>
                </a:lnTo>
                <a:lnTo>
                  <a:pt x="666" y="614"/>
                </a:lnTo>
                <a:lnTo>
                  <a:pt x="673" y="611"/>
                </a:lnTo>
                <a:lnTo>
                  <a:pt x="685" y="607"/>
                </a:lnTo>
                <a:lnTo>
                  <a:pt x="699" y="601"/>
                </a:lnTo>
                <a:lnTo>
                  <a:pt x="712" y="596"/>
                </a:lnTo>
                <a:lnTo>
                  <a:pt x="724" y="592"/>
                </a:lnTo>
                <a:lnTo>
                  <a:pt x="729" y="592"/>
                </a:lnTo>
                <a:lnTo>
                  <a:pt x="732" y="592"/>
                </a:lnTo>
                <a:lnTo>
                  <a:pt x="737" y="592"/>
                </a:lnTo>
                <a:lnTo>
                  <a:pt x="740" y="595"/>
                </a:lnTo>
                <a:lnTo>
                  <a:pt x="748" y="598"/>
                </a:lnTo>
                <a:lnTo>
                  <a:pt x="756" y="605"/>
                </a:lnTo>
                <a:lnTo>
                  <a:pt x="773" y="620"/>
                </a:lnTo>
                <a:lnTo>
                  <a:pt x="786" y="633"/>
                </a:lnTo>
                <a:lnTo>
                  <a:pt x="789" y="635"/>
                </a:lnTo>
                <a:lnTo>
                  <a:pt x="793" y="637"/>
                </a:lnTo>
                <a:lnTo>
                  <a:pt x="795" y="639"/>
                </a:lnTo>
                <a:lnTo>
                  <a:pt x="799" y="639"/>
                </a:lnTo>
                <a:lnTo>
                  <a:pt x="802" y="639"/>
                </a:lnTo>
                <a:lnTo>
                  <a:pt x="806" y="639"/>
                </a:lnTo>
                <a:lnTo>
                  <a:pt x="809" y="637"/>
                </a:lnTo>
                <a:lnTo>
                  <a:pt x="814" y="635"/>
                </a:lnTo>
                <a:lnTo>
                  <a:pt x="822" y="630"/>
                </a:lnTo>
                <a:lnTo>
                  <a:pt x="830" y="628"/>
                </a:lnTo>
                <a:lnTo>
                  <a:pt x="839" y="626"/>
                </a:lnTo>
                <a:lnTo>
                  <a:pt x="850" y="624"/>
                </a:lnTo>
                <a:lnTo>
                  <a:pt x="862" y="624"/>
                </a:lnTo>
                <a:lnTo>
                  <a:pt x="871" y="622"/>
                </a:lnTo>
                <a:lnTo>
                  <a:pt x="881" y="620"/>
                </a:lnTo>
                <a:lnTo>
                  <a:pt x="889" y="617"/>
                </a:lnTo>
                <a:lnTo>
                  <a:pt x="896" y="616"/>
                </a:lnTo>
                <a:lnTo>
                  <a:pt x="903" y="615"/>
                </a:lnTo>
                <a:lnTo>
                  <a:pt x="910" y="614"/>
                </a:lnTo>
                <a:lnTo>
                  <a:pt x="920" y="614"/>
                </a:lnTo>
                <a:lnTo>
                  <a:pt x="931" y="614"/>
                </a:lnTo>
                <a:lnTo>
                  <a:pt x="941" y="612"/>
                </a:lnTo>
                <a:lnTo>
                  <a:pt x="952" y="610"/>
                </a:lnTo>
                <a:lnTo>
                  <a:pt x="963" y="605"/>
                </a:lnTo>
                <a:lnTo>
                  <a:pt x="972" y="599"/>
                </a:lnTo>
                <a:lnTo>
                  <a:pt x="979" y="597"/>
                </a:lnTo>
                <a:lnTo>
                  <a:pt x="983" y="596"/>
                </a:lnTo>
                <a:lnTo>
                  <a:pt x="985" y="597"/>
                </a:lnTo>
                <a:lnTo>
                  <a:pt x="990" y="598"/>
                </a:lnTo>
                <a:lnTo>
                  <a:pt x="994" y="601"/>
                </a:lnTo>
                <a:lnTo>
                  <a:pt x="1002" y="605"/>
                </a:lnTo>
                <a:lnTo>
                  <a:pt x="1010" y="609"/>
                </a:lnTo>
                <a:lnTo>
                  <a:pt x="1015" y="610"/>
                </a:lnTo>
                <a:lnTo>
                  <a:pt x="1020" y="610"/>
                </a:lnTo>
                <a:lnTo>
                  <a:pt x="1025" y="610"/>
                </a:lnTo>
                <a:lnTo>
                  <a:pt x="1031" y="609"/>
                </a:lnTo>
                <a:lnTo>
                  <a:pt x="1039" y="605"/>
                </a:lnTo>
                <a:lnTo>
                  <a:pt x="1048" y="601"/>
                </a:lnTo>
                <a:lnTo>
                  <a:pt x="1052" y="598"/>
                </a:lnTo>
                <a:lnTo>
                  <a:pt x="1054" y="596"/>
                </a:lnTo>
                <a:lnTo>
                  <a:pt x="1057" y="593"/>
                </a:lnTo>
                <a:lnTo>
                  <a:pt x="1058" y="591"/>
                </a:lnTo>
                <a:lnTo>
                  <a:pt x="1058" y="586"/>
                </a:lnTo>
                <a:lnTo>
                  <a:pt x="1058" y="579"/>
                </a:lnTo>
                <a:lnTo>
                  <a:pt x="1058" y="563"/>
                </a:lnTo>
                <a:lnTo>
                  <a:pt x="1059" y="545"/>
                </a:lnTo>
                <a:lnTo>
                  <a:pt x="1058" y="530"/>
                </a:lnTo>
                <a:lnTo>
                  <a:pt x="1055" y="521"/>
                </a:lnTo>
                <a:lnTo>
                  <a:pt x="1053" y="516"/>
                </a:lnTo>
                <a:lnTo>
                  <a:pt x="1051" y="514"/>
                </a:lnTo>
                <a:lnTo>
                  <a:pt x="1048" y="511"/>
                </a:lnTo>
                <a:lnTo>
                  <a:pt x="1045" y="510"/>
                </a:lnTo>
                <a:lnTo>
                  <a:pt x="1041" y="509"/>
                </a:lnTo>
                <a:lnTo>
                  <a:pt x="1038" y="507"/>
                </a:lnTo>
                <a:lnTo>
                  <a:pt x="1035" y="505"/>
                </a:lnTo>
                <a:lnTo>
                  <a:pt x="1034" y="502"/>
                </a:lnTo>
                <a:lnTo>
                  <a:pt x="1033" y="498"/>
                </a:lnTo>
                <a:lnTo>
                  <a:pt x="1032" y="494"/>
                </a:lnTo>
                <a:lnTo>
                  <a:pt x="1033" y="489"/>
                </a:lnTo>
                <a:lnTo>
                  <a:pt x="1034" y="482"/>
                </a:lnTo>
                <a:lnTo>
                  <a:pt x="1035" y="476"/>
                </a:lnTo>
                <a:lnTo>
                  <a:pt x="1035" y="472"/>
                </a:lnTo>
                <a:lnTo>
                  <a:pt x="1034" y="470"/>
                </a:lnTo>
                <a:lnTo>
                  <a:pt x="1031" y="466"/>
                </a:lnTo>
                <a:lnTo>
                  <a:pt x="1023" y="459"/>
                </a:lnTo>
                <a:lnTo>
                  <a:pt x="1019" y="452"/>
                </a:lnTo>
                <a:lnTo>
                  <a:pt x="1015" y="447"/>
                </a:lnTo>
                <a:lnTo>
                  <a:pt x="1009" y="442"/>
                </a:lnTo>
                <a:lnTo>
                  <a:pt x="1006" y="440"/>
                </a:lnTo>
                <a:lnTo>
                  <a:pt x="1001" y="439"/>
                </a:lnTo>
                <a:lnTo>
                  <a:pt x="996" y="439"/>
                </a:lnTo>
                <a:lnTo>
                  <a:pt x="990" y="439"/>
                </a:lnTo>
                <a:lnTo>
                  <a:pt x="976" y="442"/>
                </a:lnTo>
                <a:lnTo>
                  <a:pt x="963" y="446"/>
                </a:lnTo>
                <a:lnTo>
                  <a:pt x="950" y="450"/>
                </a:lnTo>
                <a:lnTo>
                  <a:pt x="938" y="452"/>
                </a:lnTo>
                <a:lnTo>
                  <a:pt x="929" y="453"/>
                </a:lnTo>
                <a:lnTo>
                  <a:pt x="921" y="452"/>
                </a:lnTo>
                <a:lnTo>
                  <a:pt x="913" y="451"/>
                </a:lnTo>
                <a:lnTo>
                  <a:pt x="904" y="450"/>
                </a:lnTo>
                <a:lnTo>
                  <a:pt x="897" y="447"/>
                </a:lnTo>
                <a:lnTo>
                  <a:pt x="890" y="445"/>
                </a:lnTo>
                <a:lnTo>
                  <a:pt x="885" y="441"/>
                </a:lnTo>
                <a:lnTo>
                  <a:pt x="882" y="438"/>
                </a:lnTo>
                <a:lnTo>
                  <a:pt x="881" y="433"/>
                </a:lnTo>
                <a:lnTo>
                  <a:pt x="882" y="428"/>
                </a:lnTo>
                <a:lnTo>
                  <a:pt x="882" y="422"/>
                </a:lnTo>
                <a:lnTo>
                  <a:pt x="883" y="416"/>
                </a:lnTo>
                <a:lnTo>
                  <a:pt x="884" y="410"/>
                </a:lnTo>
                <a:lnTo>
                  <a:pt x="884" y="404"/>
                </a:lnTo>
                <a:lnTo>
                  <a:pt x="884" y="399"/>
                </a:lnTo>
                <a:lnTo>
                  <a:pt x="882" y="391"/>
                </a:lnTo>
                <a:lnTo>
                  <a:pt x="874" y="379"/>
                </a:lnTo>
                <a:lnTo>
                  <a:pt x="864" y="368"/>
                </a:lnTo>
                <a:lnTo>
                  <a:pt x="856" y="359"/>
                </a:lnTo>
                <a:lnTo>
                  <a:pt x="850" y="356"/>
                </a:lnTo>
                <a:lnTo>
                  <a:pt x="845" y="355"/>
                </a:lnTo>
                <a:lnTo>
                  <a:pt x="841" y="356"/>
                </a:lnTo>
                <a:lnTo>
                  <a:pt x="838" y="359"/>
                </a:lnTo>
                <a:lnTo>
                  <a:pt x="834" y="365"/>
                </a:lnTo>
                <a:lnTo>
                  <a:pt x="833" y="369"/>
                </a:lnTo>
                <a:lnTo>
                  <a:pt x="831" y="371"/>
                </a:lnTo>
                <a:lnTo>
                  <a:pt x="827" y="372"/>
                </a:lnTo>
                <a:lnTo>
                  <a:pt x="824" y="374"/>
                </a:lnTo>
                <a:lnTo>
                  <a:pt x="819" y="374"/>
                </a:lnTo>
                <a:lnTo>
                  <a:pt x="815" y="372"/>
                </a:lnTo>
                <a:lnTo>
                  <a:pt x="811" y="370"/>
                </a:lnTo>
                <a:lnTo>
                  <a:pt x="807" y="366"/>
                </a:lnTo>
                <a:lnTo>
                  <a:pt x="803" y="362"/>
                </a:lnTo>
                <a:lnTo>
                  <a:pt x="801" y="356"/>
                </a:lnTo>
                <a:lnTo>
                  <a:pt x="799" y="349"/>
                </a:lnTo>
                <a:lnTo>
                  <a:pt x="796" y="341"/>
                </a:lnTo>
                <a:lnTo>
                  <a:pt x="794" y="325"/>
                </a:lnTo>
                <a:lnTo>
                  <a:pt x="793" y="307"/>
                </a:lnTo>
                <a:lnTo>
                  <a:pt x="792" y="299"/>
                </a:lnTo>
                <a:lnTo>
                  <a:pt x="793" y="293"/>
                </a:lnTo>
                <a:lnTo>
                  <a:pt x="793" y="286"/>
                </a:lnTo>
                <a:lnTo>
                  <a:pt x="794" y="281"/>
                </a:lnTo>
                <a:lnTo>
                  <a:pt x="796" y="276"/>
                </a:lnTo>
                <a:lnTo>
                  <a:pt x="799" y="273"/>
                </a:lnTo>
                <a:lnTo>
                  <a:pt x="802" y="269"/>
                </a:lnTo>
                <a:lnTo>
                  <a:pt x="806" y="267"/>
                </a:lnTo>
                <a:lnTo>
                  <a:pt x="817" y="251"/>
                </a:lnTo>
                <a:lnTo>
                  <a:pt x="828" y="232"/>
                </a:lnTo>
                <a:lnTo>
                  <a:pt x="832" y="229"/>
                </a:lnTo>
                <a:lnTo>
                  <a:pt x="837" y="226"/>
                </a:lnTo>
                <a:lnTo>
                  <a:pt x="841" y="226"/>
                </a:lnTo>
                <a:lnTo>
                  <a:pt x="845" y="226"/>
                </a:lnTo>
                <a:lnTo>
                  <a:pt x="853" y="230"/>
                </a:lnTo>
                <a:lnTo>
                  <a:pt x="861" y="234"/>
                </a:lnTo>
                <a:lnTo>
                  <a:pt x="864" y="236"/>
                </a:lnTo>
                <a:lnTo>
                  <a:pt x="870" y="237"/>
                </a:lnTo>
                <a:lnTo>
                  <a:pt x="876" y="238"/>
                </a:lnTo>
                <a:lnTo>
                  <a:pt x="883" y="238"/>
                </a:lnTo>
                <a:lnTo>
                  <a:pt x="889" y="236"/>
                </a:lnTo>
                <a:lnTo>
                  <a:pt x="895" y="232"/>
                </a:lnTo>
                <a:lnTo>
                  <a:pt x="897" y="230"/>
                </a:lnTo>
                <a:lnTo>
                  <a:pt x="900" y="227"/>
                </a:lnTo>
                <a:lnTo>
                  <a:pt x="901" y="224"/>
                </a:lnTo>
                <a:lnTo>
                  <a:pt x="902" y="220"/>
                </a:lnTo>
                <a:lnTo>
                  <a:pt x="904" y="212"/>
                </a:lnTo>
                <a:lnTo>
                  <a:pt x="907" y="204"/>
                </a:lnTo>
                <a:lnTo>
                  <a:pt x="910" y="196"/>
                </a:lnTo>
                <a:lnTo>
                  <a:pt x="913" y="189"/>
                </a:lnTo>
                <a:lnTo>
                  <a:pt x="918" y="183"/>
                </a:lnTo>
                <a:lnTo>
                  <a:pt x="921" y="177"/>
                </a:lnTo>
                <a:lnTo>
                  <a:pt x="925" y="173"/>
                </a:lnTo>
                <a:lnTo>
                  <a:pt x="929" y="170"/>
                </a:lnTo>
                <a:lnTo>
                  <a:pt x="933" y="168"/>
                </a:lnTo>
                <a:lnTo>
                  <a:pt x="938" y="168"/>
                </a:lnTo>
                <a:lnTo>
                  <a:pt x="943" y="168"/>
                </a:lnTo>
                <a:lnTo>
                  <a:pt x="946" y="170"/>
                </a:lnTo>
                <a:lnTo>
                  <a:pt x="951" y="174"/>
                </a:lnTo>
                <a:lnTo>
                  <a:pt x="956" y="177"/>
                </a:lnTo>
                <a:lnTo>
                  <a:pt x="959" y="182"/>
                </a:lnTo>
                <a:lnTo>
                  <a:pt x="962" y="188"/>
                </a:lnTo>
                <a:lnTo>
                  <a:pt x="969" y="200"/>
                </a:lnTo>
                <a:lnTo>
                  <a:pt x="976" y="211"/>
                </a:lnTo>
                <a:lnTo>
                  <a:pt x="979" y="215"/>
                </a:lnTo>
                <a:lnTo>
                  <a:pt x="983" y="219"/>
                </a:lnTo>
                <a:lnTo>
                  <a:pt x="988" y="223"/>
                </a:lnTo>
                <a:lnTo>
                  <a:pt x="992" y="225"/>
                </a:lnTo>
                <a:lnTo>
                  <a:pt x="1001" y="230"/>
                </a:lnTo>
                <a:lnTo>
                  <a:pt x="1007" y="236"/>
                </a:lnTo>
                <a:lnTo>
                  <a:pt x="1013" y="243"/>
                </a:lnTo>
                <a:lnTo>
                  <a:pt x="1017" y="250"/>
                </a:lnTo>
                <a:lnTo>
                  <a:pt x="1023" y="257"/>
                </a:lnTo>
                <a:lnTo>
                  <a:pt x="1031" y="262"/>
                </a:lnTo>
                <a:lnTo>
                  <a:pt x="1039" y="268"/>
                </a:lnTo>
                <a:lnTo>
                  <a:pt x="1048" y="273"/>
                </a:lnTo>
                <a:lnTo>
                  <a:pt x="1058" y="278"/>
                </a:lnTo>
                <a:lnTo>
                  <a:pt x="1063" y="284"/>
                </a:lnTo>
                <a:lnTo>
                  <a:pt x="1067" y="292"/>
                </a:lnTo>
                <a:lnTo>
                  <a:pt x="1071" y="297"/>
                </a:lnTo>
                <a:lnTo>
                  <a:pt x="1073" y="300"/>
                </a:lnTo>
                <a:lnTo>
                  <a:pt x="1077" y="302"/>
                </a:lnTo>
                <a:lnTo>
                  <a:pt x="1080" y="302"/>
                </a:lnTo>
                <a:lnTo>
                  <a:pt x="1084" y="302"/>
                </a:lnTo>
                <a:lnTo>
                  <a:pt x="1086" y="301"/>
                </a:lnTo>
                <a:lnTo>
                  <a:pt x="1089" y="299"/>
                </a:lnTo>
                <a:lnTo>
                  <a:pt x="1090" y="295"/>
                </a:lnTo>
                <a:lnTo>
                  <a:pt x="1091" y="290"/>
                </a:lnTo>
                <a:lnTo>
                  <a:pt x="1090" y="280"/>
                </a:lnTo>
                <a:lnTo>
                  <a:pt x="1088" y="269"/>
                </a:lnTo>
                <a:lnTo>
                  <a:pt x="1086" y="262"/>
                </a:lnTo>
                <a:lnTo>
                  <a:pt x="1085" y="256"/>
                </a:lnTo>
                <a:lnTo>
                  <a:pt x="1084" y="252"/>
                </a:lnTo>
                <a:lnTo>
                  <a:pt x="1084" y="251"/>
                </a:lnTo>
                <a:lnTo>
                  <a:pt x="1085" y="252"/>
                </a:lnTo>
                <a:lnTo>
                  <a:pt x="1091" y="253"/>
                </a:lnTo>
                <a:lnTo>
                  <a:pt x="1096" y="256"/>
                </a:lnTo>
                <a:lnTo>
                  <a:pt x="1102" y="259"/>
                </a:lnTo>
                <a:lnTo>
                  <a:pt x="1114" y="267"/>
                </a:lnTo>
                <a:lnTo>
                  <a:pt x="1124" y="274"/>
                </a:lnTo>
                <a:lnTo>
                  <a:pt x="1126" y="274"/>
                </a:lnTo>
                <a:lnTo>
                  <a:pt x="1128" y="274"/>
                </a:lnTo>
                <a:lnTo>
                  <a:pt x="1129" y="273"/>
                </a:lnTo>
                <a:lnTo>
                  <a:pt x="1130" y="270"/>
                </a:lnTo>
                <a:lnTo>
                  <a:pt x="1132" y="264"/>
                </a:lnTo>
                <a:lnTo>
                  <a:pt x="1132" y="255"/>
                </a:lnTo>
                <a:lnTo>
                  <a:pt x="1132" y="245"/>
                </a:lnTo>
                <a:lnTo>
                  <a:pt x="1133" y="237"/>
                </a:lnTo>
                <a:lnTo>
                  <a:pt x="1135" y="230"/>
                </a:lnTo>
                <a:lnTo>
                  <a:pt x="1139" y="224"/>
                </a:lnTo>
                <a:lnTo>
                  <a:pt x="1141" y="220"/>
                </a:lnTo>
                <a:lnTo>
                  <a:pt x="1142" y="217"/>
                </a:lnTo>
                <a:lnTo>
                  <a:pt x="1143" y="212"/>
                </a:lnTo>
                <a:lnTo>
                  <a:pt x="1143" y="207"/>
                </a:lnTo>
                <a:lnTo>
                  <a:pt x="1142" y="202"/>
                </a:lnTo>
                <a:lnTo>
                  <a:pt x="1141" y="196"/>
                </a:lnTo>
                <a:lnTo>
                  <a:pt x="1139" y="192"/>
                </a:lnTo>
                <a:lnTo>
                  <a:pt x="1136" y="186"/>
                </a:lnTo>
                <a:lnTo>
                  <a:pt x="1129" y="174"/>
                </a:lnTo>
                <a:lnTo>
                  <a:pt x="1122" y="163"/>
                </a:lnTo>
                <a:lnTo>
                  <a:pt x="1116" y="154"/>
                </a:lnTo>
                <a:lnTo>
                  <a:pt x="1113" y="144"/>
                </a:lnTo>
                <a:lnTo>
                  <a:pt x="1113" y="141"/>
                </a:lnTo>
                <a:lnTo>
                  <a:pt x="1114" y="138"/>
                </a:lnTo>
                <a:lnTo>
                  <a:pt x="1115" y="136"/>
                </a:lnTo>
                <a:lnTo>
                  <a:pt x="1117" y="133"/>
                </a:lnTo>
                <a:lnTo>
                  <a:pt x="1120" y="133"/>
                </a:lnTo>
                <a:lnTo>
                  <a:pt x="1123" y="135"/>
                </a:lnTo>
                <a:lnTo>
                  <a:pt x="1128" y="137"/>
                </a:lnTo>
                <a:lnTo>
                  <a:pt x="1133" y="141"/>
                </a:lnTo>
                <a:lnTo>
                  <a:pt x="1141" y="149"/>
                </a:lnTo>
                <a:lnTo>
                  <a:pt x="1147" y="157"/>
                </a:lnTo>
                <a:lnTo>
                  <a:pt x="1149" y="162"/>
                </a:lnTo>
                <a:lnTo>
                  <a:pt x="1151" y="167"/>
                </a:lnTo>
                <a:lnTo>
                  <a:pt x="1152" y="171"/>
                </a:lnTo>
                <a:lnTo>
                  <a:pt x="1153" y="176"/>
                </a:lnTo>
                <a:lnTo>
                  <a:pt x="1153" y="186"/>
                </a:lnTo>
                <a:lnTo>
                  <a:pt x="1154" y="192"/>
                </a:lnTo>
                <a:lnTo>
                  <a:pt x="1155" y="194"/>
                </a:lnTo>
                <a:lnTo>
                  <a:pt x="1158" y="196"/>
                </a:lnTo>
                <a:lnTo>
                  <a:pt x="1160" y="198"/>
                </a:lnTo>
                <a:lnTo>
                  <a:pt x="1164" y="199"/>
                </a:lnTo>
                <a:lnTo>
                  <a:pt x="1173" y="202"/>
                </a:lnTo>
                <a:lnTo>
                  <a:pt x="1183" y="207"/>
                </a:lnTo>
                <a:lnTo>
                  <a:pt x="1186" y="211"/>
                </a:lnTo>
                <a:lnTo>
                  <a:pt x="1189" y="215"/>
                </a:lnTo>
                <a:lnTo>
                  <a:pt x="1190" y="223"/>
                </a:lnTo>
                <a:lnTo>
                  <a:pt x="1187" y="230"/>
                </a:lnTo>
                <a:lnTo>
                  <a:pt x="1181" y="246"/>
                </a:lnTo>
                <a:lnTo>
                  <a:pt x="1176" y="261"/>
                </a:lnTo>
                <a:lnTo>
                  <a:pt x="1171" y="271"/>
                </a:lnTo>
                <a:lnTo>
                  <a:pt x="1170" y="280"/>
                </a:lnTo>
                <a:lnTo>
                  <a:pt x="1170" y="283"/>
                </a:lnTo>
                <a:lnTo>
                  <a:pt x="1170" y="286"/>
                </a:lnTo>
                <a:lnTo>
                  <a:pt x="1171" y="288"/>
                </a:lnTo>
                <a:lnTo>
                  <a:pt x="1172" y="289"/>
                </a:lnTo>
                <a:lnTo>
                  <a:pt x="1177" y="290"/>
                </a:lnTo>
                <a:lnTo>
                  <a:pt x="1183" y="292"/>
                </a:lnTo>
                <a:lnTo>
                  <a:pt x="1190" y="293"/>
                </a:lnTo>
                <a:lnTo>
                  <a:pt x="1196" y="294"/>
                </a:lnTo>
                <a:lnTo>
                  <a:pt x="1202" y="296"/>
                </a:lnTo>
                <a:lnTo>
                  <a:pt x="1208" y="301"/>
                </a:lnTo>
                <a:lnTo>
                  <a:pt x="1210" y="303"/>
                </a:lnTo>
                <a:lnTo>
                  <a:pt x="1211" y="305"/>
                </a:lnTo>
                <a:lnTo>
                  <a:pt x="1214" y="305"/>
                </a:lnTo>
                <a:lnTo>
                  <a:pt x="1216" y="303"/>
                </a:lnTo>
                <a:lnTo>
                  <a:pt x="1222" y="299"/>
                </a:lnTo>
                <a:lnTo>
                  <a:pt x="1228" y="293"/>
                </a:lnTo>
                <a:lnTo>
                  <a:pt x="1234" y="284"/>
                </a:lnTo>
                <a:lnTo>
                  <a:pt x="1237" y="276"/>
                </a:lnTo>
                <a:lnTo>
                  <a:pt x="1239" y="271"/>
                </a:lnTo>
                <a:lnTo>
                  <a:pt x="1239" y="267"/>
                </a:lnTo>
                <a:lnTo>
                  <a:pt x="1239" y="263"/>
                </a:lnTo>
                <a:lnTo>
                  <a:pt x="1237" y="258"/>
                </a:lnTo>
                <a:lnTo>
                  <a:pt x="1235" y="253"/>
                </a:lnTo>
                <a:lnTo>
                  <a:pt x="1234" y="248"/>
                </a:lnTo>
                <a:lnTo>
                  <a:pt x="1233" y="242"/>
                </a:lnTo>
                <a:lnTo>
                  <a:pt x="1233" y="236"/>
                </a:lnTo>
                <a:lnTo>
                  <a:pt x="1234" y="230"/>
                </a:lnTo>
                <a:lnTo>
                  <a:pt x="1236" y="223"/>
                </a:lnTo>
                <a:lnTo>
                  <a:pt x="1239" y="217"/>
                </a:lnTo>
                <a:lnTo>
                  <a:pt x="1242" y="210"/>
                </a:lnTo>
                <a:lnTo>
                  <a:pt x="1253" y="195"/>
                </a:lnTo>
                <a:lnTo>
                  <a:pt x="1262" y="182"/>
                </a:lnTo>
                <a:lnTo>
                  <a:pt x="1271" y="171"/>
                </a:lnTo>
                <a:lnTo>
                  <a:pt x="1278" y="167"/>
                </a:lnTo>
                <a:lnTo>
                  <a:pt x="1283" y="164"/>
                </a:lnTo>
                <a:lnTo>
                  <a:pt x="1287" y="163"/>
                </a:lnTo>
                <a:lnTo>
                  <a:pt x="1290" y="163"/>
                </a:lnTo>
                <a:lnTo>
                  <a:pt x="1292" y="166"/>
                </a:lnTo>
                <a:lnTo>
                  <a:pt x="1296" y="167"/>
                </a:lnTo>
                <a:lnTo>
                  <a:pt x="1298" y="170"/>
                </a:lnTo>
                <a:lnTo>
                  <a:pt x="1302" y="174"/>
                </a:lnTo>
                <a:lnTo>
                  <a:pt x="1304" y="176"/>
                </a:lnTo>
                <a:lnTo>
                  <a:pt x="1307" y="179"/>
                </a:lnTo>
                <a:lnTo>
                  <a:pt x="1310" y="179"/>
                </a:lnTo>
                <a:lnTo>
                  <a:pt x="1312" y="177"/>
                </a:lnTo>
                <a:lnTo>
                  <a:pt x="1315" y="175"/>
                </a:lnTo>
                <a:lnTo>
                  <a:pt x="1315" y="170"/>
                </a:lnTo>
                <a:lnTo>
                  <a:pt x="1315" y="163"/>
                </a:lnTo>
                <a:lnTo>
                  <a:pt x="1313" y="151"/>
                </a:lnTo>
                <a:lnTo>
                  <a:pt x="1315" y="143"/>
                </a:lnTo>
                <a:lnTo>
                  <a:pt x="1316" y="141"/>
                </a:lnTo>
                <a:lnTo>
                  <a:pt x="1318" y="137"/>
                </a:lnTo>
                <a:lnTo>
                  <a:pt x="1322" y="136"/>
                </a:lnTo>
                <a:lnTo>
                  <a:pt x="1325" y="135"/>
                </a:lnTo>
                <a:lnTo>
                  <a:pt x="1331" y="133"/>
                </a:lnTo>
                <a:lnTo>
                  <a:pt x="1338" y="135"/>
                </a:lnTo>
                <a:lnTo>
                  <a:pt x="1354" y="136"/>
                </a:lnTo>
                <a:lnTo>
                  <a:pt x="1369" y="139"/>
                </a:lnTo>
                <a:lnTo>
                  <a:pt x="1382" y="143"/>
                </a:lnTo>
                <a:lnTo>
                  <a:pt x="1392" y="148"/>
                </a:lnTo>
                <a:lnTo>
                  <a:pt x="1399" y="152"/>
                </a:lnTo>
                <a:lnTo>
                  <a:pt x="1403" y="158"/>
                </a:lnTo>
                <a:lnTo>
                  <a:pt x="1405" y="163"/>
                </a:lnTo>
                <a:lnTo>
                  <a:pt x="1407" y="170"/>
                </a:lnTo>
                <a:lnTo>
                  <a:pt x="1409" y="173"/>
                </a:lnTo>
                <a:lnTo>
                  <a:pt x="1411" y="176"/>
                </a:lnTo>
                <a:lnTo>
                  <a:pt x="1413" y="177"/>
                </a:lnTo>
                <a:lnTo>
                  <a:pt x="1416" y="179"/>
                </a:lnTo>
                <a:lnTo>
                  <a:pt x="1417" y="180"/>
                </a:lnTo>
                <a:lnTo>
                  <a:pt x="1418" y="180"/>
                </a:lnTo>
                <a:lnTo>
                  <a:pt x="1419" y="179"/>
                </a:lnTo>
                <a:lnTo>
                  <a:pt x="1422" y="179"/>
                </a:lnTo>
                <a:lnTo>
                  <a:pt x="1423" y="179"/>
                </a:lnTo>
                <a:lnTo>
                  <a:pt x="1425" y="177"/>
                </a:lnTo>
                <a:lnTo>
                  <a:pt x="1426" y="177"/>
                </a:lnTo>
                <a:lnTo>
                  <a:pt x="1428" y="176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6892925" y="5876925"/>
            <a:ext cx="88900" cy="74295"/>
            <a:chOff x="5507484" y="5627366"/>
            <a:chExt cx="78932" cy="65777"/>
          </a:xfrm>
          <a:solidFill>
            <a:srgbClr val="7AB9E0"/>
          </a:solidFill>
        </p:grpSpPr>
        <p:sp>
          <p:nvSpPr>
            <p:cNvPr id="42" name="Freeform 75"/>
            <p:cNvSpPr>
              <a:spLocks noEditPoints="1"/>
            </p:cNvSpPr>
            <p:nvPr/>
          </p:nvSpPr>
          <p:spPr bwMode="auto">
            <a:xfrm>
              <a:off x="5507484" y="5627366"/>
              <a:ext cx="78932" cy="65777"/>
            </a:xfrm>
            <a:custGeom>
              <a:avLst/>
              <a:gdLst>
                <a:gd name="T0" fmla="*/ 154 w 213"/>
                <a:gd name="T1" fmla="*/ 3 h 153"/>
                <a:gd name="T2" fmla="*/ 166 w 213"/>
                <a:gd name="T3" fmla="*/ 5 h 153"/>
                <a:gd name="T4" fmla="*/ 175 w 213"/>
                <a:gd name="T5" fmla="*/ 13 h 153"/>
                <a:gd name="T6" fmla="*/ 182 w 213"/>
                <a:gd name="T7" fmla="*/ 17 h 153"/>
                <a:gd name="T8" fmla="*/ 162 w 213"/>
                <a:gd name="T9" fmla="*/ 26 h 153"/>
                <a:gd name="T10" fmla="*/ 132 w 213"/>
                <a:gd name="T11" fmla="*/ 33 h 153"/>
                <a:gd name="T12" fmla="*/ 135 w 213"/>
                <a:gd name="T13" fmla="*/ 43 h 153"/>
                <a:gd name="T14" fmla="*/ 141 w 213"/>
                <a:gd name="T15" fmla="*/ 55 h 153"/>
                <a:gd name="T16" fmla="*/ 151 w 213"/>
                <a:gd name="T17" fmla="*/ 46 h 153"/>
                <a:gd name="T18" fmla="*/ 169 w 213"/>
                <a:gd name="T19" fmla="*/ 40 h 153"/>
                <a:gd name="T20" fmla="*/ 180 w 213"/>
                <a:gd name="T21" fmla="*/ 29 h 153"/>
                <a:gd name="T22" fmla="*/ 189 w 213"/>
                <a:gd name="T23" fmla="*/ 28 h 153"/>
                <a:gd name="T24" fmla="*/ 195 w 213"/>
                <a:gd name="T25" fmla="*/ 38 h 153"/>
                <a:gd name="T26" fmla="*/ 200 w 213"/>
                <a:gd name="T27" fmla="*/ 41 h 153"/>
                <a:gd name="T28" fmla="*/ 209 w 213"/>
                <a:gd name="T29" fmla="*/ 34 h 153"/>
                <a:gd name="T30" fmla="*/ 212 w 213"/>
                <a:gd name="T31" fmla="*/ 46 h 153"/>
                <a:gd name="T32" fmla="*/ 204 w 213"/>
                <a:gd name="T33" fmla="*/ 63 h 153"/>
                <a:gd name="T34" fmla="*/ 188 w 213"/>
                <a:gd name="T35" fmla="*/ 60 h 153"/>
                <a:gd name="T36" fmla="*/ 168 w 213"/>
                <a:gd name="T37" fmla="*/ 60 h 153"/>
                <a:gd name="T38" fmla="*/ 167 w 213"/>
                <a:gd name="T39" fmla="*/ 78 h 153"/>
                <a:gd name="T40" fmla="*/ 177 w 213"/>
                <a:gd name="T41" fmla="*/ 89 h 153"/>
                <a:gd name="T42" fmla="*/ 183 w 213"/>
                <a:gd name="T43" fmla="*/ 117 h 153"/>
                <a:gd name="T44" fmla="*/ 179 w 213"/>
                <a:gd name="T45" fmla="*/ 118 h 153"/>
                <a:gd name="T46" fmla="*/ 170 w 213"/>
                <a:gd name="T47" fmla="*/ 102 h 153"/>
                <a:gd name="T48" fmla="*/ 158 w 213"/>
                <a:gd name="T49" fmla="*/ 105 h 153"/>
                <a:gd name="T50" fmla="*/ 162 w 213"/>
                <a:gd name="T51" fmla="*/ 133 h 153"/>
                <a:gd name="T52" fmla="*/ 149 w 213"/>
                <a:gd name="T53" fmla="*/ 146 h 153"/>
                <a:gd name="T54" fmla="*/ 126 w 213"/>
                <a:gd name="T55" fmla="*/ 141 h 153"/>
                <a:gd name="T56" fmla="*/ 120 w 213"/>
                <a:gd name="T57" fmla="*/ 146 h 153"/>
                <a:gd name="T58" fmla="*/ 113 w 213"/>
                <a:gd name="T59" fmla="*/ 152 h 153"/>
                <a:gd name="T60" fmla="*/ 108 w 213"/>
                <a:gd name="T61" fmla="*/ 146 h 153"/>
                <a:gd name="T62" fmla="*/ 112 w 213"/>
                <a:gd name="T63" fmla="*/ 121 h 153"/>
                <a:gd name="T64" fmla="*/ 111 w 213"/>
                <a:gd name="T65" fmla="*/ 108 h 153"/>
                <a:gd name="T66" fmla="*/ 123 w 213"/>
                <a:gd name="T67" fmla="*/ 108 h 153"/>
                <a:gd name="T68" fmla="*/ 133 w 213"/>
                <a:gd name="T69" fmla="*/ 105 h 153"/>
                <a:gd name="T70" fmla="*/ 131 w 213"/>
                <a:gd name="T71" fmla="*/ 99 h 153"/>
                <a:gd name="T72" fmla="*/ 122 w 213"/>
                <a:gd name="T73" fmla="*/ 95 h 153"/>
                <a:gd name="T74" fmla="*/ 112 w 213"/>
                <a:gd name="T75" fmla="*/ 73 h 153"/>
                <a:gd name="T76" fmla="*/ 91 w 213"/>
                <a:gd name="T77" fmla="*/ 70 h 153"/>
                <a:gd name="T78" fmla="*/ 48 w 213"/>
                <a:gd name="T79" fmla="*/ 76 h 153"/>
                <a:gd name="T80" fmla="*/ 19 w 213"/>
                <a:gd name="T81" fmla="*/ 73 h 153"/>
                <a:gd name="T82" fmla="*/ 20 w 213"/>
                <a:gd name="T83" fmla="*/ 60 h 153"/>
                <a:gd name="T84" fmla="*/ 56 w 213"/>
                <a:gd name="T85" fmla="*/ 34 h 153"/>
                <a:gd name="T86" fmla="*/ 75 w 213"/>
                <a:gd name="T87" fmla="*/ 27 h 153"/>
                <a:gd name="T88" fmla="*/ 81 w 213"/>
                <a:gd name="T89" fmla="*/ 14 h 153"/>
                <a:gd name="T90" fmla="*/ 116 w 213"/>
                <a:gd name="T91" fmla="*/ 3 h 153"/>
                <a:gd name="T92" fmla="*/ 3 w 213"/>
                <a:gd name="T93" fmla="*/ 128 h 153"/>
                <a:gd name="T94" fmla="*/ 26 w 213"/>
                <a:gd name="T95" fmla="*/ 112 h 153"/>
                <a:gd name="T96" fmla="*/ 54 w 213"/>
                <a:gd name="T97" fmla="*/ 99 h 153"/>
                <a:gd name="T98" fmla="*/ 74 w 213"/>
                <a:gd name="T99" fmla="*/ 83 h 153"/>
                <a:gd name="T100" fmla="*/ 79 w 213"/>
                <a:gd name="T101" fmla="*/ 86 h 153"/>
                <a:gd name="T102" fmla="*/ 72 w 213"/>
                <a:gd name="T103" fmla="*/ 102 h 153"/>
                <a:gd name="T104" fmla="*/ 70 w 213"/>
                <a:gd name="T105" fmla="*/ 117 h 153"/>
                <a:gd name="T106" fmla="*/ 63 w 213"/>
                <a:gd name="T107" fmla="*/ 123 h 153"/>
                <a:gd name="T108" fmla="*/ 66 w 213"/>
                <a:gd name="T109" fmla="*/ 137 h 153"/>
                <a:gd name="T110" fmla="*/ 57 w 213"/>
                <a:gd name="T111" fmla="*/ 142 h 153"/>
                <a:gd name="T112" fmla="*/ 45 w 213"/>
                <a:gd name="T113" fmla="*/ 134 h 153"/>
                <a:gd name="T114" fmla="*/ 35 w 213"/>
                <a:gd name="T115" fmla="*/ 139 h 153"/>
                <a:gd name="T116" fmla="*/ 10 w 213"/>
                <a:gd name="T117" fmla="*/ 149 h 153"/>
                <a:gd name="T118" fmla="*/ 0 w 213"/>
                <a:gd name="T119" fmla="*/ 14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3" h="153">
                  <a:moveTo>
                    <a:pt x="149" y="0"/>
                  </a:moveTo>
                  <a:lnTo>
                    <a:pt x="150" y="2"/>
                  </a:lnTo>
                  <a:lnTo>
                    <a:pt x="151" y="3"/>
                  </a:lnTo>
                  <a:lnTo>
                    <a:pt x="154" y="3"/>
                  </a:lnTo>
                  <a:lnTo>
                    <a:pt x="155" y="3"/>
                  </a:lnTo>
                  <a:lnTo>
                    <a:pt x="160" y="3"/>
                  </a:lnTo>
                  <a:lnTo>
                    <a:pt x="163" y="4"/>
                  </a:lnTo>
                  <a:lnTo>
                    <a:pt x="166" y="5"/>
                  </a:lnTo>
                  <a:lnTo>
                    <a:pt x="167" y="9"/>
                  </a:lnTo>
                  <a:lnTo>
                    <a:pt x="168" y="10"/>
                  </a:lnTo>
                  <a:lnTo>
                    <a:pt x="171" y="13"/>
                  </a:lnTo>
                  <a:lnTo>
                    <a:pt x="175" y="13"/>
                  </a:lnTo>
                  <a:lnTo>
                    <a:pt x="179" y="13"/>
                  </a:lnTo>
                  <a:lnTo>
                    <a:pt x="182" y="14"/>
                  </a:lnTo>
                  <a:lnTo>
                    <a:pt x="183" y="15"/>
                  </a:lnTo>
                  <a:lnTo>
                    <a:pt x="182" y="17"/>
                  </a:lnTo>
                  <a:lnTo>
                    <a:pt x="177" y="20"/>
                  </a:lnTo>
                  <a:lnTo>
                    <a:pt x="173" y="22"/>
                  </a:lnTo>
                  <a:lnTo>
                    <a:pt x="168" y="24"/>
                  </a:lnTo>
                  <a:lnTo>
                    <a:pt x="162" y="26"/>
                  </a:lnTo>
                  <a:lnTo>
                    <a:pt x="152" y="27"/>
                  </a:lnTo>
                  <a:lnTo>
                    <a:pt x="142" y="28"/>
                  </a:lnTo>
                  <a:lnTo>
                    <a:pt x="135" y="32"/>
                  </a:lnTo>
                  <a:lnTo>
                    <a:pt x="132" y="33"/>
                  </a:lnTo>
                  <a:lnTo>
                    <a:pt x="130" y="34"/>
                  </a:lnTo>
                  <a:lnTo>
                    <a:pt x="130" y="36"/>
                  </a:lnTo>
                  <a:lnTo>
                    <a:pt x="131" y="38"/>
                  </a:lnTo>
                  <a:lnTo>
                    <a:pt x="135" y="43"/>
                  </a:lnTo>
                  <a:lnTo>
                    <a:pt x="137" y="52"/>
                  </a:lnTo>
                  <a:lnTo>
                    <a:pt x="138" y="54"/>
                  </a:lnTo>
                  <a:lnTo>
                    <a:pt x="139" y="55"/>
                  </a:lnTo>
                  <a:lnTo>
                    <a:pt x="141" y="55"/>
                  </a:lnTo>
                  <a:lnTo>
                    <a:pt x="142" y="55"/>
                  </a:lnTo>
                  <a:lnTo>
                    <a:pt x="145" y="54"/>
                  </a:lnTo>
                  <a:lnTo>
                    <a:pt x="148" y="51"/>
                  </a:lnTo>
                  <a:lnTo>
                    <a:pt x="151" y="46"/>
                  </a:lnTo>
                  <a:lnTo>
                    <a:pt x="156" y="42"/>
                  </a:lnTo>
                  <a:lnTo>
                    <a:pt x="161" y="41"/>
                  </a:lnTo>
                  <a:lnTo>
                    <a:pt x="164" y="40"/>
                  </a:lnTo>
                  <a:lnTo>
                    <a:pt x="169" y="40"/>
                  </a:lnTo>
                  <a:lnTo>
                    <a:pt x="173" y="39"/>
                  </a:lnTo>
                  <a:lnTo>
                    <a:pt x="175" y="36"/>
                  </a:lnTo>
                  <a:lnTo>
                    <a:pt x="179" y="32"/>
                  </a:lnTo>
                  <a:lnTo>
                    <a:pt x="180" y="29"/>
                  </a:lnTo>
                  <a:lnTo>
                    <a:pt x="182" y="28"/>
                  </a:lnTo>
                  <a:lnTo>
                    <a:pt x="185" y="27"/>
                  </a:lnTo>
                  <a:lnTo>
                    <a:pt x="187" y="27"/>
                  </a:lnTo>
                  <a:lnTo>
                    <a:pt x="189" y="28"/>
                  </a:lnTo>
                  <a:lnTo>
                    <a:pt x="192" y="29"/>
                  </a:lnTo>
                  <a:lnTo>
                    <a:pt x="194" y="30"/>
                  </a:lnTo>
                  <a:lnTo>
                    <a:pt x="194" y="33"/>
                  </a:lnTo>
                  <a:lnTo>
                    <a:pt x="195" y="38"/>
                  </a:lnTo>
                  <a:lnTo>
                    <a:pt x="196" y="40"/>
                  </a:lnTo>
                  <a:lnTo>
                    <a:pt x="198" y="41"/>
                  </a:lnTo>
                  <a:lnTo>
                    <a:pt x="199" y="41"/>
                  </a:lnTo>
                  <a:lnTo>
                    <a:pt x="200" y="41"/>
                  </a:lnTo>
                  <a:lnTo>
                    <a:pt x="201" y="39"/>
                  </a:lnTo>
                  <a:lnTo>
                    <a:pt x="204" y="36"/>
                  </a:lnTo>
                  <a:lnTo>
                    <a:pt x="207" y="34"/>
                  </a:lnTo>
                  <a:lnTo>
                    <a:pt x="209" y="34"/>
                  </a:lnTo>
                  <a:lnTo>
                    <a:pt x="212" y="35"/>
                  </a:lnTo>
                  <a:lnTo>
                    <a:pt x="213" y="38"/>
                  </a:lnTo>
                  <a:lnTo>
                    <a:pt x="213" y="41"/>
                  </a:lnTo>
                  <a:lnTo>
                    <a:pt x="212" y="46"/>
                  </a:lnTo>
                  <a:lnTo>
                    <a:pt x="209" y="51"/>
                  </a:lnTo>
                  <a:lnTo>
                    <a:pt x="208" y="55"/>
                  </a:lnTo>
                  <a:lnTo>
                    <a:pt x="206" y="61"/>
                  </a:lnTo>
                  <a:lnTo>
                    <a:pt x="204" y="63"/>
                  </a:lnTo>
                  <a:lnTo>
                    <a:pt x="201" y="64"/>
                  </a:lnTo>
                  <a:lnTo>
                    <a:pt x="199" y="65"/>
                  </a:lnTo>
                  <a:lnTo>
                    <a:pt x="196" y="64"/>
                  </a:lnTo>
                  <a:lnTo>
                    <a:pt x="188" y="60"/>
                  </a:lnTo>
                  <a:lnTo>
                    <a:pt x="180" y="59"/>
                  </a:lnTo>
                  <a:lnTo>
                    <a:pt x="175" y="59"/>
                  </a:lnTo>
                  <a:lnTo>
                    <a:pt x="171" y="59"/>
                  </a:lnTo>
                  <a:lnTo>
                    <a:pt x="168" y="60"/>
                  </a:lnTo>
                  <a:lnTo>
                    <a:pt x="167" y="63"/>
                  </a:lnTo>
                  <a:lnTo>
                    <a:pt x="166" y="67"/>
                  </a:lnTo>
                  <a:lnTo>
                    <a:pt x="166" y="74"/>
                  </a:lnTo>
                  <a:lnTo>
                    <a:pt x="167" y="78"/>
                  </a:lnTo>
                  <a:lnTo>
                    <a:pt x="168" y="80"/>
                  </a:lnTo>
                  <a:lnTo>
                    <a:pt x="170" y="83"/>
                  </a:lnTo>
                  <a:lnTo>
                    <a:pt x="173" y="85"/>
                  </a:lnTo>
                  <a:lnTo>
                    <a:pt x="177" y="89"/>
                  </a:lnTo>
                  <a:lnTo>
                    <a:pt x="181" y="95"/>
                  </a:lnTo>
                  <a:lnTo>
                    <a:pt x="183" y="101"/>
                  </a:lnTo>
                  <a:lnTo>
                    <a:pt x="183" y="110"/>
                  </a:lnTo>
                  <a:lnTo>
                    <a:pt x="183" y="117"/>
                  </a:lnTo>
                  <a:lnTo>
                    <a:pt x="181" y="121"/>
                  </a:lnTo>
                  <a:lnTo>
                    <a:pt x="180" y="121"/>
                  </a:lnTo>
                  <a:lnTo>
                    <a:pt x="179" y="120"/>
                  </a:lnTo>
                  <a:lnTo>
                    <a:pt x="179" y="118"/>
                  </a:lnTo>
                  <a:lnTo>
                    <a:pt x="177" y="117"/>
                  </a:lnTo>
                  <a:lnTo>
                    <a:pt x="176" y="112"/>
                  </a:lnTo>
                  <a:lnTo>
                    <a:pt x="174" y="106"/>
                  </a:lnTo>
                  <a:lnTo>
                    <a:pt x="170" y="102"/>
                  </a:lnTo>
                  <a:lnTo>
                    <a:pt x="166" y="99"/>
                  </a:lnTo>
                  <a:lnTo>
                    <a:pt x="162" y="101"/>
                  </a:lnTo>
                  <a:lnTo>
                    <a:pt x="160" y="102"/>
                  </a:lnTo>
                  <a:lnTo>
                    <a:pt x="158" y="105"/>
                  </a:lnTo>
                  <a:lnTo>
                    <a:pt x="160" y="111"/>
                  </a:lnTo>
                  <a:lnTo>
                    <a:pt x="162" y="118"/>
                  </a:lnTo>
                  <a:lnTo>
                    <a:pt x="162" y="128"/>
                  </a:lnTo>
                  <a:lnTo>
                    <a:pt x="162" y="133"/>
                  </a:lnTo>
                  <a:lnTo>
                    <a:pt x="161" y="137"/>
                  </a:lnTo>
                  <a:lnTo>
                    <a:pt x="158" y="141"/>
                  </a:lnTo>
                  <a:lnTo>
                    <a:pt x="156" y="143"/>
                  </a:lnTo>
                  <a:lnTo>
                    <a:pt x="149" y="146"/>
                  </a:lnTo>
                  <a:lnTo>
                    <a:pt x="142" y="146"/>
                  </a:lnTo>
                  <a:lnTo>
                    <a:pt x="135" y="145"/>
                  </a:lnTo>
                  <a:lnTo>
                    <a:pt x="129" y="142"/>
                  </a:lnTo>
                  <a:lnTo>
                    <a:pt x="126" y="141"/>
                  </a:lnTo>
                  <a:lnTo>
                    <a:pt x="125" y="141"/>
                  </a:lnTo>
                  <a:lnTo>
                    <a:pt x="124" y="141"/>
                  </a:lnTo>
                  <a:lnTo>
                    <a:pt x="123" y="142"/>
                  </a:lnTo>
                  <a:lnTo>
                    <a:pt x="120" y="146"/>
                  </a:lnTo>
                  <a:lnTo>
                    <a:pt x="118" y="150"/>
                  </a:lnTo>
                  <a:lnTo>
                    <a:pt x="117" y="152"/>
                  </a:lnTo>
                  <a:lnTo>
                    <a:pt x="116" y="153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1" y="150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8" y="143"/>
                  </a:lnTo>
                  <a:lnTo>
                    <a:pt x="111" y="135"/>
                  </a:lnTo>
                  <a:lnTo>
                    <a:pt x="113" y="126"/>
                  </a:lnTo>
                  <a:lnTo>
                    <a:pt x="112" y="121"/>
                  </a:lnTo>
                  <a:lnTo>
                    <a:pt x="110" y="116"/>
                  </a:lnTo>
                  <a:lnTo>
                    <a:pt x="108" y="112"/>
                  </a:lnTo>
                  <a:lnTo>
                    <a:pt x="110" y="109"/>
                  </a:lnTo>
                  <a:lnTo>
                    <a:pt x="111" y="108"/>
                  </a:lnTo>
                  <a:lnTo>
                    <a:pt x="113" y="106"/>
                  </a:lnTo>
                  <a:lnTo>
                    <a:pt x="114" y="106"/>
                  </a:lnTo>
                  <a:lnTo>
                    <a:pt x="118" y="106"/>
                  </a:lnTo>
                  <a:lnTo>
                    <a:pt x="123" y="108"/>
                  </a:lnTo>
                  <a:lnTo>
                    <a:pt x="127" y="109"/>
                  </a:lnTo>
                  <a:lnTo>
                    <a:pt x="130" y="108"/>
                  </a:lnTo>
                  <a:lnTo>
                    <a:pt x="132" y="108"/>
                  </a:lnTo>
                  <a:lnTo>
                    <a:pt x="133" y="105"/>
                  </a:lnTo>
                  <a:lnTo>
                    <a:pt x="133" y="104"/>
                  </a:lnTo>
                  <a:lnTo>
                    <a:pt x="133" y="103"/>
                  </a:lnTo>
                  <a:lnTo>
                    <a:pt x="133" y="101"/>
                  </a:lnTo>
                  <a:lnTo>
                    <a:pt x="131" y="99"/>
                  </a:lnTo>
                  <a:lnTo>
                    <a:pt x="129" y="99"/>
                  </a:lnTo>
                  <a:lnTo>
                    <a:pt x="126" y="98"/>
                  </a:lnTo>
                  <a:lnTo>
                    <a:pt x="124" y="97"/>
                  </a:lnTo>
                  <a:lnTo>
                    <a:pt x="122" y="95"/>
                  </a:lnTo>
                  <a:lnTo>
                    <a:pt x="119" y="92"/>
                  </a:lnTo>
                  <a:lnTo>
                    <a:pt x="114" y="85"/>
                  </a:lnTo>
                  <a:lnTo>
                    <a:pt x="113" y="77"/>
                  </a:lnTo>
                  <a:lnTo>
                    <a:pt x="112" y="73"/>
                  </a:lnTo>
                  <a:lnTo>
                    <a:pt x="110" y="71"/>
                  </a:lnTo>
                  <a:lnTo>
                    <a:pt x="106" y="70"/>
                  </a:lnTo>
                  <a:lnTo>
                    <a:pt x="101" y="68"/>
                  </a:lnTo>
                  <a:lnTo>
                    <a:pt x="91" y="70"/>
                  </a:lnTo>
                  <a:lnTo>
                    <a:pt x="79" y="72"/>
                  </a:lnTo>
                  <a:lnTo>
                    <a:pt x="68" y="76"/>
                  </a:lnTo>
                  <a:lnTo>
                    <a:pt x="57" y="76"/>
                  </a:lnTo>
                  <a:lnTo>
                    <a:pt x="48" y="76"/>
                  </a:lnTo>
                  <a:lnTo>
                    <a:pt x="37" y="76"/>
                  </a:lnTo>
                  <a:lnTo>
                    <a:pt x="29" y="76"/>
                  </a:lnTo>
                  <a:lnTo>
                    <a:pt x="22" y="74"/>
                  </a:lnTo>
                  <a:lnTo>
                    <a:pt x="19" y="73"/>
                  </a:lnTo>
                  <a:lnTo>
                    <a:pt x="18" y="72"/>
                  </a:lnTo>
                  <a:lnTo>
                    <a:pt x="17" y="70"/>
                  </a:lnTo>
                  <a:lnTo>
                    <a:pt x="17" y="67"/>
                  </a:lnTo>
                  <a:lnTo>
                    <a:pt x="20" y="60"/>
                  </a:lnTo>
                  <a:lnTo>
                    <a:pt x="28" y="52"/>
                  </a:lnTo>
                  <a:lnTo>
                    <a:pt x="35" y="45"/>
                  </a:lnTo>
                  <a:lnTo>
                    <a:pt x="43" y="40"/>
                  </a:lnTo>
                  <a:lnTo>
                    <a:pt x="56" y="34"/>
                  </a:lnTo>
                  <a:lnTo>
                    <a:pt x="66" y="32"/>
                  </a:lnTo>
                  <a:lnTo>
                    <a:pt x="69" y="30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8" y="23"/>
                  </a:lnTo>
                  <a:lnTo>
                    <a:pt x="80" y="19"/>
                  </a:lnTo>
                  <a:lnTo>
                    <a:pt x="80" y="16"/>
                  </a:lnTo>
                  <a:lnTo>
                    <a:pt x="81" y="14"/>
                  </a:lnTo>
                  <a:lnTo>
                    <a:pt x="88" y="10"/>
                  </a:lnTo>
                  <a:lnTo>
                    <a:pt x="97" y="7"/>
                  </a:lnTo>
                  <a:lnTo>
                    <a:pt x="105" y="4"/>
                  </a:lnTo>
                  <a:lnTo>
                    <a:pt x="116" y="3"/>
                  </a:lnTo>
                  <a:lnTo>
                    <a:pt x="131" y="2"/>
                  </a:lnTo>
                  <a:lnTo>
                    <a:pt x="144" y="1"/>
                  </a:lnTo>
                  <a:lnTo>
                    <a:pt x="149" y="0"/>
                  </a:lnTo>
                  <a:close/>
                  <a:moveTo>
                    <a:pt x="3" y="128"/>
                  </a:moveTo>
                  <a:lnTo>
                    <a:pt x="6" y="123"/>
                  </a:lnTo>
                  <a:lnTo>
                    <a:pt x="11" y="118"/>
                  </a:lnTo>
                  <a:lnTo>
                    <a:pt x="18" y="115"/>
                  </a:lnTo>
                  <a:lnTo>
                    <a:pt x="26" y="112"/>
                  </a:lnTo>
                  <a:lnTo>
                    <a:pt x="35" y="110"/>
                  </a:lnTo>
                  <a:lnTo>
                    <a:pt x="42" y="108"/>
                  </a:lnTo>
                  <a:lnTo>
                    <a:pt x="49" y="103"/>
                  </a:lnTo>
                  <a:lnTo>
                    <a:pt x="54" y="99"/>
                  </a:lnTo>
                  <a:lnTo>
                    <a:pt x="59" y="93"/>
                  </a:lnTo>
                  <a:lnTo>
                    <a:pt x="64" y="89"/>
                  </a:lnTo>
                  <a:lnTo>
                    <a:pt x="69" y="85"/>
                  </a:lnTo>
                  <a:lnTo>
                    <a:pt x="74" y="83"/>
                  </a:lnTo>
                  <a:lnTo>
                    <a:pt x="76" y="83"/>
                  </a:lnTo>
                  <a:lnTo>
                    <a:pt x="78" y="84"/>
                  </a:lnTo>
                  <a:lnTo>
                    <a:pt x="79" y="85"/>
                  </a:lnTo>
                  <a:lnTo>
                    <a:pt x="79" y="86"/>
                  </a:lnTo>
                  <a:lnTo>
                    <a:pt x="78" y="91"/>
                  </a:lnTo>
                  <a:lnTo>
                    <a:pt x="75" y="95"/>
                  </a:lnTo>
                  <a:lnTo>
                    <a:pt x="73" y="98"/>
                  </a:lnTo>
                  <a:lnTo>
                    <a:pt x="72" y="102"/>
                  </a:lnTo>
                  <a:lnTo>
                    <a:pt x="72" y="105"/>
                  </a:lnTo>
                  <a:lnTo>
                    <a:pt x="72" y="110"/>
                  </a:lnTo>
                  <a:lnTo>
                    <a:pt x="72" y="115"/>
                  </a:lnTo>
                  <a:lnTo>
                    <a:pt x="70" y="117"/>
                  </a:lnTo>
                  <a:lnTo>
                    <a:pt x="69" y="120"/>
                  </a:lnTo>
                  <a:lnTo>
                    <a:pt x="66" y="120"/>
                  </a:lnTo>
                  <a:lnTo>
                    <a:pt x="64" y="121"/>
                  </a:lnTo>
                  <a:lnTo>
                    <a:pt x="63" y="123"/>
                  </a:lnTo>
                  <a:lnTo>
                    <a:pt x="63" y="127"/>
                  </a:lnTo>
                  <a:lnTo>
                    <a:pt x="63" y="131"/>
                  </a:lnTo>
                  <a:lnTo>
                    <a:pt x="64" y="135"/>
                  </a:lnTo>
                  <a:lnTo>
                    <a:pt x="66" y="137"/>
                  </a:lnTo>
                  <a:lnTo>
                    <a:pt x="64" y="140"/>
                  </a:lnTo>
                  <a:lnTo>
                    <a:pt x="63" y="142"/>
                  </a:lnTo>
                  <a:lnTo>
                    <a:pt x="60" y="143"/>
                  </a:lnTo>
                  <a:lnTo>
                    <a:pt x="57" y="142"/>
                  </a:lnTo>
                  <a:lnTo>
                    <a:pt x="55" y="141"/>
                  </a:lnTo>
                  <a:lnTo>
                    <a:pt x="53" y="139"/>
                  </a:lnTo>
                  <a:lnTo>
                    <a:pt x="49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39" y="135"/>
                  </a:lnTo>
                  <a:lnTo>
                    <a:pt x="37" y="136"/>
                  </a:lnTo>
                  <a:lnTo>
                    <a:pt x="35" y="139"/>
                  </a:lnTo>
                  <a:lnTo>
                    <a:pt x="29" y="145"/>
                  </a:lnTo>
                  <a:lnTo>
                    <a:pt x="25" y="148"/>
                  </a:lnTo>
                  <a:lnTo>
                    <a:pt x="19" y="149"/>
                  </a:lnTo>
                  <a:lnTo>
                    <a:pt x="10" y="149"/>
                  </a:lnTo>
                  <a:lnTo>
                    <a:pt x="5" y="148"/>
                  </a:lnTo>
                  <a:lnTo>
                    <a:pt x="1" y="146"/>
                  </a:lnTo>
                  <a:lnTo>
                    <a:pt x="0" y="143"/>
                  </a:lnTo>
                  <a:lnTo>
                    <a:pt x="0" y="141"/>
                  </a:lnTo>
                  <a:lnTo>
                    <a:pt x="1" y="134"/>
                  </a:lnTo>
                  <a:lnTo>
                    <a:pt x="3" y="128"/>
                  </a:lnTo>
                  <a:close/>
                </a:path>
              </a:pathLst>
            </a:custGeom>
            <a:grpFill/>
            <a:ln w="6350">
              <a:noFill/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/>
            <a:lstStyle/>
            <a:p>
              <a:pPr algn="ctr"/>
              <a:endParaRPr lang="zh-CN" altLang="en-US" sz="40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43" name="Freeform 105"/>
            <p:cNvSpPr/>
            <p:nvPr/>
          </p:nvSpPr>
          <p:spPr bwMode="auto">
            <a:xfrm>
              <a:off x="5507484" y="5653677"/>
              <a:ext cx="26311" cy="26311"/>
            </a:xfrm>
            <a:custGeom>
              <a:avLst/>
              <a:gdLst>
                <a:gd name="T0" fmla="*/ 2 w 78"/>
                <a:gd name="T1" fmla="*/ 44 h 64"/>
                <a:gd name="T2" fmla="*/ 5 w 78"/>
                <a:gd name="T3" fmla="*/ 38 h 64"/>
                <a:gd name="T4" fmla="*/ 10 w 78"/>
                <a:gd name="T5" fmla="*/ 34 h 64"/>
                <a:gd name="T6" fmla="*/ 17 w 78"/>
                <a:gd name="T7" fmla="*/ 29 h 64"/>
                <a:gd name="T8" fmla="*/ 26 w 78"/>
                <a:gd name="T9" fmla="*/ 27 h 64"/>
                <a:gd name="T10" fmla="*/ 34 w 78"/>
                <a:gd name="T11" fmla="*/ 26 h 64"/>
                <a:gd name="T12" fmla="*/ 41 w 78"/>
                <a:gd name="T13" fmla="*/ 22 h 64"/>
                <a:gd name="T14" fmla="*/ 48 w 78"/>
                <a:gd name="T15" fmla="*/ 19 h 64"/>
                <a:gd name="T16" fmla="*/ 53 w 78"/>
                <a:gd name="T17" fmla="*/ 14 h 64"/>
                <a:gd name="T18" fmla="*/ 60 w 78"/>
                <a:gd name="T19" fmla="*/ 7 h 64"/>
                <a:gd name="T20" fmla="*/ 70 w 78"/>
                <a:gd name="T21" fmla="*/ 1 h 64"/>
                <a:gd name="T22" fmla="*/ 73 w 78"/>
                <a:gd name="T23" fmla="*/ 0 h 64"/>
                <a:gd name="T24" fmla="*/ 77 w 78"/>
                <a:gd name="T25" fmla="*/ 1 h 64"/>
                <a:gd name="T26" fmla="*/ 78 w 78"/>
                <a:gd name="T27" fmla="*/ 4 h 64"/>
                <a:gd name="T28" fmla="*/ 78 w 78"/>
                <a:gd name="T29" fmla="*/ 13 h 64"/>
                <a:gd name="T30" fmla="*/ 76 w 78"/>
                <a:gd name="T31" fmla="*/ 21 h 64"/>
                <a:gd name="T32" fmla="*/ 73 w 78"/>
                <a:gd name="T33" fmla="*/ 31 h 64"/>
                <a:gd name="T34" fmla="*/ 70 w 78"/>
                <a:gd name="T35" fmla="*/ 40 h 64"/>
                <a:gd name="T36" fmla="*/ 67 w 78"/>
                <a:gd name="T37" fmla="*/ 48 h 64"/>
                <a:gd name="T38" fmla="*/ 64 w 78"/>
                <a:gd name="T39" fmla="*/ 54 h 64"/>
                <a:gd name="T40" fmla="*/ 60 w 78"/>
                <a:gd name="T41" fmla="*/ 57 h 64"/>
                <a:gd name="T42" fmla="*/ 58 w 78"/>
                <a:gd name="T43" fmla="*/ 58 h 64"/>
                <a:gd name="T44" fmla="*/ 54 w 78"/>
                <a:gd name="T45" fmla="*/ 57 h 64"/>
                <a:gd name="T46" fmla="*/ 51 w 78"/>
                <a:gd name="T47" fmla="*/ 54 h 64"/>
                <a:gd name="T48" fmla="*/ 46 w 78"/>
                <a:gd name="T49" fmla="*/ 53 h 64"/>
                <a:gd name="T50" fmla="*/ 41 w 78"/>
                <a:gd name="T51" fmla="*/ 52 h 64"/>
                <a:gd name="T52" fmla="*/ 35 w 78"/>
                <a:gd name="T53" fmla="*/ 53 h 64"/>
                <a:gd name="T54" fmla="*/ 21 w 78"/>
                <a:gd name="T55" fmla="*/ 59 h 64"/>
                <a:gd name="T56" fmla="*/ 7 w 78"/>
                <a:gd name="T57" fmla="*/ 64 h 64"/>
                <a:gd name="T58" fmla="*/ 4 w 78"/>
                <a:gd name="T59" fmla="*/ 64 h 64"/>
                <a:gd name="T60" fmla="*/ 2 w 78"/>
                <a:gd name="T61" fmla="*/ 64 h 64"/>
                <a:gd name="T62" fmla="*/ 1 w 78"/>
                <a:gd name="T63" fmla="*/ 63 h 64"/>
                <a:gd name="T64" fmla="*/ 0 w 78"/>
                <a:gd name="T65" fmla="*/ 60 h 64"/>
                <a:gd name="T66" fmla="*/ 0 w 78"/>
                <a:gd name="T67" fmla="*/ 58 h 64"/>
                <a:gd name="T68" fmla="*/ 0 w 78"/>
                <a:gd name="T69" fmla="*/ 54 h 64"/>
                <a:gd name="T70" fmla="*/ 1 w 78"/>
                <a:gd name="T71" fmla="*/ 50 h 64"/>
                <a:gd name="T72" fmla="*/ 2 w 78"/>
                <a:gd name="T73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8" h="64">
                  <a:moveTo>
                    <a:pt x="2" y="44"/>
                  </a:moveTo>
                  <a:lnTo>
                    <a:pt x="5" y="38"/>
                  </a:lnTo>
                  <a:lnTo>
                    <a:pt x="10" y="34"/>
                  </a:lnTo>
                  <a:lnTo>
                    <a:pt x="17" y="29"/>
                  </a:lnTo>
                  <a:lnTo>
                    <a:pt x="26" y="27"/>
                  </a:lnTo>
                  <a:lnTo>
                    <a:pt x="34" y="26"/>
                  </a:lnTo>
                  <a:lnTo>
                    <a:pt x="41" y="22"/>
                  </a:lnTo>
                  <a:lnTo>
                    <a:pt x="48" y="19"/>
                  </a:lnTo>
                  <a:lnTo>
                    <a:pt x="53" y="14"/>
                  </a:lnTo>
                  <a:lnTo>
                    <a:pt x="60" y="7"/>
                  </a:lnTo>
                  <a:lnTo>
                    <a:pt x="70" y="1"/>
                  </a:lnTo>
                  <a:lnTo>
                    <a:pt x="73" y="0"/>
                  </a:lnTo>
                  <a:lnTo>
                    <a:pt x="77" y="1"/>
                  </a:lnTo>
                  <a:lnTo>
                    <a:pt x="78" y="4"/>
                  </a:lnTo>
                  <a:lnTo>
                    <a:pt x="78" y="13"/>
                  </a:lnTo>
                  <a:lnTo>
                    <a:pt x="76" y="21"/>
                  </a:lnTo>
                  <a:lnTo>
                    <a:pt x="73" y="31"/>
                  </a:lnTo>
                  <a:lnTo>
                    <a:pt x="70" y="40"/>
                  </a:lnTo>
                  <a:lnTo>
                    <a:pt x="67" y="48"/>
                  </a:lnTo>
                  <a:lnTo>
                    <a:pt x="64" y="54"/>
                  </a:lnTo>
                  <a:lnTo>
                    <a:pt x="60" y="57"/>
                  </a:lnTo>
                  <a:lnTo>
                    <a:pt x="58" y="58"/>
                  </a:lnTo>
                  <a:lnTo>
                    <a:pt x="54" y="57"/>
                  </a:lnTo>
                  <a:lnTo>
                    <a:pt x="51" y="54"/>
                  </a:lnTo>
                  <a:lnTo>
                    <a:pt x="46" y="53"/>
                  </a:lnTo>
                  <a:lnTo>
                    <a:pt x="41" y="52"/>
                  </a:lnTo>
                  <a:lnTo>
                    <a:pt x="35" y="53"/>
                  </a:lnTo>
                  <a:lnTo>
                    <a:pt x="21" y="59"/>
                  </a:lnTo>
                  <a:lnTo>
                    <a:pt x="7" y="64"/>
                  </a:lnTo>
                  <a:lnTo>
                    <a:pt x="4" y="64"/>
                  </a:lnTo>
                  <a:lnTo>
                    <a:pt x="2" y="64"/>
                  </a:lnTo>
                  <a:lnTo>
                    <a:pt x="1" y="63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2" y="44"/>
                  </a:lnTo>
                  <a:close/>
                </a:path>
              </a:pathLst>
            </a:custGeom>
            <a:grpFill/>
            <a:ln w="6350">
              <a:noFill/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/>
            <a:lstStyle/>
            <a:p>
              <a:pPr algn="ctr"/>
              <a:endParaRPr lang="zh-CN" altLang="en-US" sz="40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</p:grpSp>
      <p:sp>
        <p:nvSpPr>
          <p:cNvPr id="44" name="台湾"/>
          <p:cNvSpPr/>
          <p:nvPr/>
        </p:nvSpPr>
        <p:spPr bwMode="auto">
          <a:xfrm>
            <a:off x="7903210" y="5297170"/>
            <a:ext cx="267335" cy="608965"/>
          </a:xfrm>
          <a:custGeom>
            <a:avLst/>
            <a:gdLst>
              <a:gd name="T0" fmla="*/ 213 w 666"/>
              <a:gd name="T1" fmla="*/ 320 h 1493"/>
              <a:gd name="T2" fmla="*/ 261 w 666"/>
              <a:gd name="T3" fmla="*/ 259 h 1493"/>
              <a:gd name="T4" fmla="*/ 280 w 666"/>
              <a:gd name="T5" fmla="*/ 186 h 1493"/>
              <a:gd name="T6" fmla="*/ 306 w 666"/>
              <a:gd name="T7" fmla="*/ 132 h 1493"/>
              <a:gd name="T8" fmla="*/ 345 w 666"/>
              <a:gd name="T9" fmla="*/ 106 h 1493"/>
              <a:gd name="T10" fmla="*/ 430 w 666"/>
              <a:gd name="T11" fmla="*/ 66 h 1493"/>
              <a:gd name="T12" fmla="*/ 446 w 666"/>
              <a:gd name="T13" fmla="*/ 33 h 1493"/>
              <a:gd name="T14" fmla="*/ 469 w 666"/>
              <a:gd name="T15" fmla="*/ 7 h 1493"/>
              <a:gd name="T16" fmla="*/ 495 w 666"/>
              <a:gd name="T17" fmla="*/ 0 h 1493"/>
              <a:gd name="T18" fmla="*/ 522 w 666"/>
              <a:gd name="T19" fmla="*/ 18 h 1493"/>
              <a:gd name="T20" fmla="*/ 564 w 666"/>
              <a:gd name="T21" fmla="*/ 43 h 1493"/>
              <a:gd name="T22" fmla="*/ 615 w 666"/>
              <a:gd name="T23" fmla="*/ 45 h 1493"/>
              <a:gd name="T24" fmla="*/ 652 w 666"/>
              <a:gd name="T25" fmla="*/ 80 h 1493"/>
              <a:gd name="T26" fmla="*/ 665 w 666"/>
              <a:gd name="T27" fmla="*/ 131 h 1493"/>
              <a:gd name="T28" fmla="*/ 634 w 666"/>
              <a:gd name="T29" fmla="*/ 168 h 1493"/>
              <a:gd name="T30" fmla="*/ 625 w 666"/>
              <a:gd name="T31" fmla="*/ 225 h 1493"/>
              <a:gd name="T32" fmla="*/ 644 w 666"/>
              <a:gd name="T33" fmla="*/ 283 h 1493"/>
              <a:gd name="T34" fmla="*/ 644 w 666"/>
              <a:gd name="T35" fmla="*/ 366 h 1493"/>
              <a:gd name="T36" fmla="*/ 606 w 666"/>
              <a:gd name="T37" fmla="*/ 451 h 1493"/>
              <a:gd name="T38" fmla="*/ 573 w 666"/>
              <a:gd name="T39" fmla="*/ 540 h 1493"/>
              <a:gd name="T40" fmla="*/ 570 w 666"/>
              <a:gd name="T41" fmla="*/ 674 h 1493"/>
              <a:gd name="T42" fmla="*/ 553 w 666"/>
              <a:gd name="T43" fmla="*/ 830 h 1493"/>
              <a:gd name="T44" fmla="*/ 537 w 666"/>
              <a:gd name="T45" fmla="*/ 925 h 1493"/>
              <a:gd name="T46" fmla="*/ 519 w 666"/>
              <a:gd name="T47" fmla="*/ 995 h 1493"/>
              <a:gd name="T48" fmla="*/ 433 w 666"/>
              <a:gd name="T49" fmla="*/ 1135 h 1493"/>
              <a:gd name="T50" fmla="*/ 388 w 666"/>
              <a:gd name="T51" fmla="*/ 1214 h 1493"/>
              <a:gd name="T52" fmla="*/ 370 w 666"/>
              <a:gd name="T53" fmla="*/ 1310 h 1493"/>
              <a:gd name="T54" fmla="*/ 384 w 666"/>
              <a:gd name="T55" fmla="*/ 1374 h 1493"/>
              <a:gd name="T56" fmla="*/ 386 w 666"/>
              <a:gd name="T57" fmla="*/ 1426 h 1493"/>
              <a:gd name="T58" fmla="*/ 373 w 666"/>
              <a:gd name="T59" fmla="*/ 1455 h 1493"/>
              <a:gd name="T60" fmla="*/ 387 w 666"/>
              <a:gd name="T61" fmla="*/ 1486 h 1493"/>
              <a:gd name="T62" fmla="*/ 374 w 666"/>
              <a:gd name="T63" fmla="*/ 1492 h 1493"/>
              <a:gd name="T64" fmla="*/ 343 w 666"/>
              <a:gd name="T65" fmla="*/ 1463 h 1493"/>
              <a:gd name="T66" fmla="*/ 310 w 666"/>
              <a:gd name="T67" fmla="*/ 1455 h 1493"/>
              <a:gd name="T68" fmla="*/ 299 w 666"/>
              <a:gd name="T69" fmla="*/ 1413 h 1493"/>
              <a:gd name="T70" fmla="*/ 270 w 666"/>
              <a:gd name="T71" fmla="*/ 1331 h 1493"/>
              <a:gd name="T72" fmla="*/ 228 w 666"/>
              <a:gd name="T73" fmla="*/ 1287 h 1493"/>
              <a:gd name="T74" fmla="*/ 132 w 666"/>
              <a:gd name="T75" fmla="*/ 1240 h 1493"/>
              <a:gd name="T76" fmla="*/ 119 w 666"/>
              <a:gd name="T77" fmla="*/ 1215 h 1493"/>
              <a:gd name="T78" fmla="*/ 88 w 666"/>
              <a:gd name="T79" fmla="*/ 1158 h 1493"/>
              <a:gd name="T80" fmla="*/ 41 w 666"/>
              <a:gd name="T81" fmla="*/ 1058 h 1493"/>
              <a:gd name="T82" fmla="*/ 14 w 666"/>
              <a:gd name="T83" fmla="*/ 1044 h 1493"/>
              <a:gd name="T84" fmla="*/ 2 w 666"/>
              <a:gd name="T85" fmla="*/ 1009 h 1493"/>
              <a:gd name="T86" fmla="*/ 12 w 666"/>
              <a:gd name="T87" fmla="*/ 918 h 1493"/>
              <a:gd name="T88" fmla="*/ 25 w 666"/>
              <a:gd name="T89" fmla="*/ 874 h 1493"/>
              <a:gd name="T90" fmla="*/ 19 w 666"/>
              <a:gd name="T91" fmla="*/ 813 h 1493"/>
              <a:gd name="T92" fmla="*/ 9 w 666"/>
              <a:gd name="T93" fmla="*/ 770 h 1493"/>
              <a:gd name="T94" fmla="*/ 29 w 666"/>
              <a:gd name="T95" fmla="*/ 720 h 1493"/>
              <a:gd name="T96" fmla="*/ 60 w 666"/>
              <a:gd name="T97" fmla="*/ 691 h 1493"/>
              <a:gd name="T98" fmla="*/ 52 w 666"/>
              <a:gd name="T99" fmla="*/ 672 h 1493"/>
              <a:gd name="T100" fmla="*/ 59 w 666"/>
              <a:gd name="T101" fmla="*/ 647 h 1493"/>
              <a:gd name="T102" fmla="*/ 132 w 666"/>
              <a:gd name="T103" fmla="*/ 501 h 1493"/>
              <a:gd name="T104" fmla="*/ 151 w 666"/>
              <a:gd name="T105" fmla="*/ 443 h 1493"/>
              <a:gd name="T106" fmla="*/ 181 w 666"/>
              <a:gd name="T107" fmla="*/ 383 h 1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66" h="1493">
                <a:moveTo>
                  <a:pt x="187" y="371"/>
                </a:moveTo>
                <a:lnTo>
                  <a:pt x="195" y="353"/>
                </a:lnTo>
                <a:lnTo>
                  <a:pt x="204" y="335"/>
                </a:lnTo>
                <a:lnTo>
                  <a:pt x="207" y="327"/>
                </a:lnTo>
                <a:lnTo>
                  <a:pt x="213" y="320"/>
                </a:lnTo>
                <a:lnTo>
                  <a:pt x="219" y="312"/>
                </a:lnTo>
                <a:lnTo>
                  <a:pt x="228" y="303"/>
                </a:lnTo>
                <a:lnTo>
                  <a:pt x="241" y="288"/>
                </a:lnTo>
                <a:lnTo>
                  <a:pt x="254" y="270"/>
                </a:lnTo>
                <a:lnTo>
                  <a:pt x="261" y="259"/>
                </a:lnTo>
                <a:lnTo>
                  <a:pt x="266" y="249"/>
                </a:lnTo>
                <a:lnTo>
                  <a:pt x="269" y="237"/>
                </a:lnTo>
                <a:lnTo>
                  <a:pt x="273" y="224"/>
                </a:lnTo>
                <a:lnTo>
                  <a:pt x="276" y="203"/>
                </a:lnTo>
                <a:lnTo>
                  <a:pt x="280" y="186"/>
                </a:lnTo>
                <a:lnTo>
                  <a:pt x="285" y="168"/>
                </a:lnTo>
                <a:lnTo>
                  <a:pt x="292" y="152"/>
                </a:lnTo>
                <a:lnTo>
                  <a:pt x="295" y="145"/>
                </a:lnTo>
                <a:lnTo>
                  <a:pt x="300" y="138"/>
                </a:lnTo>
                <a:lnTo>
                  <a:pt x="306" y="132"/>
                </a:lnTo>
                <a:lnTo>
                  <a:pt x="312" y="126"/>
                </a:lnTo>
                <a:lnTo>
                  <a:pt x="319" y="120"/>
                </a:lnTo>
                <a:lnTo>
                  <a:pt x="326" y="114"/>
                </a:lnTo>
                <a:lnTo>
                  <a:pt x="336" y="109"/>
                </a:lnTo>
                <a:lnTo>
                  <a:pt x="345" y="106"/>
                </a:lnTo>
                <a:lnTo>
                  <a:pt x="381" y="93"/>
                </a:lnTo>
                <a:lnTo>
                  <a:pt x="407" y="82"/>
                </a:lnTo>
                <a:lnTo>
                  <a:pt x="418" y="77"/>
                </a:lnTo>
                <a:lnTo>
                  <a:pt x="426" y="70"/>
                </a:lnTo>
                <a:lnTo>
                  <a:pt x="430" y="66"/>
                </a:lnTo>
                <a:lnTo>
                  <a:pt x="433" y="60"/>
                </a:lnTo>
                <a:lnTo>
                  <a:pt x="437" y="54"/>
                </a:lnTo>
                <a:lnTo>
                  <a:pt x="439" y="46"/>
                </a:lnTo>
                <a:lnTo>
                  <a:pt x="443" y="39"/>
                </a:lnTo>
                <a:lnTo>
                  <a:pt x="446" y="33"/>
                </a:lnTo>
                <a:lnTo>
                  <a:pt x="450" y="26"/>
                </a:lnTo>
                <a:lnTo>
                  <a:pt x="455" y="22"/>
                </a:lnTo>
                <a:lnTo>
                  <a:pt x="458" y="16"/>
                </a:lnTo>
                <a:lnTo>
                  <a:pt x="464" y="12"/>
                </a:lnTo>
                <a:lnTo>
                  <a:pt x="469" y="7"/>
                </a:lnTo>
                <a:lnTo>
                  <a:pt x="474" y="5"/>
                </a:lnTo>
                <a:lnTo>
                  <a:pt x="480" y="3"/>
                </a:lnTo>
                <a:lnTo>
                  <a:pt x="484" y="0"/>
                </a:lnTo>
                <a:lnTo>
                  <a:pt x="490" y="0"/>
                </a:lnTo>
                <a:lnTo>
                  <a:pt x="495" y="0"/>
                </a:lnTo>
                <a:lnTo>
                  <a:pt x="500" y="1"/>
                </a:lnTo>
                <a:lnTo>
                  <a:pt x="505" y="3"/>
                </a:lnTo>
                <a:lnTo>
                  <a:pt x="509" y="6"/>
                </a:lnTo>
                <a:lnTo>
                  <a:pt x="514" y="10"/>
                </a:lnTo>
                <a:lnTo>
                  <a:pt x="522" y="18"/>
                </a:lnTo>
                <a:lnTo>
                  <a:pt x="529" y="25"/>
                </a:lnTo>
                <a:lnTo>
                  <a:pt x="538" y="31"/>
                </a:lnTo>
                <a:lnTo>
                  <a:pt x="546" y="37"/>
                </a:lnTo>
                <a:lnTo>
                  <a:pt x="554" y="41"/>
                </a:lnTo>
                <a:lnTo>
                  <a:pt x="564" y="43"/>
                </a:lnTo>
                <a:lnTo>
                  <a:pt x="573" y="45"/>
                </a:lnTo>
                <a:lnTo>
                  <a:pt x="584" y="44"/>
                </a:lnTo>
                <a:lnTo>
                  <a:pt x="596" y="44"/>
                </a:lnTo>
                <a:lnTo>
                  <a:pt x="606" y="44"/>
                </a:lnTo>
                <a:lnTo>
                  <a:pt x="615" y="45"/>
                </a:lnTo>
                <a:lnTo>
                  <a:pt x="623" y="49"/>
                </a:lnTo>
                <a:lnTo>
                  <a:pt x="631" y="54"/>
                </a:lnTo>
                <a:lnTo>
                  <a:pt x="638" y="61"/>
                </a:lnTo>
                <a:lnTo>
                  <a:pt x="645" y="69"/>
                </a:lnTo>
                <a:lnTo>
                  <a:pt x="652" y="80"/>
                </a:lnTo>
                <a:lnTo>
                  <a:pt x="658" y="90"/>
                </a:lnTo>
                <a:lnTo>
                  <a:pt x="663" y="101"/>
                </a:lnTo>
                <a:lnTo>
                  <a:pt x="665" y="112"/>
                </a:lnTo>
                <a:lnTo>
                  <a:pt x="666" y="121"/>
                </a:lnTo>
                <a:lnTo>
                  <a:pt x="665" y="131"/>
                </a:lnTo>
                <a:lnTo>
                  <a:pt x="661" y="139"/>
                </a:lnTo>
                <a:lnTo>
                  <a:pt x="655" y="146"/>
                </a:lnTo>
                <a:lnTo>
                  <a:pt x="648" y="152"/>
                </a:lnTo>
                <a:lnTo>
                  <a:pt x="641" y="159"/>
                </a:lnTo>
                <a:lnTo>
                  <a:pt x="634" y="168"/>
                </a:lnTo>
                <a:lnTo>
                  <a:pt x="628" y="178"/>
                </a:lnTo>
                <a:lnTo>
                  <a:pt x="625" y="190"/>
                </a:lnTo>
                <a:lnTo>
                  <a:pt x="623" y="203"/>
                </a:lnTo>
                <a:lnTo>
                  <a:pt x="623" y="216"/>
                </a:lnTo>
                <a:lnTo>
                  <a:pt x="625" y="225"/>
                </a:lnTo>
                <a:lnTo>
                  <a:pt x="627" y="232"/>
                </a:lnTo>
                <a:lnTo>
                  <a:pt x="629" y="240"/>
                </a:lnTo>
                <a:lnTo>
                  <a:pt x="633" y="249"/>
                </a:lnTo>
                <a:lnTo>
                  <a:pt x="639" y="265"/>
                </a:lnTo>
                <a:lnTo>
                  <a:pt x="644" y="283"/>
                </a:lnTo>
                <a:lnTo>
                  <a:pt x="647" y="300"/>
                </a:lnTo>
                <a:lnTo>
                  <a:pt x="648" y="316"/>
                </a:lnTo>
                <a:lnTo>
                  <a:pt x="648" y="333"/>
                </a:lnTo>
                <a:lnTo>
                  <a:pt x="647" y="350"/>
                </a:lnTo>
                <a:lnTo>
                  <a:pt x="644" y="366"/>
                </a:lnTo>
                <a:lnTo>
                  <a:pt x="639" y="383"/>
                </a:lnTo>
                <a:lnTo>
                  <a:pt x="632" y="400"/>
                </a:lnTo>
                <a:lnTo>
                  <a:pt x="623" y="416"/>
                </a:lnTo>
                <a:lnTo>
                  <a:pt x="615" y="433"/>
                </a:lnTo>
                <a:lnTo>
                  <a:pt x="606" y="451"/>
                </a:lnTo>
                <a:lnTo>
                  <a:pt x="596" y="468"/>
                </a:lnTo>
                <a:lnTo>
                  <a:pt x="588" y="485"/>
                </a:lnTo>
                <a:lnTo>
                  <a:pt x="582" y="503"/>
                </a:lnTo>
                <a:lnTo>
                  <a:pt x="577" y="520"/>
                </a:lnTo>
                <a:lnTo>
                  <a:pt x="573" y="540"/>
                </a:lnTo>
                <a:lnTo>
                  <a:pt x="572" y="564"/>
                </a:lnTo>
                <a:lnTo>
                  <a:pt x="571" y="590"/>
                </a:lnTo>
                <a:lnTo>
                  <a:pt x="571" y="618"/>
                </a:lnTo>
                <a:lnTo>
                  <a:pt x="570" y="647"/>
                </a:lnTo>
                <a:lnTo>
                  <a:pt x="570" y="674"/>
                </a:lnTo>
                <a:lnTo>
                  <a:pt x="570" y="698"/>
                </a:lnTo>
                <a:lnTo>
                  <a:pt x="568" y="718"/>
                </a:lnTo>
                <a:lnTo>
                  <a:pt x="563" y="760"/>
                </a:lnTo>
                <a:lnTo>
                  <a:pt x="557" y="807"/>
                </a:lnTo>
                <a:lnTo>
                  <a:pt x="553" y="830"/>
                </a:lnTo>
                <a:lnTo>
                  <a:pt x="551" y="850"/>
                </a:lnTo>
                <a:lnTo>
                  <a:pt x="547" y="867"/>
                </a:lnTo>
                <a:lnTo>
                  <a:pt x="544" y="880"/>
                </a:lnTo>
                <a:lnTo>
                  <a:pt x="539" y="901"/>
                </a:lnTo>
                <a:lnTo>
                  <a:pt x="537" y="925"/>
                </a:lnTo>
                <a:lnTo>
                  <a:pt x="534" y="939"/>
                </a:lnTo>
                <a:lnTo>
                  <a:pt x="532" y="952"/>
                </a:lnTo>
                <a:lnTo>
                  <a:pt x="529" y="965"/>
                </a:lnTo>
                <a:lnTo>
                  <a:pt x="525" y="980"/>
                </a:lnTo>
                <a:lnTo>
                  <a:pt x="519" y="995"/>
                </a:lnTo>
                <a:lnTo>
                  <a:pt x="509" y="1013"/>
                </a:lnTo>
                <a:lnTo>
                  <a:pt x="499" y="1034"/>
                </a:lnTo>
                <a:lnTo>
                  <a:pt x="485" y="1056"/>
                </a:lnTo>
                <a:lnTo>
                  <a:pt x="459" y="1097"/>
                </a:lnTo>
                <a:lnTo>
                  <a:pt x="433" y="1135"/>
                </a:lnTo>
                <a:lnTo>
                  <a:pt x="414" y="1159"/>
                </a:lnTo>
                <a:lnTo>
                  <a:pt x="402" y="1176"/>
                </a:lnTo>
                <a:lnTo>
                  <a:pt x="398" y="1185"/>
                </a:lnTo>
                <a:lnTo>
                  <a:pt x="393" y="1197"/>
                </a:lnTo>
                <a:lnTo>
                  <a:pt x="388" y="1214"/>
                </a:lnTo>
                <a:lnTo>
                  <a:pt x="382" y="1237"/>
                </a:lnTo>
                <a:lnTo>
                  <a:pt x="376" y="1261"/>
                </a:lnTo>
                <a:lnTo>
                  <a:pt x="373" y="1281"/>
                </a:lnTo>
                <a:lnTo>
                  <a:pt x="370" y="1297"/>
                </a:lnTo>
                <a:lnTo>
                  <a:pt x="370" y="1310"/>
                </a:lnTo>
                <a:lnTo>
                  <a:pt x="371" y="1321"/>
                </a:lnTo>
                <a:lnTo>
                  <a:pt x="373" y="1330"/>
                </a:lnTo>
                <a:lnTo>
                  <a:pt x="375" y="1341"/>
                </a:lnTo>
                <a:lnTo>
                  <a:pt x="378" y="1350"/>
                </a:lnTo>
                <a:lnTo>
                  <a:pt x="384" y="1374"/>
                </a:lnTo>
                <a:lnTo>
                  <a:pt x="388" y="1397"/>
                </a:lnTo>
                <a:lnTo>
                  <a:pt x="389" y="1407"/>
                </a:lnTo>
                <a:lnTo>
                  <a:pt x="389" y="1416"/>
                </a:lnTo>
                <a:lnTo>
                  <a:pt x="388" y="1423"/>
                </a:lnTo>
                <a:lnTo>
                  <a:pt x="386" y="1426"/>
                </a:lnTo>
                <a:lnTo>
                  <a:pt x="380" y="1434"/>
                </a:lnTo>
                <a:lnTo>
                  <a:pt x="374" y="1441"/>
                </a:lnTo>
                <a:lnTo>
                  <a:pt x="373" y="1445"/>
                </a:lnTo>
                <a:lnTo>
                  <a:pt x="373" y="1450"/>
                </a:lnTo>
                <a:lnTo>
                  <a:pt x="373" y="1455"/>
                </a:lnTo>
                <a:lnTo>
                  <a:pt x="375" y="1461"/>
                </a:lnTo>
                <a:lnTo>
                  <a:pt x="381" y="1472"/>
                </a:lnTo>
                <a:lnTo>
                  <a:pt x="386" y="1479"/>
                </a:lnTo>
                <a:lnTo>
                  <a:pt x="387" y="1482"/>
                </a:lnTo>
                <a:lnTo>
                  <a:pt x="387" y="1486"/>
                </a:lnTo>
                <a:lnTo>
                  <a:pt x="386" y="1488"/>
                </a:lnTo>
                <a:lnTo>
                  <a:pt x="383" y="1491"/>
                </a:lnTo>
                <a:lnTo>
                  <a:pt x="380" y="1493"/>
                </a:lnTo>
                <a:lnTo>
                  <a:pt x="376" y="1493"/>
                </a:lnTo>
                <a:lnTo>
                  <a:pt x="374" y="1492"/>
                </a:lnTo>
                <a:lnTo>
                  <a:pt x="370" y="1489"/>
                </a:lnTo>
                <a:lnTo>
                  <a:pt x="363" y="1483"/>
                </a:lnTo>
                <a:lnTo>
                  <a:pt x="356" y="1475"/>
                </a:lnTo>
                <a:lnTo>
                  <a:pt x="349" y="1468"/>
                </a:lnTo>
                <a:lnTo>
                  <a:pt x="343" y="1463"/>
                </a:lnTo>
                <a:lnTo>
                  <a:pt x="336" y="1461"/>
                </a:lnTo>
                <a:lnTo>
                  <a:pt x="326" y="1460"/>
                </a:lnTo>
                <a:lnTo>
                  <a:pt x="320" y="1460"/>
                </a:lnTo>
                <a:lnTo>
                  <a:pt x="314" y="1457"/>
                </a:lnTo>
                <a:lnTo>
                  <a:pt x="310" y="1455"/>
                </a:lnTo>
                <a:lnTo>
                  <a:pt x="306" y="1450"/>
                </a:lnTo>
                <a:lnTo>
                  <a:pt x="304" y="1444"/>
                </a:lnTo>
                <a:lnTo>
                  <a:pt x="301" y="1436"/>
                </a:lnTo>
                <a:lnTo>
                  <a:pt x="300" y="1426"/>
                </a:lnTo>
                <a:lnTo>
                  <a:pt x="299" y="1413"/>
                </a:lnTo>
                <a:lnTo>
                  <a:pt x="298" y="1399"/>
                </a:lnTo>
                <a:lnTo>
                  <a:pt x="294" y="1384"/>
                </a:lnTo>
                <a:lnTo>
                  <a:pt x="289" y="1366"/>
                </a:lnTo>
                <a:lnTo>
                  <a:pt x="281" y="1348"/>
                </a:lnTo>
                <a:lnTo>
                  <a:pt x="270" y="1331"/>
                </a:lnTo>
                <a:lnTo>
                  <a:pt x="258" y="1315"/>
                </a:lnTo>
                <a:lnTo>
                  <a:pt x="251" y="1308"/>
                </a:lnTo>
                <a:lnTo>
                  <a:pt x="244" y="1300"/>
                </a:lnTo>
                <a:lnTo>
                  <a:pt x="236" y="1293"/>
                </a:lnTo>
                <a:lnTo>
                  <a:pt x="228" y="1287"/>
                </a:lnTo>
                <a:lnTo>
                  <a:pt x="192" y="1270"/>
                </a:lnTo>
                <a:lnTo>
                  <a:pt x="160" y="1255"/>
                </a:lnTo>
                <a:lnTo>
                  <a:pt x="147" y="1249"/>
                </a:lnTo>
                <a:lnTo>
                  <a:pt x="136" y="1243"/>
                </a:lnTo>
                <a:lnTo>
                  <a:pt x="132" y="1240"/>
                </a:lnTo>
                <a:lnTo>
                  <a:pt x="129" y="1236"/>
                </a:lnTo>
                <a:lnTo>
                  <a:pt x="126" y="1234"/>
                </a:lnTo>
                <a:lnTo>
                  <a:pt x="125" y="1230"/>
                </a:lnTo>
                <a:lnTo>
                  <a:pt x="123" y="1223"/>
                </a:lnTo>
                <a:lnTo>
                  <a:pt x="119" y="1215"/>
                </a:lnTo>
                <a:lnTo>
                  <a:pt x="115" y="1205"/>
                </a:lnTo>
                <a:lnTo>
                  <a:pt x="109" y="1196"/>
                </a:lnTo>
                <a:lnTo>
                  <a:pt x="103" y="1184"/>
                </a:lnTo>
                <a:lnTo>
                  <a:pt x="96" y="1172"/>
                </a:lnTo>
                <a:lnTo>
                  <a:pt x="88" y="1158"/>
                </a:lnTo>
                <a:lnTo>
                  <a:pt x="82" y="1142"/>
                </a:lnTo>
                <a:lnTo>
                  <a:pt x="69" y="1109"/>
                </a:lnTo>
                <a:lnTo>
                  <a:pt x="56" y="1079"/>
                </a:lnTo>
                <a:lnTo>
                  <a:pt x="48" y="1067"/>
                </a:lnTo>
                <a:lnTo>
                  <a:pt x="41" y="1058"/>
                </a:lnTo>
                <a:lnTo>
                  <a:pt x="36" y="1053"/>
                </a:lnTo>
                <a:lnTo>
                  <a:pt x="33" y="1051"/>
                </a:lnTo>
                <a:lnTo>
                  <a:pt x="28" y="1047"/>
                </a:lnTo>
                <a:lnTo>
                  <a:pt x="23" y="1046"/>
                </a:lnTo>
                <a:lnTo>
                  <a:pt x="14" y="1044"/>
                </a:lnTo>
                <a:lnTo>
                  <a:pt x="8" y="1039"/>
                </a:lnTo>
                <a:lnTo>
                  <a:pt x="4" y="1033"/>
                </a:lnTo>
                <a:lnTo>
                  <a:pt x="2" y="1027"/>
                </a:lnTo>
                <a:lnTo>
                  <a:pt x="0" y="1019"/>
                </a:lnTo>
                <a:lnTo>
                  <a:pt x="2" y="1009"/>
                </a:lnTo>
                <a:lnTo>
                  <a:pt x="2" y="1000"/>
                </a:lnTo>
                <a:lnTo>
                  <a:pt x="3" y="988"/>
                </a:lnTo>
                <a:lnTo>
                  <a:pt x="6" y="962"/>
                </a:lnTo>
                <a:lnTo>
                  <a:pt x="10" y="932"/>
                </a:lnTo>
                <a:lnTo>
                  <a:pt x="12" y="918"/>
                </a:lnTo>
                <a:lnTo>
                  <a:pt x="15" y="906"/>
                </a:lnTo>
                <a:lnTo>
                  <a:pt x="18" y="896"/>
                </a:lnTo>
                <a:lnTo>
                  <a:pt x="21" y="890"/>
                </a:lnTo>
                <a:lnTo>
                  <a:pt x="24" y="883"/>
                </a:lnTo>
                <a:lnTo>
                  <a:pt x="25" y="874"/>
                </a:lnTo>
                <a:lnTo>
                  <a:pt x="27" y="862"/>
                </a:lnTo>
                <a:lnTo>
                  <a:pt x="25" y="849"/>
                </a:lnTo>
                <a:lnTo>
                  <a:pt x="24" y="837"/>
                </a:lnTo>
                <a:lnTo>
                  <a:pt x="22" y="824"/>
                </a:lnTo>
                <a:lnTo>
                  <a:pt x="19" y="813"/>
                </a:lnTo>
                <a:lnTo>
                  <a:pt x="16" y="805"/>
                </a:lnTo>
                <a:lnTo>
                  <a:pt x="12" y="798"/>
                </a:lnTo>
                <a:lnTo>
                  <a:pt x="10" y="789"/>
                </a:lnTo>
                <a:lnTo>
                  <a:pt x="9" y="780"/>
                </a:lnTo>
                <a:lnTo>
                  <a:pt x="9" y="770"/>
                </a:lnTo>
                <a:lnTo>
                  <a:pt x="10" y="760"/>
                </a:lnTo>
                <a:lnTo>
                  <a:pt x="12" y="750"/>
                </a:lnTo>
                <a:lnTo>
                  <a:pt x="16" y="739"/>
                </a:lnTo>
                <a:lnTo>
                  <a:pt x="23" y="729"/>
                </a:lnTo>
                <a:lnTo>
                  <a:pt x="29" y="720"/>
                </a:lnTo>
                <a:lnTo>
                  <a:pt x="36" y="713"/>
                </a:lnTo>
                <a:lnTo>
                  <a:pt x="41" y="709"/>
                </a:lnTo>
                <a:lnTo>
                  <a:pt x="47" y="704"/>
                </a:lnTo>
                <a:lnTo>
                  <a:pt x="54" y="698"/>
                </a:lnTo>
                <a:lnTo>
                  <a:pt x="60" y="691"/>
                </a:lnTo>
                <a:lnTo>
                  <a:pt x="61" y="687"/>
                </a:lnTo>
                <a:lnTo>
                  <a:pt x="60" y="685"/>
                </a:lnTo>
                <a:lnTo>
                  <a:pt x="58" y="681"/>
                </a:lnTo>
                <a:lnTo>
                  <a:pt x="54" y="678"/>
                </a:lnTo>
                <a:lnTo>
                  <a:pt x="52" y="672"/>
                </a:lnTo>
                <a:lnTo>
                  <a:pt x="52" y="666"/>
                </a:lnTo>
                <a:lnTo>
                  <a:pt x="52" y="661"/>
                </a:lnTo>
                <a:lnTo>
                  <a:pt x="54" y="657"/>
                </a:lnTo>
                <a:lnTo>
                  <a:pt x="56" y="651"/>
                </a:lnTo>
                <a:lnTo>
                  <a:pt x="59" y="647"/>
                </a:lnTo>
                <a:lnTo>
                  <a:pt x="79" y="615"/>
                </a:lnTo>
                <a:lnTo>
                  <a:pt x="97" y="583"/>
                </a:lnTo>
                <a:lnTo>
                  <a:pt x="113" y="550"/>
                </a:lnTo>
                <a:lnTo>
                  <a:pt x="128" y="517"/>
                </a:lnTo>
                <a:lnTo>
                  <a:pt x="132" y="501"/>
                </a:lnTo>
                <a:lnTo>
                  <a:pt x="136" y="484"/>
                </a:lnTo>
                <a:lnTo>
                  <a:pt x="138" y="478"/>
                </a:lnTo>
                <a:lnTo>
                  <a:pt x="141" y="472"/>
                </a:lnTo>
                <a:lnTo>
                  <a:pt x="145" y="458"/>
                </a:lnTo>
                <a:lnTo>
                  <a:pt x="151" y="443"/>
                </a:lnTo>
                <a:lnTo>
                  <a:pt x="156" y="430"/>
                </a:lnTo>
                <a:lnTo>
                  <a:pt x="162" y="416"/>
                </a:lnTo>
                <a:lnTo>
                  <a:pt x="168" y="404"/>
                </a:lnTo>
                <a:lnTo>
                  <a:pt x="174" y="394"/>
                </a:lnTo>
                <a:lnTo>
                  <a:pt x="181" y="383"/>
                </a:lnTo>
                <a:lnTo>
                  <a:pt x="187" y="371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45" name="海南"/>
          <p:cNvSpPr/>
          <p:nvPr/>
        </p:nvSpPr>
        <p:spPr bwMode="auto">
          <a:xfrm>
            <a:off x="6001385" y="6322695"/>
            <a:ext cx="415925" cy="341630"/>
          </a:xfrm>
          <a:custGeom>
            <a:avLst/>
            <a:gdLst>
              <a:gd name="T0" fmla="*/ 10 w 1013"/>
              <a:gd name="T1" fmla="*/ 523 h 846"/>
              <a:gd name="T2" fmla="*/ 0 w 1013"/>
              <a:gd name="T3" fmla="*/ 448 h 846"/>
              <a:gd name="T4" fmla="*/ 18 w 1013"/>
              <a:gd name="T5" fmla="*/ 400 h 846"/>
              <a:gd name="T6" fmla="*/ 8 w 1013"/>
              <a:gd name="T7" fmla="*/ 342 h 846"/>
              <a:gd name="T8" fmla="*/ 66 w 1013"/>
              <a:gd name="T9" fmla="*/ 318 h 846"/>
              <a:gd name="T10" fmla="*/ 196 w 1013"/>
              <a:gd name="T11" fmla="*/ 227 h 846"/>
              <a:gd name="T12" fmla="*/ 284 w 1013"/>
              <a:gd name="T13" fmla="*/ 170 h 846"/>
              <a:gd name="T14" fmla="*/ 260 w 1013"/>
              <a:gd name="T15" fmla="*/ 167 h 846"/>
              <a:gd name="T16" fmla="*/ 229 w 1013"/>
              <a:gd name="T17" fmla="*/ 165 h 846"/>
              <a:gd name="T18" fmla="*/ 260 w 1013"/>
              <a:gd name="T19" fmla="*/ 120 h 846"/>
              <a:gd name="T20" fmla="*/ 333 w 1013"/>
              <a:gd name="T21" fmla="*/ 114 h 846"/>
              <a:gd name="T22" fmla="*/ 383 w 1013"/>
              <a:gd name="T23" fmla="*/ 132 h 846"/>
              <a:gd name="T24" fmla="*/ 383 w 1013"/>
              <a:gd name="T25" fmla="*/ 104 h 846"/>
              <a:gd name="T26" fmla="*/ 418 w 1013"/>
              <a:gd name="T27" fmla="*/ 64 h 846"/>
              <a:gd name="T28" fmla="*/ 495 w 1013"/>
              <a:gd name="T29" fmla="*/ 88 h 846"/>
              <a:gd name="T30" fmla="*/ 535 w 1013"/>
              <a:gd name="T31" fmla="*/ 75 h 846"/>
              <a:gd name="T32" fmla="*/ 561 w 1013"/>
              <a:gd name="T33" fmla="*/ 102 h 846"/>
              <a:gd name="T34" fmla="*/ 592 w 1013"/>
              <a:gd name="T35" fmla="*/ 77 h 846"/>
              <a:gd name="T36" fmla="*/ 636 w 1013"/>
              <a:gd name="T37" fmla="*/ 77 h 846"/>
              <a:gd name="T38" fmla="*/ 654 w 1013"/>
              <a:gd name="T39" fmla="*/ 46 h 846"/>
              <a:gd name="T40" fmla="*/ 711 w 1013"/>
              <a:gd name="T41" fmla="*/ 37 h 846"/>
              <a:gd name="T42" fmla="*/ 765 w 1013"/>
              <a:gd name="T43" fmla="*/ 43 h 846"/>
              <a:gd name="T44" fmla="*/ 815 w 1013"/>
              <a:gd name="T45" fmla="*/ 69 h 846"/>
              <a:gd name="T46" fmla="*/ 827 w 1013"/>
              <a:gd name="T47" fmla="*/ 12 h 846"/>
              <a:gd name="T48" fmla="*/ 868 w 1013"/>
              <a:gd name="T49" fmla="*/ 14 h 846"/>
              <a:gd name="T50" fmla="*/ 942 w 1013"/>
              <a:gd name="T51" fmla="*/ 60 h 846"/>
              <a:gd name="T52" fmla="*/ 1009 w 1013"/>
              <a:gd name="T53" fmla="*/ 185 h 846"/>
              <a:gd name="T54" fmla="*/ 977 w 1013"/>
              <a:gd name="T55" fmla="*/ 243 h 846"/>
              <a:gd name="T56" fmla="*/ 946 w 1013"/>
              <a:gd name="T57" fmla="*/ 234 h 846"/>
              <a:gd name="T58" fmla="*/ 912 w 1013"/>
              <a:gd name="T59" fmla="*/ 223 h 846"/>
              <a:gd name="T60" fmla="*/ 928 w 1013"/>
              <a:gd name="T61" fmla="*/ 252 h 846"/>
              <a:gd name="T62" fmla="*/ 913 w 1013"/>
              <a:gd name="T63" fmla="*/ 289 h 846"/>
              <a:gd name="T64" fmla="*/ 819 w 1013"/>
              <a:gd name="T65" fmla="*/ 441 h 846"/>
              <a:gd name="T66" fmla="*/ 776 w 1013"/>
              <a:gd name="T67" fmla="*/ 533 h 846"/>
              <a:gd name="T68" fmla="*/ 775 w 1013"/>
              <a:gd name="T69" fmla="*/ 562 h 846"/>
              <a:gd name="T70" fmla="*/ 806 w 1013"/>
              <a:gd name="T71" fmla="*/ 545 h 846"/>
              <a:gd name="T72" fmla="*/ 810 w 1013"/>
              <a:gd name="T73" fmla="*/ 582 h 846"/>
              <a:gd name="T74" fmla="*/ 732 w 1013"/>
              <a:gd name="T75" fmla="*/ 628 h 846"/>
              <a:gd name="T76" fmla="*/ 651 w 1013"/>
              <a:gd name="T77" fmla="*/ 664 h 846"/>
              <a:gd name="T78" fmla="*/ 625 w 1013"/>
              <a:gd name="T79" fmla="*/ 730 h 846"/>
              <a:gd name="T80" fmla="*/ 579 w 1013"/>
              <a:gd name="T81" fmla="*/ 750 h 846"/>
              <a:gd name="T82" fmla="*/ 575 w 1013"/>
              <a:gd name="T83" fmla="*/ 731 h 846"/>
              <a:gd name="T84" fmla="*/ 574 w 1013"/>
              <a:gd name="T85" fmla="*/ 706 h 846"/>
              <a:gd name="T86" fmla="*/ 532 w 1013"/>
              <a:gd name="T87" fmla="*/ 745 h 846"/>
              <a:gd name="T88" fmla="*/ 490 w 1013"/>
              <a:gd name="T89" fmla="*/ 744 h 846"/>
              <a:gd name="T90" fmla="*/ 461 w 1013"/>
              <a:gd name="T91" fmla="*/ 777 h 846"/>
              <a:gd name="T92" fmla="*/ 476 w 1013"/>
              <a:gd name="T93" fmla="*/ 809 h 846"/>
              <a:gd name="T94" fmla="*/ 457 w 1013"/>
              <a:gd name="T95" fmla="*/ 825 h 846"/>
              <a:gd name="T96" fmla="*/ 417 w 1013"/>
              <a:gd name="T97" fmla="*/ 814 h 846"/>
              <a:gd name="T98" fmla="*/ 406 w 1013"/>
              <a:gd name="T99" fmla="*/ 846 h 846"/>
              <a:gd name="T100" fmla="*/ 367 w 1013"/>
              <a:gd name="T101" fmla="*/ 826 h 846"/>
              <a:gd name="T102" fmla="*/ 349 w 1013"/>
              <a:gd name="T103" fmla="*/ 808 h 846"/>
              <a:gd name="T104" fmla="*/ 292 w 1013"/>
              <a:gd name="T105" fmla="*/ 783 h 846"/>
              <a:gd name="T106" fmla="*/ 213 w 1013"/>
              <a:gd name="T107" fmla="*/ 766 h 846"/>
              <a:gd name="T108" fmla="*/ 153 w 1013"/>
              <a:gd name="T109" fmla="*/ 756 h 846"/>
              <a:gd name="T110" fmla="*/ 115 w 1013"/>
              <a:gd name="T111" fmla="*/ 730 h 846"/>
              <a:gd name="T112" fmla="*/ 85 w 1013"/>
              <a:gd name="T113" fmla="*/ 706 h 846"/>
              <a:gd name="T114" fmla="*/ 63 w 1013"/>
              <a:gd name="T115" fmla="*/ 699 h 846"/>
              <a:gd name="T116" fmla="*/ 25 w 1013"/>
              <a:gd name="T117" fmla="*/ 689 h 846"/>
              <a:gd name="T118" fmla="*/ 35 w 1013"/>
              <a:gd name="T119" fmla="*/ 623 h 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3" h="846">
                <a:moveTo>
                  <a:pt x="18" y="587"/>
                </a:moveTo>
                <a:lnTo>
                  <a:pt x="14" y="582"/>
                </a:lnTo>
                <a:lnTo>
                  <a:pt x="10" y="575"/>
                </a:lnTo>
                <a:lnTo>
                  <a:pt x="9" y="569"/>
                </a:lnTo>
                <a:lnTo>
                  <a:pt x="8" y="563"/>
                </a:lnTo>
                <a:lnTo>
                  <a:pt x="8" y="556"/>
                </a:lnTo>
                <a:lnTo>
                  <a:pt x="8" y="549"/>
                </a:lnTo>
                <a:lnTo>
                  <a:pt x="10" y="523"/>
                </a:lnTo>
                <a:lnTo>
                  <a:pt x="12" y="501"/>
                </a:lnTo>
                <a:lnTo>
                  <a:pt x="10" y="492"/>
                </a:lnTo>
                <a:lnTo>
                  <a:pt x="9" y="483"/>
                </a:lnTo>
                <a:lnTo>
                  <a:pt x="7" y="475"/>
                </a:lnTo>
                <a:lnTo>
                  <a:pt x="5" y="467"/>
                </a:lnTo>
                <a:lnTo>
                  <a:pt x="2" y="460"/>
                </a:lnTo>
                <a:lnTo>
                  <a:pt x="1" y="454"/>
                </a:lnTo>
                <a:lnTo>
                  <a:pt x="0" y="448"/>
                </a:lnTo>
                <a:lnTo>
                  <a:pt x="0" y="442"/>
                </a:lnTo>
                <a:lnTo>
                  <a:pt x="0" y="437"/>
                </a:lnTo>
                <a:lnTo>
                  <a:pt x="2" y="432"/>
                </a:lnTo>
                <a:lnTo>
                  <a:pt x="3" y="428"/>
                </a:lnTo>
                <a:lnTo>
                  <a:pt x="6" y="424"/>
                </a:lnTo>
                <a:lnTo>
                  <a:pt x="12" y="416"/>
                </a:lnTo>
                <a:lnTo>
                  <a:pt x="16" y="406"/>
                </a:lnTo>
                <a:lnTo>
                  <a:pt x="18" y="400"/>
                </a:lnTo>
                <a:lnTo>
                  <a:pt x="18" y="394"/>
                </a:lnTo>
                <a:lnTo>
                  <a:pt x="18" y="388"/>
                </a:lnTo>
                <a:lnTo>
                  <a:pt x="15" y="381"/>
                </a:lnTo>
                <a:lnTo>
                  <a:pt x="12" y="374"/>
                </a:lnTo>
                <a:lnTo>
                  <a:pt x="9" y="366"/>
                </a:lnTo>
                <a:lnTo>
                  <a:pt x="7" y="357"/>
                </a:lnTo>
                <a:lnTo>
                  <a:pt x="7" y="349"/>
                </a:lnTo>
                <a:lnTo>
                  <a:pt x="8" y="342"/>
                </a:lnTo>
                <a:lnTo>
                  <a:pt x="10" y="335"/>
                </a:lnTo>
                <a:lnTo>
                  <a:pt x="13" y="333"/>
                </a:lnTo>
                <a:lnTo>
                  <a:pt x="16" y="330"/>
                </a:lnTo>
                <a:lnTo>
                  <a:pt x="20" y="329"/>
                </a:lnTo>
                <a:lnTo>
                  <a:pt x="24" y="328"/>
                </a:lnTo>
                <a:lnTo>
                  <a:pt x="43" y="325"/>
                </a:lnTo>
                <a:lnTo>
                  <a:pt x="58" y="322"/>
                </a:lnTo>
                <a:lnTo>
                  <a:pt x="66" y="318"/>
                </a:lnTo>
                <a:lnTo>
                  <a:pt x="76" y="314"/>
                </a:lnTo>
                <a:lnTo>
                  <a:pt x="85" y="306"/>
                </a:lnTo>
                <a:lnTo>
                  <a:pt x="97" y="297"/>
                </a:lnTo>
                <a:lnTo>
                  <a:pt x="122" y="275"/>
                </a:lnTo>
                <a:lnTo>
                  <a:pt x="151" y="254"/>
                </a:lnTo>
                <a:lnTo>
                  <a:pt x="165" y="245"/>
                </a:lnTo>
                <a:lnTo>
                  <a:pt x="180" y="235"/>
                </a:lnTo>
                <a:lnTo>
                  <a:pt x="196" y="227"/>
                </a:lnTo>
                <a:lnTo>
                  <a:pt x="211" y="218"/>
                </a:lnTo>
                <a:lnTo>
                  <a:pt x="240" y="205"/>
                </a:lnTo>
                <a:lnTo>
                  <a:pt x="261" y="195"/>
                </a:lnTo>
                <a:lnTo>
                  <a:pt x="270" y="190"/>
                </a:lnTo>
                <a:lnTo>
                  <a:pt x="277" y="184"/>
                </a:lnTo>
                <a:lnTo>
                  <a:pt x="280" y="179"/>
                </a:lnTo>
                <a:lnTo>
                  <a:pt x="283" y="174"/>
                </a:lnTo>
                <a:lnTo>
                  <a:pt x="284" y="170"/>
                </a:lnTo>
                <a:lnTo>
                  <a:pt x="284" y="165"/>
                </a:lnTo>
                <a:lnTo>
                  <a:pt x="284" y="163"/>
                </a:lnTo>
                <a:lnTo>
                  <a:pt x="283" y="160"/>
                </a:lnTo>
                <a:lnTo>
                  <a:pt x="280" y="159"/>
                </a:lnTo>
                <a:lnTo>
                  <a:pt x="278" y="158"/>
                </a:lnTo>
                <a:lnTo>
                  <a:pt x="274" y="159"/>
                </a:lnTo>
                <a:lnTo>
                  <a:pt x="271" y="161"/>
                </a:lnTo>
                <a:lnTo>
                  <a:pt x="260" y="167"/>
                </a:lnTo>
                <a:lnTo>
                  <a:pt x="248" y="173"/>
                </a:lnTo>
                <a:lnTo>
                  <a:pt x="243" y="176"/>
                </a:lnTo>
                <a:lnTo>
                  <a:pt x="239" y="176"/>
                </a:lnTo>
                <a:lnTo>
                  <a:pt x="236" y="176"/>
                </a:lnTo>
                <a:lnTo>
                  <a:pt x="234" y="174"/>
                </a:lnTo>
                <a:lnTo>
                  <a:pt x="233" y="172"/>
                </a:lnTo>
                <a:lnTo>
                  <a:pt x="232" y="170"/>
                </a:lnTo>
                <a:lnTo>
                  <a:pt x="229" y="165"/>
                </a:lnTo>
                <a:lnTo>
                  <a:pt x="229" y="160"/>
                </a:lnTo>
                <a:lnTo>
                  <a:pt x="229" y="155"/>
                </a:lnTo>
                <a:lnTo>
                  <a:pt x="230" y="149"/>
                </a:lnTo>
                <a:lnTo>
                  <a:pt x="233" y="145"/>
                </a:lnTo>
                <a:lnTo>
                  <a:pt x="238" y="139"/>
                </a:lnTo>
                <a:lnTo>
                  <a:pt x="243" y="133"/>
                </a:lnTo>
                <a:lnTo>
                  <a:pt x="252" y="126"/>
                </a:lnTo>
                <a:lnTo>
                  <a:pt x="260" y="120"/>
                </a:lnTo>
                <a:lnTo>
                  <a:pt x="268" y="115"/>
                </a:lnTo>
                <a:lnTo>
                  <a:pt x="276" y="110"/>
                </a:lnTo>
                <a:lnTo>
                  <a:pt x="283" y="108"/>
                </a:lnTo>
                <a:lnTo>
                  <a:pt x="290" y="106"/>
                </a:lnTo>
                <a:lnTo>
                  <a:pt x="297" y="106"/>
                </a:lnTo>
                <a:lnTo>
                  <a:pt x="305" y="107"/>
                </a:lnTo>
                <a:lnTo>
                  <a:pt x="315" y="109"/>
                </a:lnTo>
                <a:lnTo>
                  <a:pt x="333" y="114"/>
                </a:lnTo>
                <a:lnTo>
                  <a:pt x="343" y="119"/>
                </a:lnTo>
                <a:lnTo>
                  <a:pt x="350" y="123"/>
                </a:lnTo>
                <a:lnTo>
                  <a:pt x="355" y="128"/>
                </a:lnTo>
                <a:lnTo>
                  <a:pt x="359" y="130"/>
                </a:lnTo>
                <a:lnTo>
                  <a:pt x="365" y="133"/>
                </a:lnTo>
                <a:lnTo>
                  <a:pt x="371" y="133"/>
                </a:lnTo>
                <a:lnTo>
                  <a:pt x="378" y="133"/>
                </a:lnTo>
                <a:lnTo>
                  <a:pt x="383" y="132"/>
                </a:lnTo>
                <a:lnTo>
                  <a:pt x="387" y="128"/>
                </a:lnTo>
                <a:lnTo>
                  <a:pt x="388" y="126"/>
                </a:lnTo>
                <a:lnTo>
                  <a:pt x="388" y="123"/>
                </a:lnTo>
                <a:lnTo>
                  <a:pt x="387" y="121"/>
                </a:lnTo>
                <a:lnTo>
                  <a:pt x="386" y="116"/>
                </a:lnTo>
                <a:lnTo>
                  <a:pt x="384" y="113"/>
                </a:lnTo>
                <a:lnTo>
                  <a:pt x="384" y="109"/>
                </a:lnTo>
                <a:lnTo>
                  <a:pt x="383" y="104"/>
                </a:lnTo>
                <a:lnTo>
                  <a:pt x="384" y="100"/>
                </a:lnTo>
                <a:lnTo>
                  <a:pt x="386" y="91"/>
                </a:lnTo>
                <a:lnTo>
                  <a:pt x="391" y="83"/>
                </a:lnTo>
                <a:lnTo>
                  <a:pt x="397" y="76"/>
                </a:lnTo>
                <a:lnTo>
                  <a:pt x="405" y="70"/>
                </a:lnTo>
                <a:lnTo>
                  <a:pt x="410" y="67"/>
                </a:lnTo>
                <a:lnTo>
                  <a:pt x="413" y="65"/>
                </a:lnTo>
                <a:lnTo>
                  <a:pt x="418" y="64"/>
                </a:lnTo>
                <a:lnTo>
                  <a:pt x="423" y="64"/>
                </a:lnTo>
                <a:lnTo>
                  <a:pt x="441" y="64"/>
                </a:lnTo>
                <a:lnTo>
                  <a:pt x="455" y="65"/>
                </a:lnTo>
                <a:lnTo>
                  <a:pt x="462" y="66"/>
                </a:lnTo>
                <a:lnTo>
                  <a:pt x="468" y="70"/>
                </a:lnTo>
                <a:lnTo>
                  <a:pt x="475" y="73"/>
                </a:lnTo>
                <a:lnTo>
                  <a:pt x="482" y="78"/>
                </a:lnTo>
                <a:lnTo>
                  <a:pt x="495" y="88"/>
                </a:lnTo>
                <a:lnTo>
                  <a:pt x="504" y="94"/>
                </a:lnTo>
                <a:lnTo>
                  <a:pt x="507" y="95"/>
                </a:lnTo>
                <a:lnTo>
                  <a:pt x="511" y="94"/>
                </a:lnTo>
                <a:lnTo>
                  <a:pt x="514" y="91"/>
                </a:lnTo>
                <a:lnTo>
                  <a:pt x="519" y="86"/>
                </a:lnTo>
                <a:lnTo>
                  <a:pt x="524" y="82"/>
                </a:lnTo>
                <a:lnTo>
                  <a:pt x="529" y="77"/>
                </a:lnTo>
                <a:lnTo>
                  <a:pt x="535" y="75"/>
                </a:lnTo>
                <a:lnTo>
                  <a:pt x="539" y="73"/>
                </a:lnTo>
                <a:lnTo>
                  <a:pt x="543" y="73"/>
                </a:lnTo>
                <a:lnTo>
                  <a:pt x="548" y="76"/>
                </a:lnTo>
                <a:lnTo>
                  <a:pt x="550" y="81"/>
                </a:lnTo>
                <a:lnTo>
                  <a:pt x="553" y="86"/>
                </a:lnTo>
                <a:lnTo>
                  <a:pt x="554" y="94"/>
                </a:lnTo>
                <a:lnTo>
                  <a:pt x="557" y="98"/>
                </a:lnTo>
                <a:lnTo>
                  <a:pt x="561" y="102"/>
                </a:lnTo>
                <a:lnTo>
                  <a:pt x="566" y="103"/>
                </a:lnTo>
                <a:lnTo>
                  <a:pt x="569" y="103"/>
                </a:lnTo>
                <a:lnTo>
                  <a:pt x="574" y="101"/>
                </a:lnTo>
                <a:lnTo>
                  <a:pt x="577" y="96"/>
                </a:lnTo>
                <a:lnTo>
                  <a:pt x="581" y="90"/>
                </a:lnTo>
                <a:lnTo>
                  <a:pt x="583" y="84"/>
                </a:lnTo>
                <a:lnTo>
                  <a:pt x="587" y="79"/>
                </a:lnTo>
                <a:lnTo>
                  <a:pt x="592" y="77"/>
                </a:lnTo>
                <a:lnTo>
                  <a:pt x="595" y="76"/>
                </a:lnTo>
                <a:lnTo>
                  <a:pt x="606" y="77"/>
                </a:lnTo>
                <a:lnTo>
                  <a:pt x="616" y="79"/>
                </a:lnTo>
                <a:lnTo>
                  <a:pt x="620" y="82"/>
                </a:lnTo>
                <a:lnTo>
                  <a:pt x="625" y="82"/>
                </a:lnTo>
                <a:lnTo>
                  <a:pt x="630" y="81"/>
                </a:lnTo>
                <a:lnTo>
                  <a:pt x="633" y="79"/>
                </a:lnTo>
                <a:lnTo>
                  <a:pt x="636" y="77"/>
                </a:lnTo>
                <a:lnTo>
                  <a:pt x="638" y="73"/>
                </a:lnTo>
                <a:lnTo>
                  <a:pt x="641" y="70"/>
                </a:lnTo>
                <a:lnTo>
                  <a:pt x="641" y="66"/>
                </a:lnTo>
                <a:lnTo>
                  <a:pt x="642" y="62"/>
                </a:lnTo>
                <a:lnTo>
                  <a:pt x="643" y="58"/>
                </a:lnTo>
                <a:lnTo>
                  <a:pt x="645" y="53"/>
                </a:lnTo>
                <a:lnTo>
                  <a:pt x="649" y="48"/>
                </a:lnTo>
                <a:lnTo>
                  <a:pt x="654" y="46"/>
                </a:lnTo>
                <a:lnTo>
                  <a:pt x="658" y="43"/>
                </a:lnTo>
                <a:lnTo>
                  <a:pt x="665" y="43"/>
                </a:lnTo>
                <a:lnTo>
                  <a:pt x="674" y="43"/>
                </a:lnTo>
                <a:lnTo>
                  <a:pt x="681" y="44"/>
                </a:lnTo>
                <a:lnTo>
                  <a:pt x="689" y="44"/>
                </a:lnTo>
                <a:lnTo>
                  <a:pt x="695" y="44"/>
                </a:lnTo>
                <a:lnTo>
                  <a:pt x="701" y="41"/>
                </a:lnTo>
                <a:lnTo>
                  <a:pt x="711" y="37"/>
                </a:lnTo>
                <a:lnTo>
                  <a:pt x="721" y="29"/>
                </a:lnTo>
                <a:lnTo>
                  <a:pt x="726" y="27"/>
                </a:lnTo>
                <a:lnTo>
                  <a:pt x="731" y="25"/>
                </a:lnTo>
                <a:lnTo>
                  <a:pt x="737" y="26"/>
                </a:lnTo>
                <a:lnTo>
                  <a:pt x="743" y="27"/>
                </a:lnTo>
                <a:lnTo>
                  <a:pt x="750" y="31"/>
                </a:lnTo>
                <a:lnTo>
                  <a:pt x="757" y="37"/>
                </a:lnTo>
                <a:lnTo>
                  <a:pt x="765" y="43"/>
                </a:lnTo>
                <a:lnTo>
                  <a:pt x="775" y="51"/>
                </a:lnTo>
                <a:lnTo>
                  <a:pt x="784" y="58"/>
                </a:lnTo>
                <a:lnTo>
                  <a:pt x="794" y="64"/>
                </a:lnTo>
                <a:lnTo>
                  <a:pt x="801" y="69"/>
                </a:lnTo>
                <a:lnTo>
                  <a:pt x="808" y="71"/>
                </a:lnTo>
                <a:lnTo>
                  <a:pt x="810" y="71"/>
                </a:lnTo>
                <a:lnTo>
                  <a:pt x="813" y="70"/>
                </a:lnTo>
                <a:lnTo>
                  <a:pt x="815" y="69"/>
                </a:lnTo>
                <a:lnTo>
                  <a:pt x="818" y="67"/>
                </a:lnTo>
                <a:lnTo>
                  <a:pt x="820" y="60"/>
                </a:lnTo>
                <a:lnTo>
                  <a:pt x="820" y="51"/>
                </a:lnTo>
                <a:lnTo>
                  <a:pt x="819" y="33"/>
                </a:lnTo>
                <a:lnTo>
                  <a:pt x="818" y="22"/>
                </a:lnTo>
                <a:lnTo>
                  <a:pt x="819" y="19"/>
                </a:lnTo>
                <a:lnTo>
                  <a:pt x="821" y="15"/>
                </a:lnTo>
                <a:lnTo>
                  <a:pt x="827" y="12"/>
                </a:lnTo>
                <a:lnTo>
                  <a:pt x="834" y="7"/>
                </a:lnTo>
                <a:lnTo>
                  <a:pt x="843" y="3"/>
                </a:lnTo>
                <a:lnTo>
                  <a:pt x="849" y="1"/>
                </a:lnTo>
                <a:lnTo>
                  <a:pt x="854" y="0"/>
                </a:lnTo>
                <a:lnTo>
                  <a:pt x="858" y="1"/>
                </a:lnTo>
                <a:lnTo>
                  <a:pt x="862" y="3"/>
                </a:lnTo>
                <a:lnTo>
                  <a:pt x="865" y="8"/>
                </a:lnTo>
                <a:lnTo>
                  <a:pt x="868" y="14"/>
                </a:lnTo>
                <a:lnTo>
                  <a:pt x="870" y="21"/>
                </a:lnTo>
                <a:lnTo>
                  <a:pt x="873" y="28"/>
                </a:lnTo>
                <a:lnTo>
                  <a:pt x="878" y="35"/>
                </a:lnTo>
                <a:lnTo>
                  <a:pt x="884" y="40"/>
                </a:lnTo>
                <a:lnTo>
                  <a:pt x="890" y="44"/>
                </a:lnTo>
                <a:lnTo>
                  <a:pt x="907" y="50"/>
                </a:lnTo>
                <a:lnTo>
                  <a:pt x="925" y="56"/>
                </a:lnTo>
                <a:lnTo>
                  <a:pt x="942" y="60"/>
                </a:lnTo>
                <a:lnTo>
                  <a:pt x="958" y="66"/>
                </a:lnTo>
                <a:lnTo>
                  <a:pt x="965" y="71"/>
                </a:lnTo>
                <a:lnTo>
                  <a:pt x="971" y="78"/>
                </a:lnTo>
                <a:lnTo>
                  <a:pt x="977" y="86"/>
                </a:lnTo>
                <a:lnTo>
                  <a:pt x="982" y="98"/>
                </a:lnTo>
                <a:lnTo>
                  <a:pt x="994" y="130"/>
                </a:lnTo>
                <a:lnTo>
                  <a:pt x="1005" y="169"/>
                </a:lnTo>
                <a:lnTo>
                  <a:pt x="1009" y="185"/>
                </a:lnTo>
                <a:lnTo>
                  <a:pt x="1011" y="201"/>
                </a:lnTo>
                <a:lnTo>
                  <a:pt x="1013" y="207"/>
                </a:lnTo>
                <a:lnTo>
                  <a:pt x="1013" y="211"/>
                </a:lnTo>
                <a:lnTo>
                  <a:pt x="1011" y="215"/>
                </a:lnTo>
                <a:lnTo>
                  <a:pt x="1009" y="217"/>
                </a:lnTo>
                <a:lnTo>
                  <a:pt x="998" y="226"/>
                </a:lnTo>
                <a:lnTo>
                  <a:pt x="984" y="237"/>
                </a:lnTo>
                <a:lnTo>
                  <a:pt x="977" y="243"/>
                </a:lnTo>
                <a:lnTo>
                  <a:pt x="970" y="248"/>
                </a:lnTo>
                <a:lnTo>
                  <a:pt x="963" y="252"/>
                </a:lnTo>
                <a:lnTo>
                  <a:pt x="957" y="253"/>
                </a:lnTo>
                <a:lnTo>
                  <a:pt x="953" y="252"/>
                </a:lnTo>
                <a:lnTo>
                  <a:pt x="950" y="249"/>
                </a:lnTo>
                <a:lnTo>
                  <a:pt x="948" y="247"/>
                </a:lnTo>
                <a:lnTo>
                  <a:pt x="947" y="242"/>
                </a:lnTo>
                <a:lnTo>
                  <a:pt x="946" y="234"/>
                </a:lnTo>
                <a:lnTo>
                  <a:pt x="944" y="224"/>
                </a:lnTo>
                <a:lnTo>
                  <a:pt x="941" y="221"/>
                </a:lnTo>
                <a:lnTo>
                  <a:pt x="939" y="218"/>
                </a:lnTo>
                <a:lnTo>
                  <a:pt x="935" y="217"/>
                </a:lnTo>
                <a:lnTo>
                  <a:pt x="931" y="216"/>
                </a:lnTo>
                <a:lnTo>
                  <a:pt x="922" y="218"/>
                </a:lnTo>
                <a:lnTo>
                  <a:pt x="914" y="222"/>
                </a:lnTo>
                <a:lnTo>
                  <a:pt x="912" y="223"/>
                </a:lnTo>
                <a:lnTo>
                  <a:pt x="909" y="226"/>
                </a:lnTo>
                <a:lnTo>
                  <a:pt x="909" y="227"/>
                </a:lnTo>
                <a:lnTo>
                  <a:pt x="909" y="229"/>
                </a:lnTo>
                <a:lnTo>
                  <a:pt x="913" y="233"/>
                </a:lnTo>
                <a:lnTo>
                  <a:pt x="919" y="239"/>
                </a:lnTo>
                <a:lnTo>
                  <a:pt x="922" y="241"/>
                </a:lnTo>
                <a:lnTo>
                  <a:pt x="926" y="246"/>
                </a:lnTo>
                <a:lnTo>
                  <a:pt x="928" y="252"/>
                </a:lnTo>
                <a:lnTo>
                  <a:pt x="931" y="258"/>
                </a:lnTo>
                <a:lnTo>
                  <a:pt x="931" y="265"/>
                </a:lnTo>
                <a:lnTo>
                  <a:pt x="931" y="271"/>
                </a:lnTo>
                <a:lnTo>
                  <a:pt x="928" y="274"/>
                </a:lnTo>
                <a:lnTo>
                  <a:pt x="927" y="277"/>
                </a:lnTo>
                <a:lnTo>
                  <a:pt x="925" y="280"/>
                </a:lnTo>
                <a:lnTo>
                  <a:pt x="921" y="283"/>
                </a:lnTo>
                <a:lnTo>
                  <a:pt x="913" y="289"/>
                </a:lnTo>
                <a:lnTo>
                  <a:pt x="902" y="298"/>
                </a:lnTo>
                <a:lnTo>
                  <a:pt x="890" y="311"/>
                </a:lnTo>
                <a:lnTo>
                  <a:pt x="877" y="327"/>
                </a:lnTo>
                <a:lnTo>
                  <a:pt x="864" y="343"/>
                </a:lnTo>
                <a:lnTo>
                  <a:pt x="852" y="362"/>
                </a:lnTo>
                <a:lnTo>
                  <a:pt x="840" y="382"/>
                </a:lnTo>
                <a:lnTo>
                  <a:pt x="832" y="403"/>
                </a:lnTo>
                <a:lnTo>
                  <a:pt x="819" y="441"/>
                </a:lnTo>
                <a:lnTo>
                  <a:pt x="812" y="473"/>
                </a:lnTo>
                <a:lnTo>
                  <a:pt x="808" y="486"/>
                </a:lnTo>
                <a:lnTo>
                  <a:pt x="802" y="499"/>
                </a:lnTo>
                <a:lnTo>
                  <a:pt x="800" y="505"/>
                </a:lnTo>
                <a:lnTo>
                  <a:pt x="795" y="511"/>
                </a:lnTo>
                <a:lnTo>
                  <a:pt x="791" y="517"/>
                </a:lnTo>
                <a:lnTo>
                  <a:pt x="786" y="523"/>
                </a:lnTo>
                <a:lnTo>
                  <a:pt x="776" y="533"/>
                </a:lnTo>
                <a:lnTo>
                  <a:pt x="771" y="543"/>
                </a:lnTo>
                <a:lnTo>
                  <a:pt x="769" y="546"/>
                </a:lnTo>
                <a:lnTo>
                  <a:pt x="769" y="551"/>
                </a:lnTo>
                <a:lnTo>
                  <a:pt x="769" y="554"/>
                </a:lnTo>
                <a:lnTo>
                  <a:pt x="769" y="557"/>
                </a:lnTo>
                <a:lnTo>
                  <a:pt x="770" y="558"/>
                </a:lnTo>
                <a:lnTo>
                  <a:pt x="772" y="561"/>
                </a:lnTo>
                <a:lnTo>
                  <a:pt x="775" y="562"/>
                </a:lnTo>
                <a:lnTo>
                  <a:pt x="777" y="562"/>
                </a:lnTo>
                <a:lnTo>
                  <a:pt x="780" y="561"/>
                </a:lnTo>
                <a:lnTo>
                  <a:pt x="783" y="560"/>
                </a:lnTo>
                <a:lnTo>
                  <a:pt x="787" y="558"/>
                </a:lnTo>
                <a:lnTo>
                  <a:pt x="790" y="555"/>
                </a:lnTo>
                <a:lnTo>
                  <a:pt x="796" y="550"/>
                </a:lnTo>
                <a:lnTo>
                  <a:pt x="802" y="546"/>
                </a:lnTo>
                <a:lnTo>
                  <a:pt x="806" y="545"/>
                </a:lnTo>
                <a:lnTo>
                  <a:pt x="809" y="546"/>
                </a:lnTo>
                <a:lnTo>
                  <a:pt x="810" y="550"/>
                </a:lnTo>
                <a:lnTo>
                  <a:pt x="813" y="555"/>
                </a:lnTo>
                <a:lnTo>
                  <a:pt x="813" y="562"/>
                </a:lnTo>
                <a:lnTo>
                  <a:pt x="813" y="569"/>
                </a:lnTo>
                <a:lnTo>
                  <a:pt x="813" y="574"/>
                </a:lnTo>
                <a:lnTo>
                  <a:pt x="812" y="579"/>
                </a:lnTo>
                <a:lnTo>
                  <a:pt x="810" y="582"/>
                </a:lnTo>
                <a:lnTo>
                  <a:pt x="808" y="587"/>
                </a:lnTo>
                <a:lnTo>
                  <a:pt x="801" y="594"/>
                </a:lnTo>
                <a:lnTo>
                  <a:pt x="794" y="601"/>
                </a:lnTo>
                <a:lnTo>
                  <a:pt x="775" y="614"/>
                </a:lnTo>
                <a:lnTo>
                  <a:pt x="756" y="625"/>
                </a:lnTo>
                <a:lnTo>
                  <a:pt x="747" y="628"/>
                </a:lnTo>
                <a:lnTo>
                  <a:pt x="739" y="628"/>
                </a:lnTo>
                <a:lnTo>
                  <a:pt x="732" y="628"/>
                </a:lnTo>
                <a:lnTo>
                  <a:pt x="724" y="627"/>
                </a:lnTo>
                <a:lnTo>
                  <a:pt x="715" y="627"/>
                </a:lnTo>
                <a:lnTo>
                  <a:pt x="706" y="628"/>
                </a:lnTo>
                <a:lnTo>
                  <a:pt x="694" y="632"/>
                </a:lnTo>
                <a:lnTo>
                  <a:pt x="682" y="639"/>
                </a:lnTo>
                <a:lnTo>
                  <a:pt x="670" y="649"/>
                </a:lnTo>
                <a:lnTo>
                  <a:pt x="660" y="656"/>
                </a:lnTo>
                <a:lnTo>
                  <a:pt x="651" y="664"/>
                </a:lnTo>
                <a:lnTo>
                  <a:pt x="644" y="671"/>
                </a:lnTo>
                <a:lnTo>
                  <a:pt x="638" y="678"/>
                </a:lnTo>
                <a:lnTo>
                  <a:pt x="635" y="686"/>
                </a:lnTo>
                <a:lnTo>
                  <a:pt x="632" y="693"/>
                </a:lnTo>
                <a:lnTo>
                  <a:pt x="630" y="700"/>
                </a:lnTo>
                <a:lnTo>
                  <a:pt x="629" y="714"/>
                </a:lnTo>
                <a:lnTo>
                  <a:pt x="626" y="725"/>
                </a:lnTo>
                <a:lnTo>
                  <a:pt x="625" y="730"/>
                </a:lnTo>
                <a:lnTo>
                  <a:pt x="623" y="734"/>
                </a:lnTo>
                <a:lnTo>
                  <a:pt x="619" y="738"/>
                </a:lnTo>
                <a:lnTo>
                  <a:pt x="614" y="741"/>
                </a:lnTo>
                <a:lnTo>
                  <a:pt x="608" y="745"/>
                </a:lnTo>
                <a:lnTo>
                  <a:pt x="601" y="747"/>
                </a:lnTo>
                <a:lnTo>
                  <a:pt x="593" y="750"/>
                </a:lnTo>
                <a:lnTo>
                  <a:pt x="586" y="750"/>
                </a:lnTo>
                <a:lnTo>
                  <a:pt x="579" y="750"/>
                </a:lnTo>
                <a:lnTo>
                  <a:pt x="573" y="749"/>
                </a:lnTo>
                <a:lnTo>
                  <a:pt x="570" y="747"/>
                </a:lnTo>
                <a:lnTo>
                  <a:pt x="568" y="746"/>
                </a:lnTo>
                <a:lnTo>
                  <a:pt x="568" y="744"/>
                </a:lnTo>
                <a:lnTo>
                  <a:pt x="567" y="741"/>
                </a:lnTo>
                <a:lnTo>
                  <a:pt x="568" y="738"/>
                </a:lnTo>
                <a:lnTo>
                  <a:pt x="572" y="734"/>
                </a:lnTo>
                <a:lnTo>
                  <a:pt x="575" y="731"/>
                </a:lnTo>
                <a:lnTo>
                  <a:pt x="579" y="728"/>
                </a:lnTo>
                <a:lnTo>
                  <a:pt x="582" y="725"/>
                </a:lnTo>
                <a:lnTo>
                  <a:pt x="585" y="722"/>
                </a:lnTo>
                <a:lnTo>
                  <a:pt x="585" y="719"/>
                </a:lnTo>
                <a:lnTo>
                  <a:pt x="583" y="715"/>
                </a:lnTo>
                <a:lnTo>
                  <a:pt x="581" y="711"/>
                </a:lnTo>
                <a:lnTo>
                  <a:pt x="577" y="708"/>
                </a:lnTo>
                <a:lnTo>
                  <a:pt x="574" y="706"/>
                </a:lnTo>
                <a:lnTo>
                  <a:pt x="570" y="706"/>
                </a:lnTo>
                <a:lnTo>
                  <a:pt x="566" y="707"/>
                </a:lnTo>
                <a:lnTo>
                  <a:pt x="561" y="711"/>
                </a:lnTo>
                <a:lnTo>
                  <a:pt x="555" y="716"/>
                </a:lnTo>
                <a:lnTo>
                  <a:pt x="550" y="725"/>
                </a:lnTo>
                <a:lnTo>
                  <a:pt x="544" y="733"/>
                </a:lnTo>
                <a:lnTo>
                  <a:pt x="538" y="740"/>
                </a:lnTo>
                <a:lnTo>
                  <a:pt x="532" y="745"/>
                </a:lnTo>
                <a:lnTo>
                  <a:pt x="526" y="747"/>
                </a:lnTo>
                <a:lnTo>
                  <a:pt x="520" y="750"/>
                </a:lnTo>
                <a:lnTo>
                  <a:pt x="514" y="750"/>
                </a:lnTo>
                <a:lnTo>
                  <a:pt x="510" y="749"/>
                </a:lnTo>
                <a:lnTo>
                  <a:pt x="505" y="747"/>
                </a:lnTo>
                <a:lnTo>
                  <a:pt x="500" y="745"/>
                </a:lnTo>
                <a:lnTo>
                  <a:pt x="494" y="744"/>
                </a:lnTo>
                <a:lnTo>
                  <a:pt x="490" y="744"/>
                </a:lnTo>
                <a:lnTo>
                  <a:pt x="485" y="744"/>
                </a:lnTo>
                <a:lnTo>
                  <a:pt x="480" y="746"/>
                </a:lnTo>
                <a:lnTo>
                  <a:pt x="475" y="749"/>
                </a:lnTo>
                <a:lnTo>
                  <a:pt x="472" y="752"/>
                </a:lnTo>
                <a:lnTo>
                  <a:pt x="468" y="758"/>
                </a:lnTo>
                <a:lnTo>
                  <a:pt x="465" y="764"/>
                </a:lnTo>
                <a:lnTo>
                  <a:pt x="462" y="771"/>
                </a:lnTo>
                <a:lnTo>
                  <a:pt x="461" y="777"/>
                </a:lnTo>
                <a:lnTo>
                  <a:pt x="460" y="783"/>
                </a:lnTo>
                <a:lnTo>
                  <a:pt x="461" y="788"/>
                </a:lnTo>
                <a:lnTo>
                  <a:pt x="462" y="793"/>
                </a:lnTo>
                <a:lnTo>
                  <a:pt x="465" y="797"/>
                </a:lnTo>
                <a:lnTo>
                  <a:pt x="468" y="800"/>
                </a:lnTo>
                <a:lnTo>
                  <a:pt x="472" y="803"/>
                </a:lnTo>
                <a:lnTo>
                  <a:pt x="474" y="807"/>
                </a:lnTo>
                <a:lnTo>
                  <a:pt x="476" y="809"/>
                </a:lnTo>
                <a:lnTo>
                  <a:pt x="476" y="813"/>
                </a:lnTo>
                <a:lnTo>
                  <a:pt x="476" y="816"/>
                </a:lnTo>
                <a:lnTo>
                  <a:pt x="475" y="819"/>
                </a:lnTo>
                <a:lnTo>
                  <a:pt x="472" y="821"/>
                </a:lnTo>
                <a:lnTo>
                  <a:pt x="469" y="823"/>
                </a:lnTo>
                <a:lnTo>
                  <a:pt x="465" y="825"/>
                </a:lnTo>
                <a:lnTo>
                  <a:pt x="461" y="825"/>
                </a:lnTo>
                <a:lnTo>
                  <a:pt x="457" y="825"/>
                </a:lnTo>
                <a:lnTo>
                  <a:pt x="453" y="825"/>
                </a:lnTo>
                <a:lnTo>
                  <a:pt x="444" y="821"/>
                </a:lnTo>
                <a:lnTo>
                  <a:pt x="434" y="816"/>
                </a:lnTo>
                <a:lnTo>
                  <a:pt x="429" y="814"/>
                </a:lnTo>
                <a:lnTo>
                  <a:pt x="425" y="813"/>
                </a:lnTo>
                <a:lnTo>
                  <a:pt x="422" y="813"/>
                </a:lnTo>
                <a:lnTo>
                  <a:pt x="419" y="813"/>
                </a:lnTo>
                <a:lnTo>
                  <a:pt x="417" y="814"/>
                </a:lnTo>
                <a:lnTo>
                  <a:pt x="416" y="816"/>
                </a:lnTo>
                <a:lnTo>
                  <a:pt x="416" y="819"/>
                </a:lnTo>
                <a:lnTo>
                  <a:pt x="416" y="823"/>
                </a:lnTo>
                <a:lnTo>
                  <a:pt x="415" y="832"/>
                </a:lnTo>
                <a:lnTo>
                  <a:pt x="413" y="840"/>
                </a:lnTo>
                <a:lnTo>
                  <a:pt x="412" y="842"/>
                </a:lnTo>
                <a:lnTo>
                  <a:pt x="410" y="845"/>
                </a:lnTo>
                <a:lnTo>
                  <a:pt x="406" y="846"/>
                </a:lnTo>
                <a:lnTo>
                  <a:pt x="404" y="846"/>
                </a:lnTo>
                <a:lnTo>
                  <a:pt x="397" y="831"/>
                </a:lnTo>
                <a:lnTo>
                  <a:pt x="388" y="814"/>
                </a:lnTo>
                <a:lnTo>
                  <a:pt x="384" y="814"/>
                </a:lnTo>
                <a:lnTo>
                  <a:pt x="379" y="816"/>
                </a:lnTo>
                <a:lnTo>
                  <a:pt x="374" y="820"/>
                </a:lnTo>
                <a:lnTo>
                  <a:pt x="369" y="823"/>
                </a:lnTo>
                <a:lnTo>
                  <a:pt x="367" y="826"/>
                </a:lnTo>
                <a:lnTo>
                  <a:pt x="365" y="826"/>
                </a:lnTo>
                <a:lnTo>
                  <a:pt x="362" y="827"/>
                </a:lnTo>
                <a:lnTo>
                  <a:pt x="360" y="826"/>
                </a:lnTo>
                <a:lnTo>
                  <a:pt x="358" y="825"/>
                </a:lnTo>
                <a:lnTo>
                  <a:pt x="355" y="822"/>
                </a:lnTo>
                <a:lnTo>
                  <a:pt x="353" y="819"/>
                </a:lnTo>
                <a:lnTo>
                  <a:pt x="352" y="813"/>
                </a:lnTo>
                <a:lnTo>
                  <a:pt x="349" y="808"/>
                </a:lnTo>
                <a:lnTo>
                  <a:pt x="346" y="803"/>
                </a:lnTo>
                <a:lnTo>
                  <a:pt x="343" y="798"/>
                </a:lnTo>
                <a:lnTo>
                  <a:pt x="340" y="795"/>
                </a:lnTo>
                <a:lnTo>
                  <a:pt x="331" y="790"/>
                </a:lnTo>
                <a:lnTo>
                  <a:pt x="323" y="787"/>
                </a:lnTo>
                <a:lnTo>
                  <a:pt x="314" y="784"/>
                </a:lnTo>
                <a:lnTo>
                  <a:pt x="303" y="783"/>
                </a:lnTo>
                <a:lnTo>
                  <a:pt x="292" y="783"/>
                </a:lnTo>
                <a:lnTo>
                  <a:pt x="281" y="784"/>
                </a:lnTo>
                <a:lnTo>
                  <a:pt x="262" y="787"/>
                </a:lnTo>
                <a:lnTo>
                  <a:pt x="247" y="789"/>
                </a:lnTo>
                <a:lnTo>
                  <a:pt x="240" y="789"/>
                </a:lnTo>
                <a:lnTo>
                  <a:pt x="234" y="788"/>
                </a:lnTo>
                <a:lnTo>
                  <a:pt x="228" y="784"/>
                </a:lnTo>
                <a:lnTo>
                  <a:pt x="222" y="778"/>
                </a:lnTo>
                <a:lnTo>
                  <a:pt x="213" y="766"/>
                </a:lnTo>
                <a:lnTo>
                  <a:pt x="204" y="759"/>
                </a:lnTo>
                <a:lnTo>
                  <a:pt x="201" y="757"/>
                </a:lnTo>
                <a:lnTo>
                  <a:pt x="195" y="756"/>
                </a:lnTo>
                <a:lnTo>
                  <a:pt x="188" y="756"/>
                </a:lnTo>
                <a:lnTo>
                  <a:pt x="177" y="757"/>
                </a:lnTo>
                <a:lnTo>
                  <a:pt x="167" y="758"/>
                </a:lnTo>
                <a:lnTo>
                  <a:pt x="159" y="757"/>
                </a:lnTo>
                <a:lnTo>
                  <a:pt x="153" y="756"/>
                </a:lnTo>
                <a:lnTo>
                  <a:pt x="148" y="753"/>
                </a:lnTo>
                <a:lnTo>
                  <a:pt x="141" y="746"/>
                </a:lnTo>
                <a:lnTo>
                  <a:pt x="136" y="739"/>
                </a:lnTo>
                <a:lnTo>
                  <a:pt x="134" y="737"/>
                </a:lnTo>
                <a:lnTo>
                  <a:pt x="132" y="734"/>
                </a:lnTo>
                <a:lnTo>
                  <a:pt x="128" y="732"/>
                </a:lnTo>
                <a:lnTo>
                  <a:pt x="125" y="731"/>
                </a:lnTo>
                <a:lnTo>
                  <a:pt x="115" y="730"/>
                </a:lnTo>
                <a:lnTo>
                  <a:pt x="107" y="728"/>
                </a:lnTo>
                <a:lnTo>
                  <a:pt x="102" y="727"/>
                </a:lnTo>
                <a:lnTo>
                  <a:pt x="97" y="725"/>
                </a:lnTo>
                <a:lnTo>
                  <a:pt x="94" y="721"/>
                </a:lnTo>
                <a:lnTo>
                  <a:pt x="91" y="718"/>
                </a:lnTo>
                <a:lnTo>
                  <a:pt x="88" y="714"/>
                </a:lnTo>
                <a:lnTo>
                  <a:pt x="87" y="711"/>
                </a:lnTo>
                <a:lnTo>
                  <a:pt x="85" y="706"/>
                </a:lnTo>
                <a:lnTo>
                  <a:pt x="84" y="702"/>
                </a:lnTo>
                <a:lnTo>
                  <a:pt x="84" y="696"/>
                </a:lnTo>
                <a:lnTo>
                  <a:pt x="81" y="690"/>
                </a:lnTo>
                <a:lnTo>
                  <a:pt x="78" y="688"/>
                </a:lnTo>
                <a:lnTo>
                  <a:pt x="76" y="688"/>
                </a:lnTo>
                <a:lnTo>
                  <a:pt x="72" y="690"/>
                </a:lnTo>
                <a:lnTo>
                  <a:pt x="68" y="694"/>
                </a:lnTo>
                <a:lnTo>
                  <a:pt x="63" y="699"/>
                </a:lnTo>
                <a:lnTo>
                  <a:pt x="56" y="701"/>
                </a:lnTo>
                <a:lnTo>
                  <a:pt x="47" y="702"/>
                </a:lnTo>
                <a:lnTo>
                  <a:pt x="40" y="701"/>
                </a:lnTo>
                <a:lnTo>
                  <a:pt x="35" y="700"/>
                </a:lnTo>
                <a:lnTo>
                  <a:pt x="32" y="699"/>
                </a:lnTo>
                <a:lnTo>
                  <a:pt x="29" y="696"/>
                </a:lnTo>
                <a:lnTo>
                  <a:pt x="27" y="693"/>
                </a:lnTo>
                <a:lnTo>
                  <a:pt x="25" y="689"/>
                </a:lnTo>
                <a:lnTo>
                  <a:pt x="22" y="684"/>
                </a:lnTo>
                <a:lnTo>
                  <a:pt x="22" y="680"/>
                </a:lnTo>
                <a:lnTo>
                  <a:pt x="22" y="675"/>
                </a:lnTo>
                <a:lnTo>
                  <a:pt x="25" y="661"/>
                </a:lnTo>
                <a:lnTo>
                  <a:pt x="27" y="649"/>
                </a:lnTo>
                <a:lnTo>
                  <a:pt x="31" y="639"/>
                </a:lnTo>
                <a:lnTo>
                  <a:pt x="33" y="630"/>
                </a:lnTo>
                <a:lnTo>
                  <a:pt x="35" y="623"/>
                </a:lnTo>
                <a:lnTo>
                  <a:pt x="35" y="617"/>
                </a:lnTo>
                <a:lnTo>
                  <a:pt x="35" y="611"/>
                </a:lnTo>
                <a:lnTo>
                  <a:pt x="33" y="606"/>
                </a:lnTo>
                <a:lnTo>
                  <a:pt x="31" y="601"/>
                </a:lnTo>
                <a:lnTo>
                  <a:pt x="27" y="596"/>
                </a:lnTo>
                <a:lnTo>
                  <a:pt x="24" y="592"/>
                </a:lnTo>
                <a:lnTo>
                  <a:pt x="18" y="587"/>
                </a:lnTo>
                <a:close/>
              </a:path>
            </a:pathLst>
          </a:custGeom>
          <a:solidFill>
            <a:srgbClr val="7AB9E0"/>
          </a:solidFill>
          <a:ln w="6350">
            <a:solidFill>
              <a:schemeClr val="bg1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648000" rIns="91440" bIns="45720" numCol="1" anchor="t" anchorCtr="0" compatLnSpc="1"/>
          <a:lstStyle/>
          <a:p>
            <a:pPr algn="ctr"/>
            <a:endParaRPr lang="zh-CN" alt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7888605" y="4123690"/>
            <a:ext cx="148590" cy="208280"/>
            <a:chOff x="6388893" y="4075034"/>
            <a:chExt cx="131554" cy="184175"/>
          </a:xfrm>
          <a:solidFill>
            <a:srgbClr val="7AB9E0"/>
          </a:solidFill>
        </p:grpSpPr>
        <p:grpSp>
          <p:nvGrpSpPr>
            <p:cNvPr id="47" name="组合 46"/>
            <p:cNvGrpSpPr/>
            <p:nvPr/>
          </p:nvGrpSpPr>
          <p:grpSpPr>
            <a:xfrm>
              <a:off x="6388893" y="4075034"/>
              <a:ext cx="131554" cy="184175"/>
              <a:chOff x="6388893" y="4075034"/>
              <a:chExt cx="131554" cy="184175"/>
            </a:xfrm>
            <a:grpFill/>
          </p:grpSpPr>
          <p:sp>
            <p:nvSpPr>
              <p:cNvPr id="49" name="上海"/>
              <p:cNvSpPr>
                <a:spLocks noEditPoints="1"/>
              </p:cNvSpPr>
              <p:nvPr/>
            </p:nvSpPr>
            <p:spPr bwMode="auto">
              <a:xfrm>
                <a:off x="6388893" y="4075034"/>
                <a:ext cx="131554" cy="184175"/>
              </a:xfrm>
              <a:custGeom>
                <a:avLst/>
                <a:gdLst>
                  <a:gd name="T0" fmla="*/ 121 w 357"/>
                  <a:gd name="T1" fmla="*/ 465 h 494"/>
                  <a:gd name="T2" fmla="*/ 98 w 357"/>
                  <a:gd name="T3" fmla="*/ 454 h 494"/>
                  <a:gd name="T4" fmla="*/ 48 w 357"/>
                  <a:gd name="T5" fmla="*/ 449 h 494"/>
                  <a:gd name="T6" fmla="*/ 30 w 357"/>
                  <a:gd name="T7" fmla="*/ 439 h 494"/>
                  <a:gd name="T8" fmla="*/ 25 w 357"/>
                  <a:gd name="T9" fmla="*/ 416 h 494"/>
                  <a:gd name="T10" fmla="*/ 22 w 357"/>
                  <a:gd name="T11" fmla="*/ 373 h 494"/>
                  <a:gd name="T12" fmla="*/ 11 w 357"/>
                  <a:gd name="T13" fmla="*/ 365 h 494"/>
                  <a:gd name="T14" fmla="*/ 0 w 357"/>
                  <a:gd name="T15" fmla="*/ 366 h 494"/>
                  <a:gd name="T16" fmla="*/ 5 w 357"/>
                  <a:gd name="T17" fmla="*/ 342 h 494"/>
                  <a:gd name="T18" fmla="*/ 32 w 357"/>
                  <a:gd name="T19" fmla="*/ 302 h 494"/>
                  <a:gd name="T20" fmla="*/ 46 w 357"/>
                  <a:gd name="T21" fmla="*/ 247 h 494"/>
                  <a:gd name="T22" fmla="*/ 50 w 357"/>
                  <a:gd name="T23" fmla="*/ 184 h 494"/>
                  <a:gd name="T24" fmla="*/ 80 w 357"/>
                  <a:gd name="T25" fmla="*/ 157 h 494"/>
                  <a:gd name="T26" fmla="*/ 113 w 357"/>
                  <a:gd name="T27" fmla="*/ 146 h 494"/>
                  <a:gd name="T28" fmla="*/ 163 w 357"/>
                  <a:gd name="T29" fmla="*/ 164 h 494"/>
                  <a:gd name="T30" fmla="*/ 199 w 357"/>
                  <a:gd name="T31" fmla="*/ 184 h 494"/>
                  <a:gd name="T32" fmla="*/ 233 w 357"/>
                  <a:gd name="T33" fmla="*/ 200 h 494"/>
                  <a:gd name="T34" fmla="*/ 287 w 357"/>
                  <a:gd name="T35" fmla="*/ 241 h 494"/>
                  <a:gd name="T36" fmla="*/ 325 w 357"/>
                  <a:gd name="T37" fmla="*/ 298 h 494"/>
                  <a:gd name="T38" fmla="*/ 350 w 357"/>
                  <a:gd name="T39" fmla="*/ 340 h 494"/>
                  <a:gd name="T40" fmla="*/ 357 w 357"/>
                  <a:gd name="T41" fmla="*/ 372 h 494"/>
                  <a:gd name="T42" fmla="*/ 348 w 357"/>
                  <a:gd name="T43" fmla="*/ 402 h 494"/>
                  <a:gd name="T44" fmla="*/ 323 w 357"/>
                  <a:gd name="T45" fmla="*/ 411 h 494"/>
                  <a:gd name="T46" fmla="*/ 265 w 357"/>
                  <a:gd name="T47" fmla="*/ 409 h 494"/>
                  <a:gd name="T48" fmla="*/ 215 w 357"/>
                  <a:gd name="T49" fmla="*/ 421 h 494"/>
                  <a:gd name="T50" fmla="*/ 192 w 357"/>
                  <a:gd name="T51" fmla="*/ 448 h 494"/>
                  <a:gd name="T52" fmla="*/ 171 w 357"/>
                  <a:gd name="T53" fmla="*/ 472 h 494"/>
                  <a:gd name="T54" fmla="*/ 71 w 357"/>
                  <a:gd name="T55" fmla="*/ 6 h 494"/>
                  <a:gd name="T56" fmla="*/ 99 w 357"/>
                  <a:gd name="T57" fmla="*/ 0 h 494"/>
                  <a:gd name="T58" fmla="*/ 144 w 357"/>
                  <a:gd name="T59" fmla="*/ 25 h 494"/>
                  <a:gd name="T60" fmla="*/ 190 w 357"/>
                  <a:gd name="T61" fmla="*/ 45 h 494"/>
                  <a:gd name="T62" fmla="*/ 213 w 357"/>
                  <a:gd name="T63" fmla="*/ 62 h 494"/>
                  <a:gd name="T64" fmla="*/ 266 w 357"/>
                  <a:gd name="T65" fmla="*/ 84 h 494"/>
                  <a:gd name="T66" fmla="*/ 304 w 357"/>
                  <a:gd name="T67" fmla="*/ 92 h 494"/>
                  <a:gd name="T68" fmla="*/ 313 w 357"/>
                  <a:gd name="T69" fmla="*/ 99 h 494"/>
                  <a:gd name="T70" fmla="*/ 314 w 357"/>
                  <a:gd name="T71" fmla="*/ 112 h 494"/>
                  <a:gd name="T72" fmla="*/ 284 w 357"/>
                  <a:gd name="T73" fmla="*/ 137 h 494"/>
                  <a:gd name="T74" fmla="*/ 260 w 357"/>
                  <a:gd name="T75" fmla="*/ 135 h 494"/>
                  <a:gd name="T76" fmla="*/ 188 w 357"/>
                  <a:gd name="T77" fmla="*/ 106 h 494"/>
                  <a:gd name="T78" fmla="*/ 125 w 357"/>
                  <a:gd name="T79" fmla="*/ 84 h 494"/>
                  <a:gd name="T80" fmla="*/ 98 w 357"/>
                  <a:gd name="T81" fmla="*/ 71 h 494"/>
                  <a:gd name="T82" fmla="*/ 51 w 357"/>
                  <a:gd name="T83" fmla="*/ 42 h 494"/>
                  <a:gd name="T84" fmla="*/ 43 w 357"/>
                  <a:gd name="T85" fmla="*/ 31 h 494"/>
                  <a:gd name="T86" fmla="*/ 46 w 357"/>
                  <a:gd name="T87" fmla="*/ 20 h 494"/>
                  <a:gd name="T88" fmla="*/ 71 w 357"/>
                  <a:gd name="T89" fmla="*/ 6 h 494"/>
                  <a:gd name="T90" fmla="*/ 215 w 357"/>
                  <a:gd name="T91" fmla="*/ 162 h 494"/>
                  <a:gd name="T92" fmla="*/ 222 w 357"/>
                  <a:gd name="T93" fmla="*/ 157 h 494"/>
                  <a:gd name="T94" fmla="*/ 260 w 357"/>
                  <a:gd name="T95" fmla="*/ 166 h 494"/>
                  <a:gd name="T96" fmla="*/ 282 w 357"/>
                  <a:gd name="T97" fmla="*/ 183 h 494"/>
                  <a:gd name="T98" fmla="*/ 278 w 357"/>
                  <a:gd name="T99" fmla="*/ 193 h 494"/>
                  <a:gd name="T100" fmla="*/ 253 w 357"/>
                  <a:gd name="T101" fmla="*/ 183 h 494"/>
                  <a:gd name="T102" fmla="*/ 289 w 357"/>
                  <a:gd name="T103" fmla="*/ 175 h 494"/>
                  <a:gd name="T104" fmla="*/ 293 w 357"/>
                  <a:gd name="T105" fmla="*/ 171 h 494"/>
                  <a:gd name="T106" fmla="*/ 319 w 357"/>
                  <a:gd name="T107" fmla="*/ 189 h 494"/>
                  <a:gd name="T108" fmla="*/ 315 w 357"/>
                  <a:gd name="T109" fmla="*/ 194 h 494"/>
                  <a:gd name="T110" fmla="*/ 295 w 357"/>
                  <a:gd name="T111" fmla="*/ 187 h 494"/>
                  <a:gd name="T112" fmla="*/ 289 w 357"/>
                  <a:gd name="T113" fmla="*/ 175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57" h="494">
                    <a:moveTo>
                      <a:pt x="132" y="494"/>
                    </a:moveTo>
                    <a:lnTo>
                      <a:pt x="129" y="485"/>
                    </a:lnTo>
                    <a:lnTo>
                      <a:pt x="125" y="473"/>
                    </a:lnTo>
                    <a:lnTo>
                      <a:pt x="121" y="465"/>
                    </a:lnTo>
                    <a:lnTo>
                      <a:pt x="117" y="460"/>
                    </a:lnTo>
                    <a:lnTo>
                      <a:pt x="112" y="456"/>
                    </a:lnTo>
                    <a:lnTo>
                      <a:pt x="107" y="455"/>
                    </a:lnTo>
                    <a:lnTo>
                      <a:pt x="98" y="454"/>
                    </a:lnTo>
                    <a:lnTo>
                      <a:pt x="80" y="454"/>
                    </a:lnTo>
                    <a:lnTo>
                      <a:pt x="68" y="453"/>
                    </a:lnTo>
                    <a:lnTo>
                      <a:pt x="55" y="450"/>
                    </a:lnTo>
                    <a:lnTo>
                      <a:pt x="48" y="449"/>
                    </a:lnTo>
                    <a:lnTo>
                      <a:pt x="42" y="447"/>
                    </a:lnTo>
                    <a:lnTo>
                      <a:pt x="37" y="445"/>
                    </a:lnTo>
                    <a:lnTo>
                      <a:pt x="32" y="442"/>
                    </a:lnTo>
                    <a:lnTo>
                      <a:pt x="30" y="439"/>
                    </a:lnTo>
                    <a:lnTo>
                      <a:pt x="27" y="435"/>
                    </a:lnTo>
                    <a:lnTo>
                      <a:pt x="26" y="431"/>
                    </a:lnTo>
                    <a:lnTo>
                      <a:pt x="26" y="427"/>
                    </a:lnTo>
                    <a:lnTo>
                      <a:pt x="25" y="416"/>
                    </a:lnTo>
                    <a:lnTo>
                      <a:pt x="25" y="403"/>
                    </a:lnTo>
                    <a:lnTo>
                      <a:pt x="24" y="390"/>
                    </a:lnTo>
                    <a:lnTo>
                      <a:pt x="23" y="380"/>
                    </a:lnTo>
                    <a:lnTo>
                      <a:pt x="22" y="373"/>
                    </a:lnTo>
                    <a:lnTo>
                      <a:pt x="18" y="367"/>
                    </a:lnTo>
                    <a:lnTo>
                      <a:pt x="17" y="365"/>
                    </a:lnTo>
                    <a:lnTo>
                      <a:pt x="13" y="365"/>
                    </a:lnTo>
                    <a:lnTo>
                      <a:pt x="11" y="365"/>
                    </a:lnTo>
                    <a:lnTo>
                      <a:pt x="7" y="366"/>
                    </a:lnTo>
                    <a:lnTo>
                      <a:pt x="5" y="367"/>
                    </a:lnTo>
                    <a:lnTo>
                      <a:pt x="3" y="367"/>
                    </a:lnTo>
                    <a:lnTo>
                      <a:pt x="0" y="366"/>
                    </a:lnTo>
                    <a:lnTo>
                      <a:pt x="0" y="361"/>
                    </a:lnTo>
                    <a:lnTo>
                      <a:pt x="0" y="355"/>
                    </a:lnTo>
                    <a:lnTo>
                      <a:pt x="3" y="349"/>
                    </a:lnTo>
                    <a:lnTo>
                      <a:pt x="5" y="342"/>
                    </a:lnTo>
                    <a:lnTo>
                      <a:pt x="8" y="335"/>
                    </a:lnTo>
                    <a:lnTo>
                      <a:pt x="18" y="321"/>
                    </a:lnTo>
                    <a:lnTo>
                      <a:pt x="29" y="309"/>
                    </a:lnTo>
                    <a:lnTo>
                      <a:pt x="32" y="302"/>
                    </a:lnTo>
                    <a:lnTo>
                      <a:pt x="37" y="292"/>
                    </a:lnTo>
                    <a:lnTo>
                      <a:pt x="39" y="283"/>
                    </a:lnTo>
                    <a:lnTo>
                      <a:pt x="42" y="271"/>
                    </a:lnTo>
                    <a:lnTo>
                      <a:pt x="46" y="247"/>
                    </a:lnTo>
                    <a:lnTo>
                      <a:pt x="50" y="223"/>
                    </a:lnTo>
                    <a:lnTo>
                      <a:pt x="50" y="204"/>
                    </a:lnTo>
                    <a:lnTo>
                      <a:pt x="50" y="190"/>
                    </a:lnTo>
                    <a:lnTo>
                      <a:pt x="50" y="184"/>
                    </a:lnTo>
                    <a:lnTo>
                      <a:pt x="52" y="178"/>
                    </a:lnTo>
                    <a:lnTo>
                      <a:pt x="56" y="172"/>
                    </a:lnTo>
                    <a:lnTo>
                      <a:pt x="62" y="168"/>
                    </a:lnTo>
                    <a:lnTo>
                      <a:pt x="80" y="157"/>
                    </a:lnTo>
                    <a:lnTo>
                      <a:pt x="96" y="146"/>
                    </a:lnTo>
                    <a:lnTo>
                      <a:pt x="100" y="144"/>
                    </a:lnTo>
                    <a:lnTo>
                      <a:pt x="104" y="141"/>
                    </a:lnTo>
                    <a:lnTo>
                      <a:pt x="113" y="146"/>
                    </a:lnTo>
                    <a:lnTo>
                      <a:pt x="125" y="150"/>
                    </a:lnTo>
                    <a:lnTo>
                      <a:pt x="136" y="155"/>
                    </a:lnTo>
                    <a:lnTo>
                      <a:pt x="150" y="159"/>
                    </a:lnTo>
                    <a:lnTo>
                      <a:pt x="163" y="164"/>
                    </a:lnTo>
                    <a:lnTo>
                      <a:pt x="174" y="171"/>
                    </a:lnTo>
                    <a:lnTo>
                      <a:pt x="182" y="177"/>
                    </a:lnTo>
                    <a:lnTo>
                      <a:pt x="190" y="181"/>
                    </a:lnTo>
                    <a:lnTo>
                      <a:pt x="199" y="184"/>
                    </a:lnTo>
                    <a:lnTo>
                      <a:pt x="209" y="188"/>
                    </a:lnTo>
                    <a:lnTo>
                      <a:pt x="216" y="190"/>
                    </a:lnTo>
                    <a:lnTo>
                      <a:pt x="225" y="194"/>
                    </a:lnTo>
                    <a:lnTo>
                      <a:pt x="233" y="200"/>
                    </a:lnTo>
                    <a:lnTo>
                      <a:pt x="243" y="206"/>
                    </a:lnTo>
                    <a:lnTo>
                      <a:pt x="262" y="220"/>
                    </a:lnTo>
                    <a:lnTo>
                      <a:pt x="278" y="234"/>
                    </a:lnTo>
                    <a:lnTo>
                      <a:pt x="287" y="241"/>
                    </a:lnTo>
                    <a:lnTo>
                      <a:pt x="294" y="251"/>
                    </a:lnTo>
                    <a:lnTo>
                      <a:pt x="302" y="261"/>
                    </a:lnTo>
                    <a:lnTo>
                      <a:pt x="310" y="275"/>
                    </a:lnTo>
                    <a:lnTo>
                      <a:pt x="325" y="298"/>
                    </a:lnTo>
                    <a:lnTo>
                      <a:pt x="338" y="317"/>
                    </a:lnTo>
                    <a:lnTo>
                      <a:pt x="342" y="326"/>
                    </a:lnTo>
                    <a:lnTo>
                      <a:pt x="346" y="333"/>
                    </a:lnTo>
                    <a:lnTo>
                      <a:pt x="350" y="340"/>
                    </a:lnTo>
                    <a:lnTo>
                      <a:pt x="352" y="348"/>
                    </a:lnTo>
                    <a:lnTo>
                      <a:pt x="354" y="355"/>
                    </a:lnTo>
                    <a:lnTo>
                      <a:pt x="356" y="364"/>
                    </a:lnTo>
                    <a:lnTo>
                      <a:pt x="357" y="372"/>
                    </a:lnTo>
                    <a:lnTo>
                      <a:pt x="357" y="382"/>
                    </a:lnTo>
                    <a:lnTo>
                      <a:pt x="356" y="390"/>
                    </a:lnTo>
                    <a:lnTo>
                      <a:pt x="352" y="397"/>
                    </a:lnTo>
                    <a:lnTo>
                      <a:pt x="348" y="402"/>
                    </a:lnTo>
                    <a:lnTo>
                      <a:pt x="342" y="405"/>
                    </a:lnTo>
                    <a:lnTo>
                      <a:pt x="337" y="408"/>
                    </a:lnTo>
                    <a:lnTo>
                      <a:pt x="331" y="410"/>
                    </a:lnTo>
                    <a:lnTo>
                      <a:pt x="323" y="411"/>
                    </a:lnTo>
                    <a:lnTo>
                      <a:pt x="316" y="411"/>
                    </a:lnTo>
                    <a:lnTo>
                      <a:pt x="302" y="411"/>
                    </a:lnTo>
                    <a:lnTo>
                      <a:pt x="284" y="410"/>
                    </a:lnTo>
                    <a:lnTo>
                      <a:pt x="265" y="409"/>
                    </a:lnTo>
                    <a:lnTo>
                      <a:pt x="244" y="410"/>
                    </a:lnTo>
                    <a:lnTo>
                      <a:pt x="233" y="411"/>
                    </a:lnTo>
                    <a:lnTo>
                      <a:pt x="224" y="415"/>
                    </a:lnTo>
                    <a:lnTo>
                      <a:pt x="215" y="421"/>
                    </a:lnTo>
                    <a:lnTo>
                      <a:pt x="208" y="427"/>
                    </a:lnTo>
                    <a:lnTo>
                      <a:pt x="201" y="434"/>
                    </a:lnTo>
                    <a:lnTo>
                      <a:pt x="196" y="441"/>
                    </a:lnTo>
                    <a:lnTo>
                      <a:pt x="192" y="448"/>
                    </a:lnTo>
                    <a:lnTo>
                      <a:pt x="188" y="454"/>
                    </a:lnTo>
                    <a:lnTo>
                      <a:pt x="184" y="460"/>
                    </a:lnTo>
                    <a:lnTo>
                      <a:pt x="178" y="466"/>
                    </a:lnTo>
                    <a:lnTo>
                      <a:pt x="171" y="472"/>
                    </a:lnTo>
                    <a:lnTo>
                      <a:pt x="163" y="478"/>
                    </a:lnTo>
                    <a:lnTo>
                      <a:pt x="146" y="487"/>
                    </a:lnTo>
                    <a:lnTo>
                      <a:pt x="132" y="494"/>
                    </a:lnTo>
                    <a:close/>
                    <a:moveTo>
                      <a:pt x="71" y="6"/>
                    </a:moveTo>
                    <a:lnTo>
                      <a:pt x="79" y="5"/>
                    </a:lnTo>
                    <a:lnTo>
                      <a:pt x="88" y="1"/>
                    </a:lnTo>
                    <a:lnTo>
                      <a:pt x="93" y="1"/>
                    </a:lnTo>
                    <a:lnTo>
                      <a:pt x="99" y="0"/>
                    </a:lnTo>
                    <a:lnTo>
                      <a:pt x="105" y="0"/>
                    </a:lnTo>
                    <a:lnTo>
                      <a:pt x="111" y="1"/>
                    </a:lnTo>
                    <a:lnTo>
                      <a:pt x="127" y="12"/>
                    </a:lnTo>
                    <a:lnTo>
                      <a:pt x="144" y="25"/>
                    </a:lnTo>
                    <a:lnTo>
                      <a:pt x="159" y="32"/>
                    </a:lnTo>
                    <a:lnTo>
                      <a:pt x="174" y="37"/>
                    </a:lnTo>
                    <a:lnTo>
                      <a:pt x="184" y="42"/>
                    </a:lnTo>
                    <a:lnTo>
                      <a:pt x="190" y="45"/>
                    </a:lnTo>
                    <a:lnTo>
                      <a:pt x="195" y="50"/>
                    </a:lnTo>
                    <a:lnTo>
                      <a:pt x="200" y="55"/>
                    </a:lnTo>
                    <a:lnTo>
                      <a:pt x="207" y="58"/>
                    </a:lnTo>
                    <a:lnTo>
                      <a:pt x="213" y="62"/>
                    </a:lnTo>
                    <a:lnTo>
                      <a:pt x="224" y="67"/>
                    </a:lnTo>
                    <a:lnTo>
                      <a:pt x="238" y="72"/>
                    </a:lnTo>
                    <a:lnTo>
                      <a:pt x="253" y="80"/>
                    </a:lnTo>
                    <a:lnTo>
                      <a:pt x="266" y="84"/>
                    </a:lnTo>
                    <a:lnTo>
                      <a:pt x="276" y="87"/>
                    </a:lnTo>
                    <a:lnTo>
                      <a:pt x="288" y="89"/>
                    </a:lnTo>
                    <a:lnTo>
                      <a:pt x="299" y="90"/>
                    </a:lnTo>
                    <a:lnTo>
                      <a:pt x="304" y="92"/>
                    </a:lnTo>
                    <a:lnTo>
                      <a:pt x="307" y="92"/>
                    </a:lnTo>
                    <a:lnTo>
                      <a:pt x="309" y="93"/>
                    </a:lnTo>
                    <a:lnTo>
                      <a:pt x="312" y="95"/>
                    </a:lnTo>
                    <a:lnTo>
                      <a:pt x="313" y="99"/>
                    </a:lnTo>
                    <a:lnTo>
                      <a:pt x="314" y="101"/>
                    </a:lnTo>
                    <a:lnTo>
                      <a:pt x="315" y="105"/>
                    </a:lnTo>
                    <a:lnTo>
                      <a:pt x="315" y="108"/>
                    </a:lnTo>
                    <a:lnTo>
                      <a:pt x="314" y="112"/>
                    </a:lnTo>
                    <a:lnTo>
                      <a:pt x="309" y="120"/>
                    </a:lnTo>
                    <a:lnTo>
                      <a:pt x="302" y="127"/>
                    </a:lnTo>
                    <a:lnTo>
                      <a:pt x="294" y="133"/>
                    </a:lnTo>
                    <a:lnTo>
                      <a:pt x="284" y="137"/>
                    </a:lnTo>
                    <a:lnTo>
                      <a:pt x="278" y="137"/>
                    </a:lnTo>
                    <a:lnTo>
                      <a:pt x="274" y="137"/>
                    </a:lnTo>
                    <a:lnTo>
                      <a:pt x="268" y="137"/>
                    </a:lnTo>
                    <a:lnTo>
                      <a:pt x="260" y="135"/>
                    </a:lnTo>
                    <a:lnTo>
                      <a:pt x="246" y="130"/>
                    </a:lnTo>
                    <a:lnTo>
                      <a:pt x="228" y="122"/>
                    </a:lnTo>
                    <a:lnTo>
                      <a:pt x="208" y="114"/>
                    </a:lnTo>
                    <a:lnTo>
                      <a:pt x="188" y="106"/>
                    </a:lnTo>
                    <a:lnTo>
                      <a:pt x="170" y="99"/>
                    </a:lnTo>
                    <a:lnTo>
                      <a:pt x="155" y="94"/>
                    </a:lnTo>
                    <a:lnTo>
                      <a:pt x="140" y="89"/>
                    </a:lnTo>
                    <a:lnTo>
                      <a:pt x="125" y="84"/>
                    </a:lnTo>
                    <a:lnTo>
                      <a:pt x="118" y="82"/>
                    </a:lnTo>
                    <a:lnTo>
                      <a:pt x="109" y="80"/>
                    </a:lnTo>
                    <a:lnTo>
                      <a:pt x="104" y="76"/>
                    </a:lnTo>
                    <a:lnTo>
                      <a:pt x="98" y="71"/>
                    </a:lnTo>
                    <a:lnTo>
                      <a:pt x="79" y="56"/>
                    </a:lnTo>
                    <a:lnTo>
                      <a:pt x="68" y="49"/>
                    </a:lnTo>
                    <a:lnTo>
                      <a:pt x="60" y="45"/>
                    </a:lnTo>
                    <a:lnTo>
                      <a:pt x="51" y="42"/>
                    </a:lnTo>
                    <a:lnTo>
                      <a:pt x="48" y="39"/>
                    </a:lnTo>
                    <a:lnTo>
                      <a:pt x="45" y="36"/>
                    </a:lnTo>
                    <a:lnTo>
                      <a:pt x="44" y="33"/>
                    </a:lnTo>
                    <a:lnTo>
                      <a:pt x="43" y="31"/>
                    </a:lnTo>
                    <a:lnTo>
                      <a:pt x="43" y="27"/>
                    </a:lnTo>
                    <a:lnTo>
                      <a:pt x="44" y="25"/>
                    </a:lnTo>
                    <a:lnTo>
                      <a:pt x="45" y="23"/>
                    </a:lnTo>
                    <a:lnTo>
                      <a:pt x="46" y="20"/>
                    </a:lnTo>
                    <a:lnTo>
                      <a:pt x="52" y="15"/>
                    </a:lnTo>
                    <a:lnTo>
                      <a:pt x="58" y="12"/>
                    </a:lnTo>
                    <a:lnTo>
                      <a:pt x="66" y="8"/>
                    </a:lnTo>
                    <a:lnTo>
                      <a:pt x="71" y="6"/>
                    </a:lnTo>
                    <a:close/>
                    <a:moveTo>
                      <a:pt x="220" y="166"/>
                    </a:moveTo>
                    <a:lnTo>
                      <a:pt x="216" y="165"/>
                    </a:lnTo>
                    <a:lnTo>
                      <a:pt x="215" y="163"/>
                    </a:lnTo>
                    <a:lnTo>
                      <a:pt x="215" y="162"/>
                    </a:lnTo>
                    <a:lnTo>
                      <a:pt x="215" y="159"/>
                    </a:lnTo>
                    <a:lnTo>
                      <a:pt x="216" y="158"/>
                    </a:lnTo>
                    <a:lnTo>
                      <a:pt x="219" y="157"/>
                    </a:lnTo>
                    <a:lnTo>
                      <a:pt x="222" y="157"/>
                    </a:lnTo>
                    <a:lnTo>
                      <a:pt x="227" y="158"/>
                    </a:lnTo>
                    <a:lnTo>
                      <a:pt x="238" y="160"/>
                    </a:lnTo>
                    <a:lnTo>
                      <a:pt x="250" y="163"/>
                    </a:lnTo>
                    <a:lnTo>
                      <a:pt x="260" y="166"/>
                    </a:lnTo>
                    <a:lnTo>
                      <a:pt x="270" y="171"/>
                    </a:lnTo>
                    <a:lnTo>
                      <a:pt x="276" y="175"/>
                    </a:lnTo>
                    <a:lnTo>
                      <a:pt x="279" y="179"/>
                    </a:lnTo>
                    <a:lnTo>
                      <a:pt x="282" y="183"/>
                    </a:lnTo>
                    <a:lnTo>
                      <a:pt x="283" y="188"/>
                    </a:lnTo>
                    <a:lnTo>
                      <a:pt x="282" y="190"/>
                    </a:lnTo>
                    <a:lnTo>
                      <a:pt x="281" y="191"/>
                    </a:lnTo>
                    <a:lnTo>
                      <a:pt x="278" y="193"/>
                    </a:lnTo>
                    <a:lnTo>
                      <a:pt x="275" y="194"/>
                    </a:lnTo>
                    <a:lnTo>
                      <a:pt x="269" y="193"/>
                    </a:lnTo>
                    <a:lnTo>
                      <a:pt x="263" y="190"/>
                    </a:lnTo>
                    <a:lnTo>
                      <a:pt x="253" y="183"/>
                    </a:lnTo>
                    <a:lnTo>
                      <a:pt x="241" y="178"/>
                    </a:lnTo>
                    <a:lnTo>
                      <a:pt x="231" y="172"/>
                    </a:lnTo>
                    <a:lnTo>
                      <a:pt x="220" y="166"/>
                    </a:lnTo>
                    <a:close/>
                    <a:moveTo>
                      <a:pt x="289" y="175"/>
                    </a:moveTo>
                    <a:lnTo>
                      <a:pt x="289" y="172"/>
                    </a:lnTo>
                    <a:lnTo>
                      <a:pt x="290" y="171"/>
                    </a:lnTo>
                    <a:lnTo>
                      <a:pt x="291" y="171"/>
                    </a:lnTo>
                    <a:lnTo>
                      <a:pt x="293" y="171"/>
                    </a:lnTo>
                    <a:lnTo>
                      <a:pt x="297" y="172"/>
                    </a:lnTo>
                    <a:lnTo>
                      <a:pt x="302" y="175"/>
                    </a:lnTo>
                    <a:lnTo>
                      <a:pt x="312" y="182"/>
                    </a:lnTo>
                    <a:lnTo>
                      <a:pt x="319" y="189"/>
                    </a:lnTo>
                    <a:lnTo>
                      <a:pt x="319" y="190"/>
                    </a:lnTo>
                    <a:lnTo>
                      <a:pt x="319" y="191"/>
                    </a:lnTo>
                    <a:lnTo>
                      <a:pt x="318" y="193"/>
                    </a:lnTo>
                    <a:lnTo>
                      <a:pt x="315" y="194"/>
                    </a:lnTo>
                    <a:lnTo>
                      <a:pt x="310" y="194"/>
                    </a:lnTo>
                    <a:lnTo>
                      <a:pt x="306" y="193"/>
                    </a:lnTo>
                    <a:lnTo>
                      <a:pt x="300" y="190"/>
                    </a:lnTo>
                    <a:lnTo>
                      <a:pt x="295" y="187"/>
                    </a:lnTo>
                    <a:lnTo>
                      <a:pt x="293" y="184"/>
                    </a:lnTo>
                    <a:lnTo>
                      <a:pt x="290" y="182"/>
                    </a:lnTo>
                    <a:lnTo>
                      <a:pt x="289" y="178"/>
                    </a:lnTo>
                    <a:lnTo>
                      <a:pt x="289" y="175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/>
                <a:endParaRPr lang="zh-CN" altLang="en-US" sz="40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endParaRPr>
              </a:p>
            </p:txBody>
          </p:sp>
          <p:sp>
            <p:nvSpPr>
              <p:cNvPr id="50" name="Freeform 108"/>
              <p:cNvSpPr/>
              <p:nvPr/>
            </p:nvSpPr>
            <p:spPr bwMode="auto">
              <a:xfrm>
                <a:off x="6402049" y="4075034"/>
                <a:ext cx="105243" cy="52621"/>
              </a:xfrm>
              <a:custGeom>
                <a:avLst/>
                <a:gdLst>
                  <a:gd name="T0" fmla="*/ 147 w 268"/>
                  <a:gd name="T1" fmla="*/ 108 h 134"/>
                  <a:gd name="T2" fmla="*/ 129 w 268"/>
                  <a:gd name="T3" fmla="*/ 101 h 134"/>
                  <a:gd name="T4" fmla="*/ 104 w 268"/>
                  <a:gd name="T5" fmla="*/ 93 h 134"/>
                  <a:gd name="T6" fmla="*/ 79 w 268"/>
                  <a:gd name="T7" fmla="*/ 85 h 134"/>
                  <a:gd name="T8" fmla="*/ 61 w 268"/>
                  <a:gd name="T9" fmla="*/ 76 h 134"/>
                  <a:gd name="T10" fmla="*/ 50 w 268"/>
                  <a:gd name="T11" fmla="*/ 68 h 134"/>
                  <a:gd name="T12" fmla="*/ 41 w 268"/>
                  <a:gd name="T13" fmla="*/ 60 h 134"/>
                  <a:gd name="T14" fmla="*/ 34 w 268"/>
                  <a:gd name="T15" fmla="*/ 52 h 134"/>
                  <a:gd name="T16" fmla="*/ 25 w 268"/>
                  <a:gd name="T17" fmla="*/ 48 h 134"/>
                  <a:gd name="T18" fmla="*/ 17 w 268"/>
                  <a:gd name="T19" fmla="*/ 44 h 134"/>
                  <a:gd name="T20" fmla="*/ 10 w 268"/>
                  <a:gd name="T21" fmla="*/ 42 h 134"/>
                  <a:gd name="T22" fmla="*/ 4 w 268"/>
                  <a:gd name="T23" fmla="*/ 38 h 134"/>
                  <a:gd name="T24" fmla="*/ 2 w 268"/>
                  <a:gd name="T25" fmla="*/ 33 h 134"/>
                  <a:gd name="T26" fmla="*/ 0 w 268"/>
                  <a:gd name="T27" fmla="*/ 31 h 134"/>
                  <a:gd name="T28" fmla="*/ 0 w 268"/>
                  <a:gd name="T29" fmla="*/ 28 h 134"/>
                  <a:gd name="T30" fmla="*/ 2 w 268"/>
                  <a:gd name="T31" fmla="*/ 25 h 134"/>
                  <a:gd name="T32" fmla="*/ 3 w 268"/>
                  <a:gd name="T33" fmla="*/ 22 h 134"/>
                  <a:gd name="T34" fmla="*/ 9 w 268"/>
                  <a:gd name="T35" fmla="*/ 16 h 134"/>
                  <a:gd name="T36" fmla="*/ 16 w 268"/>
                  <a:gd name="T37" fmla="*/ 10 h 134"/>
                  <a:gd name="T38" fmla="*/ 22 w 268"/>
                  <a:gd name="T39" fmla="*/ 7 h 134"/>
                  <a:gd name="T40" fmla="*/ 29 w 268"/>
                  <a:gd name="T41" fmla="*/ 5 h 134"/>
                  <a:gd name="T42" fmla="*/ 37 w 268"/>
                  <a:gd name="T43" fmla="*/ 3 h 134"/>
                  <a:gd name="T44" fmla="*/ 46 w 268"/>
                  <a:gd name="T45" fmla="*/ 1 h 134"/>
                  <a:gd name="T46" fmla="*/ 54 w 268"/>
                  <a:gd name="T47" fmla="*/ 0 h 134"/>
                  <a:gd name="T48" fmla="*/ 62 w 268"/>
                  <a:gd name="T49" fmla="*/ 0 h 134"/>
                  <a:gd name="T50" fmla="*/ 69 w 268"/>
                  <a:gd name="T51" fmla="*/ 1 h 134"/>
                  <a:gd name="T52" fmla="*/ 74 w 268"/>
                  <a:gd name="T53" fmla="*/ 5 h 134"/>
                  <a:gd name="T54" fmla="*/ 83 w 268"/>
                  <a:gd name="T55" fmla="*/ 13 h 134"/>
                  <a:gd name="T56" fmla="*/ 91 w 268"/>
                  <a:gd name="T57" fmla="*/ 20 h 134"/>
                  <a:gd name="T58" fmla="*/ 100 w 268"/>
                  <a:gd name="T59" fmla="*/ 26 h 134"/>
                  <a:gd name="T60" fmla="*/ 111 w 268"/>
                  <a:gd name="T61" fmla="*/ 31 h 134"/>
                  <a:gd name="T62" fmla="*/ 123 w 268"/>
                  <a:gd name="T63" fmla="*/ 35 h 134"/>
                  <a:gd name="T64" fmla="*/ 135 w 268"/>
                  <a:gd name="T65" fmla="*/ 39 h 134"/>
                  <a:gd name="T66" fmla="*/ 140 w 268"/>
                  <a:gd name="T67" fmla="*/ 42 h 134"/>
                  <a:gd name="T68" fmla="*/ 144 w 268"/>
                  <a:gd name="T69" fmla="*/ 44 h 134"/>
                  <a:gd name="T70" fmla="*/ 148 w 268"/>
                  <a:gd name="T71" fmla="*/ 48 h 134"/>
                  <a:gd name="T72" fmla="*/ 151 w 268"/>
                  <a:gd name="T73" fmla="*/ 52 h 134"/>
                  <a:gd name="T74" fmla="*/ 156 w 268"/>
                  <a:gd name="T75" fmla="*/ 57 h 134"/>
                  <a:gd name="T76" fmla="*/ 161 w 268"/>
                  <a:gd name="T77" fmla="*/ 61 h 134"/>
                  <a:gd name="T78" fmla="*/ 168 w 268"/>
                  <a:gd name="T79" fmla="*/ 66 h 134"/>
                  <a:gd name="T80" fmla="*/ 176 w 268"/>
                  <a:gd name="T81" fmla="*/ 69 h 134"/>
                  <a:gd name="T82" fmla="*/ 192 w 268"/>
                  <a:gd name="T83" fmla="*/ 75 h 134"/>
                  <a:gd name="T84" fmla="*/ 209 w 268"/>
                  <a:gd name="T85" fmla="*/ 80 h 134"/>
                  <a:gd name="T86" fmla="*/ 224 w 268"/>
                  <a:gd name="T87" fmla="*/ 83 h 134"/>
                  <a:gd name="T88" fmla="*/ 242 w 268"/>
                  <a:gd name="T89" fmla="*/ 87 h 134"/>
                  <a:gd name="T90" fmla="*/ 250 w 268"/>
                  <a:gd name="T91" fmla="*/ 88 h 134"/>
                  <a:gd name="T92" fmla="*/ 257 w 268"/>
                  <a:gd name="T93" fmla="*/ 91 h 134"/>
                  <a:gd name="T94" fmla="*/ 262 w 268"/>
                  <a:gd name="T95" fmla="*/ 94 h 134"/>
                  <a:gd name="T96" fmla="*/ 267 w 268"/>
                  <a:gd name="T97" fmla="*/ 99 h 134"/>
                  <a:gd name="T98" fmla="*/ 268 w 268"/>
                  <a:gd name="T99" fmla="*/ 104 h 134"/>
                  <a:gd name="T100" fmla="*/ 268 w 268"/>
                  <a:gd name="T101" fmla="*/ 110 h 134"/>
                  <a:gd name="T102" fmla="*/ 267 w 268"/>
                  <a:gd name="T103" fmla="*/ 114 h 134"/>
                  <a:gd name="T104" fmla="*/ 263 w 268"/>
                  <a:gd name="T105" fmla="*/ 119 h 134"/>
                  <a:gd name="T106" fmla="*/ 255 w 268"/>
                  <a:gd name="T107" fmla="*/ 127 h 134"/>
                  <a:gd name="T108" fmla="*/ 245 w 268"/>
                  <a:gd name="T109" fmla="*/ 133 h 134"/>
                  <a:gd name="T110" fmla="*/ 239 w 268"/>
                  <a:gd name="T111" fmla="*/ 134 h 134"/>
                  <a:gd name="T112" fmla="*/ 229 w 268"/>
                  <a:gd name="T113" fmla="*/ 133 h 134"/>
                  <a:gd name="T114" fmla="*/ 216 w 268"/>
                  <a:gd name="T115" fmla="*/ 131 h 134"/>
                  <a:gd name="T116" fmla="*/ 200 w 268"/>
                  <a:gd name="T117" fmla="*/ 126 h 134"/>
                  <a:gd name="T118" fmla="*/ 169 w 268"/>
                  <a:gd name="T119" fmla="*/ 117 h 134"/>
                  <a:gd name="T120" fmla="*/ 147 w 268"/>
                  <a:gd name="T121" fmla="*/ 10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8" h="134">
                    <a:moveTo>
                      <a:pt x="147" y="108"/>
                    </a:moveTo>
                    <a:lnTo>
                      <a:pt x="129" y="101"/>
                    </a:lnTo>
                    <a:lnTo>
                      <a:pt x="104" y="93"/>
                    </a:lnTo>
                    <a:lnTo>
                      <a:pt x="79" y="85"/>
                    </a:lnTo>
                    <a:lnTo>
                      <a:pt x="61" y="76"/>
                    </a:lnTo>
                    <a:lnTo>
                      <a:pt x="50" y="68"/>
                    </a:lnTo>
                    <a:lnTo>
                      <a:pt x="41" y="60"/>
                    </a:lnTo>
                    <a:lnTo>
                      <a:pt x="34" y="52"/>
                    </a:lnTo>
                    <a:lnTo>
                      <a:pt x="25" y="48"/>
                    </a:lnTo>
                    <a:lnTo>
                      <a:pt x="17" y="44"/>
                    </a:lnTo>
                    <a:lnTo>
                      <a:pt x="10" y="42"/>
                    </a:lnTo>
                    <a:lnTo>
                      <a:pt x="4" y="38"/>
                    </a:lnTo>
                    <a:lnTo>
                      <a:pt x="2" y="33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2" y="25"/>
                    </a:lnTo>
                    <a:lnTo>
                      <a:pt x="3" y="22"/>
                    </a:lnTo>
                    <a:lnTo>
                      <a:pt x="9" y="16"/>
                    </a:lnTo>
                    <a:lnTo>
                      <a:pt x="16" y="10"/>
                    </a:lnTo>
                    <a:lnTo>
                      <a:pt x="22" y="7"/>
                    </a:lnTo>
                    <a:lnTo>
                      <a:pt x="29" y="5"/>
                    </a:lnTo>
                    <a:lnTo>
                      <a:pt x="37" y="3"/>
                    </a:lnTo>
                    <a:lnTo>
                      <a:pt x="46" y="1"/>
                    </a:lnTo>
                    <a:lnTo>
                      <a:pt x="54" y="0"/>
                    </a:lnTo>
                    <a:lnTo>
                      <a:pt x="62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83" y="13"/>
                    </a:lnTo>
                    <a:lnTo>
                      <a:pt x="91" y="20"/>
                    </a:lnTo>
                    <a:lnTo>
                      <a:pt x="100" y="26"/>
                    </a:lnTo>
                    <a:lnTo>
                      <a:pt x="111" y="31"/>
                    </a:lnTo>
                    <a:lnTo>
                      <a:pt x="123" y="35"/>
                    </a:lnTo>
                    <a:lnTo>
                      <a:pt x="135" y="39"/>
                    </a:lnTo>
                    <a:lnTo>
                      <a:pt x="140" y="42"/>
                    </a:lnTo>
                    <a:lnTo>
                      <a:pt x="144" y="44"/>
                    </a:lnTo>
                    <a:lnTo>
                      <a:pt x="148" y="48"/>
                    </a:lnTo>
                    <a:lnTo>
                      <a:pt x="151" y="52"/>
                    </a:lnTo>
                    <a:lnTo>
                      <a:pt x="156" y="57"/>
                    </a:lnTo>
                    <a:lnTo>
                      <a:pt x="161" y="61"/>
                    </a:lnTo>
                    <a:lnTo>
                      <a:pt x="168" y="66"/>
                    </a:lnTo>
                    <a:lnTo>
                      <a:pt x="176" y="69"/>
                    </a:lnTo>
                    <a:lnTo>
                      <a:pt x="192" y="75"/>
                    </a:lnTo>
                    <a:lnTo>
                      <a:pt x="209" y="80"/>
                    </a:lnTo>
                    <a:lnTo>
                      <a:pt x="224" y="83"/>
                    </a:lnTo>
                    <a:lnTo>
                      <a:pt x="242" y="87"/>
                    </a:lnTo>
                    <a:lnTo>
                      <a:pt x="250" y="88"/>
                    </a:lnTo>
                    <a:lnTo>
                      <a:pt x="257" y="91"/>
                    </a:lnTo>
                    <a:lnTo>
                      <a:pt x="262" y="94"/>
                    </a:lnTo>
                    <a:lnTo>
                      <a:pt x="267" y="99"/>
                    </a:lnTo>
                    <a:lnTo>
                      <a:pt x="268" y="104"/>
                    </a:lnTo>
                    <a:lnTo>
                      <a:pt x="268" y="110"/>
                    </a:lnTo>
                    <a:lnTo>
                      <a:pt x="267" y="114"/>
                    </a:lnTo>
                    <a:lnTo>
                      <a:pt x="263" y="119"/>
                    </a:lnTo>
                    <a:lnTo>
                      <a:pt x="255" y="127"/>
                    </a:lnTo>
                    <a:lnTo>
                      <a:pt x="245" y="133"/>
                    </a:lnTo>
                    <a:lnTo>
                      <a:pt x="239" y="134"/>
                    </a:lnTo>
                    <a:lnTo>
                      <a:pt x="229" y="133"/>
                    </a:lnTo>
                    <a:lnTo>
                      <a:pt x="216" y="131"/>
                    </a:lnTo>
                    <a:lnTo>
                      <a:pt x="200" y="126"/>
                    </a:lnTo>
                    <a:lnTo>
                      <a:pt x="169" y="117"/>
                    </a:lnTo>
                    <a:lnTo>
                      <a:pt x="147" y="10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/>
                <a:endParaRPr lang="zh-CN" altLang="en-US" sz="40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endParaRPr>
              </a:p>
            </p:txBody>
          </p:sp>
          <p:sp>
            <p:nvSpPr>
              <p:cNvPr id="51" name="Freeform 109"/>
              <p:cNvSpPr/>
              <p:nvPr/>
            </p:nvSpPr>
            <p:spPr bwMode="auto">
              <a:xfrm>
                <a:off x="6467825" y="4140811"/>
                <a:ext cx="26311" cy="13155"/>
              </a:xfrm>
              <a:custGeom>
                <a:avLst/>
                <a:gdLst>
                  <a:gd name="T0" fmla="*/ 27 w 68"/>
                  <a:gd name="T1" fmla="*/ 22 h 35"/>
                  <a:gd name="T2" fmla="*/ 15 w 68"/>
                  <a:gd name="T3" fmla="*/ 16 h 35"/>
                  <a:gd name="T4" fmla="*/ 2 w 68"/>
                  <a:gd name="T5" fmla="*/ 9 h 35"/>
                  <a:gd name="T6" fmla="*/ 1 w 68"/>
                  <a:gd name="T7" fmla="*/ 8 h 35"/>
                  <a:gd name="T8" fmla="*/ 0 w 68"/>
                  <a:gd name="T9" fmla="*/ 6 h 35"/>
                  <a:gd name="T10" fmla="*/ 0 w 68"/>
                  <a:gd name="T11" fmla="*/ 3 h 35"/>
                  <a:gd name="T12" fmla="*/ 1 w 68"/>
                  <a:gd name="T13" fmla="*/ 2 h 35"/>
                  <a:gd name="T14" fmla="*/ 6 w 68"/>
                  <a:gd name="T15" fmla="*/ 0 h 35"/>
                  <a:gd name="T16" fmla="*/ 13 w 68"/>
                  <a:gd name="T17" fmla="*/ 0 h 35"/>
                  <a:gd name="T18" fmla="*/ 23 w 68"/>
                  <a:gd name="T19" fmla="*/ 2 h 35"/>
                  <a:gd name="T20" fmla="*/ 34 w 68"/>
                  <a:gd name="T21" fmla="*/ 7 h 35"/>
                  <a:gd name="T22" fmla="*/ 45 w 68"/>
                  <a:gd name="T23" fmla="*/ 10 h 35"/>
                  <a:gd name="T24" fmla="*/ 53 w 68"/>
                  <a:gd name="T25" fmla="*/ 14 h 35"/>
                  <a:gd name="T26" fmla="*/ 59 w 68"/>
                  <a:gd name="T27" fmla="*/ 18 h 35"/>
                  <a:gd name="T28" fmla="*/ 64 w 68"/>
                  <a:gd name="T29" fmla="*/ 23 h 35"/>
                  <a:gd name="T30" fmla="*/ 65 w 68"/>
                  <a:gd name="T31" fmla="*/ 26 h 35"/>
                  <a:gd name="T32" fmla="*/ 66 w 68"/>
                  <a:gd name="T33" fmla="*/ 28 h 35"/>
                  <a:gd name="T34" fmla="*/ 68 w 68"/>
                  <a:gd name="T35" fmla="*/ 32 h 35"/>
                  <a:gd name="T36" fmla="*/ 66 w 68"/>
                  <a:gd name="T37" fmla="*/ 34 h 35"/>
                  <a:gd name="T38" fmla="*/ 65 w 68"/>
                  <a:gd name="T39" fmla="*/ 35 h 35"/>
                  <a:gd name="T40" fmla="*/ 61 w 68"/>
                  <a:gd name="T41" fmla="*/ 35 h 35"/>
                  <a:gd name="T42" fmla="*/ 56 w 68"/>
                  <a:gd name="T43" fmla="*/ 34 h 35"/>
                  <a:gd name="T44" fmla="*/ 50 w 68"/>
                  <a:gd name="T45" fmla="*/ 33 h 35"/>
                  <a:gd name="T46" fmla="*/ 37 w 68"/>
                  <a:gd name="T47" fmla="*/ 28 h 35"/>
                  <a:gd name="T48" fmla="*/ 27 w 68"/>
                  <a:gd name="T49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35">
                    <a:moveTo>
                      <a:pt x="27" y="22"/>
                    </a:moveTo>
                    <a:lnTo>
                      <a:pt x="15" y="16"/>
                    </a:lnTo>
                    <a:lnTo>
                      <a:pt x="2" y="9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23" y="2"/>
                    </a:lnTo>
                    <a:lnTo>
                      <a:pt x="34" y="7"/>
                    </a:lnTo>
                    <a:lnTo>
                      <a:pt x="45" y="10"/>
                    </a:lnTo>
                    <a:lnTo>
                      <a:pt x="53" y="14"/>
                    </a:lnTo>
                    <a:lnTo>
                      <a:pt x="59" y="18"/>
                    </a:lnTo>
                    <a:lnTo>
                      <a:pt x="64" y="23"/>
                    </a:lnTo>
                    <a:lnTo>
                      <a:pt x="65" y="26"/>
                    </a:lnTo>
                    <a:lnTo>
                      <a:pt x="66" y="28"/>
                    </a:lnTo>
                    <a:lnTo>
                      <a:pt x="68" y="32"/>
                    </a:lnTo>
                    <a:lnTo>
                      <a:pt x="66" y="34"/>
                    </a:lnTo>
                    <a:lnTo>
                      <a:pt x="65" y="35"/>
                    </a:lnTo>
                    <a:lnTo>
                      <a:pt x="61" y="35"/>
                    </a:lnTo>
                    <a:lnTo>
                      <a:pt x="56" y="34"/>
                    </a:lnTo>
                    <a:lnTo>
                      <a:pt x="50" y="33"/>
                    </a:lnTo>
                    <a:lnTo>
                      <a:pt x="37" y="28"/>
                    </a:lnTo>
                    <a:lnTo>
                      <a:pt x="27" y="2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648000" rIns="91440" bIns="45720" numCol="1" anchor="t" anchorCtr="0" compatLnSpc="1"/>
              <a:lstStyle/>
              <a:p>
                <a:pPr algn="ctr"/>
                <a:endParaRPr lang="zh-CN" altLang="en-US" sz="40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endParaRPr>
              </a:p>
            </p:txBody>
          </p:sp>
        </p:grpSp>
        <p:sp>
          <p:nvSpPr>
            <p:cNvPr id="48" name="Freeform 110"/>
            <p:cNvSpPr/>
            <p:nvPr/>
          </p:nvSpPr>
          <p:spPr bwMode="auto">
            <a:xfrm>
              <a:off x="6494136" y="4140811"/>
              <a:ext cx="13155" cy="13155"/>
            </a:xfrm>
            <a:custGeom>
              <a:avLst/>
              <a:gdLst>
                <a:gd name="T0" fmla="*/ 19 w 25"/>
                <a:gd name="T1" fmla="*/ 24 h 24"/>
                <a:gd name="T2" fmla="*/ 16 w 25"/>
                <a:gd name="T3" fmla="*/ 23 h 24"/>
                <a:gd name="T4" fmla="*/ 12 w 25"/>
                <a:gd name="T5" fmla="*/ 21 h 24"/>
                <a:gd name="T6" fmla="*/ 9 w 25"/>
                <a:gd name="T7" fmla="*/ 18 h 24"/>
                <a:gd name="T8" fmla="*/ 5 w 25"/>
                <a:gd name="T9" fmla="*/ 13 h 24"/>
                <a:gd name="T10" fmla="*/ 3 w 25"/>
                <a:gd name="T11" fmla="*/ 10 h 24"/>
                <a:gd name="T12" fmla="*/ 0 w 25"/>
                <a:gd name="T13" fmla="*/ 5 h 24"/>
                <a:gd name="T14" fmla="*/ 0 w 25"/>
                <a:gd name="T15" fmla="*/ 3 h 24"/>
                <a:gd name="T16" fmla="*/ 0 w 25"/>
                <a:gd name="T17" fmla="*/ 2 h 24"/>
                <a:gd name="T18" fmla="*/ 2 w 25"/>
                <a:gd name="T19" fmla="*/ 0 h 24"/>
                <a:gd name="T20" fmla="*/ 3 w 25"/>
                <a:gd name="T21" fmla="*/ 0 h 24"/>
                <a:gd name="T22" fmla="*/ 8 w 25"/>
                <a:gd name="T23" fmla="*/ 0 h 24"/>
                <a:gd name="T24" fmla="*/ 13 w 25"/>
                <a:gd name="T25" fmla="*/ 3 h 24"/>
                <a:gd name="T26" fmla="*/ 17 w 25"/>
                <a:gd name="T27" fmla="*/ 4 h 24"/>
                <a:gd name="T28" fmla="*/ 19 w 25"/>
                <a:gd name="T29" fmla="*/ 6 h 24"/>
                <a:gd name="T30" fmla="*/ 22 w 25"/>
                <a:gd name="T31" fmla="*/ 9 h 24"/>
                <a:gd name="T32" fmla="*/ 24 w 25"/>
                <a:gd name="T33" fmla="*/ 11 h 24"/>
                <a:gd name="T34" fmla="*/ 25 w 25"/>
                <a:gd name="T35" fmla="*/ 17 h 24"/>
                <a:gd name="T36" fmla="*/ 24 w 25"/>
                <a:gd name="T37" fmla="*/ 21 h 24"/>
                <a:gd name="T38" fmla="*/ 22 w 25"/>
                <a:gd name="T39" fmla="*/ 23 h 24"/>
                <a:gd name="T40" fmla="*/ 19 w 25"/>
                <a:gd name="T4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4">
                  <a:moveTo>
                    <a:pt x="19" y="24"/>
                  </a:moveTo>
                  <a:lnTo>
                    <a:pt x="16" y="23"/>
                  </a:lnTo>
                  <a:lnTo>
                    <a:pt x="12" y="21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3" y="10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8" y="0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19" y="6"/>
                  </a:lnTo>
                  <a:lnTo>
                    <a:pt x="22" y="9"/>
                  </a:lnTo>
                  <a:lnTo>
                    <a:pt x="24" y="11"/>
                  </a:lnTo>
                  <a:lnTo>
                    <a:pt x="25" y="17"/>
                  </a:lnTo>
                  <a:lnTo>
                    <a:pt x="24" y="21"/>
                  </a:lnTo>
                  <a:lnTo>
                    <a:pt x="22" y="23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/>
            <a:lstStyle/>
            <a:p>
              <a:pPr algn="ctr"/>
              <a:endParaRPr lang="zh-CN" altLang="en-US" sz="40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2597785" y="1118235"/>
            <a:ext cx="6216015" cy="5450840"/>
            <a:chOff x="1705145" y="1413988"/>
            <a:chExt cx="5503087" cy="4825841"/>
          </a:xfrm>
        </p:grpSpPr>
        <p:sp>
          <p:nvSpPr>
            <p:cNvPr id="65" name="TextBox 92"/>
            <p:cNvSpPr txBox="1"/>
            <p:nvPr/>
          </p:nvSpPr>
          <p:spPr>
            <a:xfrm>
              <a:off x="1823125" y="2168377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新疆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66" name="TextBox 93"/>
            <p:cNvSpPr txBox="1"/>
            <p:nvPr/>
          </p:nvSpPr>
          <p:spPr>
            <a:xfrm>
              <a:off x="1705145" y="3789347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西藏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67" name="TextBox 94"/>
            <p:cNvSpPr txBox="1"/>
            <p:nvPr/>
          </p:nvSpPr>
          <p:spPr>
            <a:xfrm>
              <a:off x="2996721" y="3303995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青海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68" name="TextBox 95"/>
            <p:cNvSpPr txBox="1"/>
            <p:nvPr/>
          </p:nvSpPr>
          <p:spPr>
            <a:xfrm>
              <a:off x="3058893" y="2598342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甘肃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69" name="TextBox 96"/>
            <p:cNvSpPr txBox="1"/>
            <p:nvPr/>
          </p:nvSpPr>
          <p:spPr>
            <a:xfrm>
              <a:off x="4623129" y="2565899"/>
              <a:ext cx="569387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内蒙古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0" name="TextBox 98"/>
            <p:cNvSpPr txBox="1"/>
            <p:nvPr/>
          </p:nvSpPr>
          <p:spPr>
            <a:xfrm>
              <a:off x="4348650" y="3084995"/>
              <a:ext cx="297962" cy="348813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宁夏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1" name="TextBox 99"/>
            <p:cNvSpPr txBox="1"/>
            <p:nvPr/>
          </p:nvSpPr>
          <p:spPr>
            <a:xfrm>
              <a:off x="3751244" y="4209973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四川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2" name="TextBox 100"/>
            <p:cNvSpPr txBox="1"/>
            <p:nvPr/>
          </p:nvSpPr>
          <p:spPr>
            <a:xfrm>
              <a:off x="3472711" y="5183814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云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3" name="TextBox 101"/>
            <p:cNvSpPr txBox="1"/>
            <p:nvPr/>
          </p:nvSpPr>
          <p:spPr>
            <a:xfrm>
              <a:off x="4681765" y="6022812"/>
              <a:ext cx="441146" cy="217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海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4" name="TextBox 102"/>
            <p:cNvSpPr txBox="1"/>
            <p:nvPr/>
          </p:nvSpPr>
          <p:spPr>
            <a:xfrm>
              <a:off x="4530935" y="5354525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广西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5" name="TextBox 103"/>
            <p:cNvSpPr txBox="1"/>
            <p:nvPr/>
          </p:nvSpPr>
          <p:spPr>
            <a:xfrm>
              <a:off x="4296543" y="4892439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贵州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6" name="TextBox 104"/>
            <p:cNvSpPr txBox="1"/>
            <p:nvPr/>
          </p:nvSpPr>
          <p:spPr>
            <a:xfrm>
              <a:off x="4361223" y="4384373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重庆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7" name="TextBox 105"/>
            <p:cNvSpPr txBox="1"/>
            <p:nvPr/>
          </p:nvSpPr>
          <p:spPr>
            <a:xfrm>
              <a:off x="4550211" y="3715578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陕西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8" name="TextBox 106"/>
            <p:cNvSpPr txBox="1"/>
            <p:nvPr/>
          </p:nvSpPr>
          <p:spPr>
            <a:xfrm>
              <a:off x="4987406" y="3173560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山西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9" name="TextBox 107"/>
            <p:cNvSpPr txBox="1"/>
            <p:nvPr/>
          </p:nvSpPr>
          <p:spPr>
            <a:xfrm>
              <a:off x="6638845" y="1413988"/>
              <a:ext cx="569387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黑龙江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0" name="TextBox 108"/>
            <p:cNvSpPr txBox="1"/>
            <p:nvPr/>
          </p:nvSpPr>
          <p:spPr>
            <a:xfrm>
              <a:off x="6543300" y="1983400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吉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2" name="TextBox 109"/>
            <p:cNvSpPr txBox="1"/>
            <p:nvPr/>
          </p:nvSpPr>
          <p:spPr>
            <a:xfrm>
              <a:off x="6286718" y="2418480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辽宁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4" name="TextBox 110"/>
            <p:cNvSpPr txBox="1"/>
            <p:nvPr/>
          </p:nvSpPr>
          <p:spPr>
            <a:xfrm>
              <a:off x="5383757" y="2989227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河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6" name="TextBox 111"/>
            <p:cNvSpPr txBox="1"/>
            <p:nvPr/>
          </p:nvSpPr>
          <p:spPr>
            <a:xfrm>
              <a:off x="5737703" y="3286371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山东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4" name="TextBox 112"/>
            <p:cNvSpPr txBox="1"/>
            <p:nvPr/>
          </p:nvSpPr>
          <p:spPr>
            <a:xfrm>
              <a:off x="5142203" y="3728785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河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7" name="TextBox 113"/>
            <p:cNvSpPr txBox="1"/>
            <p:nvPr/>
          </p:nvSpPr>
          <p:spPr>
            <a:xfrm>
              <a:off x="5052915" y="4194782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湖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6" name="TextBox 114"/>
            <p:cNvSpPr txBox="1"/>
            <p:nvPr/>
          </p:nvSpPr>
          <p:spPr>
            <a:xfrm>
              <a:off x="4954678" y="4712163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湖南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7" name="TextBox 115"/>
            <p:cNvSpPr txBox="1"/>
            <p:nvPr/>
          </p:nvSpPr>
          <p:spPr>
            <a:xfrm>
              <a:off x="5250513" y="5342048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广东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8" name="TextBox 116"/>
            <p:cNvSpPr txBox="1"/>
            <p:nvPr/>
          </p:nvSpPr>
          <p:spPr>
            <a:xfrm>
              <a:off x="5484737" y="4709802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江西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89" name="TextBox 117"/>
            <p:cNvSpPr txBox="1"/>
            <p:nvPr/>
          </p:nvSpPr>
          <p:spPr>
            <a:xfrm>
              <a:off x="5856233" y="4951262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福建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0" name="TextBox 118"/>
            <p:cNvSpPr txBox="1"/>
            <p:nvPr/>
          </p:nvSpPr>
          <p:spPr>
            <a:xfrm>
              <a:off x="5684640" y="4097981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安徽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1" name="TextBox 119"/>
            <p:cNvSpPr txBox="1"/>
            <p:nvPr/>
          </p:nvSpPr>
          <p:spPr>
            <a:xfrm>
              <a:off x="5925883" y="3721452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江苏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2" name="TextBox 120"/>
            <p:cNvSpPr txBox="1"/>
            <p:nvPr/>
          </p:nvSpPr>
          <p:spPr>
            <a:xfrm>
              <a:off x="6076806" y="4421015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浙江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3" name="TextBox 121"/>
            <p:cNvSpPr txBox="1"/>
            <p:nvPr/>
          </p:nvSpPr>
          <p:spPr>
            <a:xfrm>
              <a:off x="5589484" y="5643711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rgbClr val="0070BC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香港</a:t>
              </a:r>
              <a:endParaRPr lang="zh-CN" altLang="en-US" sz="10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4" name="TextBox 122"/>
            <p:cNvSpPr txBox="1"/>
            <p:nvPr/>
          </p:nvSpPr>
          <p:spPr>
            <a:xfrm>
              <a:off x="6407621" y="5178130"/>
              <a:ext cx="297962" cy="35016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台湾</a:t>
              </a:r>
              <a:endParaRPr lang="zh-CN" altLang="en-US" sz="10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5" name="TextBox 123"/>
            <p:cNvSpPr txBox="1"/>
            <p:nvPr/>
          </p:nvSpPr>
          <p:spPr>
            <a:xfrm>
              <a:off x="5234980" y="5765360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rgbClr val="0070BC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澳门</a:t>
              </a:r>
              <a:endParaRPr lang="zh-CN" altLang="en-US" sz="10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6" name="TextBox 124"/>
            <p:cNvSpPr txBox="1"/>
            <p:nvPr/>
          </p:nvSpPr>
          <p:spPr>
            <a:xfrm>
              <a:off x="6389406" y="4074881"/>
              <a:ext cx="441146" cy="217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rgbClr val="0070BC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上海</a:t>
              </a:r>
              <a:endParaRPr lang="zh-CN" altLang="en-US" sz="10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7" name="TextBox 125"/>
            <p:cNvSpPr txBox="1"/>
            <p:nvPr/>
          </p:nvSpPr>
          <p:spPr>
            <a:xfrm>
              <a:off x="5534329" y="2635730"/>
              <a:ext cx="441146" cy="2170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rgbClr val="0070BC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北京</a:t>
              </a:r>
              <a:endParaRPr lang="zh-CN" altLang="en-US" sz="10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6606111" y="4860592"/>
              <a:ext cx="492443" cy="189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>
                  <a:solidFill>
                    <a:srgbClr val="0070BC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钓鱼岛</a:t>
              </a:r>
              <a:endParaRPr lang="zh-CN" altLang="en-US" sz="8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</p:grpSp>
      <p:grpSp>
        <p:nvGrpSpPr>
          <p:cNvPr id="99" name="0"/>
          <p:cNvGrpSpPr/>
          <p:nvPr/>
        </p:nvGrpSpPr>
        <p:grpSpPr>
          <a:xfrm>
            <a:off x="7334246" y="4224828"/>
            <a:ext cx="1514479" cy="296545"/>
            <a:chOff x="5898589" y="3925652"/>
            <a:chExt cx="1643330" cy="334956"/>
          </a:xfrm>
        </p:grpSpPr>
        <p:sp>
          <p:nvSpPr>
            <p:cNvPr id="100" name="五角星 127"/>
            <p:cNvSpPr/>
            <p:nvPr/>
          </p:nvSpPr>
          <p:spPr>
            <a:xfrm>
              <a:off x="5898589" y="4027307"/>
              <a:ext cx="208086" cy="208003"/>
            </a:xfrm>
            <a:prstGeom prst="star5">
              <a:avLst/>
            </a:prstGeom>
            <a:gradFill>
              <a:gsLst>
                <a:gs pos="42000">
                  <a:srgbClr val="A20000"/>
                </a:gs>
                <a:gs pos="0">
                  <a:srgbClr val="F28F97"/>
                </a:gs>
                <a:gs pos="100000">
                  <a:srgbClr val="E51E2E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solidFill>
                  <a:srgbClr val="C00000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101" name="TextBox 128"/>
            <p:cNvSpPr txBox="1"/>
            <p:nvPr/>
          </p:nvSpPr>
          <p:spPr>
            <a:xfrm>
              <a:off x="6027441" y="3925652"/>
              <a:ext cx="1514478" cy="3349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zh-CN" altLang="en-US" b="1" dirty="0">
                  <a:solidFill>
                    <a:srgbClr val="A20000"/>
                  </a:solidFill>
                  <a:latin typeface="标准粗黑" panose="02000503000000000000" charset="-122"/>
                  <a:ea typeface="标准粗黑" panose="02000503000000000000" charset="-122"/>
                  <a:cs typeface="阿里巴巴和七个小矮人" panose="00000500000000000000" charset="-122"/>
                  <a:sym typeface="+mn-lt"/>
                </a:rPr>
                <a:t>集团总部</a:t>
              </a:r>
              <a:endParaRPr lang="zh-CN" altLang="en-US" b="1" dirty="0">
                <a:solidFill>
                  <a:srgbClr val="A20000"/>
                </a:solidFill>
                <a:latin typeface="标准粗黑" panose="02000503000000000000" charset="-122"/>
                <a:ea typeface="标准粗黑" panose="02000503000000000000" charset="-122"/>
                <a:cs typeface="阿里巴巴和七个小矮人" panose="00000500000000000000" charset="-122"/>
                <a:sym typeface="+mn-lt"/>
              </a:endParaRPr>
            </a:p>
          </p:txBody>
        </p:sp>
      </p:grpSp>
      <p:grpSp>
        <p:nvGrpSpPr>
          <p:cNvPr id="103" name="南海诸岛"/>
          <p:cNvGrpSpPr/>
          <p:nvPr/>
        </p:nvGrpSpPr>
        <p:grpSpPr>
          <a:xfrm>
            <a:off x="8767445" y="5654040"/>
            <a:ext cx="903605" cy="1195070"/>
            <a:chOff x="7235824" y="5383993"/>
            <a:chExt cx="799820" cy="1058082"/>
          </a:xfrm>
        </p:grpSpPr>
        <p:pic>
          <p:nvPicPr>
            <p:cNvPr id="104" name="图片 103"/>
            <p:cNvPicPr>
              <a:picLocks noChangeAspect="1"/>
            </p:cNvPicPr>
            <p:nvPr/>
          </p:nvPicPr>
          <p:blipFill rotWithShape="1">
            <a:blip r:embed="rId3"/>
            <a:srcRect/>
            <a:stretch>
              <a:fillRect/>
            </a:stretch>
          </p:blipFill>
          <p:spPr>
            <a:xfrm>
              <a:off x="7235824" y="5383993"/>
              <a:ext cx="749301" cy="1058082"/>
            </a:xfrm>
            <a:prstGeom prst="rect">
              <a:avLst/>
            </a:prstGeom>
          </p:spPr>
        </p:pic>
        <p:sp>
          <p:nvSpPr>
            <p:cNvPr id="105" name="矩形 104"/>
            <p:cNvSpPr/>
            <p:nvPr/>
          </p:nvSpPr>
          <p:spPr>
            <a:xfrm>
              <a:off x="7235824" y="5383993"/>
              <a:ext cx="749301" cy="1058082"/>
            </a:xfrm>
            <a:prstGeom prst="rect">
              <a:avLst/>
            </a:prstGeom>
            <a:noFill/>
            <a:ln w="3175">
              <a:solidFill>
                <a:srgbClr val="4DB3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106" name="矩形 105"/>
            <p:cNvSpPr/>
            <p:nvPr/>
          </p:nvSpPr>
          <p:spPr>
            <a:xfrm>
              <a:off x="7466012" y="6269033"/>
              <a:ext cx="519113" cy="17304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  <p:sp>
          <p:nvSpPr>
            <p:cNvPr id="107" name="TextBox 56"/>
            <p:cNvSpPr txBox="1"/>
            <p:nvPr/>
          </p:nvSpPr>
          <p:spPr>
            <a:xfrm>
              <a:off x="7440609" y="6251495"/>
              <a:ext cx="595035" cy="1894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>
                  <a:solidFill>
                    <a:schemeClr val="bg1"/>
                  </a:solidFill>
                  <a:ea typeface="阿里巴巴和七个小矮人" panose="00000500000000000000" charset="-122"/>
                  <a:cs typeface="阿里巴巴和七个小矮人" panose="00000500000000000000" charset="-122"/>
                  <a:sym typeface="+mn-lt"/>
                </a:rPr>
                <a:t>南海诸岛</a:t>
              </a:r>
              <a:endParaRPr lang="zh-CN" altLang="en-US" sz="800" dirty="0">
                <a:solidFill>
                  <a:schemeClr val="bg1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endParaRPr>
            </a:p>
          </p:txBody>
        </p:sp>
      </p:grpSp>
      <p:sp>
        <p:nvSpPr>
          <p:cNvPr id="9" name="TextBox 125"/>
          <p:cNvSpPr txBox="1"/>
          <p:nvPr/>
        </p:nvSpPr>
        <p:spPr>
          <a:xfrm>
            <a:off x="7003415" y="2719705"/>
            <a:ext cx="498475" cy="2451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zh-CN" altLang="en-US" sz="1000" dirty="0">
                <a:solidFill>
                  <a:srgbClr val="0070BC"/>
                </a:solidFill>
                <a:ea typeface="阿里巴巴和七个小矮人" panose="00000500000000000000" charset="-122"/>
                <a:cs typeface="阿里巴巴和七个小矮人" panose="00000500000000000000" charset="-122"/>
                <a:sym typeface="+mn-lt"/>
              </a:rPr>
              <a:t>天津</a:t>
            </a:r>
            <a:endParaRPr lang="zh-CN" altLang="en-US" sz="1000" dirty="0">
              <a:solidFill>
                <a:srgbClr val="0070BC"/>
              </a:solidFill>
              <a:ea typeface="阿里巴巴和七个小矮人" panose="00000500000000000000" charset="-122"/>
              <a:cs typeface="阿里巴巴和七个小矮人" panose="00000500000000000000" charset="-122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9027795" y="3333115"/>
            <a:ext cx="127825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滁州嘉美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滁州华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9296400" y="2454275"/>
            <a:ext cx="1278255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临颍嘉美</a:t>
            </a:r>
            <a:endParaRPr lang="zh-CN" altLang="en-US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标准粗黑" panose="02000503000000000000" charset="-122"/>
              <a:ea typeface="标准粗黑" panose="02000503000000000000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河南华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临颍嘉饮</a:t>
            </a:r>
            <a:endParaRPr lang="zh-CN" altLang="en-US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标准粗黑" panose="02000503000000000000" charset="-122"/>
              <a:ea typeface="标准粗黑" panose="02000503000000000000" charset="-122"/>
              <a:sym typeface="+mn-ea"/>
            </a:endParaRPr>
          </a:p>
        </p:txBody>
      </p:sp>
      <p:sp>
        <p:nvSpPr>
          <p:cNvPr id="102" name="文本框 101"/>
          <p:cNvSpPr txBox="1"/>
          <p:nvPr/>
        </p:nvSpPr>
        <p:spPr>
          <a:xfrm>
            <a:off x="10038715" y="1315720"/>
            <a:ext cx="12782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u"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衡水嘉美</a:t>
            </a:r>
            <a:endParaRPr lang="zh-CN" altLang="en-US" sz="14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标准粗黑" panose="02000503000000000000" charset="-122"/>
              <a:ea typeface="标准粗黑" panose="02000503000000000000" charset="-122"/>
              <a:sym typeface="+mn-ea"/>
            </a:endParaRPr>
          </a:p>
        </p:txBody>
      </p:sp>
      <p:sp>
        <p:nvSpPr>
          <p:cNvPr id="112" name="文本框 111"/>
          <p:cNvSpPr txBox="1"/>
          <p:nvPr/>
        </p:nvSpPr>
        <p:spPr>
          <a:xfrm>
            <a:off x="2826385" y="5321300"/>
            <a:ext cx="12039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长沙嘉美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13" name="Group 80"/>
          <p:cNvGrpSpPr/>
          <p:nvPr/>
        </p:nvGrpSpPr>
        <p:grpSpPr>
          <a:xfrm rot="8460000" flipV="1">
            <a:off x="1911985" y="4554855"/>
            <a:ext cx="3023235" cy="100203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14" name="Straight Connector 81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8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" name="Group 80"/>
          <p:cNvGrpSpPr/>
          <p:nvPr/>
        </p:nvGrpSpPr>
        <p:grpSpPr>
          <a:xfrm rot="8340000" flipV="1">
            <a:off x="2633345" y="4624705"/>
            <a:ext cx="2312035" cy="766445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19" name="Straight Connector 81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8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2" name="文本框 121"/>
          <p:cNvSpPr txBox="1"/>
          <p:nvPr/>
        </p:nvSpPr>
        <p:spPr>
          <a:xfrm>
            <a:off x="1494155" y="5158740"/>
            <a:ext cx="118237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阳嘉美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四川华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阳嘉饮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8848725" y="4493260"/>
            <a:ext cx="1319530" cy="6902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鹰潭嘉美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鹰潭华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29" name="Group 80"/>
          <p:cNvGrpSpPr/>
          <p:nvPr/>
        </p:nvGrpSpPr>
        <p:grpSpPr>
          <a:xfrm rot="8340000" flipV="1">
            <a:off x="3745230" y="5603240"/>
            <a:ext cx="2312035" cy="766445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30" name="Straight Connector 81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8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2" name="文本框 131"/>
          <p:cNvSpPr txBox="1"/>
          <p:nvPr/>
        </p:nvSpPr>
        <p:spPr>
          <a:xfrm>
            <a:off x="2639060" y="6278880"/>
            <a:ext cx="120777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北海金盟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0434955" y="5684520"/>
            <a:ext cx="17576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福建冠盖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福建铭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福建泉州分公司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40" name="Group 80"/>
          <p:cNvGrpSpPr/>
          <p:nvPr/>
        </p:nvGrpSpPr>
        <p:grpSpPr>
          <a:xfrm flipV="1">
            <a:off x="1415415" y="3855085"/>
            <a:ext cx="5064760" cy="40259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41" name="Straight Connector 81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8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4" name="椭圆 143"/>
          <p:cNvSpPr/>
          <p:nvPr>
            <p:custDataLst>
              <p:tags r:id="rId4"/>
            </p:custDataLst>
          </p:nvPr>
        </p:nvSpPr>
        <p:spPr>
          <a:xfrm>
            <a:off x="6458585" y="418909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5" name="文本框 144"/>
          <p:cNvSpPr txBox="1"/>
          <p:nvPr/>
        </p:nvSpPr>
        <p:spPr>
          <a:xfrm>
            <a:off x="99695" y="3559810"/>
            <a:ext cx="139446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铭冠（湖北）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 sz="1400" b="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孝感华冠</a:t>
            </a:r>
            <a:endParaRPr lang="zh-CN" altLang="en-US" sz="1400" b="1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47" name="Group 67"/>
          <p:cNvGrpSpPr/>
          <p:nvPr/>
        </p:nvGrpSpPr>
        <p:grpSpPr>
          <a:xfrm rot="20580000">
            <a:off x="6866626" y="1967364"/>
            <a:ext cx="3396192" cy="433297"/>
            <a:chOff x="4227286" y="2738877"/>
            <a:chExt cx="1678210" cy="559155"/>
          </a:xfrm>
          <a:solidFill>
            <a:srgbClr val="00C88A"/>
          </a:solidFill>
        </p:grpSpPr>
        <p:cxnSp>
          <p:nvCxnSpPr>
            <p:cNvPr id="148" name="Straight Connector 55"/>
            <p:cNvCxnSpPr/>
            <p:nvPr/>
          </p:nvCxnSpPr>
          <p:spPr>
            <a:xfrm flipH="1" flipV="1">
              <a:off x="4873722" y="2738877"/>
              <a:ext cx="1031774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6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67"/>
          <p:cNvGrpSpPr/>
          <p:nvPr/>
        </p:nvGrpSpPr>
        <p:grpSpPr>
          <a:xfrm rot="20940000">
            <a:off x="6825615" y="3062605"/>
            <a:ext cx="2632075" cy="43815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52" name="Straight Connector 55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6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67"/>
          <p:cNvGrpSpPr/>
          <p:nvPr/>
        </p:nvGrpSpPr>
        <p:grpSpPr>
          <a:xfrm>
            <a:off x="7338695" y="3603625"/>
            <a:ext cx="1777365" cy="43815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55" name="Straight Connector 55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6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67"/>
          <p:cNvGrpSpPr/>
          <p:nvPr/>
        </p:nvGrpSpPr>
        <p:grpSpPr>
          <a:xfrm>
            <a:off x="7143115" y="4759960"/>
            <a:ext cx="1856105" cy="43815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61" name="Straight Connector 55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6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67"/>
          <p:cNvGrpSpPr/>
          <p:nvPr/>
        </p:nvGrpSpPr>
        <p:grpSpPr>
          <a:xfrm rot="1200000">
            <a:off x="7574280" y="5433695"/>
            <a:ext cx="2947670" cy="438150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64" name="Straight Connector 55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6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80"/>
          <p:cNvGrpSpPr/>
          <p:nvPr/>
        </p:nvGrpSpPr>
        <p:grpSpPr>
          <a:xfrm rot="9060000" flipV="1">
            <a:off x="3952240" y="4832985"/>
            <a:ext cx="2312035" cy="766445"/>
            <a:chOff x="4227286" y="2740551"/>
            <a:chExt cx="1682498" cy="557481"/>
          </a:xfrm>
          <a:solidFill>
            <a:srgbClr val="00C88A"/>
          </a:solidFill>
        </p:grpSpPr>
        <p:cxnSp>
          <p:nvCxnSpPr>
            <p:cNvPr id="167" name="Straight Connector 81"/>
            <p:cNvCxnSpPr/>
            <p:nvPr/>
          </p:nvCxnSpPr>
          <p:spPr>
            <a:xfrm flipH="1" flipV="1">
              <a:off x="4873626" y="2740551"/>
              <a:ext cx="1036158" cy="1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82"/>
            <p:cNvCxnSpPr/>
            <p:nvPr/>
          </p:nvCxnSpPr>
          <p:spPr>
            <a:xfrm flipH="1">
              <a:off x="4227286" y="2748966"/>
              <a:ext cx="646342" cy="549066"/>
            </a:xfrm>
            <a:prstGeom prst="line">
              <a:avLst/>
            </a:prstGeom>
            <a:grpFill/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椭圆 116"/>
          <p:cNvSpPr/>
          <p:nvPr>
            <p:custDataLst>
              <p:tags r:id="rId5"/>
            </p:custDataLst>
          </p:nvPr>
        </p:nvSpPr>
        <p:spPr>
          <a:xfrm>
            <a:off x="4870450" y="447357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/>
          <p:cNvSpPr/>
          <p:nvPr>
            <p:custDataLst>
              <p:tags r:id="rId6"/>
            </p:custDataLst>
          </p:nvPr>
        </p:nvSpPr>
        <p:spPr>
          <a:xfrm>
            <a:off x="6266180" y="494601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>
            <p:custDataLst>
              <p:tags r:id="rId7"/>
            </p:custDataLst>
          </p:nvPr>
        </p:nvSpPr>
        <p:spPr>
          <a:xfrm>
            <a:off x="5982335" y="5452110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椭圆 122"/>
          <p:cNvSpPr/>
          <p:nvPr>
            <p:custDataLst>
              <p:tags r:id="rId8"/>
            </p:custDataLst>
          </p:nvPr>
        </p:nvSpPr>
        <p:spPr>
          <a:xfrm>
            <a:off x="7068185" y="514794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椭圆 132"/>
          <p:cNvSpPr/>
          <p:nvPr>
            <p:custDataLst>
              <p:tags r:id="rId9"/>
            </p:custDataLst>
          </p:nvPr>
        </p:nvSpPr>
        <p:spPr>
          <a:xfrm>
            <a:off x="7511415" y="530542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>
            <p:custDataLst>
              <p:tags r:id="rId10"/>
            </p:custDataLst>
          </p:nvPr>
        </p:nvSpPr>
        <p:spPr>
          <a:xfrm>
            <a:off x="7296150" y="397827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椭圆 59"/>
          <p:cNvSpPr/>
          <p:nvPr>
            <p:custDataLst>
              <p:tags r:id="rId11"/>
            </p:custDataLst>
          </p:nvPr>
        </p:nvSpPr>
        <p:spPr>
          <a:xfrm>
            <a:off x="6951980" y="2823845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/>
          <p:cNvSpPr/>
          <p:nvPr>
            <p:custDataLst>
              <p:tags r:id="rId12"/>
            </p:custDataLst>
          </p:nvPr>
        </p:nvSpPr>
        <p:spPr>
          <a:xfrm>
            <a:off x="6823710" y="3696970"/>
            <a:ext cx="103505" cy="1035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组合 43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56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产能产量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grpSp>
        <p:nvGrpSpPr>
          <p:cNvPr id="5" name="组合 4"/>
          <p:cNvGrpSpPr/>
          <p:nvPr>
            <p:custDataLst>
              <p:tags r:id="rId3"/>
            </p:custDataLst>
          </p:nvPr>
        </p:nvGrpSpPr>
        <p:grpSpPr>
          <a:xfrm>
            <a:off x="239395" y="899795"/>
            <a:ext cx="11708795" cy="5698764"/>
            <a:chOff x="738" y="5499"/>
            <a:chExt cx="15295" cy="5242"/>
          </a:xfrm>
        </p:grpSpPr>
        <p:grpSp>
          <p:nvGrpSpPr>
            <p:cNvPr id="29712" name="组合 16"/>
            <p:cNvGrpSpPr/>
            <p:nvPr/>
          </p:nvGrpSpPr>
          <p:grpSpPr bwMode="auto">
            <a:xfrm>
              <a:off x="738" y="5499"/>
              <a:ext cx="4135" cy="943"/>
              <a:chOff x="0" y="1105367"/>
              <a:chExt cx="1789992" cy="337677"/>
            </a:xfrm>
          </p:grpSpPr>
          <p:sp>
            <p:nvSpPr>
              <p:cNvPr id="29714" name="平行四边形 20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0" y="1105367"/>
                <a:ext cx="1789992" cy="337677"/>
              </a:xfrm>
              <a:prstGeom prst="parallelogram">
                <a:avLst>
                  <a:gd name="adj" fmla="val 49250"/>
                </a:avLst>
              </a:prstGeom>
              <a:solidFill>
                <a:srgbClr val="036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9717" name="TextBox 19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451358" y="1194064"/>
                <a:ext cx="1027315" cy="147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zh-CN" altLang="en-US" sz="28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三片罐</a:t>
                </a:r>
                <a:endParaRPr lang="zh-CN" altLang="en-US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9718" name="组合 22"/>
            <p:cNvGrpSpPr/>
            <p:nvPr/>
          </p:nvGrpSpPr>
          <p:grpSpPr bwMode="auto">
            <a:xfrm>
              <a:off x="4438" y="5499"/>
              <a:ext cx="4135" cy="943"/>
              <a:chOff x="0" y="1105387"/>
              <a:chExt cx="1789992" cy="337694"/>
            </a:xfrm>
          </p:grpSpPr>
          <p:sp>
            <p:nvSpPr>
              <p:cNvPr id="29720" name="平行四边形 26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0" y="1105387"/>
                <a:ext cx="1789992" cy="337694"/>
              </a:xfrm>
              <a:prstGeom prst="parallelogram">
                <a:avLst>
                  <a:gd name="adj" fmla="val 49250"/>
                </a:avLst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9723" name="TextBox 25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51358" y="1194107"/>
                <a:ext cx="1027315" cy="1472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zh-CN" altLang="en-US" sz="28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两片罐</a:t>
                </a:r>
                <a:endParaRPr lang="zh-CN" altLang="en-US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9724" name="组合 28"/>
            <p:cNvGrpSpPr/>
            <p:nvPr/>
          </p:nvGrpSpPr>
          <p:grpSpPr bwMode="auto">
            <a:xfrm>
              <a:off x="8223" y="5511"/>
              <a:ext cx="4135" cy="943"/>
              <a:chOff x="0" y="1105405"/>
              <a:chExt cx="1789992" cy="337711"/>
            </a:xfrm>
          </p:grpSpPr>
          <p:sp>
            <p:nvSpPr>
              <p:cNvPr id="29726" name="平行四边形 3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0" y="1105405"/>
                <a:ext cx="1789992" cy="337711"/>
              </a:xfrm>
              <a:prstGeom prst="parallelogram">
                <a:avLst>
                  <a:gd name="adj" fmla="val 49250"/>
                </a:avLst>
              </a:prstGeom>
              <a:solidFill>
                <a:srgbClr val="036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9729" name="TextBox 32"/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81697" y="1193289"/>
                <a:ext cx="1027315" cy="1506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zh-CN" altLang="en-US" sz="28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无菌纸包</a:t>
                </a:r>
                <a:endParaRPr lang="zh-CN" altLang="en-US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9730" name="组合 35"/>
            <p:cNvGrpSpPr/>
            <p:nvPr/>
          </p:nvGrpSpPr>
          <p:grpSpPr bwMode="auto">
            <a:xfrm>
              <a:off x="11898" y="5500"/>
              <a:ext cx="4135" cy="943"/>
              <a:chOff x="0" y="1105408"/>
              <a:chExt cx="1789992" cy="337713"/>
            </a:xfrm>
          </p:grpSpPr>
          <p:sp>
            <p:nvSpPr>
              <p:cNvPr id="29732" name="平行四边形 39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0" y="1105408"/>
                <a:ext cx="1789992" cy="337713"/>
              </a:xfrm>
              <a:prstGeom prst="parallelogram">
                <a:avLst>
                  <a:gd name="adj" fmla="val 49250"/>
                </a:avLst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9735" name="TextBox 38"/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0659" y="1197268"/>
                <a:ext cx="1027315" cy="146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no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zh-CN" altLang="en-US" sz="28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灌装</a:t>
                </a:r>
                <a:endParaRPr lang="zh-CN" altLang="en-US" sz="2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9744" name="矩形 5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1898" y="6530"/>
              <a:ext cx="3319" cy="421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>
                <a:solidFill>
                  <a:srgbClr val="FFFFFF"/>
                </a:solidFill>
              </a:endParaRPr>
            </a:p>
          </p:txBody>
        </p:sp>
        <p:pic>
          <p:nvPicPr>
            <p:cNvPr id="29746" name="图片 58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12" y="6242"/>
              <a:ext cx="3059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48" name="矩形 6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20" y="6530"/>
              <a:ext cx="3315" cy="4211"/>
            </a:xfrm>
            <a:prstGeom prst="rect">
              <a:avLst/>
            </a:prstGeom>
            <a:solidFill>
              <a:srgbClr val="036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>
                <a:solidFill>
                  <a:srgbClr val="FFFFFF"/>
                </a:solidFill>
              </a:endParaRPr>
            </a:p>
          </p:txBody>
        </p:sp>
        <p:pic>
          <p:nvPicPr>
            <p:cNvPr id="29750" name="图片 62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0" y="6242"/>
              <a:ext cx="3059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52" name="矩形 6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438" y="6530"/>
              <a:ext cx="3315" cy="421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>
                <a:solidFill>
                  <a:srgbClr val="FFFFFF"/>
                </a:solidFill>
              </a:endParaRPr>
            </a:p>
          </p:txBody>
        </p:sp>
        <p:pic>
          <p:nvPicPr>
            <p:cNvPr id="29754" name="图片 66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8" y="6242"/>
              <a:ext cx="3059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9755" name="组合 67"/>
            <p:cNvGrpSpPr/>
            <p:nvPr/>
          </p:nvGrpSpPr>
          <p:grpSpPr bwMode="auto">
            <a:xfrm>
              <a:off x="738" y="6530"/>
              <a:ext cx="3362" cy="4211"/>
              <a:chOff x="0" y="0"/>
              <a:chExt cx="1455830" cy="1508422"/>
            </a:xfrm>
            <a:solidFill>
              <a:schemeClr val="accent1">
                <a:lumMod val="75000"/>
                <a:lumOff val="25000"/>
              </a:schemeClr>
            </a:solidFill>
          </p:grpSpPr>
          <p:sp>
            <p:nvSpPr>
              <p:cNvPr id="29756" name="矩形 68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0" y="0"/>
                <a:ext cx="1435355" cy="1508422"/>
              </a:xfrm>
              <a:prstGeom prst="rect">
                <a:avLst/>
              </a:prstGeom>
              <a:solidFill>
                <a:srgbClr val="036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9757" name="Text Box 11"/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3765" y="55867"/>
                <a:ext cx="1422065" cy="145227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滁州嘉美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印铁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2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张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/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8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简阳嘉美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印铁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0.7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张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/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9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福建冠盖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印铁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0.4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张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/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6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临颍嘉美</a:t>
                </a:r>
                <a:r>
                  <a:rPr lang="en-US" altLang="zh-CN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7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	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衡水嘉美</a:t>
                </a:r>
                <a:r>
                  <a:rPr lang="en-US" altLang="zh-CN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3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福建泉州分公司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2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鹰潭嘉美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4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长沙嘉美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4.5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Wingdings" panose="05000000000000000000" charset="0"/>
                  <a:buChar char="u"/>
                </a:pPr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北海金盟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 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indent="0" algn="l">
                  <a:lnSpc>
                    <a:spcPct val="130000"/>
                  </a:lnSpc>
                  <a:buFont typeface="Wingdings" panose="05000000000000000000" charset="0"/>
                  <a:buNone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制罐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2.7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亿罐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</p:grpSp>
        <p:pic>
          <p:nvPicPr>
            <p:cNvPr id="29758" name="图片 70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" y="6242"/>
              <a:ext cx="3059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iṡḷïḑé"/>
          <p:cNvSpPr txBox="1"/>
          <p:nvPr>
            <p:custDataLst>
              <p:tags r:id="rId22"/>
            </p:custDataLst>
          </p:nvPr>
        </p:nvSpPr>
        <p:spPr>
          <a:xfrm>
            <a:off x="3072130" y="2190115"/>
            <a:ext cx="2356485" cy="13023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鹰潭嘉美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罐</a:t>
            </a: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罐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海金盟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罐</a:t>
            </a: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罐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í$ḻiḓé"/>
          <p:cNvSpPr txBox="1"/>
          <p:nvPr>
            <p:custDataLst>
              <p:tags r:id="rId23"/>
            </p:custDataLst>
          </p:nvPr>
        </p:nvSpPr>
        <p:spPr>
          <a:xfrm>
            <a:off x="5904865" y="2190115"/>
            <a:ext cx="2517775" cy="1868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福建铭冠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戴维斯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线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湖北铭冠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包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îŝļiďé"/>
          <p:cNvSpPr txBox="1"/>
          <p:nvPr>
            <p:custDataLst>
              <p:tags r:id="rId24"/>
            </p:custDataLst>
          </p:nvPr>
        </p:nvSpPr>
        <p:spPr>
          <a:xfrm>
            <a:off x="8800465" y="2195195"/>
            <a:ext cx="2503805" cy="45065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25000"/>
          </a:bodyPr>
          <a:lstStyle/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6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滁州华冠</a:t>
            </a:r>
            <a:r>
              <a:rPr lang="en-US" altLang="zh-CN" sz="6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6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纸包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5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PET5</a:t>
            </a:r>
            <a:r>
              <a:rPr lang="zh-CN" altLang="en-US" sz="5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阳嘉饮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5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纸包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颍嘉饮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纸包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河南华冠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川华冠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孝感华冠</a:t>
            </a:r>
            <a:r>
              <a:rPr lang="en-US" altLang="zh-CN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buFont typeface="Wingdings" panose="05000000000000000000" charset="0"/>
              <a:buChar char="u"/>
            </a:pPr>
            <a:r>
              <a:rPr lang="zh-CN" altLang="en-US" sz="5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鹰潭华冠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buFont typeface="Wingdings" panose="05000000000000000000" charset="0"/>
              <a:buNone/>
            </a:pP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罐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PET1.7</a:t>
            </a:r>
            <a:r>
              <a:rPr lang="zh-CN" altLang="en-US" sz="5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zh-CN" altLang="en-US" sz="5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组合 60"/>
          <p:cNvGrpSpPr/>
          <p:nvPr/>
        </p:nvGrpSpPr>
        <p:grpSpPr>
          <a:xfrm>
            <a:off x="-15875" y="-2625"/>
            <a:ext cx="12192000" cy="753312"/>
            <a:chOff x="0" y="-44535"/>
            <a:chExt cx="12192000" cy="753312"/>
          </a:xfrm>
        </p:grpSpPr>
        <p:sp>
          <p:nvSpPr>
            <p:cNvPr id="62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合作客户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 descr="无底色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9220" y="86360"/>
            <a:ext cx="599440" cy="657860"/>
          </a:xfrm>
          <a:prstGeom prst="rect">
            <a:avLst/>
          </a:prstGeom>
        </p:spPr>
      </p:pic>
      <p:grpSp>
        <p:nvGrpSpPr>
          <p:cNvPr id="54" name="组合 53"/>
          <p:cNvGrpSpPr/>
          <p:nvPr/>
        </p:nvGrpSpPr>
        <p:grpSpPr>
          <a:xfrm>
            <a:off x="698500" y="141160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55" name="Freeform 5"/>
            <p:cNvSpPr/>
            <p:nvPr>
              <p:custDataLst>
                <p:tags r:id="rId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6" name="Freeform 5"/>
            <p:cNvSpPr/>
            <p:nvPr>
              <p:custDataLst>
                <p:tags r:id="rId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1988820" y="142049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5" name="Freeform 5"/>
            <p:cNvSpPr/>
            <p:nvPr>
              <p:custDataLst>
                <p:tags r:id="rId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6" name="Freeform 5"/>
            <p:cNvSpPr/>
            <p:nvPr>
              <p:custDataLst>
                <p:tags r:id="rId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3279140" y="141160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8" name="Freeform 5"/>
            <p:cNvSpPr/>
            <p:nvPr>
              <p:custDataLst>
                <p:tags r:id="rId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9" name="Freeform 5"/>
            <p:cNvSpPr/>
            <p:nvPr>
              <p:custDataLst>
                <p:tags r:id="rId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4564380" y="141160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1" name="Freeform 5"/>
            <p:cNvSpPr/>
            <p:nvPr>
              <p:custDataLst>
                <p:tags r:id="rId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2" name="Freeform 5"/>
            <p:cNvSpPr/>
            <p:nvPr>
              <p:custDataLst>
                <p:tags r:id="rId1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5854700" y="142049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4" name="Freeform 5"/>
            <p:cNvSpPr/>
            <p:nvPr>
              <p:custDataLst>
                <p:tags r:id="rId1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" name="Freeform 5"/>
            <p:cNvSpPr/>
            <p:nvPr>
              <p:custDataLst>
                <p:tags r:id="rId1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7145020" y="141160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7" name="Freeform 5"/>
            <p:cNvSpPr/>
            <p:nvPr>
              <p:custDataLst>
                <p:tags r:id="rId1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8" name="Freeform 5"/>
            <p:cNvSpPr/>
            <p:nvPr>
              <p:custDataLst>
                <p:tags r:id="rId1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8457565" y="142049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20" name="Freeform 5"/>
            <p:cNvSpPr/>
            <p:nvPr>
              <p:custDataLst>
                <p:tags r:id="rId1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1" name="Freeform 5"/>
            <p:cNvSpPr/>
            <p:nvPr>
              <p:custDataLst>
                <p:tags r:id="rId1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9747885" y="142938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23" name="Freeform 5"/>
            <p:cNvSpPr/>
            <p:nvPr>
              <p:custDataLst>
                <p:tags r:id="rId1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4" name="Freeform 5"/>
            <p:cNvSpPr/>
            <p:nvPr>
              <p:custDataLst>
                <p:tags r:id="rId1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11038205" y="142049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26" name="Freeform 5"/>
            <p:cNvSpPr/>
            <p:nvPr>
              <p:custDataLst>
                <p:tags r:id="rId1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7" name="Freeform 5"/>
            <p:cNvSpPr/>
            <p:nvPr>
              <p:custDataLst>
                <p:tags r:id="rId2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80010" y="25228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29" name="Freeform 5"/>
            <p:cNvSpPr/>
            <p:nvPr>
              <p:custDataLst>
                <p:tags r:id="rId2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5"/>
            <p:cNvSpPr/>
            <p:nvPr>
              <p:custDataLst>
                <p:tags r:id="rId2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370330" y="25317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32" name="Freeform 5"/>
            <p:cNvSpPr/>
            <p:nvPr>
              <p:custDataLst>
                <p:tags r:id="rId2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Freeform 5"/>
            <p:cNvSpPr/>
            <p:nvPr>
              <p:custDataLst>
                <p:tags r:id="rId2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2660650" y="25228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35" name="Freeform 5"/>
            <p:cNvSpPr/>
            <p:nvPr>
              <p:custDataLst>
                <p:tags r:id="rId2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Freeform 5"/>
            <p:cNvSpPr/>
            <p:nvPr>
              <p:custDataLst>
                <p:tags r:id="rId2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3945890" y="25228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38" name="Freeform 5"/>
            <p:cNvSpPr/>
            <p:nvPr>
              <p:custDataLst>
                <p:tags r:id="rId2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0" name="Freeform 5"/>
            <p:cNvSpPr/>
            <p:nvPr>
              <p:custDataLst>
                <p:tags r:id="rId2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5236210" y="25317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42" name="Freeform 5"/>
            <p:cNvSpPr/>
            <p:nvPr>
              <p:custDataLst>
                <p:tags r:id="rId2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3" name="Freeform 5"/>
            <p:cNvSpPr/>
            <p:nvPr>
              <p:custDataLst>
                <p:tags r:id="rId3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526530" y="25228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45" name="Freeform 5"/>
            <p:cNvSpPr/>
            <p:nvPr>
              <p:custDataLst>
                <p:tags r:id="rId3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6" name="Freeform 5"/>
            <p:cNvSpPr/>
            <p:nvPr>
              <p:custDataLst>
                <p:tags r:id="rId3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839075" y="25317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48" name="Freeform 5"/>
            <p:cNvSpPr/>
            <p:nvPr>
              <p:custDataLst>
                <p:tags r:id="rId3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9" name="Freeform 5"/>
            <p:cNvSpPr/>
            <p:nvPr>
              <p:custDataLst>
                <p:tags r:id="rId3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9129395" y="254063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51" name="Freeform 5"/>
            <p:cNvSpPr/>
            <p:nvPr>
              <p:custDataLst>
                <p:tags r:id="rId3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2" name="Freeform 5"/>
            <p:cNvSpPr/>
            <p:nvPr>
              <p:custDataLst>
                <p:tags r:id="rId3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3288665" y="362648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57" name="Freeform 5"/>
            <p:cNvSpPr/>
            <p:nvPr>
              <p:custDataLst>
                <p:tags r:id="rId3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8" name="Freeform 5"/>
            <p:cNvSpPr/>
            <p:nvPr>
              <p:custDataLst>
                <p:tags r:id="rId3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4578985" y="363537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60" name="Freeform 5"/>
            <p:cNvSpPr/>
            <p:nvPr>
              <p:custDataLst>
                <p:tags r:id="rId3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64" name="Freeform 5"/>
            <p:cNvSpPr/>
            <p:nvPr>
              <p:custDataLst>
                <p:tags r:id="rId4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5869305" y="362648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67" name="Freeform 5"/>
            <p:cNvSpPr/>
            <p:nvPr>
              <p:custDataLst>
                <p:tags r:id="rId4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68" name="Freeform 5"/>
            <p:cNvSpPr/>
            <p:nvPr>
              <p:custDataLst>
                <p:tags r:id="rId4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7154545" y="362648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70" name="Freeform 5"/>
            <p:cNvSpPr/>
            <p:nvPr>
              <p:custDataLst>
                <p:tags r:id="rId4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71" name="Freeform 5"/>
            <p:cNvSpPr/>
            <p:nvPr>
              <p:custDataLst>
                <p:tags r:id="rId4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8444865" y="363537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83" name="Freeform 5"/>
            <p:cNvSpPr/>
            <p:nvPr>
              <p:custDataLst>
                <p:tags r:id="rId4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84" name="Freeform 5"/>
            <p:cNvSpPr/>
            <p:nvPr>
              <p:custDataLst>
                <p:tags r:id="rId4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9735185" y="362648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86" name="Freeform 5"/>
            <p:cNvSpPr/>
            <p:nvPr>
              <p:custDataLst>
                <p:tags r:id="rId4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87" name="Freeform 5"/>
            <p:cNvSpPr/>
            <p:nvPr>
              <p:custDataLst>
                <p:tags r:id="rId4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11047730" y="363537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89" name="Freeform 5"/>
            <p:cNvSpPr/>
            <p:nvPr>
              <p:custDataLst>
                <p:tags r:id="rId4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07" name="Freeform 5"/>
            <p:cNvSpPr/>
            <p:nvPr>
              <p:custDataLst>
                <p:tags r:id="rId5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08" name="组合 107"/>
          <p:cNvGrpSpPr/>
          <p:nvPr/>
        </p:nvGrpSpPr>
        <p:grpSpPr>
          <a:xfrm>
            <a:off x="1318896" y="4755515"/>
            <a:ext cx="1107440" cy="1249680"/>
            <a:chOff x="1867396" y="1697267"/>
            <a:chExt cx="2006156" cy="2263538"/>
          </a:xfrm>
          <a:solidFill>
            <a:schemeClr val="bg1"/>
          </a:solidFill>
          <a:effectLst/>
        </p:grpSpPr>
        <p:sp>
          <p:nvSpPr>
            <p:cNvPr id="109" name="Freeform 5"/>
            <p:cNvSpPr/>
            <p:nvPr>
              <p:custDataLst>
                <p:tags r:id="rId51"/>
              </p:custDataLst>
            </p:nvPr>
          </p:nvSpPr>
          <p:spPr bwMode="auto">
            <a:xfrm rot="5400000">
              <a:off x="1738705" y="1825958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11" name="Freeform 5"/>
            <p:cNvSpPr/>
            <p:nvPr>
              <p:custDataLst>
                <p:tags r:id="rId52"/>
              </p:custDataLst>
            </p:nvPr>
          </p:nvSpPr>
          <p:spPr bwMode="auto">
            <a:xfrm rot="5400000">
              <a:off x="1952899" y="2015796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12" name="组合 111"/>
          <p:cNvGrpSpPr/>
          <p:nvPr/>
        </p:nvGrpSpPr>
        <p:grpSpPr>
          <a:xfrm>
            <a:off x="10362565" y="47288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13" name="Freeform 5"/>
            <p:cNvSpPr/>
            <p:nvPr>
              <p:custDataLst>
                <p:tags r:id="rId5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14" name="Freeform 5"/>
            <p:cNvSpPr/>
            <p:nvPr>
              <p:custDataLst>
                <p:tags r:id="rId5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pic>
        <p:nvPicPr>
          <p:cNvPr id="115" name="图片 114" descr="微信图片_20230524095731"/>
          <p:cNvPicPr>
            <a:picLocks noChangeAspect="1"/>
          </p:cNvPicPr>
          <p:nvPr>
            <p:custDataLst>
              <p:tags r:id="rId55"/>
            </p:custDataLst>
          </p:nvPr>
        </p:nvPicPr>
        <p:blipFill>
          <a:blip r:embed="rId56"/>
          <a:stretch>
            <a:fillRect/>
          </a:stretch>
        </p:blipFill>
        <p:spPr>
          <a:xfrm>
            <a:off x="3446275" y="1652562"/>
            <a:ext cx="775234" cy="731425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698500" y="1694180"/>
            <a:ext cx="1067435" cy="689610"/>
          </a:xfrm>
          <a:prstGeom prst="rect">
            <a:avLst/>
          </a:prstGeom>
        </p:spPr>
      </p:pic>
      <p:pic>
        <p:nvPicPr>
          <p:cNvPr id="117" name="图片 116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2081530" y="1774825"/>
            <a:ext cx="972185" cy="511810"/>
          </a:xfrm>
          <a:prstGeom prst="rect">
            <a:avLst/>
          </a:prstGeom>
        </p:spPr>
      </p:pic>
      <p:pic>
        <p:nvPicPr>
          <p:cNvPr id="118" name="图片 117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7249795" y="1882140"/>
            <a:ext cx="897890" cy="299720"/>
          </a:xfrm>
          <a:prstGeom prst="rect">
            <a:avLst/>
          </a:prstGeom>
        </p:spPr>
      </p:pic>
      <p:pic>
        <p:nvPicPr>
          <p:cNvPr id="119" name="图片 118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4669155" y="1763395"/>
            <a:ext cx="853440" cy="478790"/>
          </a:xfrm>
          <a:prstGeom prst="rect">
            <a:avLst/>
          </a:prstGeom>
        </p:spPr>
      </p:pic>
      <p:pic>
        <p:nvPicPr>
          <p:cNvPr id="120" name="图片 119"/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6046470" y="1797050"/>
            <a:ext cx="791210" cy="478155"/>
          </a:xfrm>
          <a:prstGeom prst="rect">
            <a:avLst/>
          </a:prstGeom>
        </p:spPr>
      </p:pic>
      <p:pic>
        <p:nvPicPr>
          <p:cNvPr id="121" name="图片 120" descr="可乐"/>
          <p:cNvPicPr>
            <a:picLocks noChangeAspect="1"/>
          </p:cNvPicPr>
          <p:nvPr>
            <p:custDataLst>
              <p:tags r:id="rId62"/>
            </p:custDataLst>
          </p:nvPr>
        </p:nvPicPr>
        <p:blipFill>
          <a:blip r:embed="rId63"/>
          <a:stretch>
            <a:fillRect/>
          </a:stretch>
        </p:blipFill>
        <p:spPr>
          <a:xfrm>
            <a:off x="8566785" y="1882140"/>
            <a:ext cx="893445" cy="289560"/>
          </a:xfrm>
          <a:prstGeom prst="rect">
            <a:avLst/>
          </a:prstGeom>
        </p:spPr>
      </p:pic>
      <p:pic>
        <p:nvPicPr>
          <p:cNvPr id="122" name="图片 121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9764500" y="1696234"/>
            <a:ext cx="986470" cy="590790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11172825" y="1772920"/>
            <a:ext cx="812800" cy="481330"/>
          </a:xfrm>
          <a:prstGeom prst="rect">
            <a:avLst/>
          </a:prstGeom>
        </p:spPr>
      </p:pic>
      <p:pic>
        <p:nvPicPr>
          <p:cNvPr id="124" name="图片 123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1475105" y="2943225"/>
            <a:ext cx="897890" cy="320675"/>
          </a:xfrm>
          <a:prstGeom prst="rect">
            <a:avLst/>
          </a:prstGeom>
        </p:spPr>
      </p:pic>
      <p:pic>
        <p:nvPicPr>
          <p:cNvPr id="125" name="图片 124"/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2828601" y="2882536"/>
            <a:ext cx="773072" cy="557783"/>
          </a:xfrm>
          <a:prstGeom prst="rect">
            <a:avLst/>
          </a:prstGeom>
        </p:spPr>
      </p:pic>
      <p:pic>
        <p:nvPicPr>
          <p:cNvPr id="126" name="图片 125"/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228233" y="2882340"/>
            <a:ext cx="819128" cy="567288"/>
          </a:xfrm>
          <a:prstGeom prst="rect">
            <a:avLst/>
          </a:prstGeom>
        </p:spPr>
      </p:pic>
      <p:pic>
        <p:nvPicPr>
          <p:cNvPr id="127" name="图片 126" descr="微信图片_20210309093138"/>
          <p:cNvPicPr>
            <a:picLocks noChangeAspect="1"/>
          </p:cNvPicPr>
          <p:nvPr/>
        </p:nvPicPr>
        <p:blipFill>
          <a:blip r:embed="rId69"/>
          <a:srcRect/>
          <a:stretch>
            <a:fillRect/>
          </a:stretch>
        </p:blipFill>
        <p:spPr>
          <a:xfrm>
            <a:off x="5340985" y="3005455"/>
            <a:ext cx="954405" cy="321310"/>
          </a:xfrm>
          <a:prstGeom prst="rect">
            <a:avLst/>
          </a:prstGeom>
        </p:spPr>
      </p:pic>
      <p:pic>
        <p:nvPicPr>
          <p:cNvPr id="128" name="图片 127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4633659" y="4026093"/>
            <a:ext cx="905638" cy="492066"/>
          </a:xfrm>
          <a:prstGeom prst="rect">
            <a:avLst/>
          </a:prstGeom>
        </p:spPr>
      </p:pic>
      <p:pic>
        <p:nvPicPr>
          <p:cNvPr id="129" name="图片 128"/>
          <p:cNvPicPr>
            <a:picLocks noChangeAspect="1"/>
          </p:cNvPicPr>
          <p:nvPr/>
        </p:nvPicPr>
        <p:blipFill>
          <a:blip r:embed="rId71"/>
          <a:srcRect l="3949" r="10637"/>
          <a:stretch>
            <a:fillRect/>
          </a:stretch>
        </p:blipFill>
        <p:spPr>
          <a:xfrm>
            <a:off x="4101465" y="2887345"/>
            <a:ext cx="800735" cy="553085"/>
          </a:xfrm>
          <a:prstGeom prst="rect">
            <a:avLst/>
          </a:prstGeom>
        </p:spPr>
      </p:pic>
      <p:pic>
        <p:nvPicPr>
          <p:cNvPr id="132" name="图片 131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9229725" y="2886710"/>
            <a:ext cx="901065" cy="499745"/>
          </a:xfrm>
          <a:prstGeom prst="rect">
            <a:avLst/>
          </a:prstGeom>
        </p:spPr>
      </p:pic>
      <p:pic>
        <p:nvPicPr>
          <p:cNvPr id="133" name="图片 132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7187565" y="4025900"/>
            <a:ext cx="1074420" cy="450215"/>
          </a:xfrm>
          <a:prstGeom prst="rect">
            <a:avLst/>
          </a:prstGeom>
        </p:spPr>
      </p:pic>
      <p:pic>
        <p:nvPicPr>
          <p:cNvPr id="134" name="图片 133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5931526" y="3970440"/>
            <a:ext cx="980472" cy="584219"/>
          </a:xfrm>
          <a:prstGeom prst="rect">
            <a:avLst/>
          </a:prstGeom>
        </p:spPr>
      </p:pic>
      <p:pic>
        <p:nvPicPr>
          <p:cNvPr id="135" name="图片 134"/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9840024" y="3908552"/>
            <a:ext cx="884094" cy="567787"/>
          </a:xfrm>
          <a:prstGeom prst="rect">
            <a:avLst/>
          </a:prstGeom>
        </p:spPr>
      </p:pic>
      <p:pic>
        <p:nvPicPr>
          <p:cNvPr id="136" name="图片 135"/>
          <p:cNvPicPr>
            <a:picLocks noChangeAspect="1"/>
          </p:cNvPicPr>
          <p:nvPr/>
        </p:nvPicPr>
        <p:blipFill>
          <a:blip r:embed="rId76"/>
          <a:stretch>
            <a:fillRect/>
          </a:stretch>
        </p:blipFill>
        <p:spPr>
          <a:xfrm>
            <a:off x="11150600" y="4021455"/>
            <a:ext cx="1004570" cy="423545"/>
          </a:xfrm>
          <a:prstGeom prst="rect">
            <a:avLst/>
          </a:prstGeom>
        </p:spPr>
      </p:pic>
      <p:pic>
        <p:nvPicPr>
          <p:cNvPr id="137" name="图片 136"/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8610540" y="3938290"/>
            <a:ext cx="805494" cy="579607"/>
          </a:xfrm>
          <a:prstGeom prst="rect">
            <a:avLst/>
          </a:prstGeom>
        </p:spPr>
      </p:pic>
      <p:pic>
        <p:nvPicPr>
          <p:cNvPr id="138" name="图片 137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3359150" y="3970655"/>
            <a:ext cx="987425" cy="558800"/>
          </a:xfrm>
          <a:prstGeom prst="rect">
            <a:avLst/>
          </a:prstGeom>
        </p:spPr>
      </p:pic>
      <p:grpSp>
        <p:nvGrpSpPr>
          <p:cNvPr id="139" name="组合 138"/>
          <p:cNvGrpSpPr/>
          <p:nvPr/>
        </p:nvGrpSpPr>
        <p:grpSpPr>
          <a:xfrm>
            <a:off x="2592705" y="47199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40" name="Freeform 5"/>
            <p:cNvSpPr/>
            <p:nvPr>
              <p:custDataLst>
                <p:tags r:id="rId7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41" name="Freeform 5"/>
            <p:cNvSpPr/>
            <p:nvPr>
              <p:custDataLst>
                <p:tags r:id="rId8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42" name="组合 141"/>
          <p:cNvGrpSpPr/>
          <p:nvPr/>
        </p:nvGrpSpPr>
        <p:grpSpPr>
          <a:xfrm>
            <a:off x="3883025" y="47288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43" name="Freeform 5"/>
            <p:cNvSpPr/>
            <p:nvPr>
              <p:custDataLst>
                <p:tags r:id="rId8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44" name="Freeform 5"/>
            <p:cNvSpPr/>
            <p:nvPr>
              <p:custDataLst>
                <p:tags r:id="rId8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45" name="组合 144"/>
          <p:cNvGrpSpPr/>
          <p:nvPr/>
        </p:nvGrpSpPr>
        <p:grpSpPr>
          <a:xfrm>
            <a:off x="5173345" y="471995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46" name="Freeform 5"/>
            <p:cNvSpPr/>
            <p:nvPr>
              <p:custDataLst>
                <p:tags r:id="rId83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47" name="Freeform 5"/>
            <p:cNvSpPr/>
            <p:nvPr>
              <p:custDataLst>
                <p:tags r:id="rId84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48" name="组合 147"/>
          <p:cNvGrpSpPr/>
          <p:nvPr/>
        </p:nvGrpSpPr>
        <p:grpSpPr>
          <a:xfrm>
            <a:off x="6485890" y="472884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49" name="Freeform 5"/>
            <p:cNvSpPr/>
            <p:nvPr>
              <p:custDataLst>
                <p:tags r:id="rId85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0" name="Freeform 5"/>
            <p:cNvSpPr/>
            <p:nvPr>
              <p:custDataLst>
                <p:tags r:id="rId86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51" name="组合 150"/>
          <p:cNvGrpSpPr/>
          <p:nvPr/>
        </p:nvGrpSpPr>
        <p:grpSpPr>
          <a:xfrm>
            <a:off x="7776210" y="473773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52" name="Freeform 5"/>
            <p:cNvSpPr/>
            <p:nvPr>
              <p:custDataLst>
                <p:tags r:id="rId87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3" name="Freeform 5"/>
            <p:cNvSpPr/>
            <p:nvPr>
              <p:custDataLst>
                <p:tags r:id="rId88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154" name="组合 153"/>
          <p:cNvGrpSpPr/>
          <p:nvPr/>
        </p:nvGrpSpPr>
        <p:grpSpPr>
          <a:xfrm>
            <a:off x="9066530" y="473773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155" name="Freeform 5"/>
            <p:cNvSpPr/>
            <p:nvPr>
              <p:custDataLst>
                <p:tags r:id="rId8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6" name="Freeform 5"/>
            <p:cNvSpPr/>
            <p:nvPr>
              <p:custDataLst>
                <p:tags r:id="rId9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pic>
        <p:nvPicPr>
          <p:cNvPr id="157" name="图片 156" descr="微信图片_20210414103758"/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6617335" y="5211445"/>
            <a:ext cx="855980" cy="274955"/>
          </a:xfrm>
          <a:prstGeom prst="rect">
            <a:avLst/>
          </a:prstGeom>
        </p:spPr>
      </p:pic>
      <p:pic>
        <p:nvPicPr>
          <p:cNvPr id="159" name="图片 158"/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7981950" y="3031490"/>
            <a:ext cx="859790" cy="295275"/>
          </a:xfrm>
          <a:prstGeom prst="rect">
            <a:avLst/>
          </a:prstGeom>
        </p:spPr>
      </p:pic>
      <p:pic>
        <p:nvPicPr>
          <p:cNvPr id="160" name="图片 159"/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5375275" y="5092065"/>
            <a:ext cx="697865" cy="494030"/>
          </a:xfrm>
          <a:prstGeom prst="rect">
            <a:avLst/>
          </a:prstGeom>
        </p:spPr>
      </p:pic>
      <p:pic>
        <p:nvPicPr>
          <p:cNvPr id="161" name="图片 160"/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2773045" y="5193665"/>
            <a:ext cx="810260" cy="383540"/>
          </a:xfrm>
          <a:prstGeom prst="rect">
            <a:avLst/>
          </a:prstGeom>
        </p:spPr>
      </p:pic>
      <p:pic>
        <p:nvPicPr>
          <p:cNvPr id="162" name="图片 161"/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1482725" y="5193665"/>
            <a:ext cx="749300" cy="513080"/>
          </a:xfrm>
          <a:prstGeom prst="rect">
            <a:avLst/>
          </a:prstGeom>
        </p:spPr>
      </p:pic>
      <p:grpSp>
        <p:nvGrpSpPr>
          <p:cNvPr id="73" name="组合 72"/>
          <p:cNvGrpSpPr/>
          <p:nvPr/>
        </p:nvGrpSpPr>
        <p:grpSpPr>
          <a:xfrm>
            <a:off x="10429240" y="2551430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74" name="Freeform 5"/>
            <p:cNvSpPr/>
            <p:nvPr>
              <p:custDataLst>
                <p:tags r:id="rId96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75" name="Freeform 5"/>
            <p:cNvSpPr/>
            <p:nvPr>
              <p:custDataLst>
                <p:tags r:id="rId97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pic>
        <p:nvPicPr>
          <p:cNvPr id="158" name="图片 157"/>
          <p:cNvPicPr>
            <a:picLocks noChangeAspect="1"/>
          </p:cNvPicPr>
          <p:nvPr/>
        </p:nvPicPr>
        <p:blipFill>
          <a:blip r:embed="rId98"/>
          <a:stretch>
            <a:fillRect/>
          </a:stretch>
        </p:blipFill>
        <p:spPr>
          <a:xfrm>
            <a:off x="10561955" y="2962275"/>
            <a:ext cx="860425" cy="374015"/>
          </a:xfrm>
          <a:prstGeom prst="rect">
            <a:avLst/>
          </a:prstGeom>
        </p:spPr>
      </p:pic>
      <p:grpSp>
        <p:nvGrpSpPr>
          <p:cNvPr id="76" name="组合 75"/>
          <p:cNvGrpSpPr/>
          <p:nvPr/>
        </p:nvGrpSpPr>
        <p:grpSpPr>
          <a:xfrm>
            <a:off x="668020" y="363537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77" name="Freeform 5"/>
            <p:cNvSpPr/>
            <p:nvPr>
              <p:custDataLst>
                <p:tags r:id="rId99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78" name="Freeform 5"/>
            <p:cNvSpPr/>
            <p:nvPr>
              <p:custDataLst>
                <p:tags r:id="rId100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1958340" y="3635375"/>
            <a:ext cx="1107440" cy="1249680"/>
            <a:chOff x="1784572" y="1862891"/>
            <a:chExt cx="2006156" cy="2263538"/>
          </a:xfrm>
          <a:solidFill>
            <a:schemeClr val="bg1"/>
          </a:solidFill>
          <a:effectLst/>
        </p:grpSpPr>
        <p:sp>
          <p:nvSpPr>
            <p:cNvPr id="81" name="Freeform 5"/>
            <p:cNvSpPr/>
            <p:nvPr>
              <p:custDataLst>
                <p:tags r:id="rId101"/>
              </p:custDataLst>
            </p:nvPr>
          </p:nvSpPr>
          <p:spPr bwMode="auto">
            <a:xfrm rot="5400000">
              <a:off x="1655881" y="1991582"/>
              <a:ext cx="2263538" cy="2006156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82" name="Freeform 5"/>
            <p:cNvSpPr/>
            <p:nvPr>
              <p:custDataLst>
                <p:tags r:id="rId102"/>
              </p:custDataLst>
            </p:nvPr>
          </p:nvSpPr>
          <p:spPr bwMode="auto">
            <a:xfrm rot="5400000">
              <a:off x="1870075" y="2181420"/>
              <a:ext cx="1835150" cy="1626480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  <a:sym typeface="Arial" panose="020B0604020202020204" pitchFamily="34" charset="0"/>
              </a:endParaRPr>
            </a:p>
          </p:txBody>
        </p:sp>
      </p:grpSp>
      <p:pic>
        <p:nvPicPr>
          <p:cNvPr id="130" name="图片 129"/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841872" y="3948001"/>
            <a:ext cx="683375" cy="583645"/>
          </a:xfrm>
          <a:prstGeom prst="rect">
            <a:avLst/>
          </a:prstGeom>
        </p:spPr>
      </p:pic>
      <p:pic>
        <p:nvPicPr>
          <p:cNvPr id="131" name="图片 130"/>
          <p:cNvPicPr>
            <a:picLocks noChangeAspect="1"/>
          </p:cNvPicPr>
          <p:nvPr/>
        </p:nvPicPr>
        <p:blipFill>
          <a:blip r:embed="rId104"/>
          <a:stretch>
            <a:fillRect/>
          </a:stretch>
        </p:blipFill>
        <p:spPr>
          <a:xfrm>
            <a:off x="2072640" y="4025900"/>
            <a:ext cx="962660" cy="45021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6631305" y="2752090"/>
            <a:ext cx="896620" cy="634365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106"/>
          <a:srcRect l="3887" t="21418" r="4692"/>
          <a:stretch>
            <a:fillRect/>
          </a:stretch>
        </p:blipFill>
        <p:spPr>
          <a:xfrm>
            <a:off x="4019550" y="5157470"/>
            <a:ext cx="839470" cy="384175"/>
          </a:xfrm>
          <a:prstGeom prst="rect">
            <a:avLst/>
          </a:prstGeom>
        </p:spPr>
      </p:pic>
      <p:pic>
        <p:nvPicPr>
          <p:cNvPr id="72" name="图片 71"/>
          <p:cNvPicPr/>
          <p:nvPr/>
        </p:nvPicPr>
        <p:blipFill>
          <a:blip r:embed="rId107"/>
          <a:srcRect t="19335" b="11339"/>
          <a:stretch>
            <a:fillRect/>
          </a:stretch>
        </p:blipFill>
        <p:spPr>
          <a:xfrm>
            <a:off x="7861300" y="5132070"/>
            <a:ext cx="969645" cy="448310"/>
          </a:xfrm>
          <a:prstGeom prst="rect">
            <a:avLst/>
          </a:prstGeom>
        </p:spPr>
      </p:pic>
      <p:pic>
        <p:nvPicPr>
          <p:cNvPr id="90" name="图片 89"/>
          <p:cNvPicPr>
            <a:picLocks noChangeAspect="1"/>
          </p:cNvPicPr>
          <p:nvPr/>
        </p:nvPicPr>
        <p:blipFill>
          <a:blip r:embed="rId108"/>
          <a:stretch>
            <a:fillRect/>
          </a:stretch>
        </p:blipFill>
        <p:spPr>
          <a:xfrm>
            <a:off x="10458450" y="4963795"/>
            <a:ext cx="898525" cy="796290"/>
          </a:xfrm>
          <a:prstGeom prst="rect">
            <a:avLst/>
          </a:prstGeom>
        </p:spPr>
      </p:pic>
      <p:pic>
        <p:nvPicPr>
          <p:cNvPr id="91" name="图片 90"/>
          <p:cNvPicPr>
            <a:picLocks noChangeAspect="1"/>
          </p:cNvPicPr>
          <p:nvPr/>
        </p:nvPicPr>
        <p:blipFill>
          <a:blip r:embed="rId109"/>
          <a:srcRect t="16979"/>
          <a:stretch>
            <a:fillRect/>
          </a:stretch>
        </p:blipFill>
        <p:spPr>
          <a:xfrm>
            <a:off x="9129395" y="5180965"/>
            <a:ext cx="986790" cy="3321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0" name="组合 609"/>
          <p:cNvGrpSpPr/>
          <p:nvPr/>
        </p:nvGrpSpPr>
        <p:grpSpPr>
          <a:xfrm>
            <a:off x="0" y="-44535"/>
            <a:ext cx="12192000" cy="753312"/>
            <a:chOff x="0" y="-44535"/>
            <a:chExt cx="12192000" cy="753312"/>
          </a:xfrm>
        </p:grpSpPr>
        <p:sp>
          <p:nvSpPr>
            <p:cNvPr id="611" name="iṩḷiḍe"/>
            <p:cNvSpPr/>
            <p:nvPr/>
          </p:nvSpPr>
          <p:spPr>
            <a:xfrm rot="16200000">
              <a:off x="96609" y="115572"/>
              <a:ext cx="596177" cy="59023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369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612" name="文本框 611"/>
            <p:cNvSpPr txBox="1"/>
            <p:nvPr/>
          </p:nvSpPr>
          <p:spPr>
            <a:xfrm>
              <a:off x="262681" y="144987"/>
              <a:ext cx="2699659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200"/>
              <a:r>
                <a:rPr lang="zh-CN" altLang="en-US" sz="2800" b="1" dirty="0">
                  <a:solidFill>
                    <a:srgbClr val="0369BF"/>
                  </a:solidFill>
                  <a:latin typeface="Agency FB" panose="020B0503020202020204"/>
                  <a:ea typeface="微软雅黑" panose="020B0503020204020204" pitchFamily="34" charset="-122"/>
                  <a:cs typeface="+mn-ea"/>
                  <a:sym typeface="+mn-lt"/>
                </a:rPr>
                <a:t>企业文化</a:t>
              </a:r>
              <a:endParaRPr lang="zh-CN" altLang="en-US" sz="2800" b="1" dirty="0">
                <a:solidFill>
                  <a:srgbClr val="0369BF"/>
                </a:solidFill>
                <a:latin typeface="Agency FB" panose="020B0503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14" name="任意多边形: 形状 613"/>
            <p:cNvSpPr/>
            <p:nvPr/>
          </p:nvSpPr>
          <p:spPr>
            <a:xfrm>
              <a:off x="0" y="-44535"/>
              <a:ext cx="12192000" cy="387879"/>
            </a:xfrm>
            <a:custGeom>
              <a:avLst/>
              <a:gdLst>
                <a:gd name="connsiteX0" fmla="*/ 0 w 12192000"/>
                <a:gd name="connsiteY0" fmla="*/ 0 h 6240462"/>
                <a:gd name="connsiteX1" fmla="*/ 12192000 w 12192000"/>
                <a:gd name="connsiteY1" fmla="*/ 0 h 6240462"/>
                <a:gd name="connsiteX2" fmla="*/ 12192000 w 12192000"/>
                <a:gd name="connsiteY2" fmla="*/ 6240462 h 6240462"/>
                <a:gd name="connsiteX3" fmla="*/ 5961014 w 12192000"/>
                <a:gd name="connsiteY3" fmla="*/ 3089261 h 6240462"/>
                <a:gd name="connsiteX4" fmla="*/ 2310972 w 12192000"/>
                <a:gd name="connsiteY4" fmla="*/ 1462834 h 6240462"/>
                <a:gd name="connsiteX5" fmla="*/ 10173 w 12192000"/>
                <a:gd name="connsiteY5" fmla="*/ 2241788 h 6240462"/>
                <a:gd name="connsiteX6" fmla="*/ 0 w 12192000"/>
                <a:gd name="connsiteY6" fmla="*/ 2250634 h 624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6240462">
                  <a:moveTo>
                    <a:pt x="0" y="0"/>
                  </a:moveTo>
                  <a:lnTo>
                    <a:pt x="12192000" y="0"/>
                  </a:lnTo>
                  <a:lnTo>
                    <a:pt x="12192000" y="6240462"/>
                  </a:lnTo>
                  <a:cubicBezTo>
                    <a:pt x="12192000" y="6240462"/>
                    <a:pt x="9438271" y="6215049"/>
                    <a:pt x="5961014" y="3089261"/>
                  </a:cubicBezTo>
                  <a:cubicBezTo>
                    <a:pt x="4546352" y="1818615"/>
                    <a:pt x="3293675" y="1462834"/>
                    <a:pt x="2310972" y="1462834"/>
                  </a:cubicBezTo>
                  <a:cubicBezTo>
                    <a:pt x="964479" y="1462834"/>
                    <a:pt x="111532" y="2155237"/>
                    <a:pt x="10173" y="2241788"/>
                  </a:cubicBezTo>
                  <a:lnTo>
                    <a:pt x="0" y="2250634"/>
                  </a:lnTo>
                  <a:close/>
                </a:path>
              </a:pathLst>
            </a:custGeom>
            <a:solidFill>
              <a:srgbClr val="036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25" name="组合 624"/>
          <p:cNvGrpSpPr/>
          <p:nvPr>
            <p:custDataLst>
              <p:tags r:id="rId1"/>
            </p:custDataLst>
          </p:nvPr>
        </p:nvGrpSpPr>
        <p:grpSpPr>
          <a:xfrm>
            <a:off x="1037047" y="1143408"/>
            <a:ext cx="4000106" cy="967072"/>
            <a:chOff x="674001" y="1749950"/>
            <a:chExt cx="4000106" cy="967072"/>
          </a:xfrm>
        </p:grpSpPr>
        <p:sp>
          <p:nvSpPr>
            <p:cNvPr id="626" name="TextBox 65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92800" y="1749950"/>
              <a:ext cx="3981307" cy="583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3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愿景</a:t>
              </a:r>
              <a:endParaRPr lang="zh-CN" altLang="en-US" sz="3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7" name="ïṣlîḋê"/>
            <p:cNvSpPr txBox="1"/>
            <p:nvPr>
              <p:custDataLst>
                <p:tags r:id="rId3"/>
              </p:custDataLst>
            </p:nvPr>
          </p:nvSpPr>
          <p:spPr>
            <a:xfrm>
              <a:off x="674001" y="2129787"/>
              <a:ext cx="3582650" cy="58723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Autofit/>
            </a:bodyPr>
            <a:lstStyle/>
            <a:p>
              <a:pPr defTabSz="1218565">
                <a:lnSpc>
                  <a:spcPct val="130000"/>
                </a:lnSpc>
                <a:spcBef>
                  <a:spcPct val="0"/>
                </a:spcBef>
                <a:defRPr/>
              </a:pPr>
              <a:r>
                <a:rPr lang="en-US" altLang="zh-CN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Better can Better life</a:t>
              </a:r>
              <a:endParaRPr lang="en-US" altLang="zh-CN" sz="2400" b="1" kern="0" spc="11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grpSp>
        <p:nvGrpSpPr>
          <p:cNvPr id="628" name="组合 627"/>
          <p:cNvGrpSpPr/>
          <p:nvPr>
            <p:custDataLst>
              <p:tags r:id="rId4"/>
            </p:custDataLst>
          </p:nvPr>
        </p:nvGrpSpPr>
        <p:grpSpPr>
          <a:xfrm>
            <a:off x="1012542" y="3284092"/>
            <a:ext cx="4000106" cy="993742"/>
            <a:chOff x="674001" y="1749950"/>
            <a:chExt cx="4000106" cy="993742"/>
          </a:xfrm>
        </p:grpSpPr>
        <p:sp>
          <p:nvSpPr>
            <p:cNvPr id="629" name="TextBox 65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92800" y="1749950"/>
              <a:ext cx="3981307" cy="583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3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价值观</a:t>
              </a:r>
              <a:endParaRPr lang="zh-CN" altLang="en-US" sz="3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0" name="ïṣlîḋê"/>
            <p:cNvSpPr txBox="1"/>
            <p:nvPr>
              <p:custDataLst>
                <p:tags r:id="rId6"/>
              </p:custDataLst>
            </p:nvPr>
          </p:nvSpPr>
          <p:spPr>
            <a:xfrm>
              <a:off x="674001" y="2156457"/>
              <a:ext cx="3582650" cy="58723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Autofit/>
            </a:bodyPr>
            <a:lstStyle/>
            <a:p>
              <a:pPr defTabSz="1218565">
                <a:lnSpc>
                  <a:spcPct val="130000"/>
                </a:lnSpc>
                <a:spcBef>
                  <a:spcPct val="0"/>
                </a:spcBef>
                <a:defRPr/>
              </a:pPr>
              <a:r>
                <a:rPr lang="zh-CN" altLang="en-US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刻苦专注</a:t>
              </a:r>
              <a:r>
                <a:rPr lang="en-US" altLang="zh-CN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 </a:t>
              </a:r>
              <a:r>
                <a:rPr lang="zh-CN" altLang="en-US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感恩</a:t>
              </a:r>
              <a:r>
                <a:rPr lang="en-US" altLang="zh-CN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 </a:t>
              </a:r>
              <a:r>
                <a:rPr lang="zh-CN" altLang="en-US" sz="2400" b="1" dirty="0">
                  <a:solidFill>
                    <a:schemeClr val="bg2">
                      <a:lumMod val="25000"/>
                    </a:schemeClr>
                  </a:solidFill>
                  <a:sym typeface="+mn-ea"/>
                </a:rPr>
                <a:t>永不放弃</a:t>
              </a:r>
              <a:endParaRPr lang="zh-CN" altLang="en-US" sz="2400" kern="0" spc="11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631" name="组合 630"/>
          <p:cNvGrpSpPr/>
          <p:nvPr>
            <p:custDataLst>
              <p:tags r:id="rId7"/>
            </p:custDataLst>
          </p:nvPr>
        </p:nvGrpSpPr>
        <p:grpSpPr>
          <a:xfrm>
            <a:off x="1007106" y="4731301"/>
            <a:ext cx="5807710" cy="1011555"/>
            <a:chOff x="674001" y="1749950"/>
            <a:chExt cx="5807710" cy="1011555"/>
          </a:xfrm>
        </p:grpSpPr>
        <p:sp>
          <p:nvSpPr>
            <p:cNvPr id="632" name="TextBox 65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92800" y="1749950"/>
              <a:ext cx="3981307" cy="583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3200" b="1" dirty="0">
                  <a:solidFill>
                    <a:srgbClr val="0060B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命</a:t>
              </a:r>
              <a:endParaRPr lang="zh-CN" altLang="en-US" sz="3200" b="1" dirty="0">
                <a:solidFill>
                  <a:srgbClr val="0060B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3" name="ïṣlîḋê"/>
            <p:cNvSpPr txBox="1"/>
            <p:nvPr>
              <p:custDataLst>
                <p:tags r:id="rId9"/>
              </p:custDataLst>
            </p:nvPr>
          </p:nvSpPr>
          <p:spPr>
            <a:xfrm>
              <a:off x="674001" y="2174130"/>
              <a:ext cx="5807710" cy="58737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Autofit/>
            </a:bodyPr>
            <a:lstStyle/>
            <a:p>
              <a:pPr defTabSz="1218565">
                <a:lnSpc>
                  <a:spcPct val="130000"/>
                </a:lnSpc>
                <a:spcBef>
                  <a:spcPct val="0"/>
                </a:spcBef>
                <a:defRPr/>
              </a:pPr>
              <a:r>
                <a:rPr lang="zh-CN" altLang="en-US" sz="2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sym typeface="+mn-ea"/>
                </a:rPr>
                <a:t>打造全产业链的中国饮料服务平台</a:t>
              </a:r>
              <a:endParaRPr lang="zh-CN" altLang="en-US" sz="2400" b="1" kern="0" spc="11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616" name="îśḻïḍe"/>
          <p:cNvSpPr/>
          <p:nvPr/>
        </p:nvSpPr>
        <p:spPr bwMode="auto">
          <a:xfrm>
            <a:off x="7903511" y="2866539"/>
            <a:ext cx="1431485" cy="1431482"/>
          </a:xfrm>
          <a:prstGeom prst="diamond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价值观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617" name="işliḑe"/>
          <p:cNvSpPr/>
          <p:nvPr/>
        </p:nvSpPr>
        <p:spPr bwMode="auto">
          <a:xfrm>
            <a:off x="10140076" y="2866539"/>
            <a:ext cx="1431485" cy="1431482"/>
          </a:xfrm>
          <a:prstGeom prst="diamond">
            <a:avLst/>
          </a:prstGeom>
          <a:solidFill>
            <a:srgbClr val="0060B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使命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618" name="î$1ïḋè"/>
          <p:cNvSpPr/>
          <p:nvPr/>
        </p:nvSpPr>
        <p:spPr bwMode="auto">
          <a:xfrm>
            <a:off x="5249186" y="2453380"/>
            <a:ext cx="4265066" cy="2226978"/>
          </a:xfrm>
          <a:custGeom>
            <a:avLst/>
            <a:gdLst>
              <a:gd name="T0" fmla="*/ 1558 w 1558"/>
              <a:gd name="T1" fmla="*/ 337 h 814"/>
              <a:gd name="T2" fmla="*/ 1221 w 1558"/>
              <a:gd name="T3" fmla="*/ 0 h 814"/>
              <a:gd name="T4" fmla="*/ 407 w 1558"/>
              <a:gd name="T5" fmla="*/ 814 h 814"/>
              <a:gd name="T6" fmla="*/ 0 w 1558"/>
              <a:gd name="T7" fmla="*/ 407 h 814"/>
              <a:gd name="T8" fmla="*/ 402 w 1558"/>
              <a:gd name="T9" fmla="*/ 5 h 814"/>
              <a:gd name="T10" fmla="*/ 734 w 1558"/>
              <a:gd name="T11" fmla="*/ 337 h 8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58" h="814">
                <a:moveTo>
                  <a:pt x="1558" y="337"/>
                </a:moveTo>
                <a:lnTo>
                  <a:pt x="1221" y="0"/>
                </a:lnTo>
                <a:lnTo>
                  <a:pt x="407" y="814"/>
                </a:lnTo>
                <a:lnTo>
                  <a:pt x="0" y="407"/>
                </a:lnTo>
                <a:lnTo>
                  <a:pt x="402" y="5"/>
                </a:lnTo>
                <a:lnTo>
                  <a:pt x="734" y="337"/>
                </a:lnTo>
              </a:path>
            </a:pathLst>
          </a:custGeom>
          <a:noFill/>
          <a:ln w="15875" cap="flat" cmpd="sng">
            <a:solidFill>
              <a:schemeClr val="bg1">
                <a:lumMod val="75000"/>
              </a:schemeClr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zh-CN" altLang="en-US"/>
          </a:p>
        </p:txBody>
      </p:sp>
      <p:sp>
        <p:nvSpPr>
          <p:cNvPr id="619" name="íṧľiďê"/>
          <p:cNvSpPr/>
          <p:nvPr/>
        </p:nvSpPr>
        <p:spPr bwMode="auto">
          <a:xfrm flipH="1" flipV="1">
            <a:off x="7655472" y="2453380"/>
            <a:ext cx="4265066" cy="2226978"/>
          </a:xfrm>
          <a:custGeom>
            <a:avLst/>
            <a:gdLst>
              <a:gd name="T0" fmla="*/ 1558 w 1558"/>
              <a:gd name="T1" fmla="*/ 337 h 814"/>
              <a:gd name="T2" fmla="*/ 1221 w 1558"/>
              <a:gd name="T3" fmla="*/ 0 h 814"/>
              <a:gd name="T4" fmla="*/ 407 w 1558"/>
              <a:gd name="T5" fmla="*/ 814 h 814"/>
              <a:gd name="T6" fmla="*/ 0 w 1558"/>
              <a:gd name="T7" fmla="*/ 407 h 814"/>
              <a:gd name="T8" fmla="*/ 402 w 1558"/>
              <a:gd name="T9" fmla="*/ 5 h 814"/>
              <a:gd name="T10" fmla="*/ 734 w 1558"/>
              <a:gd name="T11" fmla="*/ 337 h 8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58" h="814">
                <a:moveTo>
                  <a:pt x="1558" y="337"/>
                </a:moveTo>
                <a:lnTo>
                  <a:pt x="1221" y="0"/>
                </a:lnTo>
                <a:lnTo>
                  <a:pt x="407" y="814"/>
                </a:lnTo>
                <a:lnTo>
                  <a:pt x="0" y="407"/>
                </a:lnTo>
                <a:lnTo>
                  <a:pt x="402" y="5"/>
                </a:lnTo>
                <a:lnTo>
                  <a:pt x="734" y="337"/>
                </a:lnTo>
              </a:path>
            </a:pathLst>
          </a:custGeom>
          <a:noFill/>
          <a:ln w="15875" cap="flat" cmpd="sng">
            <a:solidFill>
              <a:schemeClr val="bg1">
                <a:lumMod val="75000"/>
              </a:schemeClr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zh-CN" altLang="en-US"/>
          </a:p>
        </p:txBody>
      </p:sp>
      <p:sp>
        <p:nvSpPr>
          <p:cNvPr id="620" name="iṩļïďe"/>
          <p:cNvSpPr/>
          <p:nvPr/>
        </p:nvSpPr>
        <p:spPr bwMode="auto">
          <a:xfrm>
            <a:off x="5595396" y="2866539"/>
            <a:ext cx="1431485" cy="1431482"/>
          </a:xfrm>
          <a:prstGeom prst="diamond">
            <a:avLst/>
          </a:prstGeom>
          <a:solidFill>
            <a:srgbClr val="0060B0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愿景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621" name="í$ļîḓê"/>
          <p:cNvSpPr/>
          <p:nvPr/>
        </p:nvSpPr>
        <p:spPr bwMode="auto">
          <a:xfrm>
            <a:off x="6153638" y="2934088"/>
            <a:ext cx="315000" cy="315000"/>
          </a:xfrm>
          <a:prstGeom prst="diamond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dk1"/>
              </a:solidFill>
            </a:endParaRPr>
          </a:p>
        </p:txBody>
      </p:sp>
      <p:sp>
        <p:nvSpPr>
          <p:cNvPr id="622" name="ís1iḋè"/>
          <p:cNvSpPr/>
          <p:nvPr/>
        </p:nvSpPr>
        <p:spPr bwMode="auto">
          <a:xfrm>
            <a:off x="8461753" y="2934088"/>
            <a:ext cx="315000" cy="315000"/>
          </a:xfrm>
          <a:prstGeom prst="diamond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dk1"/>
              </a:solidFill>
            </a:endParaRPr>
          </a:p>
        </p:txBody>
      </p:sp>
      <p:sp>
        <p:nvSpPr>
          <p:cNvPr id="623" name="ïṧ1íḍê"/>
          <p:cNvSpPr/>
          <p:nvPr/>
        </p:nvSpPr>
        <p:spPr bwMode="auto">
          <a:xfrm>
            <a:off x="10698318" y="2934088"/>
            <a:ext cx="315000" cy="315000"/>
          </a:xfrm>
          <a:prstGeom prst="diamond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dk1"/>
              </a:solidFill>
            </a:endParaRPr>
          </a:p>
        </p:txBody>
      </p:sp>
      <p:pic>
        <p:nvPicPr>
          <p:cNvPr id="3" name="图片 2" descr="无底色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09220" y="60325"/>
            <a:ext cx="599440" cy="65786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056005" y="2075815"/>
            <a:ext cx="3873500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好罐好生活</a:t>
            </a:r>
            <a:endParaRPr lang="zh-CN" altLang="en-US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制作更好的罐，享受更好的生活</a:t>
            </a:r>
            <a:endParaRPr lang="zh-CN" altLang="en-US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最好的努力，创造更好的生活方式</a:t>
            </a:r>
            <a:endParaRPr lang="zh-CN" altLang="en-US" sz="16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10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10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0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11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1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12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2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13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3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.xml><?xml version="1.0" encoding="utf-8"?>
<p:tagLst xmlns:p="http://schemas.openxmlformats.org/presentationml/2006/main">
  <p:tag name="MH" val="20160312084837"/>
  <p:tag name="MH_LIBRARY" val="GRAPHIC"/>
  <p:tag name="MH_TYPE" val="SubTitle"/>
  <p:tag name="MH_ORDER" val="1"/>
</p:tagLst>
</file>

<file path=ppt/tags/tag14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6.xml><?xml version="1.0" encoding="utf-8"?>
<p:tagLst xmlns:p="http://schemas.openxmlformats.org/presentationml/2006/main">
  <p:tag name="KSO_WM_UNIT_PLACING_PICTURE_USER_VIEWPORT" val="{&quot;height&quot;:3629,&quot;width&quot;:3845}"/>
</p:tagLst>
</file>

<file path=ppt/tags/tag147.xml><?xml version="1.0" encoding="utf-8"?>
<p:tagLst xmlns:p="http://schemas.openxmlformats.org/presentationml/2006/main">
  <p:tag name="REFSHAPE" val="291832556"/>
  <p:tag name="KSO_WM_FULL_TEXT_BEAUTIFY_COPY_ID" val="36"/>
</p:tagLst>
</file>

<file path=ppt/tags/tag14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4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.xml><?xml version="1.0" encoding="utf-8"?>
<p:tagLst xmlns:p="http://schemas.openxmlformats.org/presentationml/2006/main">
  <p:tag name="MH" val="20160312084837"/>
  <p:tag name="MH_LIBRARY" val="GRAPHIC"/>
  <p:tag name="MH_TYPE" val="SubTitle"/>
  <p:tag name="MH_ORDER" val="1"/>
</p:tagLst>
</file>

<file path=ppt/tags/tag15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5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.xml><?xml version="1.0" encoding="utf-8"?>
<p:tagLst xmlns:p="http://schemas.openxmlformats.org/presentationml/2006/main">
  <p:tag name="MH" val="20160312084837"/>
  <p:tag name="MH_LIBRARY" val="GRAPHIC"/>
  <p:tag name="MH_TYPE" val="SubTitle"/>
  <p:tag name="MH_ORDER" val="1"/>
</p:tagLst>
</file>

<file path=ppt/tags/tag160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1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2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3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166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67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68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69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.xml><?xml version="1.0" encoding="utf-8"?>
<p:tagLst xmlns:p="http://schemas.openxmlformats.org/presentationml/2006/main">
  <p:tag name="KSO_WM_FULL_TEXT_BEAUTIFY_COPY_ID" val="2"/>
</p:tagLst>
</file>

<file path=ppt/tags/tag170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1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2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3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4.xml><?xml version="1.0" encoding="utf-8"?>
<p:tagLst xmlns:p="http://schemas.openxmlformats.org/presentationml/2006/main">
  <p:tag name="KSO_WM_DIAGRAM_VIRTUALLY_FRAME" val="{&quot;height&quot;:336.90866141732283,&quot;left&quot;:79.29968503937008,&quot;top&quot;:88.53212598425195,&quot;width&quot;:317.3265354330709}"/>
</p:tagLst>
</file>

<file path=ppt/tags/tag175.xml><?xml version="1.0" encoding="utf-8"?>
<p:tagLst xmlns:p="http://schemas.openxmlformats.org/presentationml/2006/main">
  <p:tag name="KSO_WM_FULL_TEXT_BEAUTIFY_COPY_ID" val="2"/>
</p:tagLst>
</file>

<file path=ppt/tags/tag176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77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78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79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.xml><?xml version="1.0" encoding="utf-8"?>
<p:tagLst xmlns:p="http://schemas.openxmlformats.org/presentationml/2006/main">
  <p:tag name="MH" val="20160312084837"/>
  <p:tag name="MH_LIBRARY" val="GRAPHIC"/>
  <p:tag name="MH_TYPE" val="SubTitle"/>
  <p:tag name="MH_ORDER" val="1"/>
</p:tagLst>
</file>

<file path=ppt/tags/tag180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1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2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3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4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5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6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7.xml><?xml version="1.0" encoding="utf-8"?>
<p:tagLst xmlns:p="http://schemas.openxmlformats.org/presentationml/2006/main">
  <p:tag name="KSO_WM_DIAGRAM_VIRTUALLY_FRAME" val="{&quot;height&quot;:404.6204724409449,&quot;left&quot;:54.31606299212598,&quot;top&quot;:97.57700787401575,&quot;width&quot;:855.3022047244094}"/>
</p:tagLst>
</file>

<file path=ppt/tags/tag188.xml><?xml version="1.0" encoding="utf-8"?>
<p:tagLst xmlns:p="http://schemas.openxmlformats.org/presentationml/2006/main">
  <p:tag name="KSO_WM_FULL_TEXT_BEAUTIFY_COPY_ID" val="2"/>
</p:tagLst>
</file>

<file path=ppt/tags/tag189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.xml><?xml version="1.0" encoding="utf-8"?>
<p:tagLst xmlns:p="http://schemas.openxmlformats.org/presentationml/2006/main">
  <p:tag name="MH" val="20160312084837"/>
  <p:tag name="MH_LIBRARY" val="GRAPHIC"/>
  <p:tag name="MH_TYPE" val="SubTitle"/>
  <p:tag name="MH_ORDER" val="1"/>
</p:tagLst>
</file>

<file path=ppt/tags/tag190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1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2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3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4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5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6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7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8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199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20.xml><?xml version="1.0" encoding="utf-8"?>
<p:tagLst xmlns:p="http://schemas.openxmlformats.org/presentationml/2006/main">
  <p:tag name="KSO_WM_FULL_TEXT_BEAUTIFY_COPY_ID" val="2"/>
</p:tagLst>
</file>

<file path=ppt/tags/tag200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1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2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3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4.xml><?xml version="1.0" encoding="utf-8"?>
<p:tagLst xmlns:p="http://schemas.openxmlformats.org/presentationml/2006/main">
  <p:tag name="KSO_WM_FULL_TEXT_BEAUTIFY_COPY_ID" val="2"/>
</p:tagLst>
</file>

<file path=ppt/tags/tag205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6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7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8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09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10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1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2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3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4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5.xml><?xml version="1.0" encoding="utf-8"?>
<p:tagLst xmlns:p="http://schemas.openxmlformats.org/presentationml/2006/main">
  <p:tag name="KSO_WM_DIAGRAM_VIRTUALLY_FRAME" val="{&quot;height&quot;:334.2661417322835,&quot;left&quot;:133.71448818897642,&quot;top&quot;:124.6828346456693,&quot;width&quot;:740.517559055118}"/>
</p:tagLst>
</file>

<file path=ppt/tags/tag216.xml><?xml version="1.0" encoding="utf-8"?>
<p:tagLst xmlns:p="http://schemas.openxmlformats.org/presentationml/2006/main">
  <p:tag name="KSO_WM_FULL_TEXT_BEAUTIFY_COPY_ID" val="2"/>
</p:tagLst>
</file>

<file path=ppt/tags/tag217.xml><?xml version="1.0" encoding="utf-8"?>
<p:tagLst xmlns:p="http://schemas.openxmlformats.org/presentationml/2006/main">
  <p:tag name="KSO_WM_FULL_TEXT_BEAUTIFY_COPY_ID" val="5"/>
</p:tagLst>
</file>

<file path=ppt/tags/tag218.xml><?xml version="1.0" encoding="utf-8"?>
<p:tagLst xmlns:p="http://schemas.openxmlformats.org/presentationml/2006/main">
  <p:tag name="KSO_WM_FULL_TEXT_BEAUTIFY_COPY_ID" val="30"/>
</p:tagLst>
</file>

<file path=ppt/tags/tag219.xml><?xml version="1.0" encoding="utf-8"?>
<p:tagLst xmlns:p="http://schemas.openxmlformats.org/presentationml/2006/main">
  <p:tag name="KSO_WM_FULL_TEXT_BEAUTIFY_COPY_ID" val="32"/>
</p:tagLst>
</file>

<file path=ppt/tags/tag22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20.xml><?xml version="1.0" encoding="utf-8"?>
<p:tagLst xmlns:p="http://schemas.openxmlformats.org/presentationml/2006/main">
  <p:tag name="KSO_WM_FULL_TEXT_BEAUTIFY_COPY_ID" val="34"/>
</p:tagLst>
</file>

<file path=ppt/tags/tag221.xml><?xml version="1.0" encoding="utf-8"?>
<p:tagLst xmlns:p="http://schemas.openxmlformats.org/presentationml/2006/main">
  <p:tag name="KSO_WM_FULL_TEXT_BEAUTIFY_COPY_ID" val="36"/>
</p:tagLst>
</file>

<file path=ppt/tags/tag222.xml><?xml version="1.0" encoding="utf-8"?>
<p:tagLst xmlns:p="http://schemas.openxmlformats.org/presentationml/2006/main">
  <p:tag name="KSO_WM_FULL_TEXT_BEAUTIFY_COPY_ID" val="38"/>
</p:tagLst>
</file>

<file path=ppt/tags/tag223.xml><?xml version="1.0" encoding="utf-8"?>
<p:tagLst xmlns:p="http://schemas.openxmlformats.org/presentationml/2006/main">
  <p:tag name="KSO_WM_FULL_TEXT_BEAUTIFY_COPY_ID" val="5"/>
</p:tagLst>
</file>

<file path=ppt/tags/tag224.xml><?xml version="1.0" encoding="utf-8"?>
<p:tagLst xmlns:p="http://schemas.openxmlformats.org/presentationml/2006/main">
  <p:tag name="KSO_WM_FULL_TEXT_BEAUTIFY_COPY_ID" val="30"/>
</p:tagLst>
</file>

<file path=ppt/tags/tag225.xml><?xml version="1.0" encoding="utf-8"?>
<p:tagLst xmlns:p="http://schemas.openxmlformats.org/presentationml/2006/main">
  <p:tag name="KSO_WM_FULL_TEXT_BEAUTIFY_COPY_ID" val="32"/>
</p:tagLst>
</file>

<file path=ppt/tags/tag226.xml><?xml version="1.0" encoding="utf-8"?>
<p:tagLst xmlns:p="http://schemas.openxmlformats.org/presentationml/2006/main">
  <p:tag name="KSO_WM_FULL_TEXT_BEAUTIFY_COPY_ID" val="27"/>
</p:tagLst>
</file>

<file path=ppt/tags/tag227.xml><?xml version="1.0" encoding="utf-8"?>
<p:tagLst xmlns:p="http://schemas.openxmlformats.org/presentationml/2006/main">
  <p:tag name="KSO_WM_FULL_TEXT_BEAUTIFY_COPY_ID" val="31"/>
</p:tagLst>
</file>

<file path=ppt/tags/tag228.xml><?xml version="1.0" encoding="utf-8"?>
<p:tagLst xmlns:p="http://schemas.openxmlformats.org/presentationml/2006/main">
  <p:tag name="KSO_WM_FULL_TEXT_BEAUTIFY_COPY_ID" val="33"/>
</p:tagLst>
</file>

<file path=ppt/tags/tag229.xml><?xml version="1.0" encoding="utf-8"?>
<p:tagLst xmlns:p="http://schemas.openxmlformats.org/presentationml/2006/main">
  <p:tag name="KSO_WM_FULL_TEXT_BEAUTIFY_COPY_ID" val="35"/>
</p:tagLst>
</file>

<file path=ppt/tags/tag23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30.xml><?xml version="1.0" encoding="utf-8"?>
<p:tagLst xmlns:p="http://schemas.openxmlformats.org/presentationml/2006/main">
  <p:tag name="KSO_WM_FULL_TEXT_BEAUTIFY_COPY_ID" val="37"/>
</p:tagLst>
</file>

<file path=ppt/tags/tag231.xml><?xml version="1.0" encoding="utf-8"?>
<p:tagLst xmlns:p="http://schemas.openxmlformats.org/presentationml/2006/main">
  <p:tag name="KSO_WM_FULL_TEXT_BEAUTIFY_COPY_ID" val="39"/>
</p:tagLst>
</file>

<file path=ppt/tags/tag232.xml><?xml version="1.0" encoding="utf-8"?>
<p:tagLst xmlns:p="http://schemas.openxmlformats.org/presentationml/2006/main">
  <p:tag name="KSO_WM_FULL_TEXT_BEAUTIFY_COPY_ID" val="27"/>
</p:tagLst>
</file>

<file path=ppt/tags/tag233.xml><?xml version="1.0" encoding="utf-8"?>
<p:tagLst xmlns:p="http://schemas.openxmlformats.org/presentationml/2006/main">
  <p:tag name="KSO_WM_FULL_TEXT_BEAUTIFY_COPY_ID" val="31"/>
</p:tagLst>
</file>

<file path=ppt/tags/tag234.xml><?xml version="1.0" encoding="utf-8"?>
<p:tagLst xmlns:p="http://schemas.openxmlformats.org/presentationml/2006/main">
  <p:tag name="KSO_WM_FULL_TEXT_BEAUTIFY_COPY_ID" val="33"/>
</p:tagLst>
</file>

<file path=ppt/tags/tag235.xml><?xml version="1.0" encoding="utf-8"?>
<p:tagLst xmlns:p="http://schemas.openxmlformats.org/presentationml/2006/main">
  <p:tag name="KSO_WM_FULL_TEXT_BEAUTIFY_COPY_ID" val="33"/>
</p:tagLst>
</file>

<file path=ppt/tags/tag236.xml><?xml version="1.0" encoding="utf-8"?>
<p:tagLst xmlns:p="http://schemas.openxmlformats.org/presentationml/2006/main">
  <p:tag name="KSO_WM_FULL_TEXT_BEAUTIFY_COPY_ID" val="33"/>
</p:tagLst>
</file>

<file path=ppt/tags/tag237.xml><?xml version="1.0" encoding="utf-8"?>
<p:tagLst xmlns:p="http://schemas.openxmlformats.org/presentationml/2006/main">
  <p:tag name="KSO_WM_FULL_TEXT_BEAUTIFY_COPY_ID" val="33"/>
</p:tagLst>
</file>

<file path=ppt/tags/tag238.xml><?xml version="1.0" encoding="utf-8"?>
<p:tagLst xmlns:p="http://schemas.openxmlformats.org/presentationml/2006/main">
  <p:tag name="KSO_WM_FULL_TEXT_BEAUTIFY_COPY_ID" val="2"/>
</p:tagLst>
</file>

<file path=ppt/tags/tag239.xml><?xml version="1.0" encoding="utf-8"?>
<p:tagLst xmlns:p="http://schemas.openxmlformats.org/presentationml/2006/main">
  <p:tag name="KSO_WM_FULL_TEXT_BEAUTIFY_COPY_ID" val="2"/>
</p:tagLst>
</file>

<file path=ppt/tags/tag24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40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1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2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3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4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5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6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7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8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49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50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1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2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3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4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5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6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7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8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59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6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60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61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62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63.xml><?xml version="1.0" encoding="utf-8"?>
<p:tagLst xmlns:p="http://schemas.openxmlformats.org/presentationml/2006/main">
  <p:tag name="KSO_WM_DIAGRAM_VIRTUALLY_FRAME" val="{&quot;height&quot;:485.34055118110234,&quot;left&quot;:24.50472440944882,&quot;top&quot;:52.5011811023622,&quot;width&quot;:882.7039367675782}"/>
</p:tagLst>
</file>

<file path=ppt/tags/tag264.xml><?xml version="1.0" encoding="utf-8"?>
<p:tagLst xmlns:p="http://schemas.openxmlformats.org/presentationml/2006/main">
  <p:tag name="KSO_WM_FULL_TEXT_BEAUTIFY_COPY_ID" val="2"/>
</p:tagLst>
</file>

<file path=ppt/tags/tag265.xml><?xml version="1.0" encoding="utf-8"?>
<p:tagLst xmlns:p="http://schemas.openxmlformats.org/presentationml/2006/main">
  <p:tag name="KSO_WM_FULL_TEXT_BEAUTIFY_COPY_ID" val="2"/>
</p:tagLst>
</file>

<file path=ppt/tags/tag26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678_3*l_h_i*1_1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UNIT_TYPE" val="l_h_i"/>
  <p:tag name="KSO_WM_UNIT_INDEX" val="1_1_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gradient&quot;:[{&quot;brightness&quot;:0.800000011920929,&quot;colorType&quot;:1,&quot;foreColorIndex&quot;:5,&quot;pos&quot;:0,&quot;transparency&quot;:1},{&quot;brightness&quot;:0.800000011920929,&quot;colorType&quot;:1,&quot;foreColorIndex&quot;:5,&quot;pos&quot;:1,&quot;transparency&quot;:0.5600000023841858}],&quot;type&quot;:3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3"/>
  <p:tag name="KSO_WM_UNIT_TEXT_FILL_FORE_SCHEMECOLOR_INDEX" val="2"/>
  <p:tag name="KSO_WM_UNIT_TEXT_FILL_TYPE" val="1"/>
  <p:tag name="KSO_WM_UNIT_USESOURCEFORMAT_APPLY" val="1"/>
</p:tagLst>
</file>

<file path=ppt/tags/tag26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678_3*l_h_i*1_2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UNIT_TYPE" val="l_h_i"/>
  <p:tag name="KSO_WM_UNIT_INDEX" val="1_2_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gradient&quot;:[{&quot;brightness&quot;:0.800000011920929,&quot;colorType&quot;:1,&quot;foreColorIndex&quot;:5,&quot;pos&quot;:0,&quot;transparency&quot;:1},{&quot;brightness&quot;:0.800000011920929,&quot;colorType&quot;:1,&quot;foreColorIndex&quot;:5,&quot;pos&quot;:1,&quot;transparency&quot;:0.5600000023841858}],&quot;type&quot;:3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3"/>
  <p:tag name="KSO_WM_UNIT_TEXT_FILL_FORE_SCHEMECOLOR_INDEX" val="2"/>
  <p:tag name="KSO_WM_UNIT_TEXT_FILL_TYPE" val="1"/>
  <p:tag name="KSO_WM_UNIT_USESOURCEFORMAT_APPLY" val="1"/>
</p:tagLst>
</file>

<file path=ppt/tags/tag26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678_3*l_h_i*1_3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UNIT_TYPE" val="l_h_i"/>
  <p:tag name="KSO_WM_UNIT_INDEX" val="1_3_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gradient&quot;:[{&quot;brightness&quot;:0.800000011920929,&quot;colorType&quot;:1,&quot;foreColorIndex&quot;:5,&quot;pos&quot;:0,&quot;transparency&quot;:1},{&quot;brightness&quot;:0.800000011920929,&quot;colorType&quot;:1,&quot;foreColorIndex&quot;:5,&quot;pos&quot;:1,&quot;transparency&quot;:0.5600000023841858}],&quot;type&quot;:3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3"/>
  <p:tag name="KSO_WM_UNIT_TEXT_FILL_FORE_SCHEMECOLOR_INDEX" val="2"/>
  <p:tag name="KSO_WM_UNIT_TEXT_FILL_TYPE" val="1"/>
  <p:tag name="KSO_WM_UNIT_USESOURCEFORMAT_APPLY" val="1"/>
</p:tagLst>
</file>

<file path=ppt/tags/tag26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678_3*l_h_i*1_4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UNIT_TYPE" val="l_h_i"/>
  <p:tag name="KSO_WM_UNIT_INDEX" val="1_4_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gradient&quot;:[{&quot;brightness&quot;:0.800000011920929,&quot;colorType&quot;:1,&quot;foreColorIndex&quot;:5,&quot;pos&quot;:0,&quot;transparency&quot;:1},{&quot;brightness&quot;:0.800000011920929,&quot;colorType&quot;:1,&quot;foreColorIndex&quot;:5,&quot;pos&quot;:1,&quot;transparency&quot;:0.5600000023841858}],&quot;type&quot;:3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3"/>
  <p:tag name="KSO_WM_UNIT_TEXT_FILL_FORE_SCHEMECOLOR_INDEX" val="2"/>
  <p:tag name="KSO_WM_UNIT_TEXT_FILL_TYPE" val="1"/>
  <p:tag name="KSO_WM_UNIT_USESOURCEFORMAT_APPLY" val="1"/>
</p:tagLst>
</file>

<file path=ppt/tags/tag27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70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INDEX" val="1_1_1"/>
  <p:tag name="KSO_WM_TEMPLATE_CATEGORY" val="diagram"/>
  <p:tag name="KSO_WM_TEMPLATE_INDEX" val="20231678"/>
  <p:tag name="KSO_WM_UNIT_LAYERLEVEL" val="1_1_1"/>
  <p:tag name="KSO_WM_TAG_VERSION" val="3.0"/>
  <p:tag name="KSO_WM_UNIT_VALUE" val="10"/>
  <p:tag name="KSO_WM_UNIT_TYPE" val="l_h_a"/>
  <p:tag name="KSO_WM_UNIT_ID" val="diagram20231678_3*l_h_a*1_1_1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solidLine&quot;:{&quot;brightness&quot;:0.800000011920929,&quot;colorType&quot;:1,&quot;foreColorIndex&quot;:5,&quot;transparency&quot;:0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0"/>
  <p:tag name="KSO_WM_UNIT_LINE_FORE_SCHEMECOLOR_INDEX" val="5"/>
  <p:tag name="KSO_WM_UNIT_TEXT_FILL_FORE_SCHEMECOLOR_INDEX" val="1"/>
  <p:tag name="KSO_WM_UNIT_TEXT_FILL_TYPE" val="1"/>
  <p:tag name="KSO_WM_UNIT_PRESET_TEXT" val="添加标题"/>
  <p:tag name="KSO_WM_UNIT_TEXT_TYPE" val="1"/>
  <p:tag name="KSO_WM_UNIT_LINE_FILL_TYPE" val="2"/>
  <p:tag name="KSO_WM_UNIT_USESOURCEFORMAT_APPLY" val="1"/>
</p:tagLst>
</file>

<file path=ppt/tags/tag271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INDEX" val="1_3_1"/>
  <p:tag name="KSO_WM_TEMPLATE_CATEGORY" val="diagram"/>
  <p:tag name="KSO_WM_TEMPLATE_INDEX" val="20231678"/>
  <p:tag name="KSO_WM_UNIT_LAYERLEVEL" val="1_1_1"/>
  <p:tag name="KSO_WM_TAG_VERSION" val="3.0"/>
  <p:tag name="KSO_WM_UNIT_VALUE" val="10"/>
  <p:tag name="KSO_WM_UNIT_TYPE" val="l_h_a"/>
  <p:tag name="KSO_WM_UNIT_ID" val="diagram20231678_3*l_h_a*1_3_1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solidLine&quot;:{&quot;brightness&quot;:0.800000011920929,&quot;colorType&quot;:1,&quot;foreColorIndex&quot;:5,&quot;transparency&quot;:0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0"/>
  <p:tag name="KSO_WM_UNIT_LINE_FORE_SCHEMECOLOR_INDEX" val="5"/>
  <p:tag name="KSO_WM_UNIT_TEXT_FILL_FORE_SCHEMECOLOR_INDEX" val="1"/>
  <p:tag name="KSO_WM_UNIT_TEXT_FILL_TYPE" val="1"/>
  <p:tag name="KSO_WM_UNIT_PRESET_TEXT" val="添加标题"/>
  <p:tag name="KSO_WM_UNIT_TEXT_TYPE" val="1"/>
  <p:tag name="KSO_WM_UNIT_LINE_FILL_TYPE" val="2"/>
  <p:tag name="KSO_WM_UNIT_USESOURCEFORMAT_APPLY" val="1"/>
</p:tagLst>
</file>

<file path=ppt/tags/tag272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INDEX" val="1_2_1"/>
  <p:tag name="KSO_WM_TEMPLATE_CATEGORY" val="diagram"/>
  <p:tag name="KSO_WM_TEMPLATE_INDEX" val="20231678"/>
  <p:tag name="KSO_WM_UNIT_LAYERLEVEL" val="1_1_1"/>
  <p:tag name="KSO_WM_TAG_VERSION" val="3.0"/>
  <p:tag name="KSO_WM_UNIT_VALUE" val="10"/>
  <p:tag name="KSO_WM_UNIT_TYPE" val="l_h_a"/>
  <p:tag name="KSO_WM_UNIT_ID" val="diagram20231678_3*l_h_a*1_2_1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solidLine&quot;:{&quot;brightness&quot;:0.800000011920929,&quot;colorType&quot;:1,&quot;foreColorIndex&quot;:5,&quot;transparency&quot;:0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0"/>
  <p:tag name="KSO_WM_UNIT_LINE_FORE_SCHEMECOLOR_INDEX" val="5"/>
  <p:tag name="KSO_WM_UNIT_TEXT_FILL_FORE_SCHEMECOLOR_INDEX" val="1"/>
  <p:tag name="KSO_WM_UNIT_TEXT_FILL_TYPE" val="1"/>
  <p:tag name="KSO_WM_UNIT_PRESET_TEXT" val="添加标题"/>
  <p:tag name="KSO_WM_UNIT_TEXT_TYPE" val="1"/>
  <p:tag name="KSO_WM_UNIT_LINE_FILL_TYPE" val="2"/>
  <p:tag name="KSO_WM_UNIT_USESOURCEFORMAT_APPLY" val="1"/>
</p:tagLst>
</file>

<file path=ppt/tags/tag273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1_1"/>
  <p:tag name="KSO_WM_UNIT_ID" val="diagram20231678_3*l_h_f*1_1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1"/>
  <p:tag name="KSO_WM_UNIT_TEXT_FILL_TYPE" val="1"/>
  <p:tag name="KSO_WM_UNIT_PRESET_TEXT" val="单击此处输入(您的)智能图形项正文，文字是您思想的提炼，请尽量言简意赅的阐述观点。"/>
  <p:tag name="KSO_WM_UNIT_TEXT_TYPE" val="1"/>
  <p:tag name="KSO_WM_UNIT_USESOURCEFORMAT_APPLY" val="1"/>
</p:tagLst>
</file>

<file path=ppt/tags/tag274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2_1"/>
  <p:tag name="KSO_WM_UNIT_ID" val="diagram20231678_3*l_h_f*1_2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1"/>
  <p:tag name="KSO_WM_UNIT_TEXT_FILL_TYPE" val="1"/>
  <p:tag name="KSO_WM_UNIT_PRESET_TEXT" val="单击此处输入(您的)智能图形项正文，文字是您思想的提炼，请尽量言简意赅的阐述观点。"/>
  <p:tag name="KSO_WM_UNIT_TEXT_TYPE" val="1"/>
  <p:tag name="KSO_WM_UNIT_USESOURCEFORMAT_APPLY" val="1"/>
</p:tagLst>
</file>

<file path=ppt/tags/tag275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3_1"/>
  <p:tag name="KSO_WM_UNIT_ID" val="diagram20231678_3*l_h_f*1_3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1"/>
  <p:tag name="KSO_WM_UNIT_TEXT_FILL_TYPE" val="1"/>
  <p:tag name="KSO_WM_UNIT_PRESET_TEXT" val="单击此处输入(您的)智能图形项正文，文字是您思想的提炼，请尽量言简意赅的阐述观点。"/>
  <p:tag name="KSO_WM_UNIT_TEXT_TYPE" val="1"/>
  <p:tag name="KSO_WM_UNIT_USESOURCEFORMAT_APPLY" val="1"/>
</p:tagLst>
</file>

<file path=ppt/tags/tag276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INDEX" val="1_4_1"/>
  <p:tag name="KSO_WM_TEMPLATE_CATEGORY" val="diagram"/>
  <p:tag name="KSO_WM_TEMPLATE_INDEX" val="20231678"/>
  <p:tag name="KSO_WM_UNIT_LAYERLEVEL" val="1_1_1"/>
  <p:tag name="KSO_WM_TAG_VERSION" val="3.0"/>
  <p:tag name="KSO_WM_UNIT_VALUE" val="10"/>
  <p:tag name="KSO_WM_UNIT_TYPE" val="l_h_a"/>
  <p:tag name="KSO_WM_UNIT_ID" val="diagram20231678_3*l_h_a*1_4_1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solidLine&quot;:{&quot;brightness&quot;:0.800000011920929,&quot;colorType&quot;:1,&quot;foreColorIndex&quot;:5,&quot;transparency&quot;:0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0"/>
  <p:tag name="KSO_WM_UNIT_LINE_FORE_SCHEMECOLOR_INDEX" val="5"/>
  <p:tag name="KSO_WM_UNIT_TEXT_FILL_FORE_SCHEMECOLOR_INDEX" val="1"/>
  <p:tag name="KSO_WM_UNIT_TEXT_FILL_TYPE" val="1"/>
  <p:tag name="KSO_WM_UNIT_PRESET_TEXT" val="添加标题"/>
  <p:tag name="KSO_WM_UNIT_TEXT_TYPE" val="1"/>
  <p:tag name="KSO_WM_UNIT_LINE_FILL_TYPE" val="2"/>
  <p:tag name="KSO_WM_UNIT_USESOURCEFORMAT_APPLY" val="1"/>
</p:tagLst>
</file>

<file path=ppt/tags/tag277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3_1"/>
  <p:tag name="KSO_WM_UNIT_ID" val="diagram20231678_3*l_h_f*1_3_1"/>
  <p:tag name="KSO_WM_TEMPLATE_CATEGORY" val="diagram"/>
  <p:tag name="KSO_WM_TEMPLATE_INDEX" val="20231678"/>
  <p:tag name="KSO_WM_UNIT_LAYERLEVEL" val="1_1_1"/>
  <p:tag name="KSO_WM_TAG_VERSION" val="3.0"/>
  <p:tag name="KSO_WM_DIAGRAM_VERSION" val="3"/>
  <p:tag name="KSO_WM_DIAGRAM_COLOR_TRICK" val="1"/>
  <p:tag name="KSO_WM_DIAGRAM_COLOR_TEXT_CAN_REMOVE" val="n"/>
  <p:tag name="KSO_WM_DIAGRAM_GROUP_CODE" val="l1-1"/>
  <p:tag name="KSO_WM_DIAGRAM_MAX_ITEMCNT" val="4"/>
  <p:tag name="KSO_WM_DIAGRAM_MIN_ITEMCNT" val="2"/>
  <p:tag name="KSO_WM_DIAGRAM_VIRTUALLY_FRAME" val="{&quot;height&quot;:430.9877807717213,&quot;left&quot;:-2.03442498353686,&quot;top&quot;:65.65,&quot;width&quot;:954.570724196135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1"/>
  <p:tag name="KSO_WM_UNIT_TEXT_FILL_TYPE" val="1"/>
  <p:tag name="KSO_WM_UNIT_PRESET_TEXT" val="单击此处输入(您的)智能图形项正文，文字是您思想的提炼，请尽量言简意赅的阐述观点。"/>
  <p:tag name="KSO_WM_UNIT_TEXT_TYPE" val="1"/>
  <p:tag name="KSO_WM_UNIT_USESOURCEFORMAT_APPLY" val="1"/>
</p:tagLst>
</file>

<file path=ppt/tags/tag278.xml><?xml version="1.0" encoding="utf-8"?>
<p:tagLst xmlns:p="http://schemas.openxmlformats.org/presentationml/2006/main">
  <p:tag name="KSO_WM_DIAGRAM_VIRTUALLY_FRAME" val="{&quot;height&quot;:430.9877807717213,&quot;left&quot;:-2.03442498353686,&quot;top&quot;:65.65,&quot;width&quot;:954.5707241961354}"/>
</p:tagLst>
</file>

<file path=ppt/tags/tag279.xml><?xml version="1.0" encoding="utf-8"?>
<p:tagLst xmlns:p="http://schemas.openxmlformats.org/presentationml/2006/main">
  <p:tag name="KSO_WM_FULL_TEXT_BEAUTIFY_COPY_ID" val="2"/>
</p:tagLst>
</file>

<file path=ppt/tags/tag28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80.xml><?xml version="1.0" encoding="utf-8"?>
<p:tagLst xmlns:p="http://schemas.openxmlformats.org/presentationml/2006/main">
  <p:tag name="KSO_WM_FULL_TEXT_BEAUTIFY_COPY_ID" val="19"/>
</p:tagLst>
</file>

<file path=ppt/tags/tag281.xml><?xml version="1.0" encoding="utf-8"?>
<p:tagLst xmlns:p="http://schemas.openxmlformats.org/presentationml/2006/main">
  <p:tag name="KSO_WM_FULL_TEXT_BEAUTIFY_COPY_ID" val="24"/>
</p:tagLst>
</file>

<file path=ppt/tags/tag282.xml><?xml version="1.0" encoding="utf-8"?>
<p:tagLst xmlns:p="http://schemas.openxmlformats.org/presentationml/2006/main">
  <p:tag name="KSO_WM_FULL_TEXT_BEAUTIFY_COPY_ID" val="25"/>
</p:tagLst>
</file>

<file path=ppt/tags/tag283.xml><?xml version="1.0" encoding="utf-8"?>
<p:tagLst xmlns:p="http://schemas.openxmlformats.org/presentationml/2006/main">
  <p:tag name="KSO_WM_FULL_TEXT_BEAUTIFY_COPY_ID" val="2"/>
</p:tagLst>
</file>

<file path=ppt/tags/tag284.xml><?xml version="1.0" encoding="utf-8"?>
<p:tagLst xmlns:p="http://schemas.openxmlformats.org/presentationml/2006/main">
  <p:tag name="KSO_WM_FULL_TEXT_BEAUTIFY_COPY_ID" val="2"/>
</p:tagLst>
</file>

<file path=ppt/tags/tag285.xml><?xml version="1.0" encoding="utf-8"?>
<p:tagLst xmlns:p="http://schemas.openxmlformats.org/presentationml/2006/main">
  <p:tag name="KSO_WM_DIAGRAM_VIRTUALLY_FRAME" val="{&quot;height&quot;:352.7190242314697,&quot;left&quot;:37.65,&quot;top&quot;:103.24999999999997,&quot;width&quot;:851.65}"/>
</p:tagLst>
</file>

<file path=ppt/tags/tag286.xml><?xml version="1.0" encoding="utf-8"?>
<p:tagLst xmlns:p="http://schemas.openxmlformats.org/presentationml/2006/main">
  <p:tag name="KSO_WM_FULL_TEXT_BEAUTIFY_COPY_ID" val="3"/>
</p:tagLst>
</file>

<file path=ppt/tags/tag28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1"/>
  <p:tag name="KSO_WM_UNIT_ID" val="diagram20228074_6*l_i*1_1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FILL_FORE_SCHEMECOLOR_INDEX" val="5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8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2"/>
  <p:tag name="KSO_WM_UNIT_ID" val="diagram20228074_6*l_i*1_2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LINE_FORE_SCHEMECOLOR_INDEX" val="14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8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3"/>
  <p:tag name="KSO_WM_UNIT_ID" val="diagram20228074_6*l_i*1_3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LINE_FORE_SCHEMECOLOR_INDEX" val="5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29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29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4"/>
  <p:tag name="KSO_WM_UNIT_ID" val="diagram20228074_6*l_i*1_4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FILL_FORE_SCHEMECOLOR_INDEX" val="5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5"/>
  <p:tag name="KSO_WM_UNIT_ID" val="diagram20228074_6*l_i*1_5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FILL_FORE_SCHEMECOLOR_INDEX" val="6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6"/>
  <p:tag name="KSO_WM_UNIT_ID" val="diagram20228074_6*l_i*1_6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UNIT_FILL_FORE_SCHEMECOLOR_INDEX" val="7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228074_6*l_h_i*1_1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228074_6*l_h_i*1_1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228074_6*l_h_i*1_2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228074_6*l_h_i*1_2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228074_6*l_h_i*1_3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228074_6*l_h_i*1_3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29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1"/>
  <p:tag name="KSO_WM_UNIT_ID" val="diagram20228074_6*l_h_i*1_4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30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0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2"/>
  <p:tag name="KSO_WM_UNIT_ID" val="diagram20228074_6*l_h_i*1_4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0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5_1"/>
  <p:tag name="KSO_WM_UNIT_ID" val="diagram20228074_6*l_h_i*1_5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0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5_2"/>
  <p:tag name="KSO_WM_UNIT_ID" val="diagram20228074_6*l_h_i*1_5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0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6_1"/>
  <p:tag name="KSO_WM_UNIT_ID" val="diagram20228074_6*l_h_i*1_6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0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6_2"/>
  <p:tag name="KSO_WM_UNIT_ID" val="diagram20228074_6*l_h_i*1_6_2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246.9,&quot;left&quot;:34.16251968503937,&quot;top&quot;:116.02503937007873,&quot;width&quot;:655.6}"/>
</p:tagLst>
</file>

<file path=ppt/tags/tag305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228074_6*l_h_f*1_1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06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228074_6*l_h_f*1_2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07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228074_6*l_h_f*1_3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08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4_1"/>
  <p:tag name="KSO_WM_UNIT_ID" val="diagram20228074_6*l_h_f*1_4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09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5_1"/>
  <p:tag name="KSO_WM_UNIT_ID" val="diagram20228074_6*l_h_f*1_5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1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10.xml><?xml version="1.0" encoding="utf-8"?>
<p:tagLst xmlns:p="http://schemas.openxmlformats.org/presentationml/2006/main">
  <p:tag name="KSO_WM_UNIT_SUBTYPE" val="a"/>
  <p:tag name="KSO_WM_UNIT_PRESET_TEXT" val="单击此处输入你的正文，文字是您思想的提炼，为了最终演示发布的良好效果，请尽量言简意赅的阐述观点；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6_1"/>
  <p:tag name="KSO_WM_UNIT_ID" val="diagram20228074_6*l_h_f*1_6_1"/>
  <p:tag name="KSO_WM_TEMPLATE_CATEGORY" val="diagram"/>
  <p:tag name="KSO_WM_TEMPLATE_INDEX" val="2022807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246.9,&quot;left&quot;:34.16251968503937,&quot;top&quot;:116.02503937007873,&quot;width&quot;:655.6}"/>
</p:tagLst>
</file>

<file path=ppt/tags/tag311.xml><?xml version="1.0" encoding="utf-8"?>
<p:tagLst xmlns:p="http://schemas.openxmlformats.org/presentationml/2006/main">
  <p:tag name="KSO_WM_UNIT_VALUE" val="100*10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x"/>
  <p:tag name="KSO_WM_UNIT_INDEX" val="1_1"/>
  <p:tag name="KSO_WM_UNIT_ID" val="diagram20228074_6*l_x*1_1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DIAGRAM_VIRTUALLY_FRAME" val="{&quot;height&quot;:246.9,&quot;left&quot;:34.16251968503937,&quot;top&quot;:116.02503937007873,&quot;width&quot;:655.6}"/>
</p:tagLst>
</file>

<file path=ppt/tags/tag312.xml><?xml version="1.0" encoding="utf-8"?>
<p:tagLst xmlns:p="http://schemas.openxmlformats.org/presentationml/2006/main">
  <p:tag name="KSO_WM_UNIT_VALUE" val="100*10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x"/>
  <p:tag name="KSO_WM_UNIT_INDEX" val="1_2"/>
  <p:tag name="KSO_WM_UNIT_ID" val="diagram20228074_6*l_x*1_2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DIAGRAM_VIRTUALLY_FRAME" val="{&quot;height&quot;:246.9,&quot;left&quot;:34.16251968503937,&quot;top&quot;:116.02503937007873,&quot;width&quot;:655.6}"/>
</p:tagLst>
</file>

<file path=ppt/tags/tag313.xml><?xml version="1.0" encoding="utf-8"?>
<p:tagLst xmlns:p="http://schemas.openxmlformats.org/presentationml/2006/main">
  <p:tag name="KSO_WM_UNIT_VALUE" val="100*10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x"/>
  <p:tag name="KSO_WM_UNIT_INDEX" val="1_3"/>
  <p:tag name="KSO_WM_UNIT_ID" val="diagram20228074_6*l_x*1_3"/>
  <p:tag name="KSO_WM_TEMPLATE_CATEGORY" val="diagram"/>
  <p:tag name="KSO_WM_TEMPLATE_INDEX" val="20228074"/>
  <p:tag name="KSO_WM_UNIT_LAYERLEVEL" val="1_1"/>
  <p:tag name="KSO_WM_TAG_VERSION" val="1.0"/>
  <p:tag name="KSO_WM_BEAUTIFY_FLAG" val="#wm#"/>
  <p:tag name="KSO_WM_DIAGRAM_VIRTUALLY_FRAME" val="{&quot;height&quot;:246.9,&quot;left&quot;:34.16251968503937,&quot;top&quot;:116.02503937007873,&quot;width&quot;:655.6}"/>
</p:tagLst>
</file>

<file path=ppt/tags/tag314.xml><?xml version="1.0" encoding="utf-8"?>
<p:tagLst xmlns:p="http://schemas.openxmlformats.org/presentationml/2006/main">
  <p:tag name="KSO_WM_BEAUTIFY_FLAG" val=""/>
</p:tagLst>
</file>

<file path=ppt/tags/tag315.xml><?xml version="1.0" encoding="utf-8"?>
<p:tagLst xmlns:p="http://schemas.openxmlformats.org/presentationml/2006/main">
  <p:tag name="KSO_WM_FULL_TEXT_BEAUTIFY_COPY_ID" val="2"/>
</p:tagLst>
</file>

<file path=ppt/tags/tag3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13303_1*i*1"/>
  <p:tag name="KSO_WM_TEMPLATE_CATEGORY" val="diagram"/>
  <p:tag name="KSO_WM_TEMPLATE_INDEX" val="20213303"/>
  <p:tag name="KSO_WM_UNIT_LAYERLEVEL" val="1"/>
  <p:tag name="KSO_WM_TAG_VERSION" val="1.0"/>
  <p:tag name="KSO_WM_BEAUTIFY_FLAG" val="#wm#"/>
  <p:tag name="KSO_WM_UNIT_BLOCK" val="0"/>
  <p:tag name="KSO_WM_UNIT_SM_LIMIT_TYPE" val="2"/>
  <p:tag name="KSO_WM_UNIT_DEC_AREA_ID" val="8996e9951f4045379a892feef2cae2bf"/>
  <p:tag name="KSO_WM_UNIT_DECORATE_INFO" val="{&quot;DecorateInfoH&quot;:{&quot;IsAbs&quot;:false},&quot;DecorateInfoW&quot;:{&quot;IsAbs&quot;:false},&quot;DecorateInfoX&quot;:{&quot;IsAbs&quot;:false,&quot;Pos&quot;:1},&quot;DecorateInfoY&quot;:{&quot;IsAbs&quot;:false,&quot;Pos&quot;:1},&quot;ReferentInfo&quot;:{&quot;Id&quot;:&quot;ebbd7dbaaa5d4585a4419c8582966763&quot;,&quot;X&quot;:{&quot;Pos&quot;:1},&quot;Y&quot;:{&quot;Pos&quot;:1}},&quot;whChangeMode&quot;:1}"/>
  <p:tag name="KSO_WM_CHIP_GROUPID" val="5f5ee1ca4d6848d78f644aed"/>
  <p:tag name="KSO_WM_CHIP_XID" val="5f69675b553136823a5e61e2"/>
  <p:tag name="KSO_WM_UNIT_LINE_FORE_SCHEMECOLOR_INDEX_BRIGHTNESS" val="0"/>
  <p:tag name="KSO_WM_UNIT_LINE_FORE_SCHEMECOLOR_INDEX" val="5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UNIT_VALUE" val="450"/>
  <p:tag name="KSO_WM_TEMPLATE_ASSEMBLE_XID" val="60656eb54054ed1e2fb7fe8e"/>
  <p:tag name="KSO_WM_TEMPLATE_ASSEMBLE_GROUPID" val="60656eb54054ed1e2fb7fe8e"/>
</p:tagLst>
</file>

<file path=ppt/tags/tag3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20213303_1*i*3"/>
  <p:tag name="KSO_WM_TEMPLATE_CATEGORY" val="diagram"/>
  <p:tag name="KSO_WM_TEMPLATE_INDEX" val="20213303"/>
  <p:tag name="KSO_WM_UNIT_LAYERLEVEL" val="1"/>
  <p:tag name="KSO_WM_TAG_VERSION" val="1.0"/>
  <p:tag name="KSO_WM_BEAUTIFY_FLAG" val="#wm#"/>
  <p:tag name="KSO_WM_UNIT_BLOCK" val="0"/>
  <p:tag name="KSO_WM_UNIT_SM_LIMIT_TYPE" val="0"/>
  <p:tag name="KSO_WM_UNIT_DEC_AREA_ID" val="951328fc8cde41748ba417e5b9179926"/>
  <p:tag name="KSO_WM_UNIT_DECORATE_INFO" val="{&quot;DecorateInfoH&quot;:{&quot;IsAbs&quot;:true},&quot;DecorateInfoW&quot;:{&quot;IsAbs&quot;:true},&quot;DecorateInfoX&quot;:{&quot;IsAbs&quot;:true,&quot;Pos&quot;:2},&quot;DecorateInfoY&quot;:{&quot;IsAbs&quot;:true,&quot;Pos&quot;:2},&quot;ReferentInfo&quot;:{&quot;Id&quot;:&quot;ebbd7dbaaa5d4585a4419c8582966763&quot;,&quot;X&quot;:{&quot;Pos&quot;:0},&quot;Y&quot;:{&quot;Pos&quot;:2}},&quot;whChangeMode&quot;:0}"/>
  <p:tag name="KSO_WM_CHIP_GROUPID" val="5f5ee1ca4d6848d78f644aed"/>
  <p:tag name="KSO_WM_CHIP_XID" val="5f69675b553136823a5e61e2"/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VALUE" val="5"/>
  <p:tag name="KSO_WM_TEMPLATE_ASSEMBLE_XID" val="60656eb54054ed1e2fb7fe8e"/>
  <p:tag name="KSO_WM_TEMPLATE_ASSEMBLE_GROUPID" val="60656eb54054ed1e2fb7fe8e"/>
</p:tagLst>
</file>

<file path=ppt/tags/tag318.xml><?xml version="1.0" encoding="utf-8"?>
<p:tagLst xmlns:p="http://schemas.openxmlformats.org/presentationml/2006/main">
  <p:tag name="KSO_WM_FULL_TEXT_BEAUTIFY_COPY_ID" val="2"/>
</p:tagLst>
</file>

<file path=ppt/tags/tag319.xml><?xml version="1.0" encoding="utf-8"?>
<p:tagLst xmlns:p="http://schemas.openxmlformats.org/presentationml/2006/main">
  <p:tag name="KSO_WM_DIAGRAM_VIRTUALLY_FRAME" val="{&quot;height&quot;:233.95,&quot;left&quot;:59.55,&quot;top&quot;:66.6,&quot;width&quot;:501.26377868652344}"/>
</p:tagLst>
</file>

<file path=ppt/tags/tag32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20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21.xml><?xml version="1.0" encoding="utf-8"?>
<p:tagLst xmlns:p="http://schemas.openxmlformats.org/presentationml/2006/main">
  <p:tag name="KSO_WM_DIAGRAM_VIRTUALLY_FRAME" val="{&quot;height&quot;:233.95,&quot;left&quot;:59.55,&quot;top&quot;:66.6,&quot;width&quot;:501.26377868652344}"/>
</p:tagLst>
</file>

<file path=ppt/tags/tag322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23.xml><?xml version="1.0" encoding="utf-8"?>
<p:tagLst xmlns:p="http://schemas.openxmlformats.org/presentationml/2006/main">
  <p:tag name="KSO_WM_DIAGRAM_VIRTUALLY_FRAME" val="{&quot;height&quot;:233.95,&quot;left&quot;:59.55,&quot;top&quot;:66.6,&quot;width&quot;:501.26377868652344}"/>
</p:tagLst>
</file>

<file path=ppt/tags/tag324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25.xml><?xml version="1.0" encoding="utf-8"?>
<p:tagLst xmlns:p="http://schemas.openxmlformats.org/presentationml/2006/main">
  <p:tag name="KSO_WM_FULL_TEXT_BEAUTIFY_COPY_ID" val="27"/>
  <p:tag name="KSO_WM_DIAGRAM_VIRTUALLY_FRAME" val="{&quot;height&quot;:225.55,&quot;left&quot;:72.15,&quot;top&quot;:75,&quot;width&quot;:488.6637786865234}"/>
</p:tagLst>
</file>

<file path=ppt/tags/tag326.xml><?xml version="1.0" encoding="utf-8"?>
<p:tagLst xmlns:p="http://schemas.openxmlformats.org/presentationml/2006/main">
  <p:tag name="KSO_WM_FULL_TEXT_BEAUTIFY_COPY_ID" val="27"/>
  <p:tag name="KSO_WM_DIAGRAM_VIRTUALLY_FRAME" val="{&quot;height&quot;:225.55,&quot;left&quot;:72.15,&quot;top&quot;:75,&quot;width&quot;:488.6637786865234}"/>
</p:tagLst>
</file>

<file path=ppt/tags/tag327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28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29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3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30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31.xml><?xml version="1.0" encoding="utf-8"?>
<p:tagLst xmlns:p="http://schemas.openxmlformats.org/presentationml/2006/main">
  <p:tag name="KSO_WM_FULL_TEXT_BEAUTIFY_COPY_ID" val="27"/>
  <p:tag name="KSO_WM_DIAGRAM_VIRTUALLY_FRAME" val="{&quot;height&quot;:233.95,&quot;left&quot;:59.55,&quot;top&quot;:66.6,&quot;width&quot;:501.26377868652344}"/>
</p:tagLst>
</file>

<file path=ppt/tags/tag332.xml><?xml version="1.0" encoding="utf-8"?>
<p:tagLst xmlns:p="http://schemas.openxmlformats.org/presentationml/2006/main">
  <p:tag name="KSO_WM_FULL_TEXT_BEAUTIFY_COPY_ID" val="2"/>
</p:tagLst>
</file>

<file path=ppt/tags/tag333.xml><?xml version="1.0" encoding="utf-8"?>
<p:tagLst xmlns:p="http://schemas.openxmlformats.org/presentationml/2006/main">
  <p:tag name="KSO_WM_FULL_TEXT_BEAUTIFY_COPY_ID" val="2"/>
</p:tagLst>
</file>

<file path=ppt/tags/tag334.xml><?xml version="1.0" encoding="utf-8"?>
<p:tagLst xmlns:p="http://schemas.openxmlformats.org/presentationml/2006/main">
  <p:tag name="PA" val="v5.2.4"/>
  <p:tag name="RESOURCELIBID_ANIM" val="557346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5_1"/>
  <p:tag name="KSO_WM_UNIT_ID" val="mixed20199737_1*ζ_h_i*1_5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KSO_WM_UNIT_FLASH_PICTURE_RATE" val="2"/>
  <p:tag name="KSO_WM_UNIT_USESOURCEFORMAT_APPLY" val="1"/>
  <p:tag name="KSO_WM_UNIT_FILL_FORE_SCHEMECOLOR_INDEX_BRIGHTNESS" val="-0.1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DIAGRAM_VIRTUALLY_FRAME" val="{&quot;height&quot;:369.4465354330709,&quot;left&quot;:7.513622047244094,&quot;top&quot;:66.58165354330707,&quot;width&quot;:1186.5419685039371}"/>
</p:tagLst>
</file>

<file path=ppt/tags/tag335.xml><?xml version="1.0" encoding="utf-8"?>
<p:tagLst xmlns:p="http://schemas.openxmlformats.org/presentationml/2006/main">
  <p:tag name="KSO_WM_UNIT_DIAGRAM_MODELTYPE" val="flashPicture"/>
  <p:tag name="KSO_WM_UNIT_VALUE" val="687*917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1_1"/>
  <p:tag name="KSO_WM_UNIT_ID" val="mixed20199737_1*ζ_h_d*1_1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PA" val="v5.2.4"/>
  <p:tag name="RESOURCELIBID_ANIM" val="557083"/>
  <p:tag name="KSO_WM_UNIT_FLASH_PICTURE_RATE" val="2"/>
  <p:tag name="KSO_WM_UNIT_USESOURCEFORMAT_APPLY" val="1"/>
  <p:tag name="KSO_WM_DIAGRAM_VIRTUALLY_FRAME" val="{&quot;height&quot;:369.4465354330709,&quot;left&quot;:7.513622047244094,&quot;top&quot;:66.58165354330707,&quot;width&quot;:1186.5419685039371}"/>
</p:tagLst>
</file>

<file path=ppt/tags/tag336.xml><?xml version="1.0" encoding="utf-8"?>
<p:tagLst xmlns:p="http://schemas.openxmlformats.org/presentationml/2006/main">
  <p:tag name="KSO_WM_UNIT_DIAGRAM_MODELTYPE" val="flashPicture"/>
  <p:tag name="KSO_WM_UNIT_VALUE" val="687*917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2_1"/>
  <p:tag name="KSO_WM_UNIT_ID" val="mixed20199737_1*ζ_h_d*1_2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PA" val="v5.2.4"/>
  <p:tag name="RESOURCELIBID_ANIM" val="557083"/>
  <p:tag name="KSO_WM_UNIT_FLASH_PICTURE_RATE" val="2"/>
  <p:tag name="KSO_WM_UNIT_USESOURCEFORMAT_APPLY" val="1"/>
  <p:tag name="KSO_WM_DIAGRAM_VIRTUALLY_FRAME" val="{&quot;height&quot;:369.4465354330709,&quot;left&quot;:7.513622047244094,&quot;top&quot;:66.58165354330707,&quot;width&quot;:1186.5419685039371}"/>
</p:tagLst>
</file>

<file path=ppt/tags/tag337.xml><?xml version="1.0" encoding="utf-8"?>
<p:tagLst xmlns:p="http://schemas.openxmlformats.org/presentationml/2006/main">
  <p:tag name="KSO_WM_UNIT_DIAGRAM_MODELTYPE" val="flashPicture"/>
  <p:tag name="KSO_WM_UNIT_VALUE" val="687*917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3_1"/>
  <p:tag name="KSO_WM_UNIT_ID" val="mixed20199737_1*ζ_h_d*1_3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PA" val="v5.2.4"/>
  <p:tag name="RESOURCELIBID_ANIM" val="557083"/>
  <p:tag name="KSO_WM_UNIT_FLASH_PICTURE_RATE" val="2"/>
  <p:tag name="KSO_WM_UNIT_USESOURCEFORMAT_APPLY" val="1"/>
  <p:tag name="KSO_WM_DIAGRAM_VIRTUALLY_FRAME" val="{&quot;height&quot;:369.4465354330709,&quot;left&quot;:7.513622047244094,&quot;top&quot;:66.58165354330707,&quot;width&quot;:1186.5419685039371}"/>
</p:tagLst>
</file>

<file path=ppt/tags/tag338.xml><?xml version="1.0" encoding="utf-8"?>
<p:tagLst xmlns:p="http://schemas.openxmlformats.org/presentationml/2006/main">
  <p:tag name="KSO_WM_UNIT_DIAGRAM_MODELTYPE" val="flashPicture"/>
  <p:tag name="KSO_WM_UNIT_VALUE" val="687*917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4_1"/>
  <p:tag name="KSO_WM_UNIT_ID" val="mixed20199737_1*ζ_h_d*1_4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PA" val="v5.2.4"/>
  <p:tag name="RESOURCELIBID_ANIM" val="557083"/>
  <p:tag name="KSO_WM_UNIT_FLASH_PICTURE_RATE" val="2"/>
  <p:tag name="KSO_WM_UNIT_USESOURCEFORMAT_APPLY" val="1"/>
  <p:tag name="KSO_WM_DIAGRAM_VIRTUALLY_FRAME" val="{&quot;height&quot;:369.4465354330709,&quot;left&quot;:7.513622047244094,&quot;top&quot;:66.58165354330707,&quot;width&quot;:1186.5419685039371}"/>
</p:tagLst>
</file>

<file path=ppt/tags/tag339.xml><?xml version="1.0" encoding="utf-8"?>
<p:tagLst xmlns:p="http://schemas.openxmlformats.org/presentationml/2006/main">
  <p:tag name="PA" val="v5.2.4"/>
  <p:tag name="RESOURCELIBID_ANIM" val="557346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2_1"/>
  <p:tag name="KSO_WM_UNIT_ID" val="mixed20199737_1*ζ_h_i*1_2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KSO_WM_UNIT_FLASH_PICTURE_RATE" val="2"/>
  <p:tag name="KSO_WM_UNIT_USESOURCEFORMAT_APPLY" val="1"/>
  <p:tag name="KSO_WM_UNIT_FILL_FORE_SCHEMECOLOR_INDEX_BRIGHTNESS" val="-0.1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DIAGRAM_VIRTUALLY_FRAME" val="{&quot;height&quot;:369.4465354330709,&quot;left&quot;:7.513622047244094,&quot;top&quot;:66.58165354330707,&quot;width&quot;:1186.5419685039371}"/>
</p:tagLst>
</file>

<file path=ppt/tags/tag34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40.xml><?xml version="1.0" encoding="utf-8"?>
<p:tagLst xmlns:p="http://schemas.openxmlformats.org/presentationml/2006/main">
  <p:tag name="PA" val="v5.2.4"/>
  <p:tag name="RESOURCELIBID_ANIM" val="557346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3_1"/>
  <p:tag name="KSO_WM_UNIT_ID" val="mixed20199737_1*ζ_h_i*1_3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KSO_WM_UNIT_FLASH_PICTURE_RATE" val="2"/>
  <p:tag name="KSO_WM_UNIT_USESOURCEFORMAT_APPLY" val="1"/>
  <p:tag name="KSO_WM_UNIT_FILL_FORE_SCHEMECOLOR_INDEX_BRIGHTNESS" val="-0.1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DIAGRAM_VIRTUALLY_FRAME" val="{&quot;height&quot;:369.4465354330709,&quot;left&quot;:7.513622047244094,&quot;top&quot;:66.58165354330707,&quot;width&quot;:1186.5419685039371}"/>
</p:tagLst>
</file>

<file path=ppt/tags/tag341.xml><?xml version="1.0" encoding="utf-8"?>
<p:tagLst xmlns:p="http://schemas.openxmlformats.org/presentationml/2006/main">
  <p:tag name="PA" val="v5.2.4"/>
  <p:tag name="RESOURCELIBID_ANIM" val="557346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4_1"/>
  <p:tag name="KSO_WM_UNIT_ID" val="mixed20199737_1*ζ_h_i*1_4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KSO_WM_UNIT_FLASH_PICTURE_RATE" val="2"/>
  <p:tag name="KSO_WM_UNIT_USESOURCEFORMAT_APPLY" val="1"/>
  <p:tag name="KSO_WM_UNIT_FILL_FORE_SCHEMECOLOR_INDEX_BRIGHTNESS" val="-0.1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DIAGRAM_VIRTUALLY_FRAME" val="{&quot;height&quot;:369.4465354330709,&quot;left&quot;:7.513622047244094,&quot;top&quot;:66.58165354330707,&quot;width&quot;:1186.5419685039371}"/>
</p:tagLst>
</file>

<file path=ppt/tags/tag342.xml><?xml version="1.0" encoding="utf-8"?>
<p:tagLst xmlns:p="http://schemas.openxmlformats.org/presentationml/2006/main">
  <p:tag name="PA" val="v5.2.4"/>
  <p:tag name="RESOURCELIBID_ANIM" val="557346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i"/>
  <p:tag name="KSO_WM_UNIT_INDEX" val="1_1_1"/>
  <p:tag name="KSO_WM_UNIT_ID" val="mixed20199737_1*ζ_h_i*1_1_1"/>
  <p:tag name="KSO_WM_TEMPLATE_CATEGORY" val="mixed"/>
  <p:tag name="KSO_WM_TEMPLATE_INDEX" val="20199737"/>
  <p:tag name="KSO_WM_UNIT_LAYERLEVEL" val="1_1_1"/>
  <p:tag name="KSO_WM_TAG_VERSION" val="1.0"/>
  <p:tag name="KSO_WM_BEAUTIFY_FLAG" val="#wm#"/>
  <p:tag name="KSO_WM_UNIT_FLASH_PICTURE_RATE" val="2"/>
  <p:tag name="KSO_WM_UNIT_USESOURCEFORMAT_APPLY" val="1"/>
  <p:tag name="KSO_WM_UNIT_FILL_FORE_SCHEMECOLOR_INDEX_BRIGHTNESS" val="-0.1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2"/>
  <p:tag name="KSO_WM_UNIT_TEXT_FILL_TYPE" val="1"/>
  <p:tag name="KSO_WM_DIAGRAM_VIRTUALLY_FRAME" val="{&quot;height&quot;:369.4465354330709,&quot;left&quot;:7.513622047244094,&quot;top&quot;:66.58165354330707,&quot;width&quot;:1186.5419685039371}"/>
</p:tagLst>
</file>

<file path=ppt/tags/tag343.xml><?xml version="1.0" encoding="utf-8"?>
<p:tagLst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08642_1*f*1"/>
  <p:tag name="KSO_WM_TEMPLATE_CATEGORY" val="diagram"/>
  <p:tag name="KSO_WM_TEMPLATE_INDEX" val="20208642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114"/>
  <p:tag name="KSO_WM_UNIT_SHOW_EDIT_AREA_INDICATION" val="1"/>
  <p:tag name="KSO_WM_CHIP_GROUPID" val="5e6b05596848fb12bee65ac8"/>
  <p:tag name="KSO_WM_CHIP_XID" val="5e6b05596848fb12bee65aca"/>
  <p:tag name="KSO_WM_UNIT_DEC_AREA_ID" val="dbe18d2d93a841d2847a0cf21bedeabd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t&quot;,&quot;fill_mode&quot;:&quot;full&quot;,&quot;sacle_strategy&quot;:&quot;smart&quot;}"/>
  <p:tag name="KSO_WM_ASSEMBLE_CHIP_INDEX" val="0661019735a74f6aa0d0b404131c0c64"/>
  <p:tag name="KSO_WM_UNIT_TEXT_FILL_FORE_SCHEMECOLOR_INDEX_BRIGHTNESS" val="0.25"/>
  <p:tag name="KSO_WM_UNIT_TEXT_FILL_FORE_SCHEMECOLOR_INDEX" val="13"/>
  <p:tag name="KSO_WM_UNIT_TEXT_FILL_TYPE" val="1"/>
  <p:tag name="KSO_WM_TEMPLATE_ASSEMBLE_XID" val="60656e7e4054ed1e2fb7f9e4"/>
  <p:tag name="KSO_WM_TEMPLATE_ASSEMBLE_GROUPID" val="60656e7e4054ed1e2fb7f9e4"/>
</p:tagLst>
</file>

<file path=ppt/tags/tag344.xml><?xml version="1.0" encoding="utf-8"?>
<p:tagLst xmlns:p="http://schemas.openxmlformats.org/presentationml/2006/main">
  <p:tag name="KSO_WM_UNIT_BLOCK" val="0"/>
  <p:tag name="KSO_WM_UNIT_SM_LIMIT_TYPE" val="0"/>
  <p:tag name="KSO_WM_UNIT_DEC_AREA_ID" val="4f97bb95c36c4c75b1bffde3b1be2b22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20208642_1*i*1"/>
  <p:tag name="KSO_WM_TEMPLATE_CATEGORY" val="diagram"/>
  <p:tag name="KSO_WM_TEMPLATE_INDEX" val="20208642"/>
  <p:tag name="KSO_WM_UNIT_LAYERLEVEL" val="1"/>
  <p:tag name="KSO_WM_TAG_VERSION" val="1.0"/>
  <p:tag name="KSO_WM_BEAUTIFY_FLAG" val="#wm#"/>
  <p:tag name="KSO_WM_UNIT_DECORATE_INFO" val="{&quot;DecorateInfoH&quot;:{&quot;IsAbs&quot;:true},&quot;DecorateInfoW&quot;:{&quot;IsAbs&quot;:true},&quot;DecorateInfoX&quot;:{&quot;IsAbs&quot;:true,&quot;Pos&quot;:2},&quot;DecorateInfoY&quot;:{&quot;IsAbs&quot;:true,&quot;Pos&quot;:0},&quot;ReferentInfo&quot;:{&quot;Id&quot;:&quot;ca4d5a34f707414abc2c91e4b3aea813&quot;,&quot;X&quot;:{&quot;Pos&quot;:0},&quot;Y&quot;:{&quot;Pos&quot;:0}},&quot;whChangeMode&quot;:0}"/>
  <p:tag name="KSO_WM_CHIP_GROUPID" val="5ef20926a491bb0086638a82"/>
  <p:tag name="KSO_WM_CHIP_XID" val="5ef20926a491bb0086638a83"/>
  <p:tag name="KSO_WM_UNIT_FILL_FORE_SCHEMECOLOR_INDEX_BRIGHTNESS" val="0"/>
  <p:tag name="KSO_WM_UNIT_FILL_FORE_SCHEMECOLOR_INDEX" val="5"/>
  <p:tag name="KSO_WM_UNIT_FILL_TYPE" val="1"/>
  <p:tag name="KSO_WM_UNIT_VALUE" val="6"/>
  <p:tag name="KSO_WM_TEMPLATE_ASSEMBLE_XID" val="60656e7e4054ed1e2fb7f9e4"/>
  <p:tag name="KSO_WM_TEMPLATE_ASSEMBLE_GROUPID" val="60656e7e4054ed1e2fb7f9e4"/>
</p:tagLst>
</file>

<file path=ppt/tags/tag345.xml><?xml version="1.0" encoding="utf-8"?>
<p:tagLst xmlns:p="http://schemas.openxmlformats.org/presentationml/2006/main">
  <p:tag name="KSO_WM_TEMPLATE_CATEGORY" val="diagram"/>
  <p:tag name="KSO_WM_TEMPLATE_INDEX" val="30177819"/>
  <p:tag name="KSO_WM_UNIT_TYPE" val="d"/>
  <p:tag name="KSO_WM_UNIT_INDEX" val="1"/>
  <p:tag name="KSO_WM_UNIT_ID" val="diagram30177819_1*d*1"/>
  <p:tag name="KSO_WM_UNIT_LAYERLEVEL" val="1"/>
  <p:tag name="KSO_WM_UNIT_VALUE" val="561*3135"/>
  <p:tag name="KSO_WM_UNIT_HIGHLIGHT" val="0"/>
  <p:tag name="KSO_WM_UNIT_COMPATIBLE" val="0"/>
  <p:tag name="KSO_WM_UNIT_CLEAR" val="0"/>
  <p:tag name="KSO_WM_BEAUTIFY_FLAG" val="#wm#"/>
  <p:tag name="KSO_WM_TAG_VERSION" val="1.0"/>
</p:tagLst>
</file>

<file path=ppt/tags/tag346.xml><?xml version="1.0" encoding="utf-8"?>
<p:tagLst xmlns:p="http://schemas.openxmlformats.org/presentationml/2006/main">
  <p:tag name="KSO_WM_FULL_TEXT_BEAUTIFY_COPY_ID" val="2"/>
</p:tagLst>
</file>

<file path=ppt/tags/tag347.xml><?xml version="1.0" encoding="utf-8"?>
<p:tagLst xmlns:p="http://schemas.openxmlformats.org/presentationml/2006/main">
  <p:tag name="KSO_WM_BEAUTIFY_FLAG" val="#wm#"/>
  <p:tag name="KSO_WM_UNIT_VALUE" val="2537*2537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custom40479644_1*d*1"/>
  <p:tag name="KSO_WM_TEMPLATE_CATEGORY" val="custom"/>
  <p:tag name="KSO_WM_TEMPLATE_INDEX" val="40479644"/>
  <p:tag name="KSO_WM_UNIT_LAYERLEVEL" val="1"/>
  <p:tag name="KSO_WM_TAG_VERSION" val="3.0"/>
  <p:tag name="KSO_WM_UNIT_PIC_EFFECT" val="1"/>
</p:tagLst>
</file>

<file path=ppt/tags/tag348.xml><?xml version="1.0" encoding="utf-8"?>
<p:tagLst xmlns:p="http://schemas.openxmlformats.org/presentationml/2006/main">
  <p:tag name="KSO_WM_BEAUTIFY_FLAG" val="#wm#"/>
  <p:tag name="KSO_WM_UNIT_VALUE" val="2537*2537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custom40479644_1*d*1"/>
  <p:tag name="KSO_WM_TEMPLATE_CATEGORY" val="custom"/>
  <p:tag name="KSO_WM_TEMPLATE_INDEX" val="40479644"/>
  <p:tag name="KSO_WM_UNIT_LAYERLEVEL" val="1"/>
  <p:tag name="KSO_WM_TAG_VERSION" val="3.0"/>
  <p:tag name="KSO_WM_UNIT_PIC_EFFECT" val="1"/>
</p:tagLst>
</file>

<file path=ppt/tags/tag349.xml><?xml version="1.0" encoding="utf-8"?>
<p:tagLst xmlns:p="http://schemas.openxmlformats.org/presentationml/2006/main">
  <p:tag name="KSO_WM_FULL_TEXT_BEAUTIFY_COPY_ID" val="2"/>
</p:tagLst>
</file>

<file path=ppt/tags/tag35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50.xml><?xml version="1.0" encoding="utf-8"?>
<p:tagLst xmlns:p="http://schemas.openxmlformats.org/presentationml/2006/main">
  <p:tag name="KSO_WM_FULL_TEXT_BEAUTIFY_COPY_ID" val="2"/>
</p:tagLst>
</file>

<file path=ppt/tags/tag3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227973_3*l_h_i*1_1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227973_3*l_h_i*1_2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227973_3*l_h_i*1_3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54.xml><?xml version="1.0" encoding="utf-8"?>
<p:tagLst xmlns:p="http://schemas.openxmlformats.org/presentationml/2006/main">
  <p:tag name="KSO_WM_UNIT_VALUE" val="140*14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x"/>
  <p:tag name="KSO_WM_UNIT_INDEX" val="1_1_1"/>
  <p:tag name="KSO_WM_UNIT_ID" val="diagram20227973_3*l_h_x*1_1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DIAGRAM_VIRTUALLY_FRAME" val="{&quot;height&quot;:513.8115582626649,&quot;left&quot;:-80.57290882808657,&quot;top&quot;:88.85,&quot;width&quot;:985.4729088280867}"/>
</p:tagLst>
</file>

<file path=ppt/tags/tag355.xml><?xml version="1.0" encoding="utf-8"?>
<p:tagLst xmlns:p="http://schemas.openxmlformats.org/presentationml/2006/main">
  <p:tag name="KSO_WM_UNIT_VALUE" val="140*14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x"/>
  <p:tag name="KSO_WM_UNIT_INDEX" val="1_2_1"/>
  <p:tag name="KSO_WM_UNIT_ID" val="diagram20227973_3*l_h_x*1_2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DIAGRAM_VIRTUALLY_FRAME" val="{&quot;height&quot;:513.8115582626649,&quot;left&quot;:-80.57290882808657,&quot;top&quot;:88.85,&quot;width&quot;:985.4729088280867}"/>
</p:tagLst>
</file>

<file path=ppt/tags/tag356.xml><?xml version="1.0" encoding="utf-8"?>
<p:tagLst xmlns:p="http://schemas.openxmlformats.org/presentationml/2006/main">
  <p:tag name="KSO_WM_UNIT_VALUE" val="140*14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x"/>
  <p:tag name="KSO_WM_UNIT_INDEX" val="1_3_1"/>
  <p:tag name="KSO_WM_UNIT_ID" val="diagram20227973_3*l_h_x*1_3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DIAGRAM_VIRTUALLY_FRAME" val="{&quot;height&quot;:513.8115582626649,&quot;left&quot;:-80.57290882808657,&quot;top&quot;:88.85,&quot;width&quot;:985.4729088280867}"/>
</p:tagLst>
</file>

<file path=ppt/tags/tag357.xml><?xml version="1.0" encoding="utf-8"?>
<p:tagLst xmlns:p="http://schemas.openxmlformats.org/presentationml/2006/main">
  <p:tag name="KSO_WM_UNIT_PRESET_TEXT" val="单击此处输入你的正文，文字是您思想的提炼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b"/>
  <p:tag name="KSO_WM_UNIT_INDEX" val="1_1_1"/>
  <p:tag name="KSO_WM_UNIT_ID" val="diagram20227973_3*l_h_b*1_1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ISCONTENTSTITLE" val="0"/>
  <p:tag name="KSO_WM_UNIT_ISNUMDGMTITLE" val="0"/>
  <p:tag name="KSO_WM_UNIT_TEXT_FILL_FORE_SCHEMECOLOR_INDEX" val="13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58.xml><?xml version="1.0" encoding="utf-8"?>
<p:tagLst xmlns:p="http://schemas.openxmlformats.org/presentationml/2006/main">
  <p:tag name="KSO_WM_UNIT_ISCONTENTSTITLE" val="0"/>
  <p:tag name="KSO_WM_UNIT_ISNUMDGMTITLE" val="0"/>
  <p:tag name="KSO_WM_UNIT_PRESET_TEXT" val="添加标题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227973_3*l_h_a*1_1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VALUE" val="5"/>
  <p:tag name="KSO_WM_UNIT_TEXT_FILL_FORE_SCHEMECOLOR_INDEX" val="5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3"/>
  <p:tag name="KSO_WM_UNIT_ID" val="diagram20227973_3*l_h_i*1_1_3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4"/>
  <p:tag name="KSO_WM_UNIT_ID" val="diagram20227973_3*l_h_i*1_1_4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1_2"/>
  <p:tag name="KSO_WM_UNIT_ID" val="diagram20227973_3*l_h_i*1_1_2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TEXT_FILL_FORE_SCHEMECOLOR_INDEX" val="14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2.xml><?xml version="1.0" encoding="utf-8"?>
<p:tagLst xmlns:p="http://schemas.openxmlformats.org/presentationml/2006/main">
  <p:tag name="KSO_WM_UNIT_SUBTYPE" val="a"/>
  <p:tag name="KSO_WM_UNIT_PRESET_TEXT" val="单击此处输入你的正文，文字是您思想的提炼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227973_3*l_h_f*1_2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VALUE" val="23"/>
  <p:tag name="KSO_WM_UNIT_TEXT_FILL_FORE_SCHEMECOLOR_INDEX" val="13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3.xml><?xml version="1.0" encoding="utf-8"?>
<p:tagLst xmlns:p="http://schemas.openxmlformats.org/presentationml/2006/main">
  <p:tag name="KSO_WM_UNIT_ISCONTENTSTITLE" val="0"/>
  <p:tag name="KSO_WM_UNIT_ISNUMDGMTITLE" val="0"/>
  <p:tag name="KSO_WM_UNIT_PRESET_TEXT" val="添加标题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227973_3*l_h_a*1_2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VALUE" val="5"/>
  <p:tag name="KSO_WM_UNIT_TEXT_FILL_FORE_SCHEMECOLOR_INDEX" val="6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3"/>
  <p:tag name="KSO_WM_UNIT_ID" val="diagram20227973_3*l_h_i*1_2_3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LINE_FORE_SCHEMECOLOR_INDEX" val="6"/>
  <p:tag name="KSO_WM_UNIT_LINE_FILL_TYPE" val="2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4"/>
  <p:tag name="KSO_WM_UNIT_ID" val="diagram20227973_3*l_h_i*1_2_4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2_2"/>
  <p:tag name="KSO_WM_UNIT_ID" val="diagram20227973_3*l_h_i*1_2_2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TEXT_FILL_FORE_SCHEMECOLOR_INDEX" val="14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7.xml><?xml version="1.0" encoding="utf-8"?>
<p:tagLst xmlns:p="http://schemas.openxmlformats.org/presentationml/2006/main">
  <p:tag name="KSO_WM_UNIT_SUBTYPE" val="a"/>
  <p:tag name="KSO_WM_UNIT_PRESET_TEXT" val="单击此处输入你的正文，文字是您思想的提炼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227973_3*l_h_f*1_3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VALUE" val="23"/>
  <p:tag name="KSO_WM_UNIT_TEXT_FILL_FORE_SCHEMECOLOR_INDEX" val="13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8.xml><?xml version="1.0" encoding="utf-8"?>
<p:tagLst xmlns:p="http://schemas.openxmlformats.org/presentationml/2006/main">
  <p:tag name="KSO_WM_UNIT_ISCONTENTSTITLE" val="0"/>
  <p:tag name="KSO_WM_UNIT_ISNUMDGMTITLE" val="0"/>
  <p:tag name="KSO_WM_UNIT_PRESET_TEXT" val="添加标题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3_1"/>
  <p:tag name="KSO_WM_UNIT_ID" val="diagram20227973_3*l_h_a*1_3_1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VALUE" val="5"/>
  <p:tag name="KSO_WM_UNIT_TEXT_FILL_FORE_SCHEMECOLOR_INDEX" val="7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6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3"/>
  <p:tag name="KSO_WM_UNIT_ID" val="diagram20227973_3*l_h_i*1_3_3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LINE_FORE_SCHEMECOLOR_INDEX" val="7"/>
  <p:tag name="KSO_WM_UNIT_LINE_FILL_TYPE" val="2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7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7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4"/>
  <p:tag name="KSO_WM_UNIT_ID" val="diagram20227973_3*l_h_i*1_3_4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7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3_2"/>
  <p:tag name="KSO_WM_UNIT_ID" val="diagram20227973_3*l_h_i*1_3_2"/>
  <p:tag name="KSO_WM_TEMPLATE_CATEGORY" val="diagram"/>
  <p:tag name="KSO_WM_TEMPLATE_INDEX" val="20227973"/>
  <p:tag name="KSO_WM_UNIT_LAYERLEVEL" val="1_1_1"/>
  <p:tag name="KSO_WM_TAG_VERSION" val="1.0"/>
  <p:tag name="KSO_WM_BEAUTIFY_FLAG" val="#wm#"/>
  <p:tag name="KSO_WM_UNIT_TEXT_FILL_FORE_SCHEMECOLOR_INDEX" val="14"/>
  <p:tag name="KSO_WM_UNIT_TEXT_FILL_TYPE" val="1"/>
  <p:tag name="KSO_WM_DIAGRAM_VIRTUALLY_FRAME" val="{&quot;height&quot;:513.8115582626649,&quot;left&quot;:-80.57290882808657,&quot;top&quot;:88.85,&quot;width&quot;:985.4729088280867}"/>
</p:tagLst>
</file>

<file path=ppt/tags/tag37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4"/>
  <p:tag name="KSO_WM_UNIT_ID" val="diagram20227973_3*i*4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3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6"/>
  <p:tag name="KSO_WM_UNIT_ID" val="diagram20227973_3*i*6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37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7"/>
  <p:tag name="KSO_WM_UNIT_ID" val="diagram20227973_3*i*7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37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8"/>
  <p:tag name="KSO_WM_UNIT_ID" val="diagram20227973_3*i*8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37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9"/>
  <p:tag name="KSO_WM_UNIT_ID" val="diagram20227973_3*i*9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9"/>
  <p:tag name="KSO_WM_UNIT_FILL_TYPE" val="1"/>
  <p:tag name="KSO_WM_UNIT_TEXT_FILL_FORE_SCHEMECOLOR_INDEX" val="2"/>
  <p:tag name="KSO_WM_UNIT_TEXT_FILL_TYPE" val="1"/>
</p:tagLst>
</file>

<file path=ppt/tags/tag37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10"/>
  <p:tag name="KSO_WM_UNIT_ID" val="diagram20227973_3*i*10"/>
  <p:tag name="KSO_WM_TEMPLATE_CATEGORY" val="diagram"/>
  <p:tag name="KSO_WM_TEMPLATE_INDEX" val="20227973"/>
  <p:tag name="KSO_WM_UNIT_LAYERLEVEL" val="1"/>
  <p:tag name="KSO_WM_TAG_VERSION" val="1.0"/>
  <p:tag name="KSO_WM_BEAUTIFY_FLAG" val="#wm#"/>
  <p:tag name="KSO_WM_UNIT_FILL_FORE_SCHEMECOLOR_INDEX" val="10"/>
  <p:tag name="KSO_WM_UNIT_FILL_TYPE" val="1"/>
  <p:tag name="KSO_WM_UNIT_TEXT_FILL_FORE_SCHEMECOLOR_INDEX" val="2"/>
  <p:tag name="KSO_WM_UNIT_TEXT_FILL_TYPE" val="1"/>
</p:tagLst>
</file>

<file path=ppt/tags/tag378.xml><?xml version="1.0" encoding="utf-8"?>
<p:tagLst xmlns:p="http://schemas.openxmlformats.org/presentationml/2006/main">
  <p:tag name="KSO_WM_FULL_TEXT_BEAUTIFY_COPY_ID" val="2"/>
</p:tagLst>
</file>

<file path=ppt/tags/tag379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80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1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2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3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4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5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6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7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8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89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390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1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2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3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4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5.xml><?xml version="1.0" encoding="utf-8"?>
<p:tagLst xmlns:p="http://schemas.openxmlformats.org/presentationml/2006/main">
  <p:tag name="KSO_WM_DIAGRAM_VIRTUALLY_FRAME" val="{&quot;height&quot;:300.5,&quot;left&quot;:46.35,&quot;top&quot;:162.35,&quot;width&quot;:867.25}"/>
</p:tagLst>
</file>

<file path=ppt/tags/tag396.xml><?xml version="1.0" encoding="utf-8"?>
<p:tagLst xmlns:p="http://schemas.openxmlformats.org/presentationml/2006/main">
  <p:tag name="KSO_WM_FULL_TEXT_BEAUTIFY_COPY_ID" val="2"/>
</p:tagLst>
</file>

<file path=ppt/tags/tag3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custom20234951_1*i*1"/>
  <p:tag name="KSO_WM_TEMPLATE_CATEGORY" val="custom"/>
  <p:tag name="KSO_WM_TEMPLATE_INDEX" val="20234951"/>
  <p:tag name="KSO_WM_UNIT_LAYERLEVEL" val="1"/>
  <p:tag name="KSO_WM_TAG_VERSION" val="3.0"/>
  <p:tag name="KSO_WM_BEAUTIFY_FLAG" val="#wm#"/>
</p:tagLst>
</file>

<file path=ppt/tags/tag398.xml><?xml version="1.0" encoding="utf-8"?>
<p:tagLst xmlns:p="http://schemas.openxmlformats.org/presentationml/2006/main">
  <p:tag name="KSO_WM_UNIT_SUBTYPE" val="a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h_f"/>
  <p:tag name="KSO_WM_UNIT_INDEX" val="1_1"/>
  <p:tag name="KSO_WM_UNIT_ID" val="custom20234951_1*h_f*1_1"/>
  <p:tag name="KSO_WM_TEMPLATE_CATEGORY" val="custom"/>
  <p:tag name="KSO_WM_TEMPLATE_INDEX" val="20234951"/>
  <p:tag name="KSO_WM_UNIT_LAYERLEVEL" val="1_1"/>
  <p:tag name="KSO_WM_TAG_VERSION" val="3.0"/>
  <p:tag name="KSO_WM_BEAUTIFY_FLAG" val="#wm#"/>
  <p:tag name="KSO_WM_UNIT_VALUE" val="250"/>
  <p:tag name="KSO_WM_UNIT_PRESET_TEXT" val="单击此处添加文本具体内容，简明扼要地阐述您的观点。根据需要可酌情增减文字，以便观者准确地理解您传达的思想。单击此处添加文本具体内容，简明扼要地阐述您的观点。根据需要可酌情增减文字。单击此处添加文本具体内容，简明扼要地阐述您的观点。&#10;根据需要可酌情增减文字，以便观者准确地理解您传达的思想。单击此处添加文本具体内容，简明扼要地阐述您的观点。根据需要可酌情增减文字，以便观者准确地理解您传达的思想。单击此处添加文本具体内容，简明扼要地阐述您的观点。&#10;"/>
  <p:tag name="KSO_WM_UNIT_TEXT_TYPE" val="1"/>
  <p:tag name="KSO_WM_UNIT_TEXT_LAYER_COUNT" val="1"/>
</p:tagLst>
</file>

<file path=ppt/tags/tag39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custom20234951_1*i*2"/>
  <p:tag name="KSO_WM_TEMPLATE_CATEGORY" val="custom"/>
  <p:tag name="KSO_WM_TEMPLATE_INDEX" val="20234951"/>
  <p:tag name="KSO_WM_UNIT_LAYERLEVEL" val="1"/>
  <p:tag name="KSO_WM_TAG_VERSION" val="3.0"/>
  <p:tag name="KSO_WM_BEAUTIFY_FLAG" val="#wm#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40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00.xml><?xml version="1.0" encoding="utf-8"?>
<p:tagLst xmlns:p="http://schemas.openxmlformats.org/presentationml/2006/main">
  <p:tag name="KSO_WM_UNIT_VALUE" val="1163*1163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custom20234951_1*d*1"/>
  <p:tag name="KSO_WM_TEMPLATE_CATEGORY" val="custom"/>
  <p:tag name="KSO_WM_TEMPLATE_INDEX" val="20234951"/>
  <p:tag name="KSO_WM_UNIT_LAYERLEVEL" val="1"/>
  <p:tag name="KSO_WM_TAG_VERSION" val="3.0"/>
  <p:tag name="KSO_WM_BEAUTIFY_FLAG" val="#wm#"/>
  <p:tag name="KSO_WM_UNIT_PICTURE_SUBTYPE" val="b"/>
</p:tagLst>
</file>

<file path=ppt/tags/tag401.xml><?xml version="1.0" encoding="utf-8"?>
<p:tagLst xmlns:p="http://schemas.openxmlformats.org/presentationml/2006/main">
  <p:tag name="KSO_WM_FULL_TEXT_BEAUTIFY_COPY_ID" val="2"/>
</p:tagLst>
</file>

<file path=ppt/tags/tag40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diagram169025_1*i*1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403.xml><?xml version="1.0" encoding="utf-8"?>
<p:tagLst xmlns:p="http://schemas.openxmlformats.org/presentationml/2006/main">
  <p:tag name="KSO_WM_UNIT_PRESET_TEXT" val="您的正文已经经简明扼要，字字珠玑，但信息却千丝万缕、错综复杂，需要用更多的文字来表述；但请您尽可能提炼思想的精髓，否则容易造成观者的阅读压力，适得其反。&#10;当您的正文内容到达这个限度时，或许已经不纯粹作用于演示，极大可能运用于阅读领域。&#10;无论是传播观点、知识分享还是汇报工作，内容的详尽固然重要，但请一定注意信息框架的清晰，这样才能使内容层次分明，页面简洁易读。"/>
  <p:tag name="KSO_WM_UNIT_VALUE" val="286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169025_1*f*1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ADJUSTLAYOUT_ID" val="5"/>
  <p:tag name="KSO_WM_UNIT_COLOR_SCHEME_SHAPE_ID" val="5"/>
  <p:tag name="KSO_WM_UNIT_COLOR_SCHEME_PARENT_PAGE" val="0_1"/>
  <p:tag name="KSO_WM_UNIT_TEXT_PART_ID_V2" val="d-2-1"/>
  <p:tag name="KSO_WM_UNIT_NOCLEAR" val="0"/>
  <p:tag name="KSO_WM_UNIT_TEXT_FILL_FORE_SCHEMECOLOR_INDEX_BRIGHTNESS" val="0"/>
  <p:tag name="KSO_WM_UNIT_TEXT_FILL_FORE_SCHEMECOLOR_INDEX" val="14"/>
  <p:tag name="KSO_WM_UNIT_TEXT_FILL_TYPE" val="1"/>
</p:tagLst>
</file>

<file path=ppt/tags/tag40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169025_1*i*2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40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3"/>
  <p:tag name="KSO_WM_UNIT_ID" val="diagram169025_1*i*3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40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4"/>
  <p:tag name="KSO_WM_UNIT_ID" val="diagram169025_1*i*4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40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5"/>
  <p:tag name="KSO_WM_UNIT_ID" val="diagram169025_1*i*5"/>
  <p:tag name="KSO_WM_TEMPLATE_CATEGORY" val="diagram"/>
  <p:tag name="KSO_WM_TEMPLATE_INDEX" val="169025"/>
  <p:tag name="KSO_WM_UNIT_LAYERLEVEL" val="1"/>
  <p:tag name="KSO_WM_TAG_VERSION" val="1.0"/>
  <p:tag name="KSO_WM_BEAUTIFY_FLAG" val="#wm#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408.xml><?xml version="1.0" encoding="utf-8"?>
<p:tagLst xmlns:p="http://schemas.openxmlformats.org/presentationml/2006/main">
  <p:tag name="KSO_WM_FULL_TEXT_BEAUTIFY_COPY_ID" val="2"/>
</p:tagLst>
</file>

<file path=ppt/tags/tag409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i"/>
  <p:tag name="KSO_WM_UNIT_INDEX" val="1_1"/>
  <p:tag name="KSO_WM_UNIT_ID" val="diagram20174814_3*l_i*1_1"/>
  <p:tag name="KSO_WM_UNIT_LAYERLEVEL" val="1_1"/>
  <p:tag name="KSO_WM_DIAGRAM_GROUP_CODE" val="l1-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10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i"/>
  <p:tag name="KSO_WM_UNIT_INDEX" val="1_3_1"/>
  <p:tag name="KSO_WM_UNIT_ID" val="diagram20174814_3*l_h_i*1_3_1"/>
  <p:tag name="KSO_WM_UNIT_LAYERLEVEL" val="1_1_1"/>
  <p:tag name="KSO_WM_DIAGRAM_GROUP_CODE" val="l1-1"/>
  <p:tag name="KSO_WM_UNIT_FILL_FORE_SCHEMECOLOR_INDEX" val="5"/>
  <p:tag name="KSO_WM_UNIT_FILL_TYPE" val="1"/>
  <p:tag name="KSO_WM_UNIT_TEXT_FILL_FORE_SCHEMECOLOR_INDEX" val="7"/>
  <p:tag name="KSO_WM_UNIT_TEXT_FILL_TYPE" val="1"/>
  <p:tag name="KSO_WM_DIAGRAM_VIRTUALLY_FRAME" val="{&quot;height&quot;:374.0749606299213,&quot;left&quot;:65.75,&quot;top&quot;:98.67503937007872,&quot;width&quot;:842.75}"/>
</p:tagLst>
</file>

<file path=ppt/tags/tag411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a"/>
  <p:tag name="KSO_WM_UNIT_INDEX" val="1_3_1"/>
  <p:tag name="KSO_WM_UNIT_LAYERLEVEL" val="1_1_1"/>
  <p:tag name="KSO_WM_UNIT_VALUE" val="9"/>
  <p:tag name="KSO_WM_UNIT_HIGHLIGHT" val="0"/>
  <p:tag name="KSO_WM_UNIT_COMPATIBLE" val="0"/>
  <p:tag name="KSO_WM_UNIT_CLEAR" val="0"/>
  <p:tag name="KSO_WM_UNIT_PRESET_TEXT_INDEX" val="3"/>
  <p:tag name="KSO_WM_UNIT_PRESET_TEXT_LEN" val="5"/>
  <p:tag name="KSO_WM_DIAGRAM_GROUP_CODE" val="l1-1"/>
  <p:tag name="KSO_WM_UNIT_ID" val="diagram20174814_3*l_h_a*1_3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2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f"/>
  <p:tag name="KSO_WM_UNIT_INDEX" val="1_3_1"/>
  <p:tag name="KSO_WM_UNIT_LAYERLEVEL" val="1_1_1"/>
  <p:tag name="KSO_WM_UNIT_VALUE" val="40"/>
  <p:tag name="KSO_WM_UNIT_HIGHLIGHT" val="0"/>
  <p:tag name="KSO_WM_UNIT_COMPATIBLE" val="0"/>
  <p:tag name="KSO_WM_UNIT_CLEAR" val="0"/>
  <p:tag name="KSO_WM_UNIT_PRESET_TEXT_INDEX" val="4"/>
  <p:tag name="KSO_WM_UNIT_PRESET_TEXT_LEN" val="40"/>
  <p:tag name="KSO_WM_DIAGRAM_GROUP_CODE" val="l1-1"/>
  <p:tag name="KSO_WM_UNIT_ID" val="diagram20174814_3*l_h_f*1_3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3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i"/>
  <p:tag name="KSO_WM_UNIT_INDEX" val="1_2_1"/>
  <p:tag name="KSO_WM_UNIT_ID" val="diagram20174814_3*l_h_i*1_2_1"/>
  <p:tag name="KSO_WM_UNIT_LAYERLEVEL" val="1_1_1"/>
  <p:tag name="KSO_WM_DIAGRAM_GROUP_CODE" val="l1-1"/>
  <p:tag name="KSO_WM_UNIT_FILL_FORE_SCHEMECOLOR_INDEX" val="6"/>
  <p:tag name="KSO_WM_UNIT_FILL_TYPE" val="1"/>
  <p:tag name="KSO_WM_DIAGRAM_VIRTUALLY_FRAME" val="{&quot;height&quot;:374.0749606299213,&quot;left&quot;:65.75,&quot;top&quot;:98.67503937007872,&quot;width&quot;:842.75}"/>
</p:tagLst>
</file>

<file path=ppt/tags/tag414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a"/>
  <p:tag name="KSO_WM_UNIT_INDEX" val="1_2_1"/>
  <p:tag name="KSO_WM_UNIT_LAYERLEVEL" val="1_1_1"/>
  <p:tag name="KSO_WM_UNIT_VALUE" val="9"/>
  <p:tag name="KSO_WM_UNIT_HIGHLIGHT" val="0"/>
  <p:tag name="KSO_WM_UNIT_COMPATIBLE" val="0"/>
  <p:tag name="KSO_WM_UNIT_CLEAR" val="0"/>
  <p:tag name="KSO_WM_UNIT_PRESET_TEXT_INDEX" val="3"/>
  <p:tag name="KSO_WM_UNIT_PRESET_TEXT_LEN" val="5"/>
  <p:tag name="KSO_WM_DIAGRAM_GROUP_CODE" val="l1-1"/>
  <p:tag name="KSO_WM_UNIT_ID" val="diagram20174814_3*l_h_a*1_2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f"/>
  <p:tag name="KSO_WM_UNIT_INDEX" val="1_2_1"/>
  <p:tag name="KSO_WM_UNIT_LAYERLEVEL" val="1_1_1"/>
  <p:tag name="KSO_WM_UNIT_VALUE" val="40"/>
  <p:tag name="KSO_WM_UNIT_HIGHLIGHT" val="0"/>
  <p:tag name="KSO_WM_UNIT_COMPATIBLE" val="0"/>
  <p:tag name="KSO_WM_UNIT_CLEAR" val="0"/>
  <p:tag name="KSO_WM_UNIT_PRESET_TEXT_INDEX" val="4"/>
  <p:tag name="KSO_WM_UNIT_PRESET_TEXT_LEN" val="40"/>
  <p:tag name="KSO_WM_DIAGRAM_GROUP_CODE" val="l1-1"/>
  <p:tag name="KSO_WM_UNIT_ID" val="diagram20174814_3*l_h_f*1_2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6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i"/>
  <p:tag name="KSO_WM_UNIT_INDEX" val="1_1_1"/>
  <p:tag name="KSO_WM_UNIT_ID" val="diagram20174814_3*l_h_i*1_1_1"/>
  <p:tag name="KSO_WM_UNIT_LAYERLEVEL" val="1_1_1"/>
  <p:tag name="KSO_WM_DIAGRAM_GROUP_CODE" val="l1-1"/>
  <p:tag name="KSO_WM_UNIT_FILL_FORE_SCHEMECOLOR_INDEX" val="5"/>
  <p:tag name="KSO_WM_UNIT_FILL_TYPE" val="1"/>
  <p:tag name="KSO_WM_UNIT_TEXT_FILL_FORE_SCHEMECOLOR_INDEX" val="7"/>
  <p:tag name="KSO_WM_UNIT_TEXT_FILL_TYPE" val="1"/>
  <p:tag name="KSO_WM_DIAGRAM_VIRTUALLY_FRAME" val="{&quot;height&quot;:374.0749606299213,&quot;left&quot;:65.75,&quot;top&quot;:98.67503937007872,&quot;width&quot;:842.75}"/>
</p:tagLst>
</file>

<file path=ppt/tags/tag41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a"/>
  <p:tag name="KSO_WM_UNIT_INDEX" val="1_1_1"/>
  <p:tag name="KSO_WM_UNIT_LAYERLEVEL" val="1_1_1"/>
  <p:tag name="KSO_WM_UNIT_VALUE" val="9"/>
  <p:tag name="KSO_WM_UNIT_HIGHLIGHT" val="0"/>
  <p:tag name="KSO_WM_UNIT_COMPATIBLE" val="0"/>
  <p:tag name="KSO_WM_UNIT_CLEAR" val="0"/>
  <p:tag name="KSO_WM_UNIT_PRESET_TEXT_INDEX" val="3"/>
  <p:tag name="KSO_WM_UNIT_PRESET_TEXT_LEN" val="5"/>
  <p:tag name="KSO_WM_DIAGRAM_GROUP_CODE" val="l1-1"/>
  <p:tag name="KSO_WM_UNIT_ID" val="diagram20174814_3*l_h_a*1_1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8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4814"/>
  <p:tag name="KSO_WM_UNIT_TYPE" val="l_h_f"/>
  <p:tag name="KSO_WM_UNIT_INDEX" val="1_1_1"/>
  <p:tag name="KSO_WM_UNIT_LAYERLEVEL" val="1_1_1"/>
  <p:tag name="KSO_WM_UNIT_VALUE" val="40"/>
  <p:tag name="KSO_WM_UNIT_HIGHLIGHT" val="0"/>
  <p:tag name="KSO_WM_UNIT_COMPATIBLE" val="0"/>
  <p:tag name="KSO_WM_UNIT_CLEAR" val="0"/>
  <p:tag name="KSO_WM_UNIT_PRESET_TEXT_INDEX" val="4"/>
  <p:tag name="KSO_WM_UNIT_PRESET_TEXT_LEN" val="40"/>
  <p:tag name="KSO_WM_DIAGRAM_GROUP_CODE" val="l1-1"/>
  <p:tag name="KSO_WM_UNIT_ID" val="diagram20174814_3*l_h_f*1_1_1"/>
  <p:tag name="KSO_WM_UNIT_TEXT_FILL_FORE_SCHEMECOLOR_INDEX" val="13"/>
  <p:tag name="KSO_WM_UNIT_TEXT_FILL_TYPE" val="1"/>
  <p:tag name="KSO_WM_DIAGRAM_VIRTUALLY_FRAME" val="{&quot;height&quot;:374.0749606299213,&quot;left&quot;:65.75,&quot;top&quot;:98.67503937007872,&quot;width&quot;:842.75}"/>
</p:tagLst>
</file>

<file path=ppt/tags/tag419.xml><?xml version="1.0" encoding="utf-8"?>
<p:tagLst xmlns:p="http://schemas.openxmlformats.org/presentationml/2006/main">
  <p:tag name="KSO_WM_FULL_TEXT_BEAUTIFY_COPY_ID" val="2"/>
</p:tagLst>
</file>

<file path=ppt/tags/tag42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20.xml><?xml version="1.0" encoding="utf-8"?>
<p:tagLst xmlns:p="http://schemas.openxmlformats.org/presentationml/2006/main">
  <p:tag name="KSO_WM_FULL_TEXT_BEAUTIFY_COPY_ID" val="2"/>
</p:tagLst>
</file>

<file path=ppt/tags/tag421.xml><?xml version="1.0" encoding="utf-8"?>
<p:tagLst xmlns:p="http://schemas.openxmlformats.org/presentationml/2006/main">
  <p:tag name="KSO_WM_FULL_TEXT_BEAUTIFY_COPY_ID" val="2"/>
</p:tagLst>
</file>

<file path=ppt/tags/tag422.xml><?xml version="1.0" encoding="utf-8"?>
<p:tagLst xmlns:p="http://schemas.openxmlformats.org/presentationml/2006/main">
  <p:tag name="KSO_WM_FULL_TEXT_BEAUTIFY_COPY_ID" val="2"/>
</p:tagLst>
</file>

<file path=ppt/tags/tag4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1"/>
  <p:tag name="KSO_WM_UNIT_ID" val="diagram20199032_2*l_i*1_1"/>
  <p:tag name="KSO_WM_TEMPLATE_CATEGORY" val="diagram"/>
  <p:tag name="KSO_WM_TEMPLATE_INDEX" val="20199032"/>
  <p:tag name="KSO_WM_UNIT_LAYERLEVEL" val="1_1"/>
  <p:tag name="KSO_WM_TAG_VERSION" val="1.0"/>
  <p:tag name="KSO_WM_BEAUTIFY_FLAG" val="#wm#"/>
  <p:tag name="KSO_WM_UNIT_FILL_FORE_SCHEMECOLOR_INDEX" val="16"/>
  <p:tag name="KSO_WM_UNIT_FILL_TYPE" val="1"/>
  <p:tag name="KSO_WM_UNIT_TEXT_FILL_FORE_SCHEMECOLOR_INDEX" val="2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99032_2*l_h_i*1_1_2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3"/>
  <p:tag name="KSO_WM_UNIT_ID" val="diagram20199032_2*l_h_i*1_1_3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5"/>
  <p:tag name="KSO_WM_UNIT_ID" val="diagram20199032_2*l_h_i*1_1_5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99032_2*l_h_i*1_2_2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3"/>
  <p:tag name="KSO_WM_UNIT_ID" val="diagram20199032_2*l_h_i*1_2_3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5"/>
  <p:tag name="KSO_WM_UNIT_ID" val="diagram20199032_2*l_h_i*1_2_5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99032_2*l_h_i*1_3_2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3"/>
  <p:tag name="KSO_WM_UNIT_ID" val="diagram20199032_2*l_h_i*1_3_3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5"/>
  <p:tag name="KSO_WM_UNIT_ID" val="diagram20199032_2*l_h_i*1_3_5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TEXT_FILL_FORE_SCHEMECOLOR_INDEX" val="13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4"/>
  <p:tag name="KSO_WM_UNIT_ID" val="diagram20199032_2*l_h_i*1_3_14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1"/>
  <p:tag name="KSO_WM_UNIT_ID" val="diagram20199032_2*i*1"/>
  <p:tag name="KSO_WM_TEMPLATE_CATEGORY" val="diagram"/>
  <p:tag name="KSO_WM_TEMPLATE_INDEX" val="20199032"/>
  <p:tag name="KSO_WM_UNIT_LAYERLEVEL" val="1"/>
  <p:tag name="KSO_WM_TAG_VERSION" val="1.0"/>
  <p:tag name="KSO_WM_BEAUTIFY_FLAG" val="#wm#"/>
  <p:tag name="KSO_WM_DIAGRAM_VIRTUALLY_FRAME" val="{&quot;height&quot;:460.25,&quot;left&quot;:-20.55744094488191,&quot;top&quot;:87.75,&quot;width&quot;:1007.5074409448819}"/>
</p:tagLst>
</file>

<file path=ppt/tags/tag4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5"/>
  <p:tag name="KSO_WM_UNIT_ID" val="diagram20199032_2*l_h_i*1_3_15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6"/>
  <p:tag name="KSO_WM_UNIT_ID" val="diagram20199032_2*l_h_i*1_3_16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37.xml><?xml version="1.0" encoding="utf-8"?>
<p:tagLst xmlns:p="http://schemas.openxmlformats.org/presentationml/2006/main">
  <p:tag name="KSO_WM_UNIT_NOCLEAR" val="0"/>
  <p:tag name="KSO_WM_UNIT_VALUE" val="36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199032_2*l_h_f*1_3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单击此处添加文本具体内容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8.xml><?xml version="1.0" encoding="utf-8"?>
<p:tagLst xmlns:p="http://schemas.openxmlformats.org/presentationml/2006/main">
  <p:tag name="KSO_WM_UNIT_ISCONTENTSTITLE" val="0"/>
  <p:tag name="KSO_WM_UNIT_NOCLEAR" val="0"/>
  <p:tag name="KSO_WM_UNIT_VALUE" val="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3_1"/>
  <p:tag name="KSO_WM_UNIT_ID" val="diagram20199032_2*l_h_a*1_3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4"/>
  <p:tag name="KSO_WM_UNIT_ID" val="diagram20199032_2*l_h_i*1_2_14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5"/>
  <p:tag name="KSO_WM_UNIT_ID" val="diagram20199032_2*l_h_i*1_2_15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41.xml><?xml version="1.0" encoding="utf-8"?>
<p:tagLst xmlns:p="http://schemas.openxmlformats.org/presentationml/2006/main">
  <p:tag name="KSO_WM_UNIT_NOCLEAR" val="0"/>
  <p:tag name="KSO_WM_UNIT_VALUE" val="36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99032_2*l_h_f*1_2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单击此处添加文本具体内容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2.xml><?xml version="1.0" encoding="utf-8"?>
<p:tagLst xmlns:p="http://schemas.openxmlformats.org/presentationml/2006/main">
  <p:tag name="KSO_WM_UNIT_ISCONTENTSTITLE" val="0"/>
  <p:tag name="KSO_WM_UNIT_NOCLEAR" val="0"/>
  <p:tag name="KSO_WM_UNIT_VALUE" val="7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99032_2*l_h_a*1_2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4"/>
  <p:tag name="KSO_WM_UNIT_ID" val="diagram20199032_2*l_h_i*1_1_14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4.xml><?xml version="1.0" encoding="utf-8"?>
<p:tagLst xmlns:p="http://schemas.openxmlformats.org/presentationml/2006/main">
  <p:tag name="KSO_WM_UNIT_NOCLEAR" val="0"/>
  <p:tag name="KSO_WM_UNIT_VALUE" val="36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99032_2*l_h_f*1_1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单击此处添加文本具体内容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5.xml><?xml version="1.0" encoding="utf-8"?>
<p:tagLst xmlns:p="http://schemas.openxmlformats.org/presentationml/2006/main">
  <p:tag name="KSO_WM_UNIT_ISCONTENTSTITLE" val="0"/>
  <p:tag name="KSO_WM_UNIT_NOCLEAR" val="0"/>
  <p:tag name="KSO_WM_UNIT_VALUE" val="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99032_2*l_h_a*1_1_1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  <p:tag name="KSO_WM_DIAGRAM_VIRTUALLY_FRAME" val="{&quot;height&quot;:460.25,&quot;left&quot;:-20.55744094488191,&quot;top&quot;:87.75,&quot;width&quot;:1007.5074409448819}"/>
</p:tagLst>
</file>

<file path=ppt/tags/tag4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2"/>
  <p:tag name="KSO_WM_UNIT_ID" val="diagram20199032_2*i*2"/>
  <p:tag name="KSO_WM_TEMPLATE_CATEGORY" val="diagram"/>
  <p:tag name="KSO_WM_TEMPLATE_INDEX" val="20199032"/>
  <p:tag name="KSO_WM_UNIT_LAYERLEVEL" val="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4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6"/>
  <p:tag name="KSO_WM_UNIT_ID" val="diagram20199032_2*l_h_i*1_1_16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4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7"/>
  <p:tag name="KSO_WM_UNIT_ID" val="diagram20199032_2*l_h_i*1_1_17"/>
  <p:tag name="KSO_WM_TEMPLATE_CATEGORY" val="diagram"/>
  <p:tag name="KSO_WM_TEMPLATE_INDEX" val="2019903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DIAGRAM_VIRTUALLY_FRAME" val="{&quot;height&quot;:460.25,&quot;left&quot;:-20.55744094488191,&quot;top&quot;:87.75,&quot;width&quot;:1007.5074409448819}"/>
</p:tagLst>
</file>

<file path=ppt/tags/tag449.xml><?xml version="1.0" encoding="utf-8"?>
<p:tagLst xmlns:p="http://schemas.openxmlformats.org/presentationml/2006/main">
  <p:tag name="KSO_WM_FULL_TEXT_BEAUTIFY_COPY_ID" val="2"/>
</p:tagLst>
</file>

<file path=ppt/tags/tag45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50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a"/>
  <p:tag name="KSO_WM_UNIT_INDEX" val="1"/>
  <p:tag name="KSO_WM_UNIT_ID" val="custom20234813_1*a*1"/>
  <p:tag name="KSO_WM_TEMPLATE_CATEGORY" val="custom"/>
  <p:tag name="KSO_WM_TEMPLATE_INDEX" val="20234813"/>
  <p:tag name="KSO_WM_UNIT_LAYERLEVEL" val="1"/>
  <p:tag name="KSO_WM_TAG_VERSION" val="3.0"/>
  <p:tag name="KSO_WM_BEAUTIFY_FLAG" val="#wm#"/>
  <p:tag name="KSO_WM_UNIT_VALUE" val="14"/>
  <p:tag name="KSO_WM_UNIT_TEXT_TYPE" val="1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451.xml><?xml version="1.0" encoding="utf-8"?>
<p:tagLst xmlns:p="http://schemas.openxmlformats.org/presentationml/2006/main">
  <p:tag name="KSO_WM_UNIT_VALUE" val="748*116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d"/>
  <p:tag name="KSO_WM_UNIT_INDEX" val="1"/>
  <p:tag name="KSO_WM_UNIT_ID" val="custom20234813_1*d*1"/>
  <p:tag name="KSO_WM_TEMPLATE_CATEGORY" val="custom"/>
  <p:tag name="KSO_WM_TEMPLATE_INDEX" val="20234813"/>
  <p:tag name="KSO_WM_UNIT_LAYERLEVEL" val="1"/>
  <p:tag name="KSO_WM_TAG_VERSION" val="3.0"/>
  <p:tag name="KSO_WM_BEAUTIFY_FLAG" val="#wm#"/>
  <p:tag name="KSO_WM_UNIT_PICTURE_SUBTYPE" val="b"/>
  <p:tag name="KSO_WM_UNIT_FILL_FORE_SCHEMECOLOR_INDEX" val="5"/>
  <p:tag name="KSO_WM_UNIT_FILL_TYPE" val="1"/>
  <p:tag name="KSO_WM_UNIT_LINE_FORE_SCHEMECOLOR_INDEX" val="13"/>
  <p:tag name="KSO_WM_UNIT_LINE_FILL_TYPE" val="2"/>
  <p:tag name="KSO_WM_UNIT_USESOURCEFORMAT_APPLY" val="1"/>
</p:tagLst>
</file>

<file path=ppt/tags/tag452.xml><?xml version="1.0" encoding="utf-8"?>
<p:tagLst xmlns:p="http://schemas.openxmlformats.org/presentationml/2006/main">
  <p:tag name="KSO_WM_UNIT_VALUE" val="748*116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d"/>
  <p:tag name="KSO_WM_UNIT_INDEX" val="2"/>
  <p:tag name="KSO_WM_UNIT_ID" val="custom20234813_1*d*2"/>
  <p:tag name="KSO_WM_TEMPLATE_CATEGORY" val="custom"/>
  <p:tag name="KSO_WM_TEMPLATE_INDEX" val="20234813"/>
  <p:tag name="KSO_WM_UNIT_LAYERLEVEL" val="1"/>
  <p:tag name="KSO_WM_TAG_VERSION" val="3.0"/>
  <p:tag name="KSO_WM_BEAUTIFY_FLAG" val="#wm#"/>
  <p:tag name="KSO_WM_UNIT_PICTURE_SUBTYPE" val="b"/>
  <p:tag name="KSO_WM_UNIT_FILL_FORE_SCHEMECOLOR_INDEX" val="5"/>
  <p:tag name="KSO_WM_UNIT_FILL_TYPE" val="1"/>
  <p:tag name="KSO_WM_UNIT_LINE_FORE_SCHEMECOLOR_INDEX" val="13"/>
  <p:tag name="KSO_WM_UNIT_LINE_FILL_TYPE" val="2"/>
  <p:tag name="KSO_WM_UNIT_USESOURCEFORMAT_APPLY" val="1"/>
</p:tagLst>
</file>

<file path=ppt/tags/tag4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i*1_1"/>
  <p:tag name="KSO_WM_TEMPLATE_CATEGORY" val="diagram"/>
  <p:tag name="KSO_WM_TEMPLATE_INDEX" val="20235515"/>
  <p:tag name="KSO_WM_UNIT_LAYERLEVEL" val="1_1"/>
  <p:tag name="KSO_WM_TAG_VERSION" val="3.0"/>
  <p:tag name="KSO_WM_UNIT_TYPE" val="l_i"/>
  <p:tag name="KSO_WM_UNIT_INDEX" val="1_1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2,&quot;rgb&quot;:&quot;#ffffff&quot;,&quot;transparency&quot;:1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BEAUTIFY_FLAG" val="#wm#"/>
  <p:tag name="KSO_WM_DIAGRAM_GROUP_CODE" val="l1-1"/>
  <p:tag name="KSO_WM_DIAGRAM_VERSION" val="3"/>
  <p:tag name="KSO_WM_DIAGRAM_COLOR_TRICK" val="1"/>
  <p:tag name="KSO_WM_DIAGRAM_COLOR_TEXT_CAN_REMOVE" val="n"/>
  <p:tag name="KSO_WM_UNIT_TEXT_FILL_FORE_SCHEMECOLOR_INDEX" val="2"/>
  <p:tag name="KSO_WM_UNIT_TEXT_FILL_TYPE" val="1"/>
  <p:tag name="KSO_WM_UNIT_USESOURCEFORMAT_APPLY" val="1"/>
</p:tagLst>
</file>

<file path=ppt/tags/tag4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f*1_1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SUBTYPE" val="a"/>
  <p:tag name="KSO_WM_UNIT_TEXT_LAYER_COUNT" val="1"/>
  <p:tag name="KSO_WM_UNIT_NOCLEAR" val="0"/>
  <p:tag name="KSO_WM_DIAGRAM_GROUP_CODE" val="l1-1"/>
  <p:tag name="KSO_WM_UNIT_TYPE" val="l_h_f"/>
  <p:tag name="KSO_WM_UNIT_INDEX" val="1_1_1"/>
  <p:tag name="KSO_WM_UNIT_VALUE" val="69"/>
  <p:tag name="KSO_WM_DIAGRAM_VERSION" val="3"/>
  <p:tag name="KSO_WM_DIAGRAM_COLOR_TRICK" val="1"/>
  <p:tag name="KSO_WM_DIAGRAM_COLOR_TEXT_CAN_REMOVE" val="n"/>
  <p:tag name="KSO_WM_UNIT_PRESET_TEXT" val="单击此处输入你的正文，文字是您思想的提炼，为了最终演示发布的良好效果，请尽量言简意赅的阐述观点。根据需要可酌情增减文字。"/>
  <p:tag name="KSO_WM_UNIT_TEXT_FILL_FORE_SCHEMECOLOR_INDEX" val="1"/>
  <p:tag name="KSO_WM_UNIT_TEXT_FILL_TYPE" val="1"/>
  <p:tag name="KSO_WM_UNIT_TEXT_TYPE" val="1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USESOURCEFORMAT_APPLY" val="1"/>
</p:tagLst>
</file>

<file path=ppt/tags/tag4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i*1_1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DIAGRAM_GROUP_CODE" val="l1-1"/>
  <p:tag name="KSO_WM_UNIT_TYPE" val="l_h_i"/>
  <p:tag name="KSO_WM_UNIT_INDEX" val="1_1_1"/>
  <p:tag name="KSO_WM_DIAGRAM_VERSION" val="3"/>
  <p:tag name="KSO_WM_DIAGRAM_COLOR_TRICK" val="1"/>
  <p:tag name="KSO_WM_DIAGRAM_COLOR_TEXT_CAN_REMOVE" val="n"/>
  <p:tag name="KSO_WM_UNIT_FILL_TYPE" val="1"/>
  <p:tag name="KSO_WM_UNIT_FILL_FORE_SCHEMECOLOR_INDEX" val="5"/>
  <p:tag name="KSO_WM_UNIT_FILL_FORE_SCHEMECOLOR_INDEX_BRIGHTNESS" val="0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x*1_1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VALUE" val="38*42"/>
  <p:tag name="KSO_WM_DIAGRAM_GROUP_CODE" val="l1-1"/>
  <p:tag name="KSO_WM_UNIT_TYPE" val="l_h_x"/>
  <p:tag name="KSO_WM_UNIT_INDEX" val="1_1_1"/>
  <p:tag name="KSO_WM_DIAGRAM_VERSION" val="3"/>
  <p:tag name="KSO_WM_DIAGRAM_COLOR_TRICK" val="1"/>
  <p:tag name="KSO_WM_DIAGRAM_COLOR_TEXT_CAN_REMOVE" val="n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5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f*1_2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SUBTYPE" val="a"/>
  <p:tag name="KSO_WM_UNIT_TEXT_LAYER_COUNT" val="1"/>
  <p:tag name="KSO_WM_UNIT_NOCLEAR" val="0"/>
  <p:tag name="KSO_WM_DIAGRAM_GROUP_CODE" val="l1-1"/>
  <p:tag name="KSO_WM_UNIT_TYPE" val="l_h_f"/>
  <p:tag name="KSO_WM_UNIT_INDEX" val="1_2_1"/>
  <p:tag name="KSO_WM_UNIT_VALUE" val="69"/>
  <p:tag name="KSO_WM_DIAGRAM_VERSION" val="3"/>
  <p:tag name="KSO_WM_DIAGRAM_COLOR_TRICK" val="1"/>
  <p:tag name="KSO_WM_DIAGRAM_COLOR_TEXT_CAN_REMOVE" val="n"/>
  <p:tag name="KSO_WM_UNIT_PRESET_TEXT" val="单击此处输入你的正文，文字是您思想的提炼，为了最终演示发布的良好效果，请尽量言简意赅的阐述观点。以便观者可以准确理解您所传达的信息。&#10;"/>
  <p:tag name="KSO_WM_UNIT_TEXT_FILL_FORE_SCHEMECOLOR_INDEX" val="1"/>
  <p:tag name="KSO_WM_UNIT_TEXT_FILL_TYPE" val="1"/>
  <p:tag name="KSO_WM_UNIT_TEXT_TYPE" val="1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USESOURCEFORMAT_APPLY" val="1"/>
</p:tagLst>
</file>

<file path=ppt/tags/tag45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i*1_2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DIAGRAM_GROUP_CODE" val="l1-1"/>
  <p:tag name="KSO_WM_UNIT_TYPE" val="l_h_i"/>
  <p:tag name="KSO_WM_UNIT_INDEX" val="1_2_1"/>
  <p:tag name="KSO_WM_DIAGRAM_VERSION" val="3"/>
  <p:tag name="KSO_WM_DIAGRAM_COLOR_TRICK" val="1"/>
  <p:tag name="KSO_WM_DIAGRAM_COLOR_TEXT_CAN_REMOVE" val="n"/>
  <p:tag name="KSO_WM_UNIT_FILL_TYPE" val="1"/>
  <p:tag name="KSO_WM_UNIT_FILL_FORE_SCHEMECOLOR_INDEX" val="5"/>
  <p:tag name="KSO_WM_UNIT_FILL_FORE_SCHEMECOLOR_INDEX_BRIGHTNESS" val="0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x*1_2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VALUE" val="38*42"/>
  <p:tag name="KSO_WM_DIAGRAM_GROUP_CODE" val="l1-1"/>
  <p:tag name="KSO_WM_UNIT_TYPE" val="l_h_x"/>
  <p:tag name="KSO_WM_UNIT_INDEX" val="1_2_1"/>
  <p:tag name="KSO_WM_DIAGRAM_VERSION" val="3"/>
  <p:tag name="KSO_WM_DIAGRAM_COLOR_TRICK" val="1"/>
  <p:tag name="KSO_WM_DIAGRAM_COLOR_TEXT_CAN_REMOVE" val="n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6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f*1_3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SUBTYPE" val="a"/>
  <p:tag name="KSO_WM_UNIT_TEXT_LAYER_COUNT" val="1"/>
  <p:tag name="KSO_WM_UNIT_NOCLEAR" val="0"/>
  <p:tag name="KSO_WM_DIAGRAM_GROUP_CODE" val="l1-1"/>
  <p:tag name="KSO_WM_UNIT_TYPE" val="l_h_f"/>
  <p:tag name="KSO_WM_UNIT_INDEX" val="1_3_1"/>
  <p:tag name="KSO_WM_DIAGRAM_VERSION" val="3"/>
  <p:tag name="KSO_WM_DIAGRAM_COLOR_TRICK" val="1"/>
  <p:tag name="KSO_WM_DIAGRAM_COLOR_TEXT_CAN_REMOVE" val="n"/>
  <p:tag name="KSO_WM_UNIT_PRESET_TEXT" val="单击此处输入你的正文，文字是您思想的提炼，为了最终演示发布的良好效果，请尽量言简意赅的阐述观点。根据需要可酌情增减文字。"/>
  <p:tag name="KSO_WM_UNIT_TEXT_FILL_FORE_SCHEMECOLOR_INDEX" val="1"/>
  <p:tag name="KSO_WM_UNIT_TEXT_FILL_TYPE" val="1"/>
  <p:tag name="KSO_WM_UNIT_TEXT_TYPE" val="1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USESOURCEFORMAT_APPLY" val="1"/>
</p:tagLst>
</file>

<file path=ppt/tags/tag4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i*1_3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DIAGRAM_GROUP_CODE" val="l1-1"/>
  <p:tag name="KSO_WM_UNIT_TYPE" val="l_h_i"/>
  <p:tag name="KSO_WM_UNIT_INDEX" val="1_3_1"/>
  <p:tag name="KSO_WM_DIAGRAM_VERSION" val="3"/>
  <p:tag name="KSO_WM_DIAGRAM_COLOR_TRICK" val="1"/>
  <p:tag name="KSO_WM_DIAGRAM_COLOR_TEXT_CAN_REMOVE" val="n"/>
  <p:tag name="KSO_WM_UNIT_FILL_TYPE" val="1"/>
  <p:tag name="KSO_WM_UNIT_FILL_FORE_SCHEMECOLOR_INDEX" val="5"/>
  <p:tag name="KSO_WM_UNIT_FILL_FORE_SCHEMECOLOR_INDEX_BRIGHTNESS" val="0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6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515_2*l_h_x*1_3_1"/>
  <p:tag name="KSO_WM_TEMPLATE_CATEGORY" val="diagram"/>
  <p:tag name="KSO_WM_TEMPLATE_INDEX" val="20235515"/>
  <p:tag name="KSO_WM_UNIT_LAYERLEVEL" val="1_1_1"/>
  <p:tag name="KSO_WM_TAG_VERSION" val="3.0"/>
  <p:tag name="KSO_WM_BEAUTIFY_FLAG" val="#wm#"/>
  <p:tag name="KSO_WM_UNIT_VALUE" val="38*42"/>
  <p:tag name="KSO_WM_DIAGRAM_GROUP_CODE" val="l1-1"/>
  <p:tag name="KSO_WM_UNIT_TYPE" val="l_h_x"/>
  <p:tag name="KSO_WM_UNIT_INDEX" val="1_3_1"/>
  <p:tag name="KSO_WM_DIAGRAM_VERSION" val="3"/>
  <p:tag name="KSO_WM_DIAGRAM_COLOR_TRICK" val="1"/>
  <p:tag name="KSO_WM_DIAGRAM_COLOR_TEXT_CAN_REMOVE" val="n"/>
  <p:tag name="KSO_WM_DIAGRAM_MAX_ITEMCNT" val="6"/>
  <p:tag name="KSO_WM_DIAGRAM_MIN_ITEMCNT" val="2"/>
  <p:tag name="KSO_WM_DIAGRAM_VIRTUALLY_FRAME" val="{&quot;height&quot;:360.45001220703136,&quot;left&quot;:48.52503494382845,&quot;top&quot;:156.29999389648438,&quot;width&quot;:507.4249694824219}"/>
  <p:tag name="KSO_WM_DIAGRAM_COLOR_MATCH_VALUE" val="{&quot;shape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TEXT_FILL_FORE_SCHEMECOLOR_INDEX" val="2"/>
  <p:tag name="KSO_WM_UNIT_TEXT_FILL_TYPE" val="1"/>
  <p:tag name="KSO_WM_UNIT_USESOURCEFORMAT_APPLY" val="1"/>
</p:tagLst>
</file>

<file path=ppt/tags/tag463.xml><?xml version="1.0" encoding="utf-8"?>
<p:tagLst xmlns:p="http://schemas.openxmlformats.org/presentationml/2006/main">
  <p:tag name="KSO_WM_FULL_TEXT_BEAUTIFY_COPY_ID" val="2"/>
</p:tagLst>
</file>

<file path=ppt/tags/tag464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65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66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67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68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69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70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1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2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3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4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5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6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7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8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79.xml><?xml version="1.0" encoding="utf-8"?>
<p:tagLst xmlns:p="http://schemas.openxmlformats.org/presentationml/2006/main">
  <p:tag name="KSO_WM_DIAGRAM_VIRTUALLY_FRAME" val="{&quot;height&quot;:175.29244094488195,&quot;left&quot;:104.2,&quot;top&quot;:332.7885039370079,&quot;width&quot;:753.8744110107422}"/>
</p:tagLst>
</file>

<file path=ppt/tags/tag48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80.xml><?xml version="1.0" encoding="utf-8"?>
<p:tagLst xmlns:p="http://schemas.openxmlformats.org/presentationml/2006/main">
  <p:tag name="KSO_WM_FULL_TEXT_BEAUTIFY_COPY_ID" val="2"/>
</p:tagLst>
</file>

<file path=ppt/tags/tag481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2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3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4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5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6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7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8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89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490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1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2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3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4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5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6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7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8.xml><?xml version="1.0" encoding="utf-8"?>
<p:tagLst xmlns:p="http://schemas.openxmlformats.org/presentationml/2006/main">
  <p:tag name="KSO_WM_DIAGRAM_VIRTUALLY_FRAME" val="{&quot;height&quot;:368.0848818897638,&quot;left&quot;:55.70913385826773,&quot;top&quot;:120.94110236220472,&quot;width&quot;:886.3729921259843}"/>
</p:tagLst>
</file>

<file path=ppt/tags/tag499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.xml><?xml version="1.0" encoding="utf-8"?>
<p:tagLst xmlns:p="http://schemas.openxmlformats.org/presentationml/2006/main">
  <p:tag name="KSO_WM_FULL_TEXT_BEAUTIFY_COPY_ID" val="2"/>
</p:tagLst>
</file>

<file path=ppt/tags/tag50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00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1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2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3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4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5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6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7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8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09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10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1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2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3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4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5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6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7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8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19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20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1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2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3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4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5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6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7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8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29.xml><?xml version="1.0" encoding="utf-8"?>
<p:tagLst xmlns:p="http://schemas.openxmlformats.org/presentationml/2006/main">
  <p:tag name="KSO_WM_DIAGRAM_VIRTUALLY_FRAME" val="{&quot;height&quot;:460.92622047244066,&quot;left&quot;:81.59724409448818,&quot;top&quot;:72.03102362204724,&quot;width&quot;:828.2059842519684}"/>
</p:tagLst>
</file>

<file path=ppt/tags/tag53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30.xml><?xml version="1.0" encoding="utf-8"?>
<p:tagLst xmlns:p="http://schemas.openxmlformats.org/presentationml/2006/main">
  <p:tag name="KSO_WM_FULL_TEXT_BEAUTIFY_COPY_ID" val="2"/>
</p:tagLst>
</file>

<file path=ppt/tags/tag531.xml><?xml version="1.0" encoding="utf-8"?>
<p:tagLst xmlns:p="http://schemas.openxmlformats.org/presentationml/2006/main">
  <p:tag name="KSO_WM_FULL_TEXT_BEAUTIFY_COPY_ID" val="2"/>
</p:tagLst>
</file>

<file path=ppt/tags/tag532.xml><?xml version="1.0" encoding="utf-8"?>
<p:tagLst xmlns:p="http://schemas.openxmlformats.org/presentationml/2006/main">
  <p:tag name="KSO_WM_FULL_TEXT_BEAUTIFY_COPY_ID" val="38"/>
</p:tagLst>
</file>

<file path=ppt/tags/tag533.xml><?xml version="1.0" encoding="utf-8"?>
<p:tagLst xmlns:p="http://schemas.openxmlformats.org/presentationml/2006/main">
  <p:tag name="KSO_WM_FULL_TEXT_BEAUTIFY_COPY_ID" val="39"/>
</p:tagLst>
</file>

<file path=ppt/tags/tag534.xml><?xml version="1.0" encoding="utf-8"?>
<p:tagLst xmlns:p="http://schemas.openxmlformats.org/presentationml/2006/main">
  <p:tag name="KSO_WM_FULL_TEXT_BEAUTIFY_COPY_ID" val="38"/>
</p:tagLst>
</file>

<file path=ppt/tags/tag535.xml><?xml version="1.0" encoding="utf-8"?>
<p:tagLst xmlns:p="http://schemas.openxmlformats.org/presentationml/2006/main">
  <p:tag name="KSO_WM_FULL_TEXT_BEAUTIFY_COPY_ID" val="39"/>
</p:tagLst>
</file>

<file path=ppt/tags/tag536.xml><?xml version="1.0" encoding="utf-8"?>
<p:tagLst xmlns:p="http://schemas.openxmlformats.org/presentationml/2006/main">
  <p:tag name="KSO_WM_FULL_TEXT_BEAUTIFY_COPY_ID" val="6"/>
</p:tagLst>
</file>

<file path=ppt/tags/tag537.xml><?xml version="1.0" encoding="utf-8"?>
<p:tagLst xmlns:p="http://schemas.openxmlformats.org/presentationml/2006/main">
  <p:tag name="KSO_WM_FULL_TEXT_BEAUTIFY_COPY_ID" val="11"/>
</p:tagLst>
</file>

<file path=ppt/tags/tag538.xml><?xml version="1.0" encoding="utf-8"?>
<p:tagLst xmlns:p="http://schemas.openxmlformats.org/presentationml/2006/main">
  <p:tag name="KSO_WM_FULL_TEXT_BEAUTIFY_COPY_ID" val="38"/>
</p:tagLst>
</file>

<file path=ppt/tags/tag539.xml><?xml version="1.0" encoding="utf-8"?>
<p:tagLst xmlns:p="http://schemas.openxmlformats.org/presentationml/2006/main">
  <p:tag name="KSO_WM_FULL_TEXT_BEAUTIFY_COPY_ID" val="39"/>
</p:tagLst>
</file>

<file path=ppt/tags/tag54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40.xml><?xml version="1.0" encoding="utf-8"?>
<p:tagLst xmlns:p="http://schemas.openxmlformats.org/presentationml/2006/main">
  <p:tag name="KSO_WM_FULL_TEXT_BEAUTIFY_COPY_ID" val="2"/>
</p:tagLst>
</file>

<file path=ppt/tags/tag5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7589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bottomTop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07589"/>
  <p:tag name="KSO_WM_UNIT_VALUE" val="477"/>
  <p:tag name="KSO_WM_TEMPLATE_ASSEMBLE_XID" val="60656e6e4054ed1e2fb7f892"/>
  <p:tag name="KSO_WM_TEMPLATE_ASSEMBLE_GROUPID" val="60656e6e4054ed1e2fb7f892"/>
</p:tagLst>
</file>

<file path=ppt/tags/tag542.xml><?xml version="1.0" encoding="utf-8"?>
<p:tagLst xmlns:p="http://schemas.openxmlformats.org/presentationml/2006/main">
  <p:tag name="KSO_WM_UNIT_BLOCK" val="0"/>
  <p:tag name="KSO_WM_UNIT_SM_LIMIT_TYPE" val="2"/>
  <p:tag name="KSO_WM_UNIT_DEC_AREA_ID" val="556aea2d81794696897438261583cf95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07589_1*i*2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1},&quot;Y&quot;:{&quot;Pos&quot;:1}},&quot;DecorateInfoX&quot;:{&quot;Pos&quot;:1,&quot;IsAbs&quot;:false},&quot;DecorateInfoY&quot;:{&quot;Pos&quot;:1,&quot;IsAbs&quot;:false},&quot;DecorateInfoW&quot;:{&quot;IsAbs&quot;:false},&quot;DecorateInfoH&quot;:{&quot;IsAbs&quot;:false},&quot;whChangeMode&quot;:0}"/>
  <p:tag name="KSO_WM_CHIP_GROUPID" val="5e71f27b47edf80c4a5df1ba"/>
  <p:tag name="KSO_WM_CHIP_XID" val="5e71f47d47edf80c4a5df1e5"/>
  <p:tag name="KSO_WM_UNIT_FILL_FORE_SCHEMECOLOR_INDEX_BRIGHTNESS" val="0"/>
  <p:tag name="KSO_WM_UNIT_FILL_FORE_SCHEMECOLOR_INDEX" val="16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UNIT_VALUE" val="810"/>
  <p:tag name="KSO_WM_TEMPLATE_ASSEMBLE_XID" val="60656e6e4054ed1e2fb7f892"/>
  <p:tag name="KSO_WM_TEMPLATE_ASSEMBLE_GROUPID" val="60656e6e4054ed1e2fb7f892"/>
</p:tagLst>
</file>

<file path=ppt/tags/tag543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4095,&quot;width&quot;:3889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2628.5725285456733,&quot;width&quot;:3984.8347298403605}"/>
  <p:tag name="KSO_WM_UNIT_PLACING_PICTURE_USER_RELATIVERECTANGLE_SMARTMENU" val="{&quot;bottom&quot;:0,&quot;left&quot;:0,&quot;right&quot;:0,&quot;top&quot;:0}"/>
</p:tagLst>
</file>

<file path=ppt/tags/tag544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4889,&quot;width&quot;:1875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6101.788189227765,&quot;width&quot;:3984.8347298403605}"/>
  <p:tag name="KSO_WM_UNIT_PLACING_PICTURE_USER_RELATIVERECTANGLE_SMARTMENU" val="{&quot;bottom&quot;:0,&quot;left&quot;:0,&quot;right&quot;:0,&quot;top&quot;:0}"/>
</p:tagLst>
</file>

<file path=ppt/tags/tag545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5464,&quot;width&quot;:4213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8880.36071777344,&quot;width&quot;:5822.539054213854}"/>
  <p:tag name="KSO_WM_UNIT_PLACING_PICTURE_USER_RELATIVERECTANGLE_SMARTMENU" val="{&quot;bottom&quot;:0,&quot;left&quot;:0,&quot;right&quot;:0,&quot;top&quot;:0}"/>
</p:tagLst>
</file>

<file path=ppt/tags/tag546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4179,&quot;width&quot;:5677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2107.59017944336,&quot;width&quot;:3209.5532179952934}"/>
  <p:tag name="KSO_WM_UNIT_PLACING_PICTURE_USER_RELATIVERECTANGLE_SMARTMENU" val="{&quot;bottom&quot;:0,&quot;left&quot;:0,&quot;right&quot;:0,&quot;top&quot;:0}"/>
</p:tagLst>
</file>

<file path=ppt/tags/tag547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4009,&quot;width&quot;:5450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2107.59017944336,&quot;width&quot;:3209.5532179952934}"/>
  <p:tag name="KSO_WM_UNIT_PLACING_PICTURE_USER_RELATIVERECTANGLE_SMARTMENU" val="{&quot;bottom&quot;:0,&quot;left&quot;:0,&quot;right&quot;:0,&quot;top&quot;:0}"/>
</p:tagLst>
</file>

<file path=ppt/tags/tag548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3826,&quot;width&quot;:5682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2107.59017944336,&quot;width&quot;:3209.5532179952934}"/>
  <p:tag name="KSO_WM_UNIT_PLACING_PICTURE_USER_RELATIVERECTANGLE_SMARTMENU" val="{&quot;bottom&quot;:0,&quot;left&quot;:0,&quot;right&quot;:0,&quot;top&quot;:0}"/>
</p:tagLst>
</file>

<file path=ppt/tags/tag549.xml><?xml version="1.0" encoding="utf-8"?>
<p:tagLst xmlns:p="http://schemas.openxmlformats.org/presentationml/2006/main">
  <p:tag name="KSO_WM_UNIT_VALUE" val="1396*2876"/>
  <p:tag name="KSO_WM_UNIT_HIGHLIGHT" val="0"/>
  <p:tag name="KSO_WM_UNIT_DIAGRAM_ISNUMVISUAL" val="0"/>
  <p:tag name="KSO_WM_UNIT_DIAGRAM_ISREFERUNIT" val="0"/>
  <p:tag name="KSO_WM_UNIT_TYPE" val="d"/>
  <p:tag name="KSO_WM_UNIT_INDEX" val="1"/>
  <p:tag name="KSO_WM_UNIT_ID" val="diagram20207589_1*d*1"/>
  <p:tag name="KSO_WM_TEMPLATE_CATEGORY" val="diagram"/>
  <p:tag name="KSO_WM_TEMPLATE_INDEX" val="20207589"/>
  <p:tag name="KSO_WM_UNIT_LAYERLEVEL" val="1"/>
  <p:tag name="KSO_WM_TAG_VERSION" val="1.0"/>
  <p:tag name="KSO_WM_BEAUTIFY_FLAG" val="#wm#"/>
  <p:tag name="KSO_WM_CHIP_GROUPID" val="5e7310da9a230a26b9e88a19"/>
  <p:tag name="KSO_WM_CHIP_XID" val="5e7310da9a230a26b9e88a1a"/>
  <p:tag name="KSO_WM_UNIT_DEC_AREA_ID" val="80370fa60bee4e78823929371d114471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96fd1c00568446d284d88c3101360aff"/>
  <p:tag name="KSO_WM_UNIT_PLACING_PICTURE" val="96fd1c00568446d284d88c3101360aff"/>
  <p:tag name="KSO_WM_UNIT_SUPPORT_UNIT_TYPE" val="[&quot;d&quot;,&quot;θ&quot;]"/>
  <p:tag name="KSO_WM_TEMPLATE_ASSEMBLE_XID" val="60656e6e4054ed1e2fb7f892"/>
  <p:tag name="KSO_WM_TEMPLATE_ASSEMBLE_GROUPID" val="60656e6e4054ed1e2fb7f892"/>
  <p:tag name="KSO_WM_UNIT_PLACING_PICTURE_USER_VIEWPORT" val="{&quot;height&quot;:4487,&quot;width&quot;:6330}"/>
  <p:tag name="KSO_WM_UNIT_PLACING_PICTURE_INFO" val="{&quot;code&quot;:&quot;Cba&quot;,&quot;full_picture&quot;:true,&quot;last_full_picture&quot;:&quot;Cba&quot;,&quot;margin&quot;:{&quot;left&quot;:90.79504740219954,&quot;right&quot;:92.36458394063766},&quot;scheme&quot;:&quot;7-0&quot;,&quot;spacing&quot;:5}"/>
  <p:tag name="KSO_WM_UNIT_PLACING_PICTURE_USER_VIEWPORT_SMARTMENU" val="{&quot;height&quot;:2107.59017944336,&quot;width&quot;:3209.5532179952934}"/>
  <p:tag name="KSO_WM_UNIT_PLACING_PICTURE_USER_RELATIVERECTANGLE_SMARTMENU" val="{&quot;bottom&quot;:0,&quot;left&quot;:0,&quot;right&quot;:0,&quot;top&quot;:0}"/>
</p:tagLst>
</file>

<file path=ppt/tags/tag55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50.xml><?xml version="1.0" encoding="utf-8"?>
<p:tagLst xmlns:p="http://schemas.openxmlformats.org/presentationml/2006/main">
  <p:tag name="KSO_WM_FULL_TEXT_BEAUTIFY_COPY_ID" val="2"/>
</p:tagLst>
</file>

<file path=ppt/tags/tag551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2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3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4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5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6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7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8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59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60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1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2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3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4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5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6.xml><?xml version="1.0" encoding="utf-8"?>
<p:tagLst xmlns:p="http://schemas.openxmlformats.org/presentationml/2006/main">
  <p:tag name="KSO_WM_DIAGRAM_VIRTUALLY_FRAME" val="{&quot;height&quot;:229.12503937007872,&quot;left&quot;:89.5,&quot;top&quot;:97,&quot;width&quot;:530.1250393700788}"/>
</p:tagLst>
</file>

<file path=ppt/tags/tag56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6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6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7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7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8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8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59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59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60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0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0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.xml><?xml version="1.0" encoding="utf-8"?>
<p:tagLst xmlns:p="http://schemas.openxmlformats.org/presentationml/2006/main">
  <p:tag name="KSO_WM_FULL_TEXT_BEAUTIFY_COPY_ID" val="2"/>
</p:tagLst>
</file>

<file path=ppt/tags/tag61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1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2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2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3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3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4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4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5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5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6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6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7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7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8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8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69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69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70.xml><?xml version="1.0" encoding="utf-8"?>
<p:tagLst xmlns:p="http://schemas.openxmlformats.org/presentationml/2006/main">
  <p:tag name="KSO_WM_DIAGRAM_VIRTUALLY_FRAME" val="{&quot;height&quot;:373.5,&quot;left&quot;:440.84039370078733,&quot;top&quot;:72.3,&quot;width&quot;:576.7825196850393}"/>
</p:tagLst>
</file>

<file path=ppt/tags/tag70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0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.xml><?xml version="1.0" encoding="utf-8"?>
<p:tagLst xmlns:p="http://schemas.openxmlformats.org/presentationml/2006/main">
  <p:tag name="KSO_WM_FULL_TEXT_BEAUTIFY_COPY_ID" val="2"/>
</p:tagLst>
</file>

<file path=ppt/tags/tag71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1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2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2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3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3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4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4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5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5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6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6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7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7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8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3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4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5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6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7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8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89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9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790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91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92.xml><?xml version="1.0" encoding="utf-8"?>
<p:tagLst xmlns:p="http://schemas.openxmlformats.org/presentationml/2006/main">
  <p:tag name="KSO_WM_DIAGRAM_VIRTUALLY_FRAME" val="{&quot;height&quot;:383.0595275590551,&quot;left&quot;:32.94937007874016,&quot;top&quot;:108.42826771653544,&quot;width&quot;:908.464566929134}"/>
</p:tagLst>
</file>

<file path=ppt/tags/tag793.xml><?xml version="1.0" encoding="utf-8"?>
<p:tagLst xmlns:p="http://schemas.openxmlformats.org/presentationml/2006/main">
  <p:tag name="KSO_WM_FULL_TEXT_BEAUTIFY_COPY_ID" val="2"/>
</p:tagLst>
</file>

<file path=ppt/tags/tag794.xml><?xml version="1.0" encoding="utf-8"?>
<p:tagLst xmlns:p="http://schemas.openxmlformats.org/presentationml/2006/main">
  <p:tag name="KSO_WM_FULL_TEXT_BEAUTIFY_COPY_ID" val="2"/>
</p:tagLst>
</file>

<file path=ppt/tags/tag795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796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797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798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799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80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00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1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2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3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4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5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6.xml><?xml version="1.0" encoding="utf-8"?>
<p:tagLst xmlns:p="http://schemas.openxmlformats.org/presentationml/2006/main">
  <p:tag name="KSO_WM_DIAGRAM_VIRTUALLY_FRAME" val="{&quot;height&quot;:340.12503937007875,&quot;left&quot;:18,&quot;top&quot;:46.5,&quot;width&quot;:684.0000787401575}"/>
</p:tagLst>
</file>

<file path=ppt/tags/tag807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08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09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10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1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2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3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4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5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6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7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8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19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20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1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2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3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4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5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6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7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8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29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3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30.xml><?xml version="1.0" encoding="utf-8"?>
<p:tagLst xmlns:p="http://schemas.openxmlformats.org/presentationml/2006/main">
  <p:tag name="KSO_WM_DIAGRAM_VIRTUALLY_FRAME" val="{&quot;height&quot;:495.14236448753536,&quot;left&quot;:54.31606299212598,&quot;top&quot;:83.75,&quot;width&quot;:884.154409448819}"/>
</p:tagLst>
</file>

<file path=ppt/tags/tag831.xml><?xml version="1.0" encoding="utf-8"?>
<p:tagLst xmlns:p="http://schemas.openxmlformats.org/presentationml/2006/main">
  <p:tag name="KSO_WM_FULL_TEXT_BEAUTIFY_COPY_ID" val="2"/>
</p:tagLst>
</file>

<file path=ppt/tags/tag832.xml><?xml version="1.0" encoding="utf-8"?>
<p:tagLst xmlns:p="http://schemas.openxmlformats.org/presentationml/2006/main">
  <p:tag name="THINKCELLSHAPEDONOTDELETE" val="thinkcellActiveDocDoNotDelete"/>
</p:tagLst>
</file>

<file path=ppt/tags/tag833.xml><?xml version="1.0" encoding="utf-8"?>
<p:tagLst xmlns:p="http://schemas.openxmlformats.org/presentationml/2006/main">
  <p:tag name="THINKCELLSHAPEDONOTDELETE" val="tA6S0wzOvQ8a50SA42PUNRg"/>
</p:tagLst>
</file>

<file path=ppt/tags/tag834.xml><?xml version="1.0" encoding="utf-8"?>
<p:tagLst xmlns:p="http://schemas.openxmlformats.org/presentationml/2006/main">
  <p:tag name="KSO_WM_UNIT_PIC_EFFECT" val="1"/>
</p:tagLst>
</file>

<file path=ppt/tags/tag835.xml><?xml version="1.0" encoding="utf-8"?>
<p:tagLst xmlns:p="http://schemas.openxmlformats.org/presentationml/2006/main">
  <p:tag name="KSO_WM_DIAGRAM_VERSION" val="3"/>
  <p:tag name="KSO_WM_DIAGRAM_COLOR_TRICK" val="1"/>
  <p:tag name="KSO_WM_DIAGRAM_COLOR_TEXT_CAN_REMOVE" val="n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1"/>
  <p:tag name="KSO_WM_UNIT_ID" val="custom20238556_1*i*1"/>
  <p:tag name="KSO_WM_TEMPLATE_CATEGORY" val="custom"/>
  <p:tag name="KSO_WM_TEMPLATE_INDEX" val="20238556"/>
  <p:tag name="KSO_WM_UNIT_LAYERLEVEL" val="1"/>
  <p:tag name="KSO_WM_TAG_VERSION" val="3.0"/>
  <p:tag name="KSO_WM_UNIT_LINE_FORE_SCHEMECOLOR_INDEX" val="5"/>
  <p:tag name="KSO_WM_DIAGRAM_MAX_ITEMCNT" val="5"/>
  <p:tag name="KSO_WM_DIAGRAM_MIN_ITEMCNT" val="3"/>
  <p:tag name="KSO_WM_DIAGRAM_VIRTUALLY_FRAME" val="{&quot;height&quot;:345.77764892578125,&quot;left&quot;:60.76414512333904,&quot;top&quot;:113.10172671821174,&quot;width&quot;:838.839111328125}"/>
  <p:tag name="KSO_WM_DIAGRAM_COLOR_MATCH_VALUE" val="{&quot;shape&quot;:{&quot;fill&quot;:{&quot;type&quot;:0},&quot;glow&quot;:{&quot;colorType&quot;:0},&quot;line&quot;:{&quot;solidLine&quot;:{&quot;brightness&quot;:0,&quot;colorType&quot;:1,&quot;foreColorIndex&quot;:5,&quot;transparency&quot;:0},&quot;type&quot;:1},&quot;shadow&quot;:{&quot;brightness&quot;:0,&quot;colorType&quot;:1,&quot;foreColorIndex&quot;:5,&quot;transparency&quot;:0.75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BEAUTIFY_FLAG" val="#wm#"/>
  <p:tag name="KSO_WM_UNIT_PIC_EFFECT" val="1"/>
</p:tagLst>
</file>

<file path=ppt/tags/tag836.xml><?xml version="1.0" encoding="utf-8"?>
<p:tagLst xmlns:p="http://schemas.openxmlformats.org/presentationml/2006/main">
  <p:tag name="KSO_WM_DIAGRAM_VERSION" val="3"/>
  <p:tag name="KSO_WM_DIAGRAM_COLOR_TRICK" val="1"/>
  <p:tag name="KSO_WM_DIAGRAM_COLOR_TEXT_CAN_REMOVE" val="n"/>
  <p:tag name="KSO_WM_UNIT_VALUE" val="796*796"/>
  <p:tag name="KSO_WM_UNIT_HIGHLIGHT" val="0"/>
  <p:tag name="KSO_WM_UNIT_COMPATIBLE" val="0"/>
  <p:tag name="KSO_WM_UNIT_DIAGRAM_ISNUMVISUAL" val="0"/>
  <p:tag name="KSO_WM_UNIT_DIAGRAM_ISREFERUNIT" val="0"/>
  <p:tag name="KSO_WM_UNIT_TYPE" val="d"/>
  <p:tag name="KSO_WM_UNIT_INDEX" val="1"/>
  <p:tag name="KSO_WM_UNIT_ID" val="custom20238556_1*d*1"/>
  <p:tag name="KSO_WM_TEMPLATE_CATEGORY" val="custom"/>
  <p:tag name="KSO_WM_TEMPLATE_INDEX" val="20238556"/>
  <p:tag name="KSO_WM_UNIT_LAYERLEVEL" val="1"/>
  <p:tag name="KSO_WM_TAG_VERSION" val="3.0"/>
  <p:tag name="KSO_WM_UNIT_LINE_FORE_SCHEMECOLOR_INDEX" val="13"/>
  <p:tag name="KSO_WM_DIAGRAM_MAX_ITEMCNT" val="5"/>
  <p:tag name="KSO_WM_DIAGRAM_MIN_ITEMCNT" val="3"/>
  <p:tag name="KSO_WM_DIAGRAM_VIRTUALLY_FRAME" val="{&quot;height&quot;:345.77764892578125,&quot;left&quot;:60.76414512333904,&quot;top&quot;:113.10172671821174,&quot;width&quot;:838.839111328125}"/>
  <p:tag name="KSO_WM_DIAGRAM_COLOR_MATCH_VALUE" val="{&quot;shape&quot;:{&quot;fill&quot;:{&quot;type&quot;:0},&quot;glow&quot;:{&quot;colorType&quot;:0},&quot;line&quot;:{&quot;solidLine&quot;:{&quot;brightness&quot;:0.6000000238418579,&quot;colorType&quot;:1,&quot;foreColorIndex&quot;:13,&quot;transparency&quot;:0.800000011920929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BEAUTIFY_FLAG" val="#wm#"/>
  <p:tag name="KSO_WM_UNIT_PIC_EFFECT" val="1"/>
</p:tagLst>
</file>

<file path=ppt/tags/tag837.xml><?xml version="1.0" encoding="utf-8"?>
<p:tagLst xmlns:p="http://schemas.openxmlformats.org/presentationml/2006/main">
  <p:tag name="KSO_WM_BEAUTIFY_FLAG" val="#wm#"/>
  <p:tag name="KSO_WM_UNIT_HIGHLIGHT" val="0"/>
  <p:tag name="KSO_WM_UNIT_COMPATIBLE" val="0"/>
  <p:tag name="KSO_WM_UNIT_DIAGRAM_ISNUMVISUAL" val="0"/>
  <p:tag name="KSO_WM_UNIT_DIAGRAM_ISREFERUNIT" val="0"/>
  <p:tag name="KSO_WM_UNIT_ID" val="custom20238556_1*i*2"/>
  <p:tag name="KSO_WM_TEMPLATE_CATEGORY" val="custom"/>
  <p:tag name="KSO_WM_TEMPLATE_INDEX" val="20238556"/>
  <p:tag name="KSO_WM_UNIT_LAYERLEVEL" val="1"/>
  <p:tag name="KSO_WM_TAG_VERSION" val="3.0"/>
  <p:tag name="KSO_WM_UNIT_PIC_EFFECT" val="1"/>
  <p:tag name="KSO_WM_UNIT_TYPE" val="i"/>
  <p:tag name="KSO_WM_UNIT_INDEX" val="2"/>
</p:tagLst>
</file>

<file path=ppt/tags/tag838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a65def84-f1f6-49a7-8d59-d1b62f28b3e9"/>
</p:tagLst>
</file>

<file path=ppt/tags/tag84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5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6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7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8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89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9.xml><?xml version="1.0" encoding="utf-8"?>
<p:tagLst xmlns:p="http://schemas.openxmlformats.org/presentationml/2006/main">
  <p:tag name="KSO_WM_DIAGRAM_VIRTUALLY_FRAME" val="{&quot;height&quot;:161.94,&quot;left&quot;:50.934094488188975,&quot;top&quot;:322.56,&quot;width&quot;:854.5000787401575}"/>
</p:tagLst>
</file>

<file path=ppt/tags/tag90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91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92.xml><?xml version="1.0" encoding="utf-8"?>
<p:tagLst xmlns:p="http://schemas.openxmlformats.org/presentationml/2006/main">
  <p:tag name="KSO_WM_DIAGRAM_VIRTUALLY_FRAME" val="{&quot;height&quot;:524.341968503937,&quot;left&quot;:18.85,&quot;top&quot;:15.608031496062972,&quot;width&quot;:921.9523671896637}"/>
</p:tagLst>
</file>

<file path=ppt/tags/tag93.xml><?xml version="1.0" encoding="utf-8"?>
<p:tagLst xmlns:p="http://schemas.openxmlformats.org/presentationml/2006/main">
  <p:tag name="KSO_WM_FULL_TEXT_BEAUTIFY_COPY_ID" val="2"/>
</p:tagLst>
</file>

<file path=ppt/tags/tag94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95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96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97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98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ags/tag99.xml><?xml version="1.0" encoding="utf-8"?>
<p:tagLst xmlns:p="http://schemas.openxmlformats.org/presentationml/2006/main">
  <p:tag name="KSO_WM_DIAGRAM_VIRTUALLY_FRAME" val="{&quot;height&quot;:218.1231496062992,&quot;left&quot;:21.6,&quot;top&quot;:158.40007874015748,&quot;width&quot;:920}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318C"/>
      </a:accent1>
      <a:accent2>
        <a:srgbClr val="0068BF"/>
      </a:accent2>
      <a:accent3>
        <a:srgbClr val="36D9D9"/>
      </a:accent3>
      <a:accent4>
        <a:srgbClr val="3AA0D1"/>
      </a:accent4>
      <a:accent5>
        <a:srgbClr val="85B1C5"/>
      </a:accent5>
      <a:accent6>
        <a:srgbClr val="9D9F9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pattFill prst="pct5">
          <a:fgClr>
            <a:srgbClr val="E4E6EA"/>
          </a:fgClr>
          <a:bgClr>
            <a:srgbClr val="ADB5BF"/>
          </a:bgClr>
        </a:pattFill>
        <a:ln w="12700" cap="flat" cmpd="sng" algn="ctr">
          <a:noFill/>
          <a:prstDash val="solid"/>
          <a:miter lim="800000"/>
        </a:ln>
      </a:spPr>
      <a:bodyPr wrap="square" lIns="91440" tIns="45720" rIns="91440" bIns="45720" anchor="ctr">
        <a:norm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6641</Words>
  <Application>WPS 演示</Application>
  <PresentationFormat>宽屏</PresentationFormat>
  <Paragraphs>920</Paragraphs>
  <Slides>48</Slides>
  <Notes>42</Notes>
  <HiddenSlides>0</HiddenSlides>
  <MMClips>0</MMClips>
  <ScaleCrop>false</ScaleCrop>
  <HeadingPairs>
    <vt:vector size="8" baseType="variant">
      <vt:variant>
        <vt:lpstr>已用的字体</vt:lpstr>
      </vt:variant>
      <vt:variant>
        <vt:i4>3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8</vt:i4>
      </vt:variant>
    </vt:vector>
  </HeadingPairs>
  <TitlesOfParts>
    <vt:vector size="83" baseType="lpstr">
      <vt:lpstr>Arial</vt:lpstr>
      <vt:lpstr>宋体</vt:lpstr>
      <vt:lpstr>Wingdings</vt:lpstr>
      <vt:lpstr>思源黑体 CN Bold</vt:lpstr>
      <vt:lpstr>微软雅黑</vt:lpstr>
      <vt:lpstr>Impact</vt:lpstr>
      <vt:lpstr>Original Garamond Std Roman</vt:lpstr>
      <vt:lpstr>Garamond</vt:lpstr>
      <vt:lpstr>PMingLiU-ExtB</vt:lpstr>
      <vt:lpstr>Agency FB</vt:lpstr>
      <vt:lpstr>Trebuchet MS</vt:lpstr>
      <vt:lpstr>Calibri</vt:lpstr>
      <vt:lpstr>阿里巴巴和七个小矮人</vt:lpstr>
      <vt:lpstr>标准粗黑</vt:lpstr>
      <vt:lpstr>Wingdings</vt:lpstr>
      <vt:lpstr>Calibri</vt:lpstr>
      <vt:lpstr>黑体</vt:lpstr>
      <vt:lpstr>Arial Unicode MS</vt:lpstr>
      <vt:lpstr>方正大黑简体</vt:lpstr>
      <vt:lpstr>MiSans Bold</vt:lpstr>
      <vt:lpstr>Segoe UI</vt:lpstr>
      <vt:lpstr>文道潮黑体</vt:lpstr>
      <vt:lpstr>Arial</vt:lpstr>
      <vt:lpstr>方正超粗黑_GBK</vt:lpstr>
      <vt:lpstr>MiSans Normal</vt:lpstr>
      <vt:lpstr>思源黑体 Regular</vt:lpstr>
      <vt:lpstr>Adobe 黑体 Std R</vt:lpstr>
      <vt:lpstr>Calibri Light</vt:lpstr>
      <vt:lpstr>Arial Black</vt:lpstr>
      <vt:lpstr>Gill Sans</vt:lpstr>
      <vt:lpstr>Kata Bold</vt:lpstr>
      <vt:lpstr>Source Han Serif SC Heavy</vt:lpstr>
      <vt:lpstr>Segoe Print</vt:lpstr>
      <vt:lpstr>主题5</vt:lpstr>
      <vt:lpstr>TCLayout.ActiveDocument.1</vt:lpstr>
      <vt:lpstr>PowerPoint 演示文稿</vt:lpstr>
      <vt:lpstr>PowerPoint 演示文稿</vt:lpstr>
      <vt:lpstr>公司介绍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产品及服务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研发实验室</vt:lpstr>
      <vt:lpstr>PowerPoint 演示文稿</vt:lpstr>
      <vt:lpstr>PowerPoint 演示文稿</vt:lpstr>
      <vt:lpstr>竞争优势</vt:lpstr>
      <vt:lpstr>PowerPoint 演示文稿</vt:lpstr>
      <vt:lpstr>PowerPoint 演示文稿</vt:lpstr>
      <vt:lpstr>PowerPoint 演示文稿</vt:lpstr>
      <vt:lpstr>战略规划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熊猫办公</Company>
  <LinksUpToDate>false</LinksUpToDate>
  <SharedDoc>false</SharedDoc>
  <HyperlinksChanged>false</HyperlinksChanged>
  <AppVersion>14.0000</AppVersion>
  <Manager>熊猫办公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青春 孙纬玲</dc:creator>
  <cp:lastModifiedBy>A</cp:lastModifiedBy>
  <cp:revision>252</cp:revision>
  <cp:lastPrinted>2018-12-28T16:00:00Z</cp:lastPrinted>
  <dcterms:created xsi:type="dcterms:W3CDTF">2018-12-28T16:00:00Z</dcterms:created>
  <dcterms:modified xsi:type="dcterms:W3CDTF">2026-01-20T05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26AB527289194373A777B1302FB648B9_13</vt:lpwstr>
  </property>
  <property fmtid="{D5CDD505-2E9C-101B-9397-08002B2CF9AE}" pid="4" name="KSOProductBuildVer">
    <vt:lpwstr>2052-12.1.0.24034</vt:lpwstr>
  </property>
</Properties>
</file>